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4.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52" r:id="rId5"/>
    <p:sldMasterId id="2147483918" r:id="rId6"/>
    <p:sldMasterId id="2147484323" r:id="rId7"/>
    <p:sldMasterId id="2147484358" r:id="rId8"/>
    <p:sldMasterId id="2147484401" r:id="rId9"/>
  </p:sldMasterIdLst>
  <p:notesMasterIdLst>
    <p:notesMasterId r:id="rId91"/>
  </p:notesMasterIdLst>
  <p:sldIdLst>
    <p:sldId id="258" r:id="rId10"/>
    <p:sldId id="2147468818" r:id="rId11"/>
    <p:sldId id="1379" r:id="rId12"/>
    <p:sldId id="259" r:id="rId13"/>
    <p:sldId id="2147468862" r:id="rId14"/>
    <p:sldId id="2147468909" r:id="rId15"/>
    <p:sldId id="261" r:id="rId16"/>
    <p:sldId id="2147468913" r:id="rId17"/>
    <p:sldId id="495" r:id="rId18"/>
    <p:sldId id="2147468948" r:id="rId19"/>
    <p:sldId id="493" r:id="rId20"/>
    <p:sldId id="301" r:id="rId21"/>
    <p:sldId id="496" r:id="rId22"/>
    <p:sldId id="492" r:id="rId23"/>
    <p:sldId id="302" r:id="rId24"/>
    <p:sldId id="295" r:id="rId25"/>
    <p:sldId id="497" r:id="rId26"/>
    <p:sldId id="304" r:id="rId27"/>
    <p:sldId id="308" r:id="rId28"/>
    <p:sldId id="307" r:id="rId29"/>
    <p:sldId id="305" r:id="rId30"/>
    <p:sldId id="303" r:id="rId31"/>
    <p:sldId id="334" r:id="rId32"/>
    <p:sldId id="294" r:id="rId33"/>
    <p:sldId id="330" r:id="rId34"/>
    <p:sldId id="340" r:id="rId35"/>
    <p:sldId id="498" r:id="rId36"/>
    <p:sldId id="499" r:id="rId37"/>
    <p:sldId id="491" r:id="rId38"/>
    <p:sldId id="310" r:id="rId39"/>
    <p:sldId id="327" r:id="rId40"/>
    <p:sldId id="322" r:id="rId41"/>
    <p:sldId id="312" r:id="rId42"/>
    <p:sldId id="328" r:id="rId43"/>
    <p:sldId id="331" r:id="rId44"/>
    <p:sldId id="467" r:id="rId45"/>
    <p:sldId id="500" r:id="rId46"/>
    <p:sldId id="501" r:id="rId47"/>
    <p:sldId id="502" r:id="rId48"/>
    <p:sldId id="503" r:id="rId49"/>
    <p:sldId id="446" r:id="rId50"/>
    <p:sldId id="489" r:id="rId51"/>
    <p:sldId id="485" r:id="rId52"/>
    <p:sldId id="486" r:id="rId53"/>
    <p:sldId id="487" r:id="rId54"/>
    <p:sldId id="488" r:id="rId55"/>
    <p:sldId id="309" r:id="rId56"/>
    <p:sldId id="2147468915" r:id="rId57"/>
    <p:sldId id="2147468939" r:id="rId58"/>
    <p:sldId id="2147468943" r:id="rId59"/>
    <p:sldId id="2147468944" r:id="rId60"/>
    <p:sldId id="2147468946" r:id="rId61"/>
    <p:sldId id="2147468945" r:id="rId62"/>
    <p:sldId id="2147468929" r:id="rId63"/>
    <p:sldId id="2147468940" r:id="rId64"/>
    <p:sldId id="278" r:id="rId65"/>
    <p:sldId id="2147468947" r:id="rId66"/>
    <p:sldId id="2147468942" r:id="rId67"/>
    <p:sldId id="264" r:id="rId68"/>
    <p:sldId id="2147468930" r:id="rId69"/>
    <p:sldId id="2147468938" r:id="rId70"/>
    <p:sldId id="2147468931" r:id="rId71"/>
    <p:sldId id="2147468932" r:id="rId72"/>
    <p:sldId id="2147468933" r:id="rId73"/>
    <p:sldId id="2147468934" r:id="rId74"/>
    <p:sldId id="2147468935" r:id="rId75"/>
    <p:sldId id="2147468936" r:id="rId76"/>
    <p:sldId id="2147468918" r:id="rId77"/>
    <p:sldId id="2147468937" r:id="rId78"/>
    <p:sldId id="2147468919" r:id="rId79"/>
    <p:sldId id="2147468923" r:id="rId80"/>
    <p:sldId id="2147468924" r:id="rId81"/>
    <p:sldId id="2147468925" r:id="rId82"/>
    <p:sldId id="2147468926" r:id="rId83"/>
    <p:sldId id="2147468927" r:id="rId84"/>
    <p:sldId id="2147468928" r:id="rId85"/>
    <p:sldId id="2147468920" r:id="rId86"/>
    <p:sldId id="265" r:id="rId87"/>
    <p:sldId id="291" r:id="rId88"/>
    <p:sldId id="4045" r:id="rId89"/>
    <p:sldId id="276" r:id="rId90"/>
  </p:sldIdLst>
  <p:sldSz cx="9144000" cy="5143500" type="screen16x9"/>
  <p:notesSz cx="6797675" cy="9926638"/>
  <p:defaultTextStyle>
    <a:defPPr>
      <a:defRPr lang="da-DK"/>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41" userDrawn="1">
          <p15:clr>
            <a:srgbClr val="A4A3A4"/>
          </p15:clr>
        </p15:guide>
        <p15:guide id="2" pos="2880">
          <p15:clr>
            <a:srgbClr val="A4A3A4"/>
          </p15:clr>
        </p15:guide>
        <p15:guide id="3" orient="horz" pos="16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580612C-8A3E-BBFC-2C29-8F60A8EB28AA}" name="Jesper Dall-Hansen" initials="JD" userId="S::jdh@kombit.dk::2dce42a3-20bd-421f-b5ef-05766dc53e71" providerId="AD"/>
  <p188:author id="{55DB846B-D1D9-EF2F-F2C4-802B292C911D}" name="KOMBIT\jdh" initials="K" userId="KOMBIT\jdh" providerId="None"/>
  <p188:author id="{958D1580-E590-F43B-4CE3-E073ADC35673}" name="Anne-Sophie Tulinius" initials="AT" userId="S::ATU@kombit.dk::307169f7-a41b-424c-bfbf-3aae6ecbe778" providerId="AD"/>
  <p188:author id="{01EBA78C-589C-8252-F492-AC8D9A969467}" name="Anne-Sophie Tulinius" initials="AT" userId="S::atu@kombit.dk::307169f7-a41b-424c-bfbf-3aae6ecbe778" providerId="AD"/>
  <p188:author id="{0B734ABD-78B8-E11E-D551-AE52B5585E05}" name="Jesper Dall-Hansen" initials="JD" userId="S::JDH@kombit.dk::2dce42a3-20bd-421f-b5ef-05766dc53e71" providerId="AD"/>
  <p188:author id="{5652B2C9-6CCB-1E18-C198-25ABF15CEBBA}" name="Olivier Bélanger" initials="OB" userId="S::obl@kombit.dk::a9a70e51-6f7f-4eef-8e6c-f7980beb83e7" providerId="AD"/>
  <p188:author id="{ED57DECF-035C-4AD6-1228-290CE665A733}" name="Jasper Ploug Hansen" initials="" userId="S::jph@kombit.dk::755480aa-6894-49f4-9064-68bae362514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1F1"/>
    <a:srgbClr val="111111"/>
    <a:srgbClr val="878787"/>
    <a:srgbClr val="CCC09E"/>
    <a:srgbClr val="F3EFE0"/>
    <a:srgbClr val="D6D6D6"/>
    <a:srgbClr val="E30613"/>
    <a:srgbClr val="F6F6F6"/>
    <a:srgbClr val="FEB74B"/>
    <a:srgbClr val="F2F7F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8034E78-7F5D-4C2E-B375-FC64B27BC917}">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llemlayout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llemlayout 1 - Markering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616DA210-FB5B-4158-B5E0-FEB733F419BA}" styleName="Lyst layout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E9639D4-E3E2-4D34-9284-5A2195B3D0D7}" styleName="Lyst layout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Mørkt layou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33" autoAdjust="0"/>
    <p:restoredTop sz="79903" autoAdjust="0"/>
  </p:normalViewPr>
  <p:slideViewPr>
    <p:cSldViewPr snapToGrid="0">
      <p:cViewPr varScale="1">
        <p:scale>
          <a:sx n="117" d="100"/>
          <a:sy n="117" d="100"/>
        </p:scale>
        <p:origin x="1686" y="90"/>
      </p:cViewPr>
      <p:guideLst>
        <p:guide orient="horz" pos="441"/>
        <p:guide pos="2880"/>
        <p:guide orient="horz" pos="1620"/>
      </p:guideLst>
    </p:cSldViewPr>
  </p:slideViewPr>
  <p:notesTextViewPr>
    <p:cViewPr>
      <p:scale>
        <a:sx n="3" d="2"/>
        <a:sy n="3" d="2"/>
      </p:scale>
      <p:origin x="0" y="0"/>
    </p:cViewPr>
  </p:notesTextViewPr>
  <p:notesViewPr>
    <p:cSldViewPr snapToGrid="0">
      <p:cViewPr varScale="1">
        <p:scale>
          <a:sx n="77" d="100"/>
          <a:sy n="77" d="100"/>
        </p:scale>
        <p:origin x="4080" y="11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1.xml"/><Relationship Id="rId90" Type="http://schemas.openxmlformats.org/officeDocument/2006/relationships/slide" Target="slides/slide81.xml"/><Relationship Id="rId95" Type="http://schemas.openxmlformats.org/officeDocument/2006/relationships/tableStyles" Target="tableStyles.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8" Type="http://schemas.openxmlformats.org/officeDocument/2006/relationships/slideMaster" Target="slideMasters/slideMaster4.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notesMaster" Target="notesMasters/notesMaster1.xml"/><Relationship Id="rId9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7" Type="http://schemas.openxmlformats.org/officeDocument/2006/relationships/slideMaster" Target="slideMasters/slideMaster3.xml"/><Relationship Id="rId71" Type="http://schemas.openxmlformats.org/officeDocument/2006/relationships/slide" Target="slides/slide62.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01T11:05:29.31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91,'15'-1,"-1"0,1-2,16-3,14-4,245-19,-232 28,0 3,-1 2,72 14,-112-15,50 3,1-2,73-6,-34 0,1081 2,-980-18,1 0,-179 18,14 1,-1-2,72-12,-57 3,108-4,62 15,-84 1,17-3,181 3,-309 0,0 2,-1 1,0 2,0 1,51 21,10 4,151 33,102-3,-258-54,0-4,95-6,-56-1,15 1,161 3,-173 6,55 2,-69-9,131-6,-189-5,0-2,83-29,46-10,-119 36,77-12,-117 24,31-4,-1 2,1 3,88 8,164 31,-119-1,-106-18,113 10,-128-23,160 6,-159-8,112 20,-14 0,52-8,148-8,-236-8,-88 0,0-3,68-13,89-33,49-9,67 1,-14 12,-239 38,0 3,98 5,-81 1,-46 0,-1 2,65 13,67 29,8 1,-60-26,131 5,-96-19,25 1,-80 2,129 8,-108-8,-64-4,0-2,0-2,73-9,196-22,-40 2,-211 22,133 4,-98 4,44-3,156 3,-196 6,47 2,762-11,-847-2,82-15,-38 4,2 0,162-9,-173 14,-8 1,-78 7,266 3,-113 15,-152-16</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01T11:05:31.79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375,'4'-1,"-1"1,1-1,-1 0,1 0,-1-1,0 1,1-1,-1 0,0 0,0 0,3-3,7-3,15-9,1 1,0 1,1 2,1 1,0 1,0 2,36-6,182-6,-99 11,-16-11,-88 11,64-3,-4 6,128-26,-224 31,175-39,105-15,-229 46,30 1,0 4,99 6,-57 1,-85-3,-27-1,0 2,40 4,-61-4,0 0,0 0,0 0,0 0,0 0,0 0,0 0,0 0,0 1,0-1,0 0,0 0,1 0,-1 0,0 0,0 0,0 1,0-1,0 0,0 0,0 0,0 0,-1 0,1 0,0 0,0 1,0-1,0 0,0 0,0 0,0 0,0 0,0 0,0 0,0 1,0-1,0 0,0 0,-1 0,1 0,0 0,0 0,0 0,0 0,0 0,0 0,0 0,-1 0,1 0,0 0,0 0,0 0,0 0,0 0,0 0,0 0,-1 0,-7 5,-9 3</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01T11:05:35.76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 0,'9648'71'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01T11:05:38.48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18,'22'-5,"-6"-1,52-11,114-12,75 9,226 10,3 26,-461-15,0-2,0-1,0-1,45-11,27-8,-79 17</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01T11:05:41.57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58,'3'-2,"0"0,0 1,0-1,0 1,0-1,0 1,1 0,-1 0,0 1,1-1,4 0,6-1,43-9,-23 5,62-20,-47 8,0 2,2 2,0 3,1 2,-1 2,65-1,3 0,-85 4,1 2,60 3,-37 7,-1 3,71 23,-7 7,-67-20,64 13,-17-16,116 5,-82-10,226-5,-219-10,-23 1,134 3,-218 2,0 1,0 3,-1 0,47 20,-46-16,0-1,0-1,74 10,-77-17,0 1,-1 2,1 2,35 13,116 56,-113-46,-32-16,53 13,23 8,-65-15,-11-5,1-1,50 12,212 38,-259-55,0-1,0-3,80 2,-31-7,-42 1,0-2,1-3,57-9,-89 6,1 0,-1-1,0-1,28-18,11-4,-12 1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01T11:05:42.74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2555 68,'-56'3,"-112"20,106-12,-86 4,-277-13,221-3,-24-17,-1 0,48 20,-156-3,257-6,-157-34,69 8,136 28</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b="0" i="0">
                <a:latin typeface="Neue Haas Grotesk Text Pro" panose="020B0504020202020204" pitchFamily="34" charset="77"/>
              </a:defRPr>
            </a:lvl1pPr>
          </a:lstStyle>
          <a:p>
            <a:endParaRPr lang="da-DK"/>
          </a:p>
        </p:txBody>
      </p:sp>
      <p:sp>
        <p:nvSpPr>
          <p:cNvPr id="3" name="Pladsholder til dato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b="0" i="0">
                <a:latin typeface="Neue Haas Grotesk Text Pro" panose="020B0504020202020204" pitchFamily="34" charset="77"/>
              </a:defRPr>
            </a:lvl1pPr>
          </a:lstStyle>
          <a:p>
            <a:fld id="{423F1D11-0C21-7748-9423-5BA4F311B965}" type="datetimeFigureOut">
              <a:rPr lang="da-DK" smtClean="0"/>
              <a:pPr/>
              <a:t>11-12-2025</a:t>
            </a:fld>
            <a:endParaRPr lang="da-DK"/>
          </a:p>
        </p:txBody>
      </p:sp>
      <p:sp>
        <p:nvSpPr>
          <p:cNvPr id="4" name="Pladsholder til slidebillede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b="0" i="0">
                <a:latin typeface="Neue Haas Grotesk Text Pro" panose="020B0504020202020204" pitchFamily="34" charset="77"/>
              </a:defRPr>
            </a:lvl1pPr>
          </a:lstStyle>
          <a:p>
            <a:endParaRPr lang="da-DK"/>
          </a:p>
        </p:txBody>
      </p:sp>
      <p:sp>
        <p:nvSpPr>
          <p:cNvPr id="7" name="Pladsholder til slide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b="0" i="0">
                <a:latin typeface="Neue Haas Grotesk Text Pro" panose="020B0504020202020204" pitchFamily="34" charset="77"/>
              </a:defRPr>
            </a:lvl1pPr>
          </a:lstStyle>
          <a:p>
            <a:fld id="{732F1CDE-5D83-9F4B-8CB9-2EF3BC0A1883}" type="slidenum">
              <a:rPr lang="da-DK" smtClean="0"/>
              <a:pPr/>
              <a:t>‹nr.›</a:t>
            </a:fld>
            <a:endParaRPr lang="da-DK"/>
          </a:p>
        </p:txBody>
      </p:sp>
    </p:spTree>
    <p:extLst>
      <p:ext uri="{BB962C8B-B14F-4D97-AF65-F5344CB8AC3E}">
        <p14:creationId xmlns:p14="http://schemas.microsoft.com/office/powerpoint/2010/main" val="1200369289"/>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Neue Haas Grotesk Text Pro" panose="020B0504020202020204" pitchFamily="34" charset="77"/>
        <a:ea typeface="+mn-ea"/>
        <a:cs typeface="+mn-cs"/>
      </a:defRPr>
    </a:lvl1pPr>
    <a:lvl2pPr marL="457200" algn="l" defTabSz="914400" rtl="0" eaLnBrk="1" latinLnBrk="0" hangingPunct="1">
      <a:defRPr sz="1200" b="0" i="0" kern="1200">
        <a:solidFill>
          <a:schemeClr val="tx1"/>
        </a:solidFill>
        <a:latin typeface="Neue Haas Grotesk Text Pro" panose="020B0504020202020204" pitchFamily="34" charset="77"/>
        <a:ea typeface="+mn-ea"/>
        <a:cs typeface="+mn-cs"/>
      </a:defRPr>
    </a:lvl2pPr>
    <a:lvl3pPr marL="914400" algn="l" defTabSz="914400" rtl="0" eaLnBrk="1" latinLnBrk="0" hangingPunct="1">
      <a:defRPr sz="1200" b="0" i="0" kern="1200">
        <a:solidFill>
          <a:schemeClr val="tx1"/>
        </a:solidFill>
        <a:latin typeface="Neue Haas Grotesk Text Pro" panose="020B0504020202020204" pitchFamily="34" charset="77"/>
        <a:ea typeface="+mn-ea"/>
        <a:cs typeface="+mn-cs"/>
      </a:defRPr>
    </a:lvl3pPr>
    <a:lvl4pPr marL="1371600" algn="l" defTabSz="914400" rtl="0" eaLnBrk="1" latinLnBrk="0" hangingPunct="1">
      <a:defRPr sz="1200" b="0" i="0" kern="1200">
        <a:solidFill>
          <a:schemeClr val="tx1"/>
        </a:solidFill>
        <a:latin typeface="Neue Haas Grotesk Text Pro" panose="020B0504020202020204" pitchFamily="34" charset="77"/>
        <a:ea typeface="+mn-ea"/>
        <a:cs typeface="+mn-cs"/>
      </a:defRPr>
    </a:lvl4pPr>
    <a:lvl5pPr marL="1828800" algn="l" defTabSz="914400" rtl="0" eaLnBrk="1" latinLnBrk="0" hangingPunct="1">
      <a:defRPr sz="1200" b="0" i="0" kern="1200">
        <a:solidFill>
          <a:schemeClr val="tx1"/>
        </a:solidFill>
        <a:latin typeface="Neue Haas Grotesk Text Pro" panose="020B0504020202020204" pitchFamily="34"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8625CD4-6D57-4B7D-9A3E-5DF627F3EFEF}" type="slidenum">
              <a:rPr lang="da-DK" smtClean="0"/>
              <a:t>3</a:t>
            </a:fld>
            <a:endParaRPr lang="da-DK"/>
          </a:p>
        </p:txBody>
      </p:sp>
    </p:spTree>
    <p:extLst>
      <p:ext uri="{BB962C8B-B14F-4D97-AF65-F5344CB8AC3E}">
        <p14:creationId xmlns:p14="http://schemas.microsoft.com/office/powerpoint/2010/main" val="35686494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b="0" dirty="0"/>
          </a:p>
        </p:txBody>
      </p:sp>
      <p:sp>
        <p:nvSpPr>
          <p:cNvPr id="4" name="Pladsholder til sidefod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5689714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2353645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34390949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Tx/>
              <a:buChar char="-"/>
            </a:pPr>
            <a:endParaRPr lang="da-DK" dirty="0"/>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580672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5382341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22126509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40523155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24614893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10221951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29249757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4A83E4FD-194E-4704-A5D1-824EC1DD222E}" type="slidenum">
              <a:rPr lang="da-DK" smtClean="0"/>
              <a:t>4</a:t>
            </a:fld>
            <a:endParaRPr lang="da-DK"/>
          </a:p>
        </p:txBody>
      </p:sp>
    </p:spTree>
    <p:extLst>
      <p:ext uri="{BB962C8B-B14F-4D97-AF65-F5344CB8AC3E}">
        <p14:creationId xmlns:p14="http://schemas.microsoft.com/office/powerpoint/2010/main" val="31465784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29521892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5321839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35112575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4C84AA-92C7-3E46-A40E-87D7C8C0D982}"/>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2E532E7-742A-BC33-CC9B-7E8629AEC67D}"/>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91155740-7447-69E8-52C8-3F8B43EEBD57}"/>
              </a:ext>
            </a:extLst>
          </p:cNvPr>
          <p:cNvSpPr>
            <a:spLocks noGrp="1"/>
          </p:cNvSpPr>
          <p:nvPr>
            <p:ph type="body" idx="1"/>
          </p:nvPr>
        </p:nvSpPr>
        <p:spPr/>
        <p:txBody>
          <a:bodyPr/>
          <a:lstStyle/>
          <a:p>
            <a:pPr marL="171450" indent="-171450">
              <a:buFontTx/>
              <a:buChar char="-"/>
            </a:pPr>
            <a:endParaRPr lang="da-DK"/>
          </a:p>
        </p:txBody>
      </p:sp>
      <p:sp>
        <p:nvSpPr>
          <p:cNvPr id="4" name="Pladsholder til sidefod 3">
            <a:extLst>
              <a:ext uri="{FF2B5EF4-FFF2-40B4-BE49-F238E27FC236}">
                <a16:creationId xmlns:a16="http://schemas.microsoft.com/office/drawing/2014/main" id="{2D3D9965-DF57-F441-0324-158F66B77A2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a:extLst>
              <a:ext uri="{FF2B5EF4-FFF2-40B4-BE49-F238E27FC236}">
                <a16:creationId xmlns:a16="http://schemas.microsoft.com/office/drawing/2014/main" id="{6C404848-D1F3-4669-BF3E-312134F15322}"/>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a:extLst>
              <a:ext uri="{FF2B5EF4-FFF2-40B4-BE49-F238E27FC236}">
                <a16:creationId xmlns:a16="http://schemas.microsoft.com/office/drawing/2014/main" id="{4D5E4AC5-7322-F62C-3F2C-0A7710D95C15}"/>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a:extLst>
              <a:ext uri="{FF2B5EF4-FFF2-40B4-BE49-F238E27FC236}">
                <a16:creationId xmlns:a16="http://schemas.microsoft.com/office/drawing/2014/main" id="{E8DF7482-E1D9-80C0-3701-FBE58EDDC66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5809563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48C200-59F2-C24D-96F1-22BF01806FDE}"/>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B6A18FBE-D718-0D16-74AA-568F27B5B307}"/>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5996A631-4DA4-C73C-3AF2-59CC44616ADB}"/>
              </a:ext>
            </a:extLst>
          </p:cNvPr>
          <p:cNvSpPr>
            <a:spLocks noGrp="1"/>
          </p:cNvSpPr>
          <p:nvPr>
            <p:ph type="body" idx="1"/>
          </p:nvPr>
        </p:nvSpPr>
        <p:spPr/>
        <p:txBody>
          <a:bodyPr/>
          <a:lstStyle/>
          <a:p>
            <a:pPr marL="171450" indent="-171450">
              <a:buFontTx/>
              <a:buChar char="-"/>
            </a:pPr>
            <a:endParaRPr lang="da-DK"/>
          </a:p>
        </p:txBody>
      </p:sp>
      <p:sp>
        <p:nvSpPr>
          <p:cNvPr id="4" name="Pladsholder til sidefod 3">
            <a:extLst>
              <a:ext uri="{FF2B5EF4-FFF2-40B4-BE49-F238E27FC236}">
                <a16:creationId xmlns:a16="http://schemas.microsoft.com/office/drawing/2014/main" id="{FFD21AA3-D27D-7768-1048-E3780D84556C}"/>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a:extLst>
              <a:ext uri="{FF2B5EF4-FFF2-40B4-BE49-F238E27FC236}">
                <a16:creationId xmlns:a16="http://schemas.microsoft.com/office/drawing/2014/main" id="{B2CB3F50-CAFA-E421-0B0A-AE7904D3EB5F}"/>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a:extLst>
              <a:ext uri="{FF2B5EF4-FFF2-40B4-BE49-F238E27FC236}">
                <a16:creationId xmlns:a16="http://schemas.microsoft.com/office/drawing/2014/main" id="{1AE75F72-14D2-2157-3C0E-91B772FF2387}"/>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a:extLst>
              <a:ext uri="{FF2B5EF4-FFF2-40B4-BE49-F238E27FC236}">
                <a16:creationId xmlns:a16="http://schemas.microsoft.com/office/drawing/2014/main" id="{F4814EC0-4760-39DE-109A-9A58953E61F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7902891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26234789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21736168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16616051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4743962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38855139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32F1CDE-5D83-9F4B-8CB9-2EF3BC0A1883}" type="slidenum">
              <a:rPr lang="da-DK" smtClean="0"/>
              <a:pPr/>
              <a:t>5</a:t>
            </a:fld>
            <a:endParaRPr lang="da-DK"/>
          </a:p>
        </p:txBody>
      </p:sp>
    </p:spTree>
    <p:extLst>
      <p:ext uri="{BB962C8B-B14F-4D97-AF65-F5344CB8AC3E}">
        <p14:creationId xmlns:p14="http://schemas.microsoft.com/office/powerpoint/2010/main" val="35590856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1752836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285750" indent="-285750">
              <a:buFont typeface="Arial" panose="020B0604020202020204" pitchFamily="34" charset="0"/>
              <a:buChar char="•"/>
            </a:pPr>
            <a:endParaRPr lang="da-DK" dirty="0"/>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25496184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6D7350-DF67-B260-A775-EB39856B84D9}"/>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FFA0BFB-229D-755C-A0CF-D9BEC9CAA86B}"/>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EB603765-EC13-D7C6-BE96-2296C194BC0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b="0" dirty="0"/>
          </a:p>
        </p:txBody>
      </p:sp>
      <p:sp>
        <p:nvSpPr>
          <p:cNvPr id="4" name="Pladsholder til sidefod 3">
            <a:extLst>
              <a:ext uri="{FF2B5EF4-FFF2-40B4-BE49-F238E27FC236}">
                <a16:creationId xmlns:a16="http://schemas.microsoft.com/office/drawing/2014/main" id="{CC06ECDD-5C6E-0161-9884-C60D73696FE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a:extLst>
              <a:ext uri="{FF2B5EF4-FFF2-40B4-BE49-F238E27FC236}">
                <a16:creationId xmlns:a16="http://schemas.microsoft.com/office/drawing/2014/main" id="{071658EE-06C4-F866-81B3-578A6A3F7B7E}"/>
              </a:ext>
            </a:extLst>
          </p:cNvPr>
          <p:cNvSpPr>
            <a:spLocks noGrp="1"/>
          </p:cNvSpPr>
          <p:nvPr>
            <p:ph type="hd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a:extLst>
              <a:ext uri="{FF2B5EF4-FFF2-40B4-BE49-F238E27FC236}">
                <a16:creationId xmlns:a16="http://schemas.microsoft.com/office/drawing/2014/main" id="{2E6FE8FD-50BB-E063-88D8-25B5F73D06C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a:extLst>
              <a:ext uri="{FF2B5EF4-FFF2-40B4-BE49-F238E27FC236}">
                <a16:creationId xmlns:a16="http://schemas.microsoft.com/office/drawing/2014/main" id="{1DF61C18-A52D-7B75-405B-CD2E9BC3ADC9}"/>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3743418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5CA988-C9C1-4A84-FECF-34DFD2C95898}"/>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4E318FAC-C2A5-86D7-7C59-D75089CD6B84}"/>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6193C3E0-546D-46C6-8025-B030FE4D380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b="0" dirty="0"/>
          </a:p>
        </p:txBody>
      </p:sp>
      <p:sp>
        <p:nvSpPr>
          <p:cNvPr id="4" name="Pladsholder til sidefod 3">
            <a:extLst>
              <a:ext uri="{FF2B5EF4-FFF2-40B4-BE49-F238E27FC236}">
                <a16:creationId xmlns:a16="http://schemas.microsoft.com/office/drawing/2014/main" id="{585A749A-37EC-CBB9-D2B0-0FD23759EBD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a:extLst>
              <a:ext uri="{FF2B5EF4-FFF2-40B4-BE49-F238E27FC236}">
                <a16:creationId xmlns:a16="http://schemas.microsoft.com/office/drawing/2014/main" id="{0BAA415A-2C49-4B99-ACD2-E9DC555AFDCA}"/>
              </a:ext>
            </a:extLst>
          </p:cNvPr>
          <p:cNvSpPr>
            <a:spLocks noGrp="1"/>
          </p:cNvSpPr>
          <p:nvPr>
            <p:ph type="hd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a:extLst>
              <a:ext uri="{FF2B5EF4-FFF2-40B4-BE49-F238E27FC236}">
                <a16:creationId xmlns:a16="http://schemas.microsoft.com/office/drawing/2014/main" id="{002A8554-7445-193D-BB36-5C641C8C2B20}"/>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a:extLst>
              <a:ext uri="{FF2B5EF4-FFF2-40B4-BE49-F238E27FC236}">
                <a16:creationId xmlns:a16="http://schemas.microsoft.com/office/drawing/2014/main" id="{B2C0F8C2-331F-F878-A801-54283A3D723A}"/>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1611618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10369212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9921F3-C7EE-6876-756B-436F82233B9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A9BD1A-5344-F436-E564-E451473BDC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14B452-D599-106E-07EA-2C956BAFF18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C54D785-34DC-9AFA-2D7D-761859BDFF0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42228310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500F2E-1212-7D79-77FA-97691BD9A152}"/>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3B867AC6-91AA-739D-D77D-AACF5055355A}"/>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744D97B7-3E79-35D6-15DA-86F1CA994C0E}"/>
              </a:ext>
            </a:extLst>
          </p:cNvPr>
          <p:cNvSpPr>
            <a:spLocks noGrp="1"/>
          </p:cNvSpPr>
          <p:nvPr>
            <p:ph type="body" idx="1"/>
          </p:nvPr>
        </p:nvSpPr>
        <p:spPr/>
        <p:txBody>
          <a:bodyPr/>
          <a:lstStyle/>
          <a:p>
            <a:endParaRPr lang="da-DK" sz="1200">
              <a:solidFill>
                <a:srgbClr val="21212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Pladsholder til sidefod 3">
            <a:extLst>
              <a:ext uri="{FF2B5EF4-FFF2-40B4-BE49-F238E27FC236}">
                <a16:creationId xmlns:a16="http://schemas.microsoft.com/office/drawing/2014/main" id="{F79B7645-62E5-625D-1F81-E564FE52508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a:extLst>
              <a:ext uri="{FF2B5EF4-FFF2-40B4-BE49-F238E27FC236}">
                <a16:creationId xmlns:a16="http://schemas.microsoft.com/office/drawing/2014/main" id="{8C32727E-82F7-553C-A2F0-384E76952701}"/>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a:extLst>
              <a:ext uri="{FF2B5EF4-FFF2-40B4-BE49-F238E27FC236}">
                <a16:creationId xmlns:a16="http://schemas.microsoft.com/office/drawing/2014/main" id="{1D4892C1-9B11-E05F-DCD1-F8CC48F795AD}"/>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a:extLst>
              <a:ext uri="{FF2B5EF4-FFF2-40B4-BE49-F238E27FC236}">
                <a16:creationId xmlns:a16="http://schemas.microsoft.com/office/drawing/2014/main" id="{8C7B66EA-E75F-920C-611F-B49564646B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22749501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D3FAC8-EFDC-8D61-6C2C-951D99298E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CAE1C6-318F-7E56-3293-C925BC16F2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51648E-0F45-C83E-A6AA-A70E5C0971B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B8E48FA-4EAE-EAEF-BDFD-7ACEFCD0136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10243655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1DC869-71F2-3180-6A74-6FAC07E786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E872D2-F4BC-18A8-B978-1BD01A143D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15E9BC-8623-BDD0-5C9C-201B94B240F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621E3F-F5E3-1D7C-DCE2-858EDCE6A85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23620466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ACCF20-7F41-5055-92CE-BC79278C62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899CCC-6EC6-522A-B3D2-B3C5021A2E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F4BA59-4DB5-610A-8989-E3CD8EA88AE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D1E0C5C-BE68-5387-D975-2173B68E154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34701603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660B58-AFE5-4A21-EE19-9E2092237A5E}"/>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F06DA1AE-F4D1-B335-A06C-337DF186ADC8}"/>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E3EFB68A-F9A9-F93D-3608-9C3FF1B06C10}"/>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AE7E22A7-D5F1-881C-47B4-82D7896C7EF3}"/>
              </a:ext>
            </a:extLst>
          </p:cNvPr>
          <p:cNvSpPr>
            <a:spLocks noGrp="1"/>
          </p:cNvSpPr>
          <p:nvPr>
            <p:ph type="sldNum" sz="quarter" idx="5"/>
          </p:nvPr>
        </p:nvSpPr>
        <p:spPr/>
        <p:txBody>
          <a:bodyPr/>
          <a:lstStyle/>
          <a:p>
            <a:fld id="{732F1CDE-5D83-9F4B-8CB9-2EF3BC0A1883}" type="slidenum">
              <a:rPr lang="da-DK" smtClean="0"/>
              <a:pPr/>
              <a:t>6</a:t>
            </a:fld>
            <a:endParaRPr lang="da-DK"/>
          </a:p>
        </p:txBody>
      </p:sp>
    </p:spTree>
    <p:extLst>
      <p:ext uri="{BB962C8B-B14F-4D97-AF65-F5344CB8AC3E}">
        <p14:creationId xmlns:p14="http://schemas.microsoft.com/office/powerpoint/2010/main" val="284586657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2157B-4A0D-1FF8-5E12-B23D80D70C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5DF831-5710-C1AF-747D-21D364C017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155C7A-C1AC-4896-C4A0-76CE6FEB699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FBAE53C-4626-E1B2-6225-871DB958B3E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19298232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A67AE6-FCF4-C562-EFAA-62F4F29F6D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EDF562-18E9-408E-CAFE-70101F7470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BFD73B-9D4E-C620-ADB3-D34EBC025A9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DE553E4-D24D-04F1-8DE0-A4B09317CBE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353961631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4D665F-3ABB-2DEE-A7DC-88EB871D05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955C58-4F9B-927C-4223-458ADBEAD4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B00383-12FB-F36E-01DF-9BD193017BE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BCA0E3B-9560-06AA-6022-0154FECB6A7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21610694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50026-96DE-A4AC-8BFF-78325C4253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0EFE47-2694-6423-8449-752002EE0D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3F3BE9-49C3-77CC-84C5-E6962358F3A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E5F374B-9FB4-E943-135B-7DEBF99297F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122557634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2D43A-61E4-ABCD-CED6-555E76FB64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B2C856-C63F-3948-F072-D1E7BE6081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5BA7AA-1C65-2034-E7E5-281EBA81020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EB13C27-7446-B669-9B2B-7ADED71F83A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225308495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C96A22-1E56-9644-A3DE-54F4B2B9F2FC}"/>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F3BD32AE-4212-DC7B-0B24-5B3C395B2DF0}"/>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8459C999-D693-74E3-9E41-00FD66B34AFE}"/>
              </a:ext>
            </a:extLst>
          </p:cNvPr>
          <p:cNvSpPr>
            <a:spLocks noGrp="1"/>
          </p:cNvSpPr>
          <p:nvPr>
            <p:ph type="body" idx="1"/>
          </p:nvPr>
        </p:nvSpPr>
        <p:spPr/>
        <p:txBody>
          <a:bodyPr/>
          <a:lstStyle/>
          <a:p>
            <a:endParaRPr lang="da-DK" b="1" dirty="0"/>
          </a:p>
        </p:txBody>
      </p:sp>
      <p:sp>
        <p:nvSpPr>
          <p:cNvPr id="4" name="Pladsholder til sidefod 3">
            <a:extLst>
              <a:ext uri="{FF2B5EF4-FFF2-40B4-BE49-F238E27FC236}">
                <a16:creationId xmlns:a16="http://schemas.microsoft.com/office/drawing/2014/main" id="{CF514D9F-1B03-5B98-DCD0-BBFF69D4412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a:extLst>
              <a:ext uri="{FF2B5EF4-FFF2-40B4-BE49-F238E27FC236}">
                <a16:creationId xmlns:a16="http://schemas.microsoft.com/office/drawing/2014/main" id="{9188652E-FA5F-0446-8164-89872B7E06C9}"/>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a:extLst>
              <a:ext uri="{FF2B5EF4-FFF2-40B4-BE49-F238E27FC236}">
                <a16:creationId xmlns:a16="http://schemas.microsoft.com/office/drawing/2014/main" id="{A9B4DE49-8503-CAC2-5BB2-C8AA533D34C2}"/>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a:extLst>
              <a:ext uri="{FF2B5EF4-FFF2-40B4-BE49-F238E27FC236}">
                <a16:creationId xmlns:a16="http://schemas.microsoft.com/office/drawing/2014/main" id="{2CBF3F94-3F3F-A425-6C8C-B66FC3238ED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37507809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A6FCC4-71D1-41A3-74A9-E0551980FC0F}"/>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6E5A690-105F-FE7F-D8AB-68E7B28A597F}"/>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E58ED463-C2A5-9A05-5FC6-D3C4D995FC83}"/>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B69E3408-F625-8F79-129A-545F0BF96DEA}"/>
              </a:ext>
            </a:extLst>
          </p:cNvPr>
          <p:cNvSpPr>
            <a:spLocks noGrp="1"/>
          </p:cNvSpPr>
          <p:nvPr>
            <p:ph type="sldNum" sz="quarter" idx="5"/>
          </p:nvPr>
        </p:nvSpPr>
        <p:spPr/>
        <p:txBody>
          <a:bodyPr/>
          <a:lstStyle/>
          <a:p>
            <a:fld id="{732F1CDE-5D83-9F4B-8CB9-2EF3BC0A1883}" type="slidenum">
              <a:rPr lang="da-DK" smtClean="0"/>
              <a:pPr/>
              <a:t>48</a:t>
            </a:fld>
            <a:endParaRPr lang="da-DK"/>
          </a:p>
        </p:txBody>
      </p:sp>
    </p:spTree>
    <p:extLst>
      <p:ext uri="{BB962C8B-B14F-4D97-AF65-F5344CB8AC3E}">
        <p14:creationId xmlns:p14="http://schemas.microsoft.com/office/powerpoint/2010/main" val="253329847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5C96BD-A52E-950F-A5F7-D48814DE4D2E}"/>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7BCF744C-85EC-0667-C80D-6CC380CBA13A}"/>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3A0D8C81-B755-5F96-D7E9-3989CCEDA58C}"/>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E9BE4210-07DB-B4E5-822D-8FD20ABAFE16}"/>
              </a:ext>
            </a:extLst>
          </p:cNvPr>
          <p:cNvSpPr>
            <a:spLocks noGrp="1"/>
          </p:cNvSpPr>
          <p:nvPr>
            <p:ph type="sldNum" sz="quarter" idx="5"/>
          </p:nvPr>
        </p:nvSpPr>
        <p:spPr/>
        <p:txBody>
          <a:bodyPr/>
          <a:lstStyle/>
          <a:p>
            <a:fld id="{732F1CDE-5D83-9F4B-8CB9-2EF3BC0A1883}" type="slidenum">
              <a:rPr lang="da-DK" smtClean="0"/>
              <a:pPr/>
              <a:t>50</a:t>
            </a:fld>
            <a:endParaRPr lang="da-DK"/>
          </a:p>
        </p:txBody>
      </p:sp>
    </p:spTree>
    <p:extLst>
      <p:ext uri="{BB962C8B-B14F-4D97-AF65-F5344CB8AC3E}">
        <p14:creationId xmlns:p14="http://schemas.microsoft.com/office/powerpoint/2010/main" val="11147465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32F1CDE-5D83-9F4B-8CB9-2EF3BC0A1883}" type="slidenum">
              <a:rPr lang="da-DK" smtClean="0"/>
              <a:pPr/>
              <a:t>51</a:t>
            </a:fld>
            <a:endParaRPr lang="da-DK"/>
          </a:p>
        </p:txBody>
      </p:sp>
    </p:spTree>
    <p:extLst>
      <p:ext uri="{BB962C8B-B14F-4D97-AF65-F5344CB8AC3E}">
        <p14:creationId xmlns:p14="http://schemas.microsoft.com/office/powerpoint/2010/main" val="217183852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32F1CDE-5D83-9F4B-8CB9-2EF3BC0A1883}" type="slidenum">
              <a:rPr lang="da-DK" smtClean="0"/>
              <a:pPr/>
              <a:t>57</a:t>
            </a:fld>
            <a:endParaRPr lang="da-DK"/>
          </a:p>
        </p:txBody>
      </p:sp>
    </p:spTree>
    <p:extLst>
      <p:ext uri="{BB962C8B-B14F-4D97-AF65-F5344CB8AC3E}">
        <p14:creationId xmlns:p14="http://schemas.microsoft.com/office/powerpoint/2010/main" val="5065893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32F1CDE-5D83-9F4B-8CB9-2EF3BC0A1883}" type="slidenum">
              <a:rPr lang="da-DK" smtClean="0"/>
              <a:pPr/>
              <a:t>7</a:t>
            </a:fld>
            <a:endParaRPr lang="da-DK"/>
          </a:p>
        </p:txBody>
      </p:sp>
    </p:spTree>
    <p:extLst>
      <p:ext uri="{BB962C8B-B14F-4D97-AF65-F5344CB8AC3E}">
        <p14:creationId xmlns:p14="http://schemas.microsoft.com/office/powerpoint/2010/main" val="272737684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32F1CDE-5D83-9F4B-8CB9-2EF3BC0A1883}" type="slidenum">
              <a:rPr lang="da-DK" smtClean="0"/>
              <a:pPr/>
              <a:t>58</a:t>
            </a:fld>
            <a:endParaRPr lang="da-DK"/>
          </a:p>
        </p:txBody>
      </p:sp>
    </p:spTree>
    <p:extLst>
      <p:ext uri="{BB962C8B-B14F-4D97-AF65-F5344CB8AC3E}">
        <p14:creationId xmlns:p14="http://schemas.microsoft.com/office/powerpoint/2010/main" val="39828272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32F1CDE-5D83-9F4B-8CB9-2EF3BC0A1883}" type="slidenum">
              <a:rPr lang="da-DK" smtClean="0"/>
              <a:pPr/>
              <a:t>59</a:t>
            </a:fld>
            <a:endParaRPr lang="da-DK"/>
          </a:p>
        </p:txBody>
      </p:sp>
    </p:spTree>
    <p:extLst>
      <p:ext uri="{BB962C8B-B14F-4D97-AF65-F5344CB8AC3E}">
        <p14:creationId xmlns:p14="http://schemas.microsoft.com/office/powerpoint/2010/main" val="1283307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32F1CDE-5D83-9F4B-8CB9-2EF3BC0A1883}" type="slidenum">
              <a:rPr lang="da-DK" smtClean="0"/>
              <a:pPr/>
              <a:t>60</a:t>
            </a:fld>
            <a:endParaRPr lang="da-DK"/>
          </a:p>
        </p:txBody>
      </p:sp>
    </p:spTree>
    <p:extLst>
      <p:ext uri="{BB962C8B-B14F-4D97-AF65-F5344CB8AC3E}">
        <p14:creationId xmlns:p14="http://schemas.microsoft.com/office/powerpoint/2010/main" val="111062825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3FE4B1-7E64-DCF1-0982-825696235131}"/>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D6431B2F-6C3A-7295-E75C-24F702794301}"/>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8A006C94-DBC7-25BA-D74C-15418BA3736C}"/>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AFFBF22A-14EA-CA10-2DBE-399267E908C0}"/>
              </a:ext>
            </a:extLst>
          </p:cNvPr>
          <p:cNvSpPr>
            <a:spLocks noGrp="1"/>
          </p:cNvSpPr>
          <p:nvPr>
            <p:ph type="sldNum" sz="quarter" idx="5"/>
          </p:nvPr>
        </p:nvSpPr>
        <p:spPr/>
        <p:txBody>
          <a:bodyPr/>
          <a:lstStyle/>
          <a:p>
            <a:fld id="{732F1CDE-5D83-9F4B-8CB9-2EF3BC0A1883}" type="slidenum">
              <a:rPr lang="da-DK" smtClean="0"/>
              <a:pPr/>
              <a:t>61</a:t>
            </a:fld>
            <a:endParaRPr lang="da-DK"/>
          </a:p>
        </p:txBody>
      </p:sp>
    </p:spTree>
    <p:extLst>
      <p:ext uri="{BB962C8B-B14F-4D97-AF65-F5344CB8AC3E}">
        <p14:creationId xmlns:p14="http://schemas.microsoft.com/office/powerpoint/2010/main" val="66856047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A9E0F-80B1-5FCF-0DAF-77B221F57E88}"/>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F619B8C4-0C58-8813-A8A1-328066DDFB91}"/>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5C981F14-ECB9-3D17-3333-EE0742238569}"/>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F3CA31B6-F249-6193-9A67-473CEF785C8A}"/>
              </a:ext>
            </a:extLst>
          </p:cNvPr>
          <p:cNvSpPr>
            <a:spLocks noGrp="1"/>
          </p:cNvSpPr>
          <p:nvPr>
            <p:ph type="sldNum" sz="quarter" idx="5"/>
          </p:nvPr>
        </p:nvSpPr>
        <p:spPr/>
        <p:txBody>
          <a:bodyPr/>
          <a:lstStyle/>
          <a:p>
            <a:fld id="{732F1CDE-5D83-9F4B-8CB9-2EF3BC0A1883}" type="slidenum">
              <a:rPr lang="da-DK" smtClean="0"/>
              <a:pPr/>
              <a:t>68</a:t>
            </a:fld>
            <a:endParaRPr lang="da-DK"/>
          </a:p>
        </p:txBody>
      </p:sp>
    </p:spTree>
    <p:extLst>
      <p:ext uri="{BB962C8B-B14F-4D97-AF65-F5344CB8AC3E}">
        <p14:creationId xmlns:p14="http://schemas.microsoft.com/office/powerpoint/2010/main" val="110072037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FC5150-44D5-FFF1-1152-3531E271ABA6}"/>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AB1941D-2B2B-177C-D7DC-2163C5E0B164}"/>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543103E8-3820-082F-9492-63DA80A394EE}"/>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F01F2F8F-63AD-6122-C3C3-9465B33FF947}"/>
              </a:ext>
            </a:extLst>
          </p:cNvPr>
          <p:cNvSpPr>
            <a:spLocks noGrp="1"/>
          </p:cNvSpPr>
          <p:nvPr>
            <p:ph type="sldNum" sz="quarter" idx="5"/>
          </p:nvPr>
        </p:nvSpPr>
        <p:spPr/>
        <p:txBody>
          <a:bodyPr/>
          <a:lstStyle/>
          <a:p>
            <a:fld id="{732F1CDE-5D83-9F4B-8CB9-2EF3BC0A1883}" type="slidenum">
              <a:rPr lang="da-DK" smtClean="0"/>
              <a:pPr/>
              <a:t>70</a:t>
            </a:fld>
            <a:endParaRPr lang="da-DK"/>
          </a:p>
        </p:txBody>
      </p:sp>
    </p:spTree>
    <p:extLst>
      <p:ext uri="{BB962C8B-B14F-4D97-AF65-F5344CB8AC3E}">
        <p14:creationId xmlns:p14="http://schemas.microsoft.com/office/powerpoint/2010/main" val="271458294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7FD22-F7D5-5EE2-9746-ABA2F0288D4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156610C3-15DD-9925-3A37-B3A4E2ED32EE}"/>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7D3D591F-94B9-3AC8-E988-173EB7783252}"/>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693645E3-A6B8-96B5-DCCD-386E0C661696}"/>
              </a:ext>
            </a:extLst>
          </p:cNvPr>
          <p:cNvSpPr>
            <a:spLocks noGrp="1"/>
          </p:cNvSpPr>
          <p:nvPr>
            <p:ph type="sldNum" sz="quarter" idx="5"/>
          </p:nvPr>
        </p:nvSpPr>
        <p:spPr/>
        <p:txBody>
          <a:bodyPr/>
          <a:lstStyle/>
          <a:p>
            <a:fld id="{732F1CDE-5D83-9F4B-8CB9-2EF3BC0A1883}" type="slidenum">
              <a:rPr lang="da-DK" smtClean="0"/>
              <a:pPr/>
              <a:t>71</a:t>
            </a:fld>
            <a:endParaRPr lang="da-DK"/>
          </a:p>
        </p:txBody>
      </p:sp>
    </p:spTree>
    <p:extLst>
      <p:ext uri="{BB962C8B-B14F-4D97-AF65-F5344CB8AC3E}">
        <p14:creationId xmlns:p14="http://schemas.microsoft.com/office/powerpoint/2010/main" val="118869378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AB2EB9-4BA3-72C4-EF33-069E30D65761}"/>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F5AFA23E-3474-3DD0-603E-B1D15A545E6D}"/>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B7A9EDA5-3062-0752-6D4C-763986D64224}"/>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CEC3A414-FC79-46E0-4A72-8DAA4D70A9FC}"/>
              </a:ext>
            </a:extLst>
          </p:cNvPr>
          <p:cNvSpPr>
            <a:spLocks noGrp="1"/>
          </p:cNvSpPr>
          <p:nvPr>
            <p:ph type="sldNum" sz="quarter" idx="5"/>
          </p:nvPr>
        </p:nvSpPr>
        <p:spPr/>
        <p:txBody>
          <a:bodyPr/>
          <a:lstStyle/>
          <a:p>
            <a:fld id="{732F1CDE-5D83-9F4B-8CB9-2EF3BC0A1883}" type="slidenum">
              <a:rPr lang="da-DK" smtClean="0"/>
              <a:pPr/>
              <a:t>77</a:t>
            </a:fld>
            <a:endParaRPr lang="da-DK"/>
          </a:p>
        </p:txBody>
      </p:sp>
    </p:spTree>
    <p:extLst>
      <p:ext uri="{BB962C8B-B14F-4D97-AF65-F5344CB8AC3E}">
        <p14:creationId xmlns:p14="http://schemas.microsoft.com/office/powerpoint/2010/main" val="382222518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02005B-853C-554D-D56E-507F771F390C}"/>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179891F1-5F7F-6B06-0B9D-2782EDDCBFE6}"/>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B8A4E437-A1C5-A6A6-622B-2DDB1C06BE84}"/>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47E1B75A-C563-8A44-42EC-B4830D13CD04}"/>
              </a:ext>
            </a:extLst>
          </p:cNvPr>
          <p:cNvSpPr>
            <a:spLocks noGrp="1"/>
          </p:cNvSpPr>
          <p:nvPr>
            <p:ph type="sldNum" sz="quarter" idx="5"/>
          </p:nvPr>
        </p:nvSpPr>
        <p:spPr/>
        <p:txBody>
          <a:bodyPr/>
          <a:lstStyle/>
          <a:p>
            <a:fld id="{AFCCFADD-35EF-4661-BCF6-29084B43D131}" type="slidenum">
              <a:rPr lang="da-DK" smtClean="0"/>
              <a:t>80</a:t>
            </a:fld>
            <a:endParaRPr lang="da-DK"/>
          </a:p>
        </p:txBody>
      </p:sp>
    </p:spTree>
    <p:extLst>
      <p:ext uri="{BB962C8B-B14F-4D97-AF65-F5344CB8AC3E}">
        <p14:creationId xmlns:p14="http://schemas.microsoft.com/office/powerpoint/2010/main" val="170657525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732F1CDE-5D83-9F4B-8CB9-2EF3BC0A1883}" type="slidenum">
              <a:rPr lang="da-DK" smtClean="0"/>
              <a:pPr/>
              <a:t>81</a:t>
            </a:fld>
            <a:endParaRPr lang="da-DK"/>
          </a:p>
        </p:txBody>
      </p:sp>
    </p:spTree>
    <p:extLst>
      <p:ext uri="{BB962C8B-B14F-4D97-AF65-F5344CB8AC3E}">
        <p14:creationId xmlns:p14="http://schemas.microsoft.com/office/powerpoint/2010/main" val="8045571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27898E-551C-FB90-4FF1-6EFA65021469}"/>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7828FF79-3A8C-78B3-6EE3-5A2F5823C537}"/>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3B231923-FF42-9BE2-B33F-6FBA7959FABB}"/>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E267CD53-2D6A-D45B-7ABF-A08C73ECFE23}"/>
              </a:ext>
            </a:extLst>
          </p:cNvPr>
          <p:cNvSpPr>
            <a:spLocks noGrp="1"/>
          </p:cNvSpPr>
          <p:nvPr>
            <p:ph type="sldNum" sz="quarter" idx="5"/>
          </p:nvPr>
        </p:nvSpPr>
        <p:spPr/>
        <p:txBody>
          <a:bodyPr/>
          <a:lstStyle/>
          <a:p>
            <a:fld id="{732F1CDE-5D83-9F4B-8CB9-2EF3BC0A1883}" type="slidenum">
              <a:rPr lang="da-DK" smtClean="0"/>
              <a:pPr/>
              <a:t>8</a:t>
            </a:fld>
            <a:endParaRPr lang="da-DK"/>
          </a:p>
        </p:txBody>
      </p:sp>
    </p:spTree>
    <p:extLst>
      <p:ext uri="{BB962C8B-B14F-4D97-AF65-F5344CB8AC3E}">
        <p14:creationId xmlns:p14="http://schemas.microsoft.com/office/powerpoint/2010/main" val="42109592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799B78-DE8E-B733-6DC1-D7389E18CB94}"/>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F0FBAD8F-A0D7-67EA-BA69-0677D5032FAE}"/>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745DB131-0A60-A84E-793A-A04952398789}"/>
              </a:ext>
            </a:extLst>
          </p:cNvPr>
          <p:cNvSpPr>
            <a:spLocks noGrp="1"/>
          </p:cNvSpPr>
          <p:nvPr>
            <p:ph type="body" idx="1"/>
          </p:nvPr>
        </p:nvSpPr>
        <p:spPr/>
        <p:txBody>
          <a:bodyPr/>
          <a:lstStyle/>
          <a:p>
            <a:endParaRPr lang="da-DK" b="1"/>
          </a:p>
        </p:txBody>
      </p:sp>
      <p:sp>
        <p:nvSpPr>
          <p:cNvPr id="4" name="Pladsholder til sidefod 3">
            <a:extLst>
              <a:ext uri="{FF2B5EF4-FFF2-40B4-BE49-F238E27FC236}">
                <a16:creationId xmlns:a16="http://schemas.microsoft.com/office/drawing/2014/main" id="{2760888D-5BFD-DF24-BDB4-83BEACE18914}"/>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a:extLst>
              <a:ext uri="{FF2B5EF4-FFF2-40B4-BE49-F238E27FC236}">
                <a16:creationId xmlns:a16="http://schemas.microsoft.com/office/drawing/2014/main" id="{25A9EE7C-6FDC-DB83-ED10-3167E7891157}"/>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a:extLst>
              <a:ext uri="{FF2B5EF4-FFF2-40B4-BE49-F238E27FC236}">
                <a16:creationId xmlns:a16="http://schemas.microsoft.com/office/drawing/2014/main" id="{BB2DC74A-3268-BD68-3566-4BE76467FD47}"/>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a:extLst>
              <a:ext uri="{FF2B5EF4-FFF2-40B4-BE49-F238E27FC236}">
                <a16:creationId xmlns:a16="http://schemas.microsoft.com/office/drawing/2014/main" id="{3DCDEF5D-56CF-EC1E-3B53-03DC748A3F6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38944678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b="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Header Placeholder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da-DK"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da-DK"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da-DK"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a-DK"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2777850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fod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5" name="Pladsholder til sidehoved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6" name="Pladsholder til dato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5F37E7-D82A-4BA3-AD69-23BE467ADCDA}" type="datetime1">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25</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7" name="Pladsholder til slide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A5A2F-ECD0-4A51-A9E7-D8DA645BD5CD}" type="slidenum">
              <a:rPr kumimoji="0" lang="en-GB" sz="1200" b="0" i="0" u="none" strike="noStrike" kern="1200" cap="none" spc="0" normalizeH="0" baseline="0" noProof="0" smtClean="0">
                <a:ln>
                  <a:noFill/>
                </a:ln>
                <a:solidFill>
                  <a:srgbClr val="000000"/>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srgbClr val="000000"/>
              </a:solidFill>
              <a:effectLst/>
              <a:uLnTx/>
              <a:uFillTx/>
              <a:latin typeface="Franklin Gothic Book"/>
              <a:ea typeface="+mn-ea"/>
              <a:cs typeface="+mn-cs"/>
            </a:endParaRPr>
          </a:p>
        </p:txBody>
      </p:sp>
    </p:spTree>
    <p:extLst>
      <p:ext uri="{BB962C8B-B14F-4D97-AF65-F5344CB8AC3E}">
        <p14:creationId xmlns:p14="http://schemas.microsoft.com/office/powerpoint/2010/main" val="42097468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Master" Target="../slideMasters/slideMaster3.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49.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0.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2.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3.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4.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5.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6.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7.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9.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30.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Master" Target="../slideMasters/slideMaster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49.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20.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21.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22.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23.pn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24.pn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25.pn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27.pn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28.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29.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30.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33.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Master" Target="../slideMasters/slideMaster5.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49.pn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2.emf"/><Relationship Id="rId4" Type="http://schemas.openxmlformats.org/officeDocument/2006/relationships/oleObject" Target="../embeddings/oleObject1.bin"/></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2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28.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29.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30.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3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32.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33.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Master" Target="../slideMasters/slideMaster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49.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Forside 3">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2CCE40-CB87-CF3D-3C78-4E5925E60970}"/>
              </a:ext>
            </a:extLst>
          </p:cNvPr>
          <p:cNvSpPr>
            <a:spLocks noGrp="1"/>
          </p:cNvSpPr>
          <p:nvPr>
            <p:ph type="title" hasCustomPrompt="1"/>
          </p:nvPr>
        </p:nvSpPr>
        <p:spPr>
          <a:xfrm>
            <a:off x="468313" y="1432426"/>
            <a:ext cx="6119911" cy="792088"/>
          </a:xfrm>
        </p:spPr>
        <p:txBody>
          <a:bodyPr anchor="b"/>
          <a:lstStyle>
            <a:lvl1pPr>
              <a:defRPr sz="3200">
                <a:solidFill>
                  <a:schemeClr val="tx1"/>
                </a:solidFill>
              </a:defRPr>
            </a:lvl1pPr>
          </a:lstStyle>
          <a:p>
            <a:r>
              <a:rPr lang="da-DK"/>
              <a:t>Klik for at redigere titeltypografien </a:t>
            </a:r>
            <a:br>
              <a:rPr lang="da-DK"/>
            </a:br>
            <a:r>
              <a:rPr lang="da-DK"/>
              <a:t>i masteren</a:t>
            </a:r>
            <a:endParaRPr lang="en-GB"/>
          </a:p>
        </p:txBody>
      </p:sp>
      <p:sp>
        <p:nvSpPr>
          <p:cNvPr id="6" name="Pladsholder til tekst 3">
            <a:extLst>
              <a:ext uri="{FF2B5EF4-FFF2-40B4-BE49-F238E27FC236}">
                <a16:creationId xmlns:a16="http://schemas.microsoft.com/office/drawing/2014/main" id="{5757799A-0EC8-8FFE-391A-C705EF55A04A}"/>
              </a:ext>
            </a:extLst>
          </p:cNvPr>
          <p:cNvSpPr>
            <a:spLocks noGrp="1"/>
          </p:cNvSpPr>
          <p:nvPr>
            <p:ph type="body" sz="quarter" idx="15"/>
          </p:nvPr>
        </p:nvSpPr>
        <p:spPr>
          <a:xfrm>
            <a:off x="468313" y="2386850"/>
            <a:ext cx="6119911" cy="1133807"/>
          </a:xfrm>
        </p:spPr>
        <p:txBody>
          <a:bodyPr rIns="0" anchor="t"/>
          <a:lstStyle>
            <a:lvl1pPr marL="0" indent="0" algn="l">
              <a:buNone/>
              <a:defRPr sz="1000" kern="0" baseline="0">
                <a:solidFill>
                  <a:schemeClr val="tx1"/>
                </a:solidFill>
              </a:defRPr>
            </a:lvl1pPr>
          </a:lstStyle>
          <a:p>
            <a:pPr lvl="0"/>
            <a:r>
              <a:rPr lang="da-DK"/>
              <a:t>Klik for at redigere teksttypografierne i masteren</a:t>
            </a:r>
          </a:p>
        </p:txBody>
      </p:sp>
      <p:sp>
        <p:nvSpPr>
          <p:cNvPr id="9" name="Pladsholder til tekst 6">
            <a:extLst>
              <a:ext uri="{FF2B5EF4-FFF2-40B4-BE49-F238E27FC236}">
                <a16:creationId xmlns:a16="http://schemas.microsoft.com/office/drawing/2014/main" id="{8ECC06A8-D032-5014-F9A2-748351BB8C88}"/>
              </a:ext>
            </a:extLst>
          </p:cNvPr>
          <p:cNvSpPr>
            <a:spLocks noGrp="1"/>
          </p:cNvSpPr>
          <p:nvPr>
            <p:ph type="body" sz="quarter" idx="18"/>
          </p:nvPr>
        </p:nvSpPr>
        <p:spPr>
          <a:xfrm>
            <a:off x="186110" y="4728638"/>
            <a:ext cx="1321200" cy="219600"/>
          </a:xfrm>
          <a:blipFill>
            <a:blip r:embed="rId2"/>
            <a:stretch>
              <a:fillRect/>
            </a:stretch>
          </a:blipFill>
        </p:spPr>
        <p:txBody>
          <a:bodyPr/>
          <a:lstStyle>
            <a:lvl1pPr marL="0" indent="0">
              <a:buNone/>
              <a:defRPr>
                <a:noFill/>
              </a:defRPr>
            </a:lvl1pPr>
          </a:lstStyle>
          <a:p>
            <a:pPr lvl="0"/>
            <a:r>
              <a:rPr lang="da-DK"/>
              <a:t>Klik for at redigere teksttypografierne i masteren</a:t>
            </a:r>
          </a:p>
        </p:txBody>
      </p:sp>
      <p:pic>
        <p:nvPicPr>
          <p:cNvPr id="3" name="Grafik 2">
            <a:extLst>
              <a:ext uri="{FF2B5EF4-FFF2-40B4-BE49-F238E27FC236}">
                <a16:creationId xmlns:a16="http://schemas.microsoft.com/office/drawing/2014/main" id="{2C59C273-8F97-8FCF-65FE-26C9B203B4A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741757" y="431651"/>
            <a:ext cx="931391" cy="4284398"/>
          </a:xfrm>
          <a:prstGeom prst="rect">
            <a:avLst/>
          </a:prstGeom>
        </p:spPr>
      </p:pic>
    </p:spTree>
    <p:extLst>
      <p:ext uri="{BB962C8B-B14F-4D97-AF65-F5344CB8AC3E}">
        <p14:creationId xmlns:p14="http://schemas.microsoft.com/office/powerpoint/2010/main" val="30522814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Overskrift + tekst + billede (venstre)">
    <p:bg>
      <p:bgPr>
        <a:solidFill>
          <a:schemeClr val="bg1"/>
        </a:solidFill>
        <a:effectLst/>
      </p:bgPr>
    </p:bg>
    <p:spTree>
      <p:nvGrpSpPr>
        <p:cNvPr id="1" name=""/>
        <p:cNvGrpSpPr/>
        <p:nvPr/>
      </p:nvGrpSpPr>
      <p:grpSpPr>
        <a:xfrm>
          <a:off x="0" y="0"/>
          <a:ext cx="0" cy="0"/>
          <a:chOff x="0" y="0"/>
          <a:chExt cx="0" cy="0"/>
        </a:xfrm>
      </p:grpSpPr>
      <p:sp>
        <p:nvSpPr>
          <p:cNvPr id="3" name="Pladsholder til billede 5">
            <a:extLst>
              <a:ext uri="{FF2B5EF4-FFF2-40B4-BE49-F238E27FC236}">
                <a16:creationId xmlns:a16="http://schemas.microsoft.com/office/drawing/2014/main" id="{87DB21CB-4EE7-18D5-FFC4-F2591CC30315}"/>
              </a:ext>
            </a:extLst>
          </p:cNvPr>
          <p:cNvSpPr>
            <a:spLocks noGrp="1"/>
          </p:cNvSpPr>
          <p:nvPr>
            <p:ph type="pic" sz="quarter" idx="12"/>
          </p:nvPr>
        </p:nvSpPr>
        <p:spPr>
          <a:xfrm>
            <a:off x="0" y="0"/>
            <a:ext cx="4572000" cy="5143500"/>
          </a:xfrm>
        </p:spPr>
        <p:txBody>
          <a:bodyPr>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2" name="Titel 1">
            <a:extLst>
              <a:ext uri="{FF2B5EF4-FFF2-40B4-BE49-F238E27FC236}">
                <a16:creationId xmlns:a16="http://schemas.microsoft.com/office/drawing/2014/main" id="{7B002998-56E0-B41C-4611-6E392593EFA3}"/>
              </a:ext>
            </a:extLst>
          </p:cNvPr>
          <p:cNvSpPr>
            <a:spLocks noGrp="1"/>
          </p:cNvSpPr>
          <p:nvPr>
            <p:ph type="title"/>
          </p:nvPr>
        </p:nvSpPr>
        <p:spPr>
          <a:xfrm>
            <a:off x="5148262" y="555625"/>
            <a:ext cx="3527427" cy="647973"/>
          </a:xfrm>
        </p:spPr>
        <p:txBody>
          <a:bodyPr/>
          <a:lstStyle/>
          <a:p>
            <a:r>
              <a:rPr lang="da-DK"/>
              <a:t>Klik for at redigere titeltypografien i masteren</a:t>
            </a:r>
            <a:endParaRPr lang="en-GB"/>
          </a:p>
        </p:txBody>
      </p:sp>
      <p:sp>
        <p:nvSpPr>
          <p:cNvPr id="4" name="Pladsholder til tekst 3">
            <a:extLst>
              <a:ext uri="{FF2B5EF4-FFF2-40B4-BE49-F238E27FC236}">
                <a16:creationId xmlns:a16="http://schemas.microsoft.com/office/drawing/2014/main" id="{E4635518-A0E4-AE02-8A01-B963156D663C}"/>
              </a:ext>
            </a:extLst>
          </p:cNvPr>
          <p:cNvSpPr>
            <a:spLocks noGrp="1"/>
          </p:cNvSpPr>
          <p:nvPr>
            <p:ph type="body" sz="quarter" idx="10"/>
          </p:nvPr>
        </p:nvSpPr>
        <p:spPr>
          <a:xfrm>
            <a:off x="5148263" y="1419225"/>
            <a:ext cx="3527426" cy="3168650"/>
          </a:xfrm>
        </p:spPr>
        <p:txBody>
          <a:bodyPr/>
          <a:lstStyle>
            <a:lvl1pPr marL="0" indent="0">
              <a:buNone/>
              <a:defRPr sz="1100"/>
            </a:lvl1pPr>
            <a:lvl2pPr marL="72000" indent="0">
              <a:buNone/>
              <a:defRPr/>
            </a:lvl2pPr>
            <a:lvl3pPr marL="252000" indent="0">
              <a:buNone/>
              <a:defRPr/>
            </a:lvl3pPr>
          </a:lstStyle>
          <a:p>
            <a:pPr lvl="0"/>
            <a:r>
              <a:rPr lang="da-DK"/>
              <a:t>Klik for at redigere teksttypografierne i masteren</a:t>
            </a:r>
          </a:p>
        </p:txBody>
      </p:sp>
      <p:sp>
        <p:nvSpPr>
          <p:cNvPr id="6" name="Pladsholder til tekst 5">
            <a:extLst>
              <a:ext uri="{FF2B5EF4-FFF2-40B4-BE49-F238E27FC236}">
                <a16:creationId xmlns:a16="http://schemas.microsoft.com/office/drawing/2014/main" id="{0E6AF5B2-3A69-1F49-DA1A-FED935DE13C4}"/>
              </a:ext>
            </a:extLst>
          </p:cNvPr>
          <p:cNvSpPr>
            <a:spLocks noGrp="1"/>
          </p:cNvSpPr>
          <p:nvPr>
            <p:ph type="body" sz="quarter" idx="11"/>
          </p:nvPr>
        </p:nvSpPr>
        <p:spPr>
          <a:xfrm>
            <a:off x="5148277" y="339726"/>
            <a:ext cx="3528179" cy="144462"/>
          </a:xfrm>
        </p:spPr>
        <p:txBody>
          <a:bodyPr vert="horz" lIns="14400" tIns="0" rIns="0" bIns="0" rtlCol="0">
            <a:noAutofit/>
          </a:bodyPr>
          <a:lstStyle>
            <a:lvl1pPr marL="0" indent="0">
              <a:buNone/>
              <a:defRPr lang="en-GB" sz="1000" cap="all" dirty="0">
                <a:solidFill>
                  <a:srgbClr val="878787"/>
                </a:solidFill>
                <a:latin typeface="Neue Haas Grotesk Text Pro" panose="020B0504020202020204" pitchFamily="34" charset="77"/>
              </a:defRPr>
            </a:lvl1pPr>
          </a:lstStyle>
          <a:p>
            <a:pPr marL="171450" lvl="0" indent="-171450"/>
            <a:r>
              <a:rPr lang="da-DK"/>
              <a:t>Klik for at redigere teksttypografierne i masteren</a:t>
            </a:r>
          </a:p>
        </p:txBody>
      </p:sp>
      <p:sp>
        <p:nvSpPr>
          <p:cNvPr id="5" name="Pladsholder til tekst 6">
            <a:extLst>
              <a:ext uri="{FF2B5EF4-FFF2-40B4-BE49-F238E27FC236}">
                <a16:creationId xmlns:a16="http://schemas.microsoft.com/office/drawing/2014/main" id="{29B2FAC6-BF26-045F-8DCE-F4BFC0851276}"/>
              </a:ext>
            </a:extLst>
          </p:cNvPr>
          <p:cNvSpPr>
            <a:spLocks noGrp="1"/>
          </p:cNvSpPr>
          <p:nvPr>
            <p:ph type="body" sz="quarter" idx="18"/>
          </p:nvPr>
        </p:nvSpPr>
        <p:spPr>
          <a:xfrm>
            <a:off x="186110" y="4728638"/>
            <a:ext cx="219600" cy="219600"/>
          </a:xfrm>
          <a:blipFill>
            <a:blip r:embed="rId2"/>
            <a:stretch>
              <a:fillRect/>
            </a:stretch>
          </a:blipFill>
        </p:spPr>
        <p:txBody>
          <a:bodyPr/>
          <a:lstStyle>
            <a:lvl1pPr marL="0" indent="0">
              <a:buNone/>
              <a:defRPr>
                <a:noFill/>
              </a:defRPr>
            </a:lvl1pPr>
          </a:lstStyle>
          <a:p>
            <a:pPr lvl="0"/>
            <a:r>
              <a:rPr lang="da-DK"/>
              <a:t>Klik for at redigere teksttypografierne i masteren</a:t>
            </a:r>
          </a:p>
        </p:txBody>
      </p:sp>
      <p:sp>
        <p:nvSpPr>
          <p:cNvPr id="7" name="Tekstfelt 6">
            <a:extLst>
              <a:ext uri="{FF2B5EF4-FFF2-40B4-BE49-F238E27FC236}">
                <a16:creationId xmlns:a16="http://schemas.microsoft.com/office/drawing/2014/main" id="{1F27B77A-47CB-1461-047F-56640092E97C}"/>
              </a:ext>
            </a:extLst>
          </p:cNvPr>
          <p:cNvSpPr txBox="1"/>
          <p:nvPr userDrawn="1"/>
        </p:nvSpPr>
        <p:spPr>
          <a:xfrm>
            <a:off x="-383241" y="3610535"/>
            <a:ext cx="0" cy="0"/>
          </a:xfrm>
          <a:prstGeom prst="rect">
            <a:avLst/>
          </a:prstGeom>
          <a:noFill/>
        </p:spPr>
        <p:txBody>
          <a:bodyPr wrap="none" rtlCol="0">
            <a:noAutofit/>
          </a:bodyPr>
          <a:lstStyle/>
          <a:p>
            <a:pPr algn="l"/>
            <a:endParaRPr lang="en-GB" sz="900">
              <a:latin typeface="Source Sans Pro Light" panose="020B0403030403020204" pitchFamily="34" charset="0"/>
              <a:cs typeface="Arial"/>
            </a:endParaRPr>
          </a:p>
        </p:txBody>
      </p:sp>
    </p:spTree>
    <p:extLst>
      <p:ext uri="{BB962C8B-B14F-4D97-AF65-F5344CB8AC3E}">
        <p14:creationId xmlns:p14="http://schemas.microsoft.com/office/powerpoint/2010/main" val="149525535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reaker A">
    <p:bg>
      <p:bgRef idx="1001">
        <a:schemeClr val="bg1"/>
      </p:bgRef>
    </p:bg>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6" name="Picture Placeholder 3">
            <a:extLst>
              <a:ext uri="{FF2B5EF4-FFF2-40B4-BE49-F238E27FC236}">
                <a16:creationId xmlns:a16="http://schemas.microsoft.com/office/drawing/2014/main" id="{ADCF4DF5-C986-E697-27B9-49E982F3621E}"/>
              </a:ext>
            </a:extLst>
          </p:cNvPr>
          <p:cNvSpPr>
            <a:spLocks noGrp="1"/>
          </p:cNvSpPr>
          <p:nvPr>
            <p:ph type="pic" sz="quarter" idx="14" hasCustomPrompt="1"/>
          </p:nvPr>
        </p:nvSpPr>
        <p:spPr>
          <a:xfrm>
            <a:off x="0" y="0"/>
            <a:ext cx="4504135" cy="51435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Tx/>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dirty="0"/>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dirty="0"/>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25EE03DE-7CB9-4829-AA4A-B448C54E8591}" type="datetime2">
              <a:rPr lang="da-DK" smtClean="0"/>
              <a:t>11. december 2025</a:t>
            </a:fld>
            <a:endParaRPr lang="da-DK" dirty="0"/>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dirty="0"/>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dirty="0"/>
          </a:p>
        </p:txBody>
      </p:sp>
      <p:sp>
        <p:nvSpPr>
          <p:cNvPr id="27" name="Makro grafik 1">
            <a:extLst>
              <a:ext uri="{FF2B5EF4-FFF2-40B4-BE49-F238E27FC236}">
                <a16:creationId xmlns:a16="http://schemas.microsoft.com/office/drawing/2014/main" id="{BCB3F802-0640-FE07-D164-6E14C9C290DB}"/>
              </a:ext>
            </a:extLst>
          </p:cNvPr>
          <p:cNvSpPr>
            <a:spLocks noGrp="1" noChangeAspect="1"/>
          </p:cNvSpPr>
          <p:nvPr>
            <p:ph type="body" sz="quarter" idx="25" hasCustomPrompt="1"/>
          </p:nvPr>
        </p:nvSpPr>
        <p:spPr>
          <a:xfrm>
            <a:off x="347623" y="3904622"/>
            <a:ext cx="1207553" cy="569472"/>
          </a:xfrm>
          <a:custGeom>
            <a:avLst/>
            <a:gdLst>
              <a:gd name="connsiteX0" fmla="*/ 0 w 1610070"/>
              <a:gd name="connsiteY0" fmla="*/ 646468 h 759296"/>
              <a:gd name="connsiteX1" fmla="*/ 1610070 w 1610070"/>
              <a:gd name="connsiteY1" fmla="*/ 646468 h 759296"/>
              <a:gd name="connsiteX2" fmla="*/ 1610070 w 1610070"/>
              <a:gd name="connsiteY2" fmla="*/ 759296 h 759296"/>
              <a:gd name="connsiteX3" fmla="*/ 0 w 1610070"/>
              <a:gd name="connsiteY3" fmla="*/ 759296 h 759296"/>
              <a:gd name="connsiteX4" fmla="*/ 0 w 1610070"/>
              <a:gd name="connsiteY4" fmla="*/ 0 h 759296"/>
              <a:gd name="connsiteX5" fmla="*/ 1610070 w 1610070"/>
              <a:gd name="connsiteY5" fmla="*/ 0 h 759296"/>
              <a:gd name="connsiteX6" fmla="*/ 1610070 w 1610070"/>
              <a:gd name="connsiteY6" fmla="*/ 112829 h 759296"/>
              <a:gd name="connsiteX7" fmla="*/ 0 w 1610070"/>
              <a:gd name="connsiteY7" fmla="*/ 112829 h 759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0070" h="759296">
                <a:moveTo>
                  <a:pt x="0" y="646468"/>
                </a:moveTo>
                <a:lnTo>
                  <a:pt x="1610070" y="646468"/>
                </a:lnTo>
                <a:lnTo>
                  <a:pt x="1610070" y="759296"/>
                </a:lnTo>
                <a:lnTo>
                  <a:pt x="0" y="759296"/>
                </a:lnTo>
                <a:close/>
                <a:moveTo>
                  <a:pt x="0" y="0"/>
                </a:moveTo>
                <a:lnTo>
                  <a:pt x="1610070" y="0"/>
                </a:lnTo>
                <a:lnTo>
                  <a:pt x="1610070" y="112829"/>
                </a:lnTo>
                <a:lnTo>
                  <a:pt x="0" y="112829"/>
                </a:lnTo>
                <a:close/>
              </a:path>
            </a:pathLst>
          </a:custGeom>
          <a:solidFill>
            <a:srgbClr val="FB7A5C"/>
          </a:solid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
        <p:nvSpPr>
          <p:cNvPr id="22" name="Makro grafik 2">
            <a:extLst>
              <a:ext uri="{FF2B5EF4-FFF2-40B4-BE49-F238E27FC236}">
                <a16:creationId xmlns:a16="http://schemas.microsoft.com/office/drawing/2014/main" id="{6989E875-2685-8530-428A-CEC55B52321F}"/>
              </a:ext>
            </a:extLst>
          </p:cNvPr>
          <p:cNvSpPr>
            <a:spLocks noGrp="1" noChangeAspect="1"/>
          </p:cNvSpPr>
          <p:nvPr>
            <p:ph type="body" sz="quarter" idx="24" hasCustomPrompt="1"/>
          </p:nvPr>
        </p:nvSpPr>
        <p:spPr>
          <a:xfrm>
            <a:off x="3294273" y="299690"/>
            <a:ext cx="1463740" cy="1463700"/>
          </a:xfrm>
          <a:custGeom>
            <a:avLst/>
            <a:gdLst>
              <a:gd name="connsiteX0" fmla="*/ 1823575 w 1951653"/>
              <a:gd name="connsiteY0" fmla="*/ 0 h 1951600"/>
              <a:gd name="connsiteX1" fmla="*/ 1951653 w 1951653"/>
              <a:gd name="connsiteY1" fmla="*/ 0 h 1951600"/>
              <a:gd name="connsiteX2" fmla="*/ 1320427 w 1951653"/>
              <a:gd name="connsiteY2" fmla="*/ 1951600 h 1951600"/>
              <a:gd name="connsiteX3" fmla="*/ 1186254 w 1951653"/>
              <a:gd name="connsiteY3" fmla="*/ 1951600 h 1951600"/>
              <a:gd name="connsiteX4" fmla="*/ 494002 w 1951653"/>
              <a:gd name="connsiteY4" fmla="*/ 0 h 1951600"/>
              <a:gd name="connsiteX5" fmla="*/ 609875 w 1951653"/>
              <a:gd name="connsiteY5" fmla="*/ 0 h 1951600"/>
              <a:gd name="connsiteX6" fmla="*/ 603780 w 1951653"/>
              <a:gd name="connsiteY6" fmla="*/ 515346 h 1951600"/>
              <a:gd name="connsiteX7" fmla="*/ 1042889 w 1951653"/>
              <a:gd name="connsiteY7" fmla="*/ 256148 h 1951600"/>
              <a:gd name="connsiteX8" fmla="*/ 1103877 w 1951653"/>
              <a:gd name="connsiteY8" fmla="*/ 350676 h 1951600"/>
              <a:gd name="connsiteX9" fmla="*/ 655620 w 1951653"/>
              <a:gd name="connsiteY9" fmla="*/ 603772 h 1951600"/>
              <a:gd name="connsiteX10" fmla="*/ 1103877 w 1951653"/>
              <a:gd name="connsiteY10" fmla="*/ 850773 h 1951600"/>
              <a:gd name="connsiteX11" fmla="*/ 1042889 w 1951653"/>
              <a:gd name="connsiteY11" fmla="*/ 945302 h 1951600"/>
              <a:gd name="connsiteX12" fmla="*/ 603780 w 1951653"/>
              <a:gd name="connsiteY12" fmla="*/ 686111 h 1951600"/>
              <a:gd name="connsiteX13" fmla="*/ 609875 w 1951653"/>
              <a:gd name="connsiteY13" fmla="*/ 1174011 h 1951600"/>
              <a:gd name="connsiteX14" fmla="*/ 494002 w 1951653"/>
              <a:gd name="connsiteY14" fmla="*/ 1174011 h 1951600"/>
              <a:gd name="connsiteX15" fmla="*/ 497053 w 1951653"/>
              <a:gd name="connsiteY15" fmla="*/ 686111 h 1951600"/>
              <a:gd name="connsiteX16" fmla="*/ 57944 w 1951653"/>
              <a:gd name="connsiteY16" fmla="*/ 945302 h 1951600"/>
              <a:gd name="connsiteX17" fmla="*/ 0 w 1951653"/>
              <a:gd name="connsiteY17" fmla="*/ 850773 h 1951600"/>
              <a:gd name="connsiteX18" fmla="*/ 442161 w 1951653"/>
              <a:gd name="connsiteY18" fmla="*/ 603772 h 1951600"/>
              <a:gd name="connsiteX19" fmla="*/ 0 w 1951653"/>
              <a:gd name="connsiteY19" fmla="*/ 350676 h 1951600"/>
              <a:gd name="connsiteX20" fmla="*/ 57944 w 1951653"/>
              <a:gd name="connsiteY20" fmla="*/ 256148 h 1951600"/>
              <a:gd name="connsiteX21" fmla="*/ 497053 w 1951653"/>
              <a:gd name="connsiteY21" fmla="*/ 515346 h 195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51653" h="1951600">
                <a:moveTo>
                  <a:pt x="1823575" y="0"/>
                </a:moveTo>
                <a:lnTo>
                  <a:pt x="1951653" y="0"/>
                </a:lnTo>
                <a:lnTo>
                  <a:pt x="1320427" y="1951600"/>
                </a:lnTo>
                <a:lnTo>
                  <a:pt x="1186254" y="1951600"/>
                </a:lnTo>
                <a:close/>
                <a:moveTo>
                  <a:pt x="494002" y="0"/>
                </a:moveTo>
                <a:lnTo>
                  <a:pt x="609875" y="0"/>
                </a:lnTo>
                <a:lnTo>
                  <a:pt x="603780" y="515346"/>
                </a:lnTo>
                <a:lnTo>
                  <a:pt x="1042889" y="256148"/>
                </a:lnTo>
                <a:lnTo>
                  <a:pt x="1103877" y="350676"/>
                </a:lnTo>
                <a:lnTo>
                  <a:pt x="655620" y="603772"/>
                </a:lnTo>
                <a:lnTo>
                  <a:pt x="1103877" y="850773"/>
                </a:lnTo>
                <a:lnTo>
                  <a:pt x="1042889" y="945302"/>
                </a:lnTo>
                <a:lnTo>
                  <a:pt x="603780" y="686111"/>
                </a:lnTo>
                <a:lnTo>
                  <a:pt x="609875" y="1174011"/>
                </a:lnTo>
                <a:lnTo>
                  <a:pt x="494002" y="1174011"/>
                </a:lnTo>
                <a:lnTo>
                  <a:pt x="497053" y="686111"/>
                </a:lnTo>
                <a:lnTo>
                  <a:pt x="57944" y="945302"/>
                </a:lnTo>
                <a:lnTo>
                  <a:pt x="0" y="850773"/>
                </a:lnTo>
                <a:lnTo>
                  <a:pt x="442161" y="603772"/>
                </a:lnTo>
                <a:lnTo>
                  <a:pt x="0" y="350676"/>
                </a:lnTo>
                <a:lnTo>
                  <a:pt x="57944" y="256148"/>
                </a:lnTo>
                <a:lnTo>
                  <a:pt x="497053" y="515346"/>
                </a:lnTo>
                <a:close/>
              </a:path>
            </a:pathLst>
          </a:custGeom>
          <a:solidFill>
            <a:srgbClr val="FB7A5C"/>
          </a:solid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
        <p:nvSpPr>
          <p:cNvPr id="4" name="TextBox 1">
            <a:extLst>
              <a:ext uri="{FF2B5EF4-FFF2-40B4-BE49-F238E27FC236}">
                <a16:creationId xmlns:a16="http://schemas.microsoft.com/office/drawing/2014/main" id="{E003BBB7-D4D4-3560-0120-C84A7CDC3DF5}"/>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spTree>
    <p:extLst>
      <p:ext uri="{BB962C8B-B14F-4D97-AF65-F5344CB8AC3E}">
        <p14:creationId xmlns:p14="http://schemas.microsoft.com/office/powerpoint/2010/main" val="33763294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reaker B">
    <p:bg>
      <p:bgRef idx="1001">
        <a:schemeClr val="bg1"/>
      </p:bgRef>
    </p:bg>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Tx/>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dirty="0"/>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dirty="0"/>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3BB9AE99-772C-4228-AF46-BF964994F324}" type="datetime2">
              <a:rPr lang="da-DK" smtClean="0"/>
              <a:t>11. december 2025</a:t>
            </a:fld>
            <a:endParaRPr lang="da-DK" dirty="0"/>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dirty="0"/>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dirty="0"/>
          </a:p>
        </p:txBody>
      </p:sp>
      <p:sp>
        <p:nvSpPr>
          <p:cNvPr id="4" name="Mikro grafik 1">
            <a:extLst>
              <a:ext uri="{FF2B5EF4-FFF2-40B4-BE49-F238E27FC236}">
                <a16:creationId xmlns:a16="http://schemas.microsoft.com/office/drawing/2014/main" id="{1B983BE9-C3EE-2A5C-EF3B-FAFB9F9058AF}"/>
              </a:ext>
            </a:extLst>
          </p:cNvPr>
          <p:cNvSpPr>
            <a:spLocks noGrp="1"/>
          </p:cNvSpPr>
          <p:nvPr>
            <p:ph type="body" sz="quarter" idx="18" hasCustomPrompt="1"/>
          </p:nvPr>
        </p:nvSpPr>
        <p:spPr>
          <a:xfrm>
            <a:off x="257176" y="930323"/>
            <a:ext cx="4065815" cy="3297139"/>
          </a:xfrm>
          <a:custGeom>
            <a:avLst/>
            <a:gdLst>
              <a:gd name="connsiteX0" fmla="*/ 3875521 w 5498758"/>
              <a:gd name="connsiteY0" fmla="*/ 4290095 h 4459172"/>
              <a:gd name="connsiteX1" fmla="*/ 4001824 w 5498758"/>
              <a:gd name="connsiteY1" fmla="*/ 4290095 h 4459172"/>
              <a:gd name="connsiteX2" fmla="*/ 4001824 w 5498758"/>
              <a:gd name="connsiteY2" fmla="*/ 4396023 h 4459172"/>
              <a:gd name="connsiteX3" fmla="*/ 3875521 w 5498758"/>
              <a:gd name="connsiteY3" fmla="*/ 4396023 h 4459172"/>
              <a:gd name="connsiteX4" fmla="*/ 2034141 w 5498758"/>
              <a:gd name="connsiteY4" fmla="*/ 4198427 h 4459172"/>
              <a:gd name="connsiteX5" fmla="*/ 2586194 w 5498758"/>
              <a:gd name="connsiteY5" fmla="*/ 4198427 h 4459172"/>
              <a:gd name="connsiteX6" fmla="*/ 2586194 w 5498758"/>
              <a:gd name="connsiteY6" fmla="*/ 4263614 h 4459172"/>
              <a:gd name="connsiteX7" fmla="*/ 2034141 w 5498758"/>
              <a:gd name="connsiteY7" fmla="*/ 4263614 h 4459172"/>
              <a:gd name="connsiteX8" fmla="*/ 2034141 w 5498758"/>
              <a:gd name="connsiteY8" fmla="*/ 3985552 h 4459172"/>
              <a:gd name="connsiteX9" fmla="*/ 2586194 w 5498758"/>
              <a:gd name="connsiteY9" fmla="*/ 3985552 h 4459172"/>
              <a:gd name="connsiteX10" fmla="*/ 2586194 w 5498758"/>
              <a:gd name="connsiteY10" fmla="*/ 4050739 h 4459172"/>
              <a:gd name="connsiteX11" fmla="*/ 2034141 w 5498758"/>
              <a:gd name="connsiteY11" fmla="*/ 4050739 h 4459172"/>
              <a:gd name="connsiteX12" fmla="*/ 3269090 w 5498758"/>
              <a:gd name="connsiteY12" fmla="*/ 3670481 h 4459172"/>
              <a:gd name="connsiteX13" fmla="*/ 3497245 w 5498758"/>
              <a:gd name="connsiteY13" fmla="*/ 3670481 h 4459172"/>
              <a:gd name="connsiteX14" fmla="*/ 3497245 w 5498758"/>
              <a:gd name="connsiteY14" fmla="*/ 3728711 h 4459172"/>
              <a:gd name="connsiteX15" fmla="*/ 3497245 w 5498758"/>
              <a:gd name="connsiteY15" fmla="*/ 4399124 h 4459172"/>
              <a:gd name="connsiteX16" fmla="*/ 3497245 w 5498758"/>
              <a:gd name="connsiteY16" fmla="*/ 4457355 h 4459172"/>
              <a:gd name="connsiteX17" fmla="*/ 3269090 w 5498758"/>
              <a:gd name="connsiteY17" fmla="*/ 4457355 h 4459172"/>
              <a:gd name="connsiteX18" fmla="*/ 3269090 w 5498758"/>
              <a:gd name="connsiteY18" fmla="*/ 4399124 h 4459172"/>
              <a:gd name="connsiteX19" fmla="*/ 3426962 w 5498758"/>
              <a:gd name="connsiteY19" fmla="*/ 4399124 h 4459172"/>
              <a:gd name="connsiteX20" fmla="*/ 3426962 w 5498758"/>
              <a:gd name="connsiteY20" fmla="*/ 3728711 h 4459172"/>
              <a:gd name="connsiteX21" fmla="*/ 3269090 w 5498758"/>
              <a:gd name="connsiteY21" fmla="*/ 3728711 h 4459172"/>
              <a:gd name="connsiteX22" fmla="*/ 2980062 w 5498758"/>
              <a:gd name="connsiteY22" fmla="*/ 3670481 h 4459172"/>
              <a:gd name="connsiteX23" fmla="*/ 3208209 w 5498758"/>
              <a:gd name="connsiteY23" fmla="*/ 3670481 h 4459172"/>
              <a:gd name="connsiteX24" fmla="*/ 3208209 w 5498758"/>
              <a:gd name="connsiteY24" fmla="*/ 3728711 h 4459172"/>
              <a:gd name="connsiteX25" fmla="*/ 3050336 w 5498758"/>
              <a:gd name="connsiteY25" fmla="*/ 3728711 h 4459172"/>
              <a:gd name="connsiteX26" fmla="*/ 3050336 w 5498758"/>
              <a:gd name="connsiteY26" fmla="*/ 4399124 h 4459172"/>
              <a:gd name="connsiteX27" fmla="*/ 3208209 w 5498758"/>
              <a:gd name="connsiteY27" fmla="*/ 4399124 h 4459172"/>
              <a:gd name="connsiteX28" fmla="*/ 3208209 w 5498758"/>
              <a:gd name="connsiteY28" fmla="*/ 4457355 h 4459172"/>
              <a:gd name="connsiteX29" fmla="*/ 2980062 w 5498758"/>
              <a:gd name="connsiteY29" fmla="*/ 4457355 h 4459172"/>
              <a:gd name="connsiteX30" fmla="*/ 2980062 w 5498758"/>
              <a:gd name="connsiteY30" fmla="*/ 4399124 h 4459172"/>
              <a:gd name="connsiteX31" fmla="*/ 2980062 w 5498758"/>
              <a:gd name="connsiteY31" fmla="*/ 3728711 h 4459172"/>
              <a:gd name="connsiteX32" fmla="*/ 5216619 w 5498758"/>
              <a:gd name="connsiteY32" fmla="*/ 3666747 h 4459172"/>
              <a:gd name="connsiteX33" fmla="*/ 5247512 w 5498758"/>
              <a:gd name="connsiteY33" fmla="*/ 3667786 h 4459172"/>
              <a:gd name="connsiteX34" fmla="*/ 5276218 w 5498758"/>
              <a:gd name="connsiteY34" fmla="*/ 3670875 h 4459172"/>
              <a:gd name="connsiteX35" fmla="*/ 5302804 w 5498758"/>
              <a:gd name="connsiteY35" fmla="*/ 3675971 h 4459172"/>
              <a:gd name="connsiteX36" fmla="*/ 5327340 w 5498758"/>
              <a:gd name="connsiteY36" fmla="*/ 3683030 h 4459172"/>
              <a:gd name="connsiteX37" fmla="*/ 5349898 w 5498758"/>
              <a:gd name="connsiteY37" fmla="*/ 3692010 h 4459172"/>
              <a:gd name="connsiteX38" fmla="*/ 5370546 w 5498758"/>
              <a:gd name="connsiteY38" fmla="*/ 3702868 h 4459172"/>
              <a:gd name="connsiteX39" fmla="*/ 5406397 w 5498758"/>
              <a:gd name="connsiteY39" fmla="*/ 3730047 h 4459172"/>
              <a:gd name="connsiteX40" fmla="*/ 5435450 w 5498758"/>
              <a:gd name="connsiteY40" fmla="*/ 3764224 h 4459172"/>
              <a:gd name="connsiteX41" fmla="*/ 5447604 w 5498758"/>
              <a:gd name="connsiteY41" fmla="*/ 3783829 h 4459172"/>
              <a:gd name="connsiteX42" fmla="*/ 5458267 w 5498758"/>
              <a:gd name="connsiteY42" fmla="*/ 3805055 h 4459172"/>
              <a:gd name="connsiteX43" fmla="*/ 5467511 w 5498758"/>
              <a:gd name="connsiteY43" fmla="*/ 3827858 h 4459172"/>
              <a:gd name="connsiteX44" fmla="*/ 5475406 w 5498758"/>
              <a:gd name="connsiteY44" fmla="*/ 3852197 h 4459172"/>
              <a:gd name="connsiteX45" fmla="*/ 5482020 w 5498758"/>
              <a:gd name="connsiteY45" fmla="*/ 3878028 h 4459172"/>
              <a:gd name="connsiteX46" fmla="*/ 5487426 w 5498758"/>
              <a:gd name="connsiteY46" fmla="*/ 3905307 h 4459172"/>
              <a:gd name="connsiteX47" fmla="*/ 5491692 w 5498758"/>
              <a:gd name="connsiteY47" fmla="*/ 3933993 h 4459172"/>
              <a:gd name="connsiteX48" fmla="*/ 5494888 w 5498758"/>
              <a:gd name="connsiteY48" fmla="*/ 3964042 h 4459172"/>
              <a:gd name="connsiteX49" fmla="*/ 5497084 w 5498758"/>
              <a:gd name="connsiteY49" fmla="*/ 3995412 h 4459172"/>
              <a:gd name="connsiteX50" fmla="*/ 5498352 w 5498758"/>
              <a:gd name="connsiteY50" fmla="*/ 4028059 h 4459172"/>
              <a:gd name="connsiteX51" fmla="*/ 5498758 w 5498758"/>
              <a:gd name="connsiteY51" fmla="*/ 4061941 h 4459172"/>
              <a:gd name="connsiteX52" fmla="*/ 5498370 w 5498758"/>
              <a:gd name="connsiteY52" fmla="*/ 4095968 h 4459172"/>
              <a:gd name="connsiteX53" fmla="*/ 5497160 w 5498758"/>
              <a:gd name="connsiteY53" fmla="*/ 4128760 h 4459172"/>
              <a:gd name="connsiteX54" fmla="*/ 5495049 w 5498758"/>
              <a:gd name="connsiteY54" fmla="*/ 4160274 h 4459172"/>
              <a:gd name="connsiteX55" fmla="*/ 5491962 w 5498758"/>
              <a:gd name="connsiteY55" fmla="*/ 4190464 h 4459172"/>
              <a:gd name="connsiteX56" fmla="*/ 5487822 w 5498758"/>
              <a:gd name="connsiteY56" fmla="*/ 4219289 h 4459172"/>
              <a:gd name="connsiteX57" fmla="*/ 5482556 w 5498758"/>
              <a:gd name="connsiteY57" fmla="*/ 4246704 h 4459172"/>
              <a:gd name="connsiteX58" fmla="*/ 5476085 w 5498758"/>
              <a:gd name="connsiteY58" fmla="*/ 4272666 h 4459172"/>
              <a:gd name="connsiteX59" fmla="*/ 5468335 w 5498758"/>
              <a:gd name="connsiteY59" fmla="*/ 4297132 h 4459172"/>
              <a:gd name="connsiteX60" fmla="*/ 5459230 w 5498758"/>
              <a:gd name="connsiteY60" fmla="*/ 4320057 h 4459172"/>
              <a:gd name="connsiteX61" fmla="*/ 5448693 w 5498758"/>
              <a:gd name="connsiteY61" fmla="*/ 4341398 h 4459172"/>
              <a:gd name="connsiteX62" fmla="*/ 5436648 w 5498758"/>
              <a:gd name="connsiteY62" fmla="*/ 4361113 h 4459172"/>
              <a:gd name="connsiteX63" fmla="*/ 5407736 w 5498758"/>
              <a:gd name="connsiteY63" fmla="*/ 4395485 h 4459172"/>
              <a:gd name="connsiteX64" fmla="*/ 5371884 w 5498758"/>
              <a:gd name="connsiteY64" fmla="*/ 4422825 h 4459172"/>
              <a:gd name="connsiteX65" fmla="*/ 5351165 w 5498758"/>
              <a:gd name="connsiteY65" fmla="*/ 4433750 h 4459172"/>
              <a:gd name="connsiteX66" fmla="*/ 5328485 w 5498758"/>
              <a:gd name="connsiteY66" fmla="*/ 4442786 h 4459172"/>
              <a:gd name="connsiteX67" fmla="*/ 5303766 w 5498758"/>
              <a:gd name="connsiteY67" fmla="*/ 4449890 h 4459172"/>
              <a:gd name="connsiteX68" fmla="*/ 5276932 w 5498758"/>
              <a:gd name="connsiteY68" fmla="*/ 4455018 h 4459172"/>
              <a:gd name="connsiteX69" fmla="*/ 5247908 w 5498758"/>
              <a:gd name="connsiteY69" fmla="*/ 4458127 h 4459172"/>
              <a:gd name="connsiteX70" fmla="*/ 5216619 w 5498758"/>
              <a:gd name="connsiteY70" fmla="*/ 4459172 h 4459172"/>
              <a:gd name="connsiteX71" fmla="*/ 5216619 w 5498758"/>
              <a:gd name="connsiteY71" fmla="*/ 4400097 h 4459172"/>
              <a:gd name="connsiteX72" fmla="*/ 5246934 w 5498758"/>
              <a:gd name="connsiteY72" fmla="*/ 4398734 h 4459172"/>
              <a:gd name="connsiteX73" fmla="*/ 5274342 w 5498758"/>
              <a:gd name="connsiteY73" fmla="*/ 4394695 h 4459172"/>
              <a:gd name="connsiteX74" fmla="*/ 5298981 w 5498758"/>
              <a:gd name="connsiteY74" fmla="*/ 4388051 h 4459172"/>
              <a:gd name="connsiteX75" fmla="*/ 5320990 w 5498758"/>
              <a:gd name="connsiteY75" fmla="*/ 4378874 h 4459172"/>
              <a:gd name="connsiteX76" fmla="*/ 5357666 w 5498758"/>
              <a:gd name="connsiteY76" fmla="*/ 4353212 h 4459172"/>
              <a:gd name="connsiteX77" fmla="*/ 5385476 w 5498758"/>
              <a:gd name="connsiteY77" fmla="*/ 4318285 h 4459172"/>
              <a:gd name="connsiteX78" fmla="*/ 5396402 w 5498758"/>
              <a:gd name="connsiteY78" fmla="*/ 4297528 h 4459172"/>
              <a:gd name="connsiteX79" fmla="*/ 5405524 w 5498758"/>
              <a:gd name="connsiteY79" fmla="*/ 4274671 h 4459172"/>
              <a:gd name="connsiteX80" fmla="*/ 5412982 w 5498758"/>
              <a:gd name="connsiteY80" fmla="*/ 4249786 h 4459172"/>
              <a:gd name="connsiteX81" fmla="*/ 5418916 w 5498758"/>
              <a:gd name="connsiteY81" fmla="*/ 4222947 h 4459172"/>
              <a:gd name="connsiteX82" fmla="*/ 5423460 w 5498758"/>
              <a:gd name="connsiteY82" fmla="*/ 4194223 h 4459172"/>
              <a:gd name="connsiteX83" fmla="*/ 5426754 w 5498758"/>
              <a:gd name="connsiteY83" fmla="*/ 4163689 h 4459172"/>
              <a:gd name="connsiteX84" fmla="*/ 5428935 w 5498758"/>
              <a:gd name="connsiteY84" fmla="*/ 4131416 h 4459172"/>
              <a:gd name="connsiteX85" fmla="*/ 5430142 w 5498758"/>
              <a:gd name="connsiteY85" fmla="*/ 4097476 h 4459172"/>
              <a:gd name="connsiteX86" fmla="*/ 5430514 w 5498758"/>
              <a:gd name="connsiteY86" fmla="*/ 4061941 h 4459172"/>
              <a:gd name="connsiteX87" fmla="*/ 5430122 w 5498758"/>
              <a:gd name="connsiteY87" fmla="*/ 4026755 h 4459172"/>
              <a:gd name="connsiteX88" fmla="*/ 5428860 w 5498758"/>
              <a:gd name="connsiteY88" fmla="*/ 3993143 h 4459172"/>
              <a:gd name="connsiteX89" fmla="*/ 5426596 w 5498758"/>
              <a:gd name="connsiteY89" fmla="*/ 3961177 h 4459172"/>
              <a:gd name="connsiteX90" fmla="*/ 5423200 w 5498758"/>
              <a:gd name="connsiteY90" fmla="*/ 3930927 h 4459172"/>
              <a:gd name="connsiteX91" fmla="*/ 5418542 w 5498758"/>
              <a:gd name="connsiteY91" fmla="*/ 3902469 h 4459172"/>
              <a:gd name="connsiteX92" fmla="*/ 5412490 w 5498758"/>
              <a:gd name="connsiteY92" fmla="*/ 3875872 h 4459172"/>
              <a:gd name="connsiteX93" fmla="*/ 5404915 w 5498758"/>
              <a:gd name="connsiteY93" fmla="*/ 3851210 h 4459172"/>
              <a:gd name="connsiteX94" fmla="*/ 5395686 w 5498758"/>
              <a:gd name="connsiteY94" fmla="*/ 3828553 h 4459172"/>
              <a:gd name="connsiteX95" fmla="*/ 5384671 w 5498758"/>
              <a:gd name="connsiteY95" fmla="*/ 3807976 h 4459172"/>
              <a:gd name="connsiteX96" fmla="*/ 5356765 w 5498758"/>
              <a:gd name="connsiteY96" fmla="*/ 3773345 h 4459172"/>
              <a:gd name="connsiteX97" fmla="*/ 5320150 w 5498758"/>
              <a:gd name="connsiteY97" fmla="*/ 3747894 h 4459172"/>
              <a:gd name="connsiteX98" fmla="*/ 5298251 w 5498758"/>
              <a:gd name="connsiteY98" fmla="*/ 3738792 h 4459172"/>
              <a:gd name="connsiteX99" fmla="*/ 5273782 w 5498758"/>
              <a:gd name="connsiteY99" fmla="*/ 3732201 h 4459172"/>
              <a:gd name="connsiteX100" fmla="*/ 5246616 w 5498758"/>
              <a:gd name="connsiteY100" fmla="*/ 3728193 h 4459172"/>
              <a:gd name="connsiteX101" fmla="*/ 5216619 w 5498758"/>
              <a:gd name="connsiteY101" fmla="*/ 3726841 h 4459172"/>
              <a:gd name="connsiteX102" fmla="*/ 5160582 w 5498758"/>
              <a:gd name="connsiteY102" fmla="*/ 3666747 h 4459172"/>
              <a:gd name="connsiteX103" fmla="*/ 5160582 w 5498758"/>
              <a:gd name="connsiteY103" fmla="*/ 3726841 h 4459172"/>
              <a:gd name="connsiteX104" fmla="*/ 5130753 w 5498758"/>
              <a:gd name="connsiteY104" fmla="*/ 3728193 h 4459172"/>
              <a:gd name="connsiteX105" fmla="*/ 5103735 w 5498758"/>
              <a:gd name="connsiteY105" fmla="*/ 3732201 h 4459172"/>
              <a:gd name="connsiteX106" fmla="*/ 5079398 w 5498758"/>
              <a:gd name="connsiteY106" fmla="*/ 3738792 h 4459172"/>
              <a:gd name="connsiteX107" fmla="*/ 5057612 w 5498758"/>
              <a:gd name="connsiteY107" fmla="*/ 3747894 h 4459172"/>
              <a:gd name="connsiteX108" fmla="*/ 5021178 w 5498758"/>
              <a:gd name="connsiteY108" fmla="*/ 3773345 h 4459172"/>
              <a:gd name="connsiteX109" fmla="*/ 4993394 w 5498758"/>
              <a:gd name="connsiteY109" fmla="*/ 3807976 h 4459172"/>
              <a:gd name="connsiteX110" fmla="*/ 4982426 w 5498758"/>
              <a:gd name="connsiteY110" fmla="*/ 3828553 h 4459172"/>
              <a:gd name="connsiteX111" fmla="*/ 4973230 w 5498758"/>
              <a:gd name="connsiteY111" fmla="*/ 3851210 h 4459172"/>
              <a:gd name="connsiteX112" fmla="*/ 4965682 w 5498758"/>
              <a:gd name="connsiteY112" fmla="*/ 3875872 h 4459172"/>
              <a:gd name="connsiteX113" fmla="*/ 4959648 w 5498758"/>
              <a:gd name="connsiteY113" fmla="*/ 3902469 h 4459172"/>
              <a:gd name="connsiteX114" fmla="*/ 4955003 w 5498758"/>
              <a:gd name="connsiteY114" fmla="*/ 3930927 h 4459172"/>
              <a:gd name="connsiteX115" fmla="*/ 4951615 w 5498758"/>
              <a:gd name="connsiteY115" fmla="*/ 3961177 h 4459172"/>
              <a:gd name="connsiteX116" fmla="*/ 4949355 w 5498758"/>
              <a:gd name="connsiteY116" fmla="*/ 3993143 h 4459172"/>
              <a:gd name="connsiteX117" fmla="*/ 4948094 w 5498758"/>
              <a:gd name="connsiteY117" fmla="*/ 4026755 h 4459172"/>
              <a:gd name="connsiteX118" fmla="*/ 4947702 w 5498758"/>
              <a:gd name="connsiteY118" fmla="*/ 4061941 h 4459172"/>
              <a:gd name="connsiteX119" fmla="*/ 4948084 w 5498758"/>
              <a:gd name="connsiteY119" fmla="*/ 4097476 h 4459172"/>
              <a:gd name="connsiteX120" fmla="*/ 4949318 w 5498758"/>
              <a:gd name="connsiteY120" fmla="*/ 4131416 h 4459172"/>
              <a:gd name="connsiteX121" fmla="*/ 4951536 w 5498758"/>
              <a:gd name="connsiteY121" fmla="*/ 4163689 h 4459172"/>
              <a:gd name="connsiteX122" fmla="*/ 4954874 w 5498758"/>
              <a:gd name="connsiteY122" fmla="*/ 4194223 h 4459172"/>
              <a:gd name="connsiteX123" fmla="*/ 4959462 w 5498758"/>
              <a:gd name="connsiteY123" fmla="*/ 4222947 h 4459172"/>
              <a:gd name="connsiteX124" fmla="*/ 4965436 w 5498758"/>
              <a:gd name="connsiteY124" fmla="*/ 4249786 h 4459172"/>
              <a:gd name="connsiteX125" fmla="*/ 4972926 w 5498758"/>
              <a:gd name="connsiteY125" fmla="*/ 4274671 h 4459172"/>
              <a:gd name="connsiteX126" fmla="*/ 4982067 w 5498758"/>
              <a:gd name="connsiteY126" fmla="*/ 4297528 h 4459172"/>
              <a:gd name="connsiteX127" fmla="*/ 4992992 w 5498758"/>
              <a:gd name="connsiteY127" fmla="*/ 4318285 h 4459172"/>
              <a:gd name="connsiteX128" fmla="*/ 5020726 w 5498758"/>
              <a:gd name="connsiteY128" fmla="*/ 4353212 h 4459172"/>
              <a:gd name="connsiteX129" fmla="*/ 5057192 w 5498758"/>
              <a:gd name="connsiteY129" fmla="*/ 4378874 h 4459172"/>
              <a:gd name="connsiteX130" fmla="*/ 5079032 w 5498758"/>
              <a:gd name="connsiteY130" fmla="*/ 4388051 h 4459172"/>
              <a:gd name="connsiteX131" fmla="*/ 5103455 w 5498758"/>
              <a:gd name="connsiteY131" fmla="*/ 4394695 h 4459172"/>
              <a:gd name="connsiteX132" fmla="*/ 5130594 w 5498758"/>
              <a:gd name="connsiteY132" fmla="*/ 4398734 h 4459172"/>
              <a:gd name="connsiteX133" fmla="*/ 5160582 w 5498758"/>
              <a:gd name="connsiteY133" fmla="*/ 4400097 h 4459172"/>
              <a:gd name="connsiteX134" fmla="*/ 5160582 w 5498758"/>
              <a:gd name="connsiteY134" fmla="*/ 4459172 h 4459172"/>
              <a:gd name="connsiteX135" fmla="*/ 5129424 w 5498758"/>
              <a:gd name="connsiteY135" fmla="*/ 4458127 h 4459172"/>
              <a:gd name="connsiteX136" fmla="*/ 5100505 w 5498758"/>
              <a:gd name="connsiteY136" fmla="*/ 4455018 h 4459172"/>
              <a:gd name="connsiteX137" fmla="*/ 5073755 w 5498758"/>
              <a:gd name="connsiteY137" fmla="*/ 4449890 h 4459172"/>
              <a:gd name="connsiteX138" fmla="*/ 5049096 w 5498758"/>
              <a:gd name="connsiteY138" fmla="*/ 4442786 h 4459172"/>
              <a:gd name="connsiteX139" fmla="*/ 5026456 w 5498758"/>
              <a:gd name="connsiteY139" fmla="*/ 4433750 h 4459172"/>
              <a:gd name="connsiteX140" fmla="*/ 5005761 w 5498758"/>
              <a:gd name="connsiteY140" fmla="*/ 4422825 h 4459172"/>
              <a:gd name="connsiteX141" fmla="*/ 4969910 w 5498758"/>
              <a:gd name="connsiteY141" fmla="*/ 4395485 h 4459172"/>
              <a:gd name="connsiteX142" fmla="*/ 4940950 w 5498758"/>
              <a:gd name="connsiteY142" fmla="*/ 4361113 h 4459172"/>
              <a:gd name="connsiteX143" fmla="*/ 4928870 w 5498758"/>
              <a:gd name="connsiteY143" fmla="*/ 4341398 h 4459172"/>
              <a:gd name="connsiteX144" fmla="*/ 4918290 w 5498758"/>
              <a:gd name="connsiteY144" fmla="*/ 4320057 h 4459172"/>
              <a:gd name="connsiteX145" fmla="*/ 4909140 w 5498758"/>
              <a:gd name="connsiteY145" fmla="*/ 4297132 h 4459172"/>
              <a:gd name="connsiteX146" fmla="*/ 4901341 w 5498758"/>
              <a:gd name="connsiteY146" fmla="*/ 4272666 h 4459172"/>
              <a:gd name="connsiteX147" fmla="*/ 4894822 w 5498758"/>
              <a:gd name="connsiteY147" fmla="*/ 4246704 h 4459172"/>
              <a:gd name="connsiteX148" fmla="*/ 4889509 w 5498758"/>
              <a:gd name="connsiteY148" fmla="*/ 4219289 h 4459172"/>
              <a:gd name="connsiteX149" fmla="*/ 4885328 w 5498758"/>
              <a:gd name="connsiteY149" fmla="*/ 4190464 h 4459172"/>
              <a:gd name="connsiteX150" fmla="*/ 4882204 w 5498758"/>
              <a:gd name="connsiteY150" fmla="*/ 4160274 h 4459172"/>
              <a:gd name="connsiteX151" fmla="*/ 4880065 w 5498758"/>
              <a:gd name="connsiteY151" fmla="*/ 4128760 h 4459172"/>
              <a:gd name="connsiteX152" fmla="*/ 4878836 w 5498758"/>
              <a:gd name="connsiteY152" fmla="*/ 4095968 h 4459172"/>
              <a:gd name="connsiteX153" fmla="*/ 4878442 w 5498758"/>
              <a:gd name="connsiteY153" fmla="*/ 4061941 h 4459172"/>
              <a:gd name="connsiteX154" fmla="*/ 4878849 w 5498758"/>
              <a:gd name="connsiteY154" fmla="*/ 4028059 h 4459172"/>
              <a:gd name="connsiteX155" fmla="*/ 4880116 w 5498758"/>
              <a:gd name="connsiteY155" fmla="*/ 3995412 h 4459172"/>
              <a:gd name="connsiteX156" fmla="*/ 4882312 w 5498758"/>
              <a:gd name="connsiteY156" fmla="*/ 3964042 h 4459172"/>
              <a:gd name="connsiteX157" fmla="*/ 4885508 w 5498758"/>
              <a:gd name="connsiteY157" fmla="*/ 3933993 h 4459172"/>
              <a:gd name="connsiteX158" fmla="*/ 4889774 w 5498758"/>
              <a:gd name="connsiteY158" fmla="*/ 3905307 h 4459172"/>
              <a:gd name="connsiteX159" fmla="*/ 4895179 w 5498758"/>
              <a:gd name="connsiteY159" fmla="*/ 3878028 h 4459172"/>
              <a:gd name="connsiteX160" fmla="*/ 4901794 w 5498758"/>
              <a:gd name="connsiteY160" fmla="*/ 3852197 h 4459172"/>
              <a:gd name="connsiteX161" fmla="*/ 4909688 w 5498758"/>
              <a:gd name="connsiteY161" fmla="*/ 3827858 h 4459172"/>
              <a:gd name="connsiteX162" fmla="*/ 4918933 w 5498758"/>
              <a:gd name="connsiteY162" fmla="*/ 3805055 h 4459172"/>
              <a:gd name="connsiteX163" fmla="*/ 4929596 w 5498758"/>
              <a:gd name="connsiteY163" fmla="*/ 3783829 h 4459172"/>
              <a:gd name="connsiteX164" fmla="*/ 4941748 w 5498758"/>
              <a:gd name="connsiteY164" fmla="*/ 3764224 h 4459172"/>
              <a:gd name="connsiteX165" fmla="*/ 4970802 w 5498758"/>
              <a:gd name="connsiteY165" fmla="*/ 3730047 h 4459172"/>
              <a:gd name="connsiteX166" fmla="*/ 5006652 w 5498758"/>
              <a:gd name="connsiteY166" fmla="*/ 3702868 h 4459172"/>
              <a:gd name="connsiteX167" fmla="*/ 5027302 w 5498758"/>
              <a:gd name="connsiteY167" fmla="*/ 3692010 h 4459172"/>
              <a:gd name="connsiteX168" fmla="*/ 5049860 w 5498758"/>
              <a:gd name="connsiteY168" fmla="*/ 3683030 h 4459172"/>
              <a:gd name="connsiteX169" fmla="*/ 5074396 w 5498758"/>
              <a:gd name="connsiteY169" fmla="*/ 3675971 h 4459172"/>
              <a:gd name="connsiteX170" fmla="*/ 5100983 w 5498758"/>
              <a:gd name="connsiteY170" fmla="*/ 3670875 h 4459172"/>
              <a:gd name="connsiteX171" fmla="*/ 5129688 w 5498758"/>
              <a:gd name="connsiteY171" fmla="*/ 3667786 h 4459172"/>
              <a:gd name="connsiteX172" fmla="*/ 859902 w 5498758"/>
              <a:gd name="connsiteY172" fmla="*/ 3666747 h 4459172"/>
              <a:gd name="connsiteX173" fmla="*/ 890796 w 5498758"/>
              <a:gd name="connsiteY173" fmla="*/ 3667786 h 4459172"/>
              <a:gd name="connsiteX174" fmla="*/ 919501 w 5498758"/>
              <a:gd name="connsiteY174" fmla="*/ 3670875 h 4459172"/>
              <a:gd name="connsiteX175" fmla="*/ 946088 w 5498758"/>
              <a:gd name="connsiteY175" fmla="*/ 3675971 h 4459172"/>
              <a:gd name="connsiteX176" fmla="*/ 970625 w 5498758"/>
              <a:gd name="connsiteY176" fmla="*/ 3683030 h 4459172"/>
              <a:gd name="connsiteX177" fmla="*/ 993183 w 5498758"/>
              <a:gd name="connsiteY177" fmla="*/ 3692010 h 4459172"/>
              <a:gd name="connsiteX178" fmla="*/ 1013832 w 5498758"/>
              <a:gd name="connsiteY178" fmla="*/ 3702868 h 4459172"/>
              <a:gd name="connsiteX179" fmla="*/ 1049682 w 5498758"/>
              <a:gd name="connsiteY179" fmla="*/ 3730047 h 4459172"/>
              <a:gd name="connsiteX180" fmla="*/ 1078736 w 5498758"/>
              <a:gd name="connsiteY180" fmla="*/ 3764224 h 4459172"/>
              <a:gd name="connsiteX181" fmla="*/ 1090888 w 5498758"/>
              <a:gd name="connsiteY181" fmla="*/ 3783829 h 4459172"/>
              <a:gd name="connsiteX182" fmla="*/ 1101552 w 5498758"/>
              <a:gd name="connsiteY182" fmla="*/ 3805055 h 4459172"/>
              <a:gd name="connsiteX183" fmla="*/ 1110795 w 5498758"/>
              <a:gd name="connsiteY183" fmla="*/ 3827858 h 4459172"/>
              <a:gd name="connsiteX184" fmla="*/ 1118690 w 5498758"/>
              <a:gd name="connsiteY184" fmla="*/ 3852197 h 4459172"/>
              <a:gd name="connsiteX185" fmla="*/ 1125304 w 5498758"/>
              <a:gd name="connsiteY185" fmla="*/ 3878028 h 4459172"/>
              <a:gd name="connsiteX186" fmla="*/ 1130710 w 5498758"/>
              <a:gd name="connsiteY186" fmla="*/ 3905307 h 4459172"/>
              <a:gd name="connsiteX187" fmla="*/ 1134975 w 5498758"/>
              <a:gd name="connsiteY187" fmla="*/ 3933993 h 4459172"/>
              <a:gd name="connsiteX188" fmla="*/ 1138171 w 5498758"/>
              <a:gd name="connsiteY188" fmla="*/ 3964042 h 4459172"/>
              <a:gd name="connsiteX189" fmla="*/ 1140367 w 5498758"/>
              <a:gd name="connsiteY189" fmla="*/ 3995412 h 4459172"/>
              <a:gd name="connsiteX190" fmla="*/ 1141633 w 5498758"/>
              <a:gd name="connsiteY190" fmla="*/ 4028059 h 4459172"/>
              <a:gd name="connsiteX191" fmla="*/ 1142040 w 5498758"/>
              <a:gd name="connsiteY191" fmla="*/ 4061941 h 4459172"/>
              <a:gd name="connsiteX192" fmla="*/ 1141653 w 5498758"/>
              <a:gd name="connsiteY192" fmla="*/ 4095968 h 4459172"/>
              <a:gd name="connsiteX193" fmla="*/ 1140442 w 5498758"/>
              <a:gd name="connsiteY193" fmla="*/ 4128760 h 4459172"/>
              <a:gd name="connsiteX194" fmla="*/ 1138331 w 5498758"/>
              <a:gd name="connsiteY194" fmla="*/ 4160274 h 4459172"/>
              <a:gd name="connsiteX195" fmla="*/ 1135244 w 5498758"/>
              <a:gd name="connsiteY195" fmla="*/ 4190464 h 4459172"/>
              <a:gd name="connsiteX196" fmla="*/ 1131105 w 5498758"/>
              <a:gd name="connsiteY196" fmla="*/ 4219289 h 4459172"/>
              <a:gd name="connsiteX197" fmla="*/ 1125838 w 5498758"/>
              <a:gd name="connsiteY197" fmla="*/ 4246704 h 4459172"/>
              <a:gd name="connsiteX198" fmla="*/ 1119368 w 5498758"/>
              <a:gd name="connsiteY198" fmla="*/ 4272666 h 4459172"/>
              <a:gd name="connsiteX199" fmla="*/ 1111618 w 5498758"/>
              <a:gd name="connsiteY199" fmla="*/ 4297132 h 4459172"/>
              <a:gd name="connsiteX200" fmla="*/ 1102512 w 5498758"/>
              <a:gd name="connsiteY200" fmla="*/ 4320057 h 4459172"/>
              <a:gd name="connsiteX201" fmla="*/ 1091976 w 5498758"/>
              <a:gd name="connsiteY201" fmla="*/ 4341398 h 4459172"/>
              <a:gd name="connsiteX202" fmla="*/ 1079931 w 5498758"/>
              <a:gd name="connsiteY202" fmla="*/ 4361113 h 4459172"/>
              <a:gd name="connsiteX203" fmla="*/ 1051018 w 5498758"/>
              <a:gd name="connsiteY203" fmla="*/ 4395485 h 4459172"/>
              <a:gd name="connsiteX204" fmla="*/ 1015166 w 5498758"/>
              <a:gd name="connsiteY204" fmla="*/ 4422825 h 4459172"/>
              <a:gd name="connsiteX205" fmla="*/ 994448 w 5498758"/>
              <a:gd name="connsiteY205" fmla="*/ 4433750 h 4459172"/>
              <a:gd name="connsiteX206" fmla="*/ 971768 w 5498758"/>
              <a:gd name="connsiteY206" fmla="*/ 4442786 h 4459172"/>
              <a:gd name="connsiteX207" fmla="*/ 947048 w 5498758"/>
              <a:gd name="connsiteY207" fmla="*/ 4449890 h 4459172"/>
              <a:gd name="connsiteX208" fmla="*/ 920215 w 5498758"/>
              <a:gd name="connsiteY208" fmla="*/ 4455018 h 4459172"/>
              <a:gd name="connsiteX209" fmla="*/ 891191 w 5498758"/>
              <a:gd name="connsiteY209" fmla="*/ 4458127 h 4459172"/>
              <a:gd name="connsiteX210" fmla="*/ 859902 w 5498758"/>
              <a:gd name="connsiteY210" fmla="*/ 4459172 h 4459172"/>
              <a:gd name="connsiteX211" fmla="*/ 859902 w 5498758"/>
              <a:gd name="connsiteY211" fmla="*/ 4400097 h 4459172"/>
              <a:gd name="connsiteX212" fmla="*/ 890216 w 5498758"/>
              <a:gd name="connsiteY212" fmla="*/ 4398734 h 4459172"/>
              <a:gd name="connsiteX213" fmla="*/ 917625 w 5498758"/>
              <a:gd name="connsiteY213" fmla="*/ 4394695 h 4459172"/>
              <a:gd name="connsiteX214" fmla="*/ 942264 w 5498758"/>
              <a:gd name="connsiteY214" fmla="*/ 4388051 h 4459172"/>
              <a:gd name="connsiteX215" fmla="*/ 964272 w 5498758"/>
              <a:gd name="connsiteY215" fmla="*/ 4378874 h 4459172"/>
              <a:gd name="connsiteX216" fmla="*/ 1000948 w 5498758"/>
              <a:gd name="connsiteY216" fmla="*/ 4353212 h 4459172"/>
              <a:gd name="connsiteX217" fmla="*/ 1028759 w 5498758"/>
              <a:gd name="connsiteY217" fmla="*/ 4318285 h 4459172"/>
              <a:gd name="connsiteX218" fmla="*/ 1039684 w 5498758"/>
              <a:gd name="connsiteY218" fmla="*/ 4297528 h 4459172"/>
              <a:gd name="connsiteX219" fmla="*/ 1048807 w 5498758"/>
              <a:gd name="connsiteY219" fmla="*/ 4274671 h 4459172"/>
              <a:gd name="connsiteX220" fmla="*/ 1056265 w 5498758"/>
              <a:gd name="connsiteY220" fmla="*/ 4249786 h 4459172"/>
              <a:gd name="connsiteX221" fmla="*/ 1062197 w 5498758"/>
              <a:gd name="connsiteY221" fmla="*/ 4222947 h 4459172"/>
              <a:gd name="connsiteX222" fmla="*/ 1066741 w 5498758"/>
              <a:gd name="connsiteY222" fmla="*/ 4194223 h 4459172"/>
              <a:gd name="connsiteX223" fmla="*/ 1070035 w 5498758"/>
              <a:gd name="connsiteY223" fmla="*/ 4163689 h 4459172"/>
              <a:gd name="connsiteX224" fmla="*/ 1072217 w 5498758"/>
              <a:gd name="connsiteY224" fmla="*/ 4131416 h 4459172"/>
              <a:gd name="connsiteX225" fmla="*/ 1073425 w 5498758"/>
              <a:gd name="connsiteY225" fmla="*/ 4097476 h 4459172"/>
              <a:gd name="connsiteX226" fmla="*/ 1073797 w 5498758"/>
              <a:gd name="connsiteY226" fmla="*/ 4061941 h 4459172"/>
              <a:gd name="connsiteX227" fmla="*/ 1073405 w 5498758"/>
              <a:gd name="connsiteY227" fmla="*/ 4026755 h 4459172"/>
              <a:gd name="connsiteX228" fmla="*/ 1072143 w 5498758"/>
              <a:gd name="connsiteY228" fmla="*/ 3993143 h 4459172"/>
              <a:gd name="connsiteX229" fmla="*/ 1069879 w 5498758"/>
              <a:gd name="connsiteY229" fmla="*/ 3961177 h 4459172"/>
              <a:gd name="connsiteX230" fmla="*/ 1066483 w 5498758"/>
              <a:gd name="connsiteY230" fmla="*/ 3930927 h 4459172"/>
              <a:gd name="connsiteX231" fmla="*/ 1061825 w 5498758"/>
              <a:gd name="connsiteY231" fmla="*/ 3902469 h 4459172"/>
              <a:gd name="connsiteX232" fmla="*/ 1055773 w 5498758"/>
              <a:gd name="connsiteY232" fmla="*/ 3875872 h 4459172"/>
              <a:gd name="connsiteX233" fmla="*/ 1048198 w 5498758"/>
              <a:gd name="connsiteY233" fmla="*/ 3851210 h 4459172"/>
              <a:gd name="connsiteX234" fmla="*/ 1038968 w 5498758"/>
              <a:gd name="connsiteY234" fmla="*/ 3828553 h 4459172"/>
              <a:gd name="connsiteX235" fmla="*/ 1027954 w 5498758"/>
              <a:gd name="connsiteY235" fmla="*/ 3807976 h 4459172"/>
              <a:gd name="connsiteX236" fmla="*/ 1000047 w 5498758"/>
              <a:gd name="connsiteY236" fmla="*/ 3773345 h 4459172"/>
              <a:gd name="connsiteX237" fmla="*/ 963432 w 5498758"/>
              <a:gd name="connsiteY237" fmla="*/ 3747894 h 4459172"/>
              <a:gd name="connsiteX238" fmla="*/ 941533 w 5498758"/>
              <a:gd name="connsiteY238" fmla="*/ 3738792 h 4459172"/>
              <a:gd name="connsiteX239" fmla="*/ 917065 w 5498758"/>
              <a:gd name="connsiteY239" fmla="*/ 3732201 h 4459172"/>
              <a:gd name="connsiteX240" fmla="*/ 889898 w 5498758"/>
              <a:gd name="connsiteY240" fmla="*/ 3728193 h 4459172"/>
              <a:gd name="connsiteX241" fmla="*/ 859902 w 5498758"/>
              <a:gd name="connsiteY241" fmla="*/ 3726841 h 4459172"/>
              <a:gd name="connsiteX242" fmla="*/ 803845 w 5498758"/>
              <a:gd name="connsiteY242" fmla="*/ 3666747 h 4459172"/>
              <a:gd name="connsiteX243" fmla="*/ 803845 w 5498758"/>
              <a:gd name="connsiteY243" fmla="*/ 3726841 h 4459172"/>
              <a:gd name="connsiteX244" fmla="*/ 774018 w 5498758"/>
              <a:gd name="connsiteY244" fmla="*/ 3728193 h 4459172"/>
              <a:gd name="connsiteX245" fmla="*/ 747000 w 5498758"/>
              <a:gd name="connsiteY245" fmla="*/ 3732201 h 4459172"/>
              <a:gd name="connsiteX246" fmla="*/ 722664 w 5498758"/>
              <a:gd name="connsiteY246" fmla="*/ 3738792 h 4459172"/>
              <a:gd name="connsiteX247" fmla="*/ 700878 w 5498758"/>
              <a:gd name="connsiteY247" fmla="*/ 3747894 h 4459172"/>
              <a:gd name="connsiteX248" fmla="*/ 664443 w 5498758"/>
              <a:gd name="connsiteY248" fmla="*/ 3773345 h 4459172"/>
              <a:gd name="connsiteX249" fmla="*/ 636661 w 5498758"/>
              <a:gd name="connsiteY249" fmla="*/ 3807976 h 4459172"/>
              <a:gd name="connsiteX250" fmla="*/ 625691 w 5498758"/>
              <a:gd name="connsiteY250" fmla="*/ 3828553 h 4459172"/>
              <a:gd name="connsiteX251" fmla="*/ 616496 w 5498758"/>
              <a:gd name="connsiteY251" fmla="*/ 3851210 h 4459172"/>
              <a:gd name="connsiteX252" fmla="*/ 608947 w 5498758"/>
              <a:gd name="connsiteY252" fmla="*/ 3875872 h 4459172"/>
              <a:gd name="connsiteX253" fmla="*/ 602914 w 5498758"/>
              <a:gd name="connsiteY253" fmla="*/ 3902469 h 4459172"/>
              <a:gd name="connsiteX254" fmla="*/ 598268 w 5498758"/>
              <a:gd name="connsiteY254" fmla="*/ 3930927 h 4459172"/>
              <a:gd name="connsiteX255" fmla="*/ 594879 w 5498758"/>
              <a:gd name="connsiteY255" fmla="*/ 3961177 h 4459172"/>
              <a:gd name="connsiteX256" fmla="*/ 592619 w 5498758"/>
              <a:gd name="connsiteY256" fmla="*/ 3993143 h 4459172"/>
              <a:gd name="connsiteX257" fmla="*/ 591358 w 5498758"/>
              <a:gd name="connsiteY257" fmla="*/ 4026755 h 4459172"/>
              <a:gd name="connsiteX258" fmla="*/ 590966 w 5498758"/>
              <a:gd name="connsiteY258" fmla="*/ 4061941 h 4459172"/>
              <a:gd name="connsiteX259" fmla="*/ 591348 w 5498758"/>
              <a:gd name="connsiteY259" fmla="*/ 4097476 h 4459172"/>
              <a:gd name="connsiteX260" fmla="*/ 592582 w 5498758"/>
              <a:gd name="connsiteY260" fmla="*/ 4131416 h 4459172"/>
              <a:gd name="connsiteX261" fmla="*/ 594801 w 5498758"/>
              <a:gd name="connsiteY261" fmla="*/ 4163689 h 4459172"/>
              <a:gd name="connsiteX262" fmla="*/ 598139 w 5498758"/>
              <a:gd name="connsiteY262" fmla="*/ 4194223 h 4459172"/>
              <a:gd name="connsiteX263" fmla="*/ 602727 w 5498758"/>
              <a:gd name="connsiteY263" fmla="*/ 4222947 h 4459172"/>
              <a:gd name="connsiteX264" fmla="*/ 608701 w 5498758"/>
              <a:gd name="connsiteY264" fmla="*/ 4249786 h 4459172"/>
              <a:gd name="connsiteX265" fmla="*/ 616192 w 5498758"/>
              <a:gd name="connsiteY265" fmla="*/ 4274671 h 4459172"/>
              <a:gd name="connsiteX266" fmla="*/ 625333 w 5498758"/>
              <a:gd name="connsiteY266" fmla="*/ 4297528 h 4459172"/>
              <a:gd name="connsiteX267" fmla="*/ 636259 w 5498758"/>
              <a:gd name="connsiteY267" fmla="*/ 4318285 h 4459172"/>
              <a:gd name="connsiteX268" fmla="*/ 663993 w 5498758"/>
              <a:gd name="connsiteY268" fmla="*/ 4353212 h 4459172"/>
              <a:gd name="connsiteX269" fmla="*/ 700458 w 5498758"/>
              <a:gd name="connsiteY269" fmla="*/ 4378874 h 4459172"/>
              <a:gd name="connsiteX270" fmla="*/ 722299 w 5498758"/>
              <a:gd name="connsiteY270" fmla="*/ 4388051 h 4459172"/>
              <a:gd name="connsiteX271" fmla="*/ 746721 w 5498758"/>
              <a:gd name="connsiteY271" fmla="*/ 4394695 h 4459172"/>
              <a:gd name="connsiteX272" fmla="*/ 773858 w 5498758"/>
              <a:gd name="connsiteY272" fmla="*/ 4398734 h 4459172"/>
              <a:gd name="connsiteX273" fmla="*/ 803845 w 5498758"/>
              <a:gd name="connsiteY273" fmla="*/ 4400097 h 4459172"/>
              <a:gd name="connsiteX274" fmla="*/ 803845 w 5498758"/>
              <a:gd name="connsiteY274" fmla="*/ 4459172 h 4459172"/>
              <a:gd name="connsiteX275" fmla="*/ 772687 w 5498758"/>
              <a:gd name="connsiteY275" fmla="*/ 4458127 h 4459172"/>
              <a:gd name="connsiteX276" fmla="*/ 743769 w 5498758"/>
              <a:gd name="connsiteY276" fmla="*/ 4455018 h 4459172"/>
              <a:gd name="connsiteX277" fmla="*/ 717018 w 5498758"/>
              <a:gd name="connsiteY277" fmla="*/ 4449890 h 4459172"/>
              <a:gd name="connsiteX278" fmla="*/ 692360 w 5498758"/>
              <a:gd name="connsiteY278" fmla="*/ 4442786 h 4459172"/>
              <a:gd name="connsiteX279" fmla="*/ 669720 w 5498758"/>
              <a:gd name="connsiteY279" fmla="*/ 4433750 h 4459172"/>
              <a:gd name="connsiteX280" fmla="*/ 649024 w 5498758"/>
              <a:gd name="connsiteY280" fmla="*/ 4422825 h 4459172"/>
              <a:gd name="connsiteX281" fmla="*/ 613173 w 5498758"/>
              <a:gd name="connsiteY281" fmla="*/ 4395485 h 4459172"/>
              <a:gd name="connsiteX282" fmla="*/ 584213 w 5498758"/>
              <a:gd name="connsiteY282" fmla="*/ 4361113 h 4459172"/>
              <a:gd name="connsiteX283" fmla="*/ 572133 w 5498758"/>
              <a:gd name="connsiteY283" fmla="*/ 4341398 h 4459172"/>
              <a:gd name="connsiteX284" fmla="*/ 561554 w 5498758"/>
              <a:gd name="connsiteY284" fmla="*/ 4320057 h 4459172"/>
              <a:gd name="connsiteX285" fmla="*/ 552403 w 5498758"/>
              <a:gd name="connsiteY285" fmla="*/ 4297132 h 4459172"/>
              <a:gd name="connsiteX286" fmla="*/ 544605 w 5498758"/>
              <a:gd name="connsiteY286" fmla="*/ 4272666 h 4459172"/>
              <a:gd name="connsiteX287" fmla="*/ 538086 w 5498758"/>
              <a:gd name="connsiteY287" fmla="*/ 4246704 h 4459172"/>
              <a:gd name="connsiteX288" fmla="*/ 532773 w 5498758"/>
              <a:gd name="connsiteY288" fmla="*/ 4219289 h 4459172"/>
              <a:gd name="connsiteX289" fmla="*/ 528592 w 5498758"/>
              <a:gd name="connsiteY289" fmla="*/ 4190464 h 4459172"/>
              <a:gd name="connsiteX290" fmla="*/ 525469 w 5498758"/>
              <a:gd name="connsiteY290" fmla="*/ 4160274 h 4459172"/>
              <a:gd name="connsiteX291" fmla="*/ 523329 w 5498758"/>
              <a:gd name="connsiteY291" fmla="*/ 4128760 h 4459172"/>
              <a:gd name="connsiteX292" fmla="*/ 522100 w 5498758"/>
              <a:gd name="connsiteY292" fmla="*/ 4095968 h 4459172"/>
              <a:gd name="connsiteX293" fmla="*/ 521706 w 5498758"/>
              <a:gd name="connsiteY293" fmla="*/ 4061941 h 4459172"/>
              <a:gd name="connsiteX294" fmla="*/ 522113 w 5498758"/>
              <a:gd name="connsiteY294" fmla="*/ 4028059 h 4459172"/>
              <a:gd name="connsiteX295" fmla="*/ 523379 w 5498758"/>
              <a:gd name="connsiteY295" fmla="*/ 3995412 h 4459172"/>
              <a:gd name="connsiteX296" fmla="*/ 525575 w 5498758"/>
              <a:gd name="connsiteY296" fmla="*/ 3964042 h 4459172"/>
              <a:gd name="connsiteX297" fmla="*/ 528772 w 5498758"/>
              <a:gd name="connsiteY297" fmla="*/ 3933993 h 4459172"/>
              <a:gd name="connsiteX298" fmla="*/ 533038 w 5498758"/>
              <a:gd name="connsiteY298" fmla="*/ 3905307 h 4459172"/>
              <a:gd name="connsiteX299" fmla="*/ 538443 w 5498758"/>
              <a:gd name="connsiteY299" fmla="*/ 3878028 h 4459172"/>
              <a:gd name="connsiteX300" fmla="*/ 545058 w 5498758"/>
              <a:gd name="connsiteY300" fmla="*/ 3852197 h 4459172"/>
              <a:gd name="connsiteX301" fmla="*/ 552952 w 5498758"/>
              <a:gd name="connsiteY301" fmla="*/ 3827858 h 4459172"/>
              <a:gd name="connsiteX302" fmla="*/ 562197 w 5498758"/>
              <a:gd name="connsiteY302" fmla="*/ 3805055 h 4459172"/>
              <a:gd name="connsiteX303" fmla="*/ 572860 w 5498758"/>
              <a:gd name="connsiteY303" fmla="*/ 3783829 h 4459172"/>
              <a:gd name="connsiteX304" fmla="*/ 585013 w 5498758"/>
              <a:gd name="connsiteY304" fmla="*/ 3764224 h 4459172"/>
              <a:gd name="connsiteX305" fmla="*/ 614066 w 5498758"/>
              <a:gd name="connsiteY305" fmla="*/ 3730047 h 4459172"/>
              <a:gd name="connsiteX306" fmla="*/ 649917 w 5498758"/>
              <a:gd name="connsiteY306" fmla="*/ 3702868 h 4459172"/>
              <a:gd name="connsiteX307" fmla="*/ 670566 w 5498758"/>
              <a:gd name="connsiteY307" fmla="*/ 3692010 h 4459172"/>
              <a:gd name="connsiteX308" fmla="*/ 693123 w 5498758"/>
              <a:gd name="connsiteY308" fmla="*/ 3683030 h 4459172"/>
              <a:gd name="connsiteX309" fmla="*/ 717661 w 5498758"/>
              <a:gd name="connsiteY309" fmla="*/ 3675971 h 4459172"/>
              <a:gd name="connsiteX310" fmla="*/ 744246 w 5498758"/>
              <a:gd name="connsiteY310" fmla="*/ 3670875 h 4459172"/>
              <a:gd name="connsiteX311" fmla="*/ 772951 w 5498758"/>
              <a:gd name="connsiteY311" fmla="*/ 3667786 h 4459172"/>
              <a:gd name="connsiteX312" fmla="*/ 308214 w 5498758"/>
              <a:gd name="connsiteY312" fmla="*/ 3373408 h 4459172"/>
              <a:gd name="connsiteX313" fmla="*/ 333981 w 5498758"/>
              <a:gd name="connsiteY313" fmla="*/ 3375652 h 4459172"/>
              <a:gd name="connsiteX314" fmla="*/ 353923 w 5498758"/>
              <a:gd name="connsiteY314" fmla="*/ 3383720 h 4459172"/>
              <a:gd name="connsiteX315" fmla="*/ 366798 w 5498758"/>
              <a:gd name="connsiteY315" fmla="*/ 3399619 h 4459172"/>
              <a:gd name="connsiteX316" fmla="*/ 371366 w 5498758"/>
              <a:gd name="connsiteY316" fmla="*/ 3425353 h 4459172"/>
              <a:gd name="connsiteX317" fmla="*/ 366798 w 5498758"/>
              <a:gd name="connsiteY317" fmla="*/ 3452265 h 4459172"/>
              <a:gd name="connsiteX318" fmla="*/ 353923 w 5498758"/>
              <a:gd name="connsiteY318" fmla="*/ 3468768 h 4459172"/>
              <a:gd name="connsiteX319" fmla="*/ 333981 w 5498758"/>
              <a:gd name="connsiteY319" fmla="*/ 3477060 h 4459172"/>
              <a:gd name="connsiteX320" fmla="*/ 308214 w 5498758"/>
              <a:gd name="connsiteY320" fmla="*/ 3479336 h 4459172"/>
              <a:gd name="connsiteX321" fmla="*/ 282447 w 5498758"/>
              <a:gd name="connsiteY321" fmla="*/ 3477060 h 4459172"/>
              <a:gd name="connsiteX322" fmla="*/ 262505 w 5498758"/>
              <a:gd name="connsiteY322" fmla="*/ 3468768 h 4459172"/>
              <a:gd name="connsiteX323" fmla="*/ 249631 w 5498758"/>
              <a:gd name="connsiteY323" fmla="*/ 3452265 h 4459172"/>
              <a:gd name="connsiteX324" fmla="*/ 245063 w 5498758"/>
              <a:gd name="connsiteY324" fmla="*/ 3425353 h 4459172"/>
              <a:gd name="connsiteX325" fmla="*/ 249774 w 5498758"/>
              <a:gd name="connsiteY325" fmla="*/ 3399619 h 4459172"/>
              <a:gd name="connsiteX326" fmla="*/ 262889 w 5498758"/>
              <a:gd name="connsiteY326" fmla="*/ 3383720 h 4459172"/>
              <a:gd name="connsiteX327" fmla="*/ 282879 w 5498758"/>
              <a:gd name="connsiteY327" fmla="*/ 3375652 h 4459172"/>
              <a:gd name="connsiteX328" fmla="*/ 1504247 w 5498758"/>
              <a:gd name="connsiteY328" fmla="*/ 3281741 h 4459172"/>
              <a:gd name="connsiteX329" fmla="*/ 2056300 w 5498758"/>
              <a:gd name="connsiteY329" fmla="*/ 3281741 h 4459172"/>
              <a:gd name="connsiteX330" fmla="*/ 2056300 w 5498758"/>
              <a:gd name="connsiteY330" fmla="*/ 3346928 h 4459172"/>
              <a:gd name="connsiteX331" fmla="*/ 1504247 w 5498758"/>
              <a:gd name="connsiteY331" fmla="*/ 3346928 h 4459172"/>
              <a:gd name="connsiteX332" fmla="*/ 1504247 w 5498758"/>
              <a:gd name="connsiteY332" fmla="*/ 3068866 h 4459172"/>
              <a:gd name="connsiteX333" fmla="*/ 2056300 w 5498758"/>
              <a:gd name="connsiteY333" fmla="*/ 3068866 h 4459172"/>
              <a:gd name="connsiteX334" fmla="*/ 2056300 w 5498758"/>
              <a:gd name="connsiteY334" fmla="*/ 3134053 h 4459172"/>
              <a:gd name="connsiteX335" fmla="*/ 1504247 w 5498758"/>
              <a:gd name="connsiteY335" fmla="*/ 3134053 h 4459172"/>
              <a:gd name="connsiteX336" fmla="*/ 308214 w 5498758"/>
              <a:gd name="connsiteY336" fmla="*/ 2945621 h 4459172"/>
              <a:gd name="connsiteX337" fmla="*/ 333981 w 5498758"/>
              <a:gd name="connsiteY337" fmla="*/ 2947737 h 4459172"/>
              <a:gd name="connsiteX338" fmla="*/ 353923 w 5498758"/>
              <a:gd name="connsiteY338" fmla="*/ 2955678 h 4459172"/>
              <a:gd name="connsiteX339" fmla="*/ 366798 w 5498758"/>
              <a:gd name="connsiteY339" fmla="*/ 2971832 h 4459172"/>
              <a:gd name="connsiteX340" fmla="*/ 371366 w 5498758"/>
              <a:gd name="connsiteY340" fmla="*/ 2998585 h 4459172"/>
              <a:gd name="connsiteX341" fmla="*/ 366798 w 5498758"/>
              <a:gd name="connsiteY341" fmla="*/ 3024478 h 4459172"/>
              <a:gd name="connsiteX342" fmla="*/ 353923 w 5498758"/>
              <a:gd name="connsiteY342" fmla="*/ 3040727 h 4459172"/>
              <a:gd name="connsiteX343" fmla="*/ 333981 w 5498758"/>
              <a:gd name="connsiteY343" fmla="*/ 3049145 h 4459172"/>
              <a:gd name="connsiteX344" fmla="*/ 308214 w 5498758"/>
              <a:gd name="connsiteY344" fmla="*/ 3051549 h 4459172"/>
              <a:gd name="connsiteX345" fmla="*/ 283039 w 5498758"/>
              <a:gd name="connsiteY345" fmla="*/ 3049145 h 4459172"/>
              <a:gd name="connsiteX346" fmla="*/ 263401 w 5498758"/>
              <a:gd name="connsiteY346" fmla="*/ 3040727 h 4459172"/>
              <a:gd name="connsiteX347" fmla="*/ 250637 w 5498758"/>
              <a:gd name="connsiteY347" fmla="*/ 3024478 h 4459172"/>
              <a:gd name="connsiteX348" fmla="*/ 246086 w 5498758"/>
              <a:gd name="connsiteY348" fmla="*/ 2998585 h 4459172"/>
              <a:gd name="connsiteX349" fmla="*/ 250637 w 5498758"/>
              <a:gd name="connsiteY349" fmla="*/ 2971832 h 4459172"/>
              <a:gd name="connsiteX350" fmla="*/ 263401 w 5498758"/>
              <a:gd name="connsiteY350" fmla="*/ 2955678 h 4459172"/>
              <a:gd name="connsiteX351" fmla="*/ 283039 w 5498758"/>
              <a:gd name="connsiteY351" fmla="*/ 2947737 h 4459172"/>
              <a:gd name="connsiteX352" fmla="*/ 2508665 w 5498758"/>
              <a:gd name="connsiteY352" fmla="*/ 2750062 h 4459172"/>
              <a:gd name="connsiteX353" fmla="*/ 2539559 w 5498758"/>
              <a:gd name="connsiteY353" fmla="*/ 2751100 h 4459172"/>
              <a:gd name="connsiteX354" fmla="*/ 2568264 w 5498758"/>
              <a:gd name="connsiteY354" fmla="*/ 2754189 h 4459172"/>
              <a:gd name="connsiteX355" fmla="*/ 2594850 w 5498758"/>
              <a:gd name="connsiteY355" fmla="*/ 2759285 h 4459172"/>
              <a:gd name="connsiteX356" fmla="*/ 2619388 w 5498758"/>
              <a:gd name="connsiteY356" fmla="*/ 2766344 h 4459172"/>
              <a:gd name="connsiteX357" fmla="*/ 2641946 w 5498758"/>
              <a:gd name="connsiteY357" fmla="*/ 2775324 h 4459172"/>
              <a:gd name="connsiteX358" fmla="*/ 2662596 w 5498758"/>
              <a:gd name="connsiteY358" fmla="*/ 2786182 h 4459172"/>
              <a:gd name="connsiteX359" fmla="*/ 2698446 w 5498758"/>
              <a:gd name="connsiteY359" fmla="*/ 2813361 h 4459172"/>
              <a:gd name="connsiteX360" fmla="*/ 2727499 w 5498758"/>
              <a:gd name="connsiteY360" fmla="*/ 2847538 h 4459172"/>
              <a:gd name="connsiteX361" fmla="*/ 2739652 w 5498758"/>
              <a:gd name="connsiteY361" fmla="*/ 2867143 h 4459172"/>
              <a:gd name="connsiteX362" fmla="*/ 2750315 w 5498758"/>
              <a:gd name="connsiteY362" fmla="*/ 2888369 h 4459172"/>
              <a:gd name="connsiteX363" fmla="*/ 2759559 w 5498758"/>
              <a:gd name="connsiteY363" fmla="*/ 2911173 h 4459172"/>
              <a:gd name="connsiteX364" fmla="*/ 2767453 w 5498758"/>
              <a:gd name="connsiteY364" fmla="*/ 2935511 h 4459172"/>
              <a:gd name="connsiteX365" fmla="*/ 2774068 w 5498758"/>
              <a:gd name="connsiteY365" fmla="*/ 2961342 h 4459172"/>
              <a:gd name="connsiteX366" fmla="*/ 2779473 w 5498758"/>
              <a:gd name="connsiteY366" fmla="*/ 2988621 h 4459172"/>
              <a:gd name="connsiteX367" fmla="*/ 2783738 w 5498758"/>
              <a:gd name="connsiteY367" fmla="*/ 3017307 h 4459172"/>
              <a:gd name="connsiteX368" fmla="*/ 2786934 w 5498758"/>
              <a:gd name="connsiteY368" fmla="*/ 3047357 h 4459172"/>
              <a:gd name="connsiteX369" fmla="*/ 2789131 w 5498758"/>
              <a:gd name="connsiteY369" fmla="*/ 3078726 h 4459172"/>
              <a:gd name="connsiteX370" fmla="*/ 2790397 w 5498758"/>
              <a:gd name="connsiteY370" fmla="*/ 3111374 h 4459172"/>
              <a:gd name="connsiteX371" fmla="*/ 2790804 w 5498758"/>
              <a:gd name="connsiteY371" fmla="*/ 3145255 h 4459172"/>
              <a:gd name="connsiteX372" fmla="*/ 2790416 w 5498758"/>
              <a:gd name="connsiteY372" fmla="*/ 3179282 h 4459172"/>
              <a:gd name="connsiteX373" fmla="*/ 2789206 w 5498758"/>
              <a:gd name="connsiteY373" fmla="*/ 3212075 h 4459172"/>
              <a:gd name="connsiteX374" fmla="*/ 2787095 w 5498758"/>
              <a:gd name="connsiteY374" fmla="*/ 3243587 h 4459172"/>
              <a:gd name="connsiteX375" fmla="*/ 2784008 w 5498758"/>
              <a:gd name="connsiteY375" fmla="*/ 3273778 h 4459172"/>
              <a:gd name="connsiteX376" fmla="*/ 2779868 w 5498758"/>
              <a:gd name="connsiteY376" fmla="*/ 3302603 h 4459172"/>
              <a:gd name="connsiteX377" fmla="*/ 2774602 w 5498758"/>
              <a:gd name="connsiteY377" fmla="*/ 3330018 h 4459172"/>
              <a:gd name="connsiteX378" fmla="*/ 2768131 w 5498758"/>
              <a:gd name="connsiteY378" fmla="*/ 3355980 h 4459172"/>
              <a:gd name="connsiteX379" fmla="*/ 2760381 w 5498758"/>
              <a:gd name="connsiteY379" fmla="*/ 3380445 h 4459172"/>
              <a:gd name="connsiteX380" fmla="*/ 2751276 w 5498758"/>
              <a:gd name="connsiteY380" fmla="*/ 3403370 h 4459172"/>
              <a:gd name="connsiteX381" fmla="*/ 2740739 w 5498758"/>
              <a:gd name="connsiteY381" fmla="*/ 3424712 h 4459172"/>
              <a:gd name="connsiteX382" fmla="*/ 2728695 w 5498758"/>
              <a:gd name="connsiteY382" fmla="*/ 3444427 h 4459172"/>
              <a:gd name="connsiteX383" fmla="*/ 2699782 w 5498758"/>
              <a:gd name="connsiteY383" fmla="*/ 3478799 h 4459172"/>
              <a:gd name="connsiteX384" fmla="*/ 2663930 w 5498758"/>
              <a:gd name="connsiteY384" fmla="*/ 3506139 h 4459172"/>
              <a:gd name="connsiteX385" fmla="*/ 2643211 w 5498758"/>
              <a:gd name="connsiteY385" fmla="*/ 3517063 h 4459172"/>
              <a:gd name="connsiteX386" fmla="*/ 2620530 w 5498758"/>
              <a:gd name="connsiteY386" fmla="*/ 3526100 h 4459172"/>
              <a:gd name="connsiteX387" fmla="*/ 2595811 w 5498758"/>
              <a:gd name="connsiteY387" fmla="*/ 3533203 h 4459172"/>
              <a:gd name="connsiteX388" fmla="*/ 2568978 w 5498758"/>
              <a:gd name="connsiteY388" fmla="*/ 3538331 h 4459172"/>
              <a:gd name="connsiteX389" fmla="*/ 2539954 w 5498758"/>
              <a:gd name="connsiteY389" fmla="*/ 3541440 h 4459172"/>
              <a:gd name="connsiteX390" fmla="*/ 2508665 w 5498758"/>
              <a:gd name="connsiteY390" fmla="*/ 3542486 h 4459172"/>
              <a:gd name="connsiteX391" fmla="*/ 2508665 w 5498758"/>
              <a:gd name="connsiteY391" fmla="*/ 3483411 h 4459172"/>
              <a:gd name="connsiteX392" fmla="*/ 2538979 w 5498758"/>
              <a:gd name="connsiteY392" fmla="*/ 3482048 h 4459172"/>
              <a:gd name="connsiteX393" fmla="*/ 2566388 w 5498758"/>
              <a:gd name="connsiteY393" fmla="*/ 3478009 h 4459172"/>
              <a:gd name="connsiteX394" fmla="*/ 2591027 w 5498758"/>
              <a:gd name="connsiteY394" fmla="*/ 3471365 h 4459172"/>
              <a:gd name="connsiteX395" fmla="*/ 2613035 w 5498758"/>
              <a:gd name="connsiteY395" fmla="*/ 3462188 h 4459172"/>
              <a:gd name="connsiteX396" fmla="*/ 2649712 w 5498758"/>
              <a:gd name="connsiteY396" fmla="*/ 3436526 h 4459172"/>
              <a:gd name="connsiteX397" fmla="*/ 2677522 w 5498758"/>
              <a:gd name="connsiteY397" fmla="*/ 3401599 h 4459172"/>
              <a:gd name="connsiteX398" fmla="*/ 2688447 w 5498758"/>
              <a:gd name="connsiteY398" fmla="*/ 3380842 h 4459172"/>
              <a:gd name="connsiteX399" fmla="*/ 2697570 w 5498758"/>
              <a:gd name="connsiteY399" fmla="*/ 3357985 h 4459172"/>
              <a:gd name="connsiteX400" fmla="*/ 2705029 w 5498758"/>
              <a:gd name="connsiteY400" fmla="*/ 3333100 h 4459172"/>
              <a:gd name="connsiteX401" fmla="*/ 2710961 w 5498758"/>
              <a:gd name="connsiteY401" fmla="*/ 3306261 h 4459172"/>
              <a:gd name="connsiteX402" fmla="*/ 2715505 w 5498758"/>
              <a:gd name="connsiteY402" fmla="*/ 3277537 h 4459172"/>
              <a:gd name="connsiteX403" fmla="*/ 2718799 w 5498758"/>
              <a:gd name="connsiteY403" fmla="*/ 3247003 h 4459172"/>
              <a:gd name="connsiteX404" fmla="*/ 2720980 w 5498758"/>
              <a:gd name="connsiteY404" fmla="*/ 3214730 h 4459172"/>
              <a:gd name="connsiteX405" fmla="*/ 2722188 w 5498758"/>
              <a:gd name="connsiteY405" fmla="*/ 3180790 h 4459172"/>
              <a:gd name="connsiteX406" fmla="*/ 2722561 w 5498758"/>
              <a:gd name="connsiteY406" fmla="*/ 3145255 h 4459172"/>
              <a:gd name="connsiteX407" fmla="*/ 2722168 w 5498758"/>
              <a:gd name="connsiteY407" fmla="*/ 3110069 h 4459172"/>
              <a:gd name="connsiteX408" fmla="*/ 2720906 w 5498758"/>
              <a:gd name="connsiteY408" fmla="*/ 3076457 h 4459172"/>
              <a:gd name="connsiteX409" fmla="*/ 2718642 w 5498758"/>
              <a:gd name="connsiteY409" fmla="*/ 3044490 h 4459172"/>
              <a:gd name="connsiteX410" fmla="*/ 2715246 w 5498758"/>
              <a:gd name="connsiteY410" fmla="*/ 3014242 h 4459172"/>
              <a:gd name="connsiteX411" fmla="*/ 2710588 w 5498758"/>
              <a:gd name="connsiteY411" fmla="*/ 2985783 h 4459172"/>
              <a:gd name="connsiteX412" fmla="*/ 2704536 w 5498758"/>
              <a:gd name="connsiteY412" fmla="*/ 2959186 h 4459172"/>
              <a:gd name="connsiteX413" fmla="*/ 2696962 w 5498758"/>
              <a:gd name="connsiteY413" fmla="*/ 2934524 h 4459172"/>
              <a:gd name="connsiteX414" fmla="*/ 2687732 w 5498758"/>
              <a:gd name="connsiteY414" fmla="*/ 2911868 h 4459172"/>
              <a:gd name="connsiteX415" fmla="*/ 2676717 w 5498758"/>
              <a:gd name="connsiteY415" fmla="*/ 2891290 h 4459172"/>
              <a:gd name="connsiteX416" fmla="*/ 2648810 w 5498758"/>
              <a:gd name="connsiteY416" fmla="*/ 2856659 h 4459172"/>
              <a:gd name="connsiteX417" fmla="*/ 2612196 w 5498758"/>
              <a:gd name="connsiteY417" fmla="*/ 2831208 h 4459172"/>
              <a:gd name="connsiteX418" fmla="*/ 2590296 w 5498758"/>
              <a:gd name="connsiteY418" fmla="*/ 2822106 h 4459172"/>
              <a:gd name="connsiteX419" fmla="*/ 2565828 w 5498758"/>
              <a:gd name="connsiteY419" fmla="*/ 2815514 h 4459172"/>
              <a:gd name="connsiteX420" fmla="*/ 2538661 w 5498758"/>
              <a:gd name="connsiteY420" fmla="*/ 2811507 h 4459172"/>
              <a:gd name="connsiteX421" fmla="*/ 2508665 w 5498758"/>
              <a:gd name="connsiteY421" fmla="*/ 2810155 h 4459172"/>
              <a:gd name="connsiteX422" fmla="*/ 2452608 w 5498758"/>
              <a:gd name="connsiteY422" fmla="*/ 2750062 h 4459172"/>
              <a:gd name="connsiteX423" fmla="*/ 2452608 w 5498758"/>
              <a:gd name="connsiteY423" fmla="*/ 2810155 h 4459172"/>
              <a:gd name="connsiteX424" fmla="*/ 2422781 w 5498758"/>
              <a:gd name="connsiteY424" fmla="*/ 2811507 h 4459172"/>
              <a:gd name="connsiteX425" fmla="*/ 2395763 w 5498758"/>
              <a:gd name="connsiteY425" fmla="*/ 2815514 h 4459172"/>
              <a:gd name="connsiteX426" fmla="*/ 2371427 w 5498758"/>
              <a:gd name="connsiteY426" fmla="*/ 2822106 h 4459172"/>
              <a:gd name="connsiteX427" fmla="*/ 2349641 w 5498758"/>
              <a:gd name="connsiteY427" fmla="*/ 2831208 h 4459172"/>
              <a:gd name="connsiteX428" fmla="*/ 2313206 w 5498758"/>
              <a:gd name="connsiteY428" fmla="*/ 2856659 h 4459172"/>
              <a:gd name="connsiteX429" fmla="*/ 2285424 w 5498758"/>
              <a:gd name="connsiteY429" fmla="*/ 2891290 h 4459172"/>
              <a:gd name="connsiteX430" fmla="*/ 2274454 w 5498758"/>
              <a:gd name="connsiteY430" fmla="*/ 2911868 h 4459172"/>
              <a:gd name="connsiteX431" fmla="*/ 2265258 w 5498758"/>
              <a:gd name="connsiteY431" fmla="*/ 2934524 h 4459172"/>
              <a:gd name="connsiteX432" fmla="*/ 2257709 w 5498758"/>
              <a:gd name="connsiteY432" fmla="*/ 2959186 h 4459172"/>
              <a:gd name="connsiteX433" fmla="*/ 2251676 w 5498758"/>
              <a:gd name="connsiteY433" fmla="*/ 2985783 h 4459172"/>
              <a:gd name="connsiteX434" fmla="*/ 2247030 w 5498758"/>
              <a:gd name="connsiteY434" fmla="*/ 3014242 h 4459172"/>
              <a:gd name="connsiteX435" fmla="*/ 2243642 w 5498758"/>
              <a:gd name="connsiteY435" fmla="*/ 3044490 h 4459172"/>
              <a:gd name="connsiteX436" fmla="*/ 2241382 w 5498758"/>
              <a:gd name="connsiteY436" fmla="*/ 3076457 h 4459172"/>
              <a:gd name="connsiteX437" fmla="*/ 2240120 w 5498758"/>
              <a:gd name="connsiteY437" fmla="*/ 3110069 h 4459172"/>
              <a:gd name="connsiteX438" fmla="*/ 2239728 w 5498758"/>
              <a:gd name="connsiteY438" fmla="*/ 3145255 h 4459172"/>
              <a:gd name="connsiteX439" fmla="*/ 2240110 w 5498758"/>
              <a:gd name="connsiteY439" fmla="*/ 3180790 h 4459172"/>
              <a:gd name="connsiteX440" fmla="*/ 2241344 w 5498758"/>
              <a:gd name="connsiteY440" fmla="*/ 3214730 h 4459172"/>
              <a:gd name="connsiteX441" fmla="*/ 2243564 w 5498758"/>
              <a:gd name="connsiteY441" fmla="*/ 3247003 h 4459172"/>
              <a:gd name="connsiteX442" fmla="*/ 2246901 w 5498758"/>
              <a:gd name="connsiteY442" fmla="*/ 3277537 h 4459172"/>
              <a:gd name="connsiteX443" fmla="*/ 2251490 w 5498758"/>
              <a:gd name="connsiteY443" fmla="*/ 3306261 h 4459172"/>
              <a:gd name="connsiteX444" fmla="*/ 2257463 w 5498758"/>
              <a:gd name="connsiteY444" fmla="*/ 3333100 h 4459172"/>
              <a:gd name="connsiteX445" fmla="*/ 2264954 w 5498758"/>
              <a:gd name="connsiteY445" fmla="*/ 3357985 h 4459172"/>
              <a:gd name="connsiteX446" fmla="*/ 2274096 w 5498758"/>
              <a:gd name="connsiteY446" fmla="*/ 3380842 h 4459172"/>
              <a:gd name="connsiteX447" fmla="*/ 2285021 w 5498758"/>
              <a:gd name="connsiteY447" fmla="*/ 3401599 h 4459172"/>
              <a:gd name="connsiteX448" fmla="*/ 2312756 w 5498758"/>
              <a:gd name="connsiteY448" fmla="*/ 3436526 h 4459172"/>
              <a:gd name="connsiteX449" fmla="*/ 2349222 w 5498758"/>
              <a:gd name="connsiteY449" fmla="*/ 3462188 h 4459172"/>
              <a:gd name="connsiteX450" fmla="*/ 2371062 w 5498758"/>
              <a:gd name="connsiteY450" fmla="*/ 3471365 h 4459172"/>
              <a:gd name="connsiteX451" fmla="*/ 2395484 w 5498758"/>
              <a:gd name="connsiteY451" fmla="*/ 3478009 h 4459172"/>
              <a:gd name="connsiteX452" fmla="*/ 2422622 w 5498758"/>
              <a:gd name="connsiteY452" fmla="*/ 3482048 h 4459172"/>
              <a:gd name="connsiteX453" fmla="*/ 2452608 w 5498758"/>
              <a:gd name="connsiteY453" fmla="*/ 3483411 h 4459172"/>
              <a:gd name="connsiteX454" fmla="*/ 2452608 w 5498758"/>
              <a:gd name="connsiteY454" fmla="*/ 3542486 h 4459172"/>
              <a:gd name="connsiteX455" fmla="*/ 2421450 w 5498758"/>
              <a:gd name="connsiteY455" fmla="*/ 3541440 h 4459172"/>
              <a:gd name="connsiteX456" fmla="*/ 2392532 w 5498758"/>
              <a:gd name="connsiteY456" fmla="*/ 3538331 h 4459172"/>
              <a:gd name="connsiteX457" fmla="*/ 2365781 w 5498758"/>
              <a:gd name="connsiteY457" fmla="*/ 3533203 h 4459172"/>
              <a:gd name="connsiteX458" fmla="*/ 2341123 w 5498758"/>
              <a:gd name="connsiteY458" fmla="*/ 3526100 h 4459172"/>
              <a:gd name="connsiteX459" fmla="*/ 2318483 w 5498758"/>
              <a:gd name="connsiteY459" fmla="*/ 3517063 h 4459172"/>
              <a:gd name="connsiteX460" fmla="*/ 2297787 w 5498758"/>
              <a:gd name="connsiteY460" fmla="*/ 3506139 h 4459172"/>
              <a:gd name="connsiteX461" fmla="*/ 2261935 w 5498758"/>
              <a:gd name="connsiteY461" fmla="*/ 3478799 h 4459172"/>
              <a:gd name="connsiteX462" fmla="*/ 2232976 w 5498758"/>
              <a:gd name="connsiteY462" fmla="*/ 3444427 h 4459172"/>
              <a:gd name="connsiteX463" fmla="*/ 2220895 w 5498758"/>
              <a:gd name="connsiteY463" fmla="*/ 3424712 h 4459172"/>
              <a:gd name="connsiteX464" fmla="*/ 2210316 w 5498758"/>
              <a:gd name="connsiteY464" fmla="*/ 3403370 h 4459172"/>
              <a:gd name="connsiteX465" fmla="*/ 2201165 w 5498758"/>
              <a:gd name="connsiteY465" fmla="*/ 3380445 h 4459172"/>
              <a:gd name="connsiteX466" fmla="*/ 2193367 w 5498758"/>
              <a:gd name="connsiteY466" fmla="*/ 3355980 h 4459172"/>
              <a:gd name="connsiteX467" fmla="*/ 2186848 w 5498758"/>
              <a:gd name="connsiteY467" fmla="*/ 3330018 h 4459172"/>
              <a:gd name="connsiteX468" fmla="*/ 2181536 w 5498758"/>
              <a:gd name="connsiteY468" fmla="*/ 3302603 h 4459172"/>
              <a:gd name="connsiteX469" fmla="*/ 2177354 w 5498758"/>
              <a:gd name="connsiteY469" fmla="*/ 3273778 h 4459172"/>
              <a:gd name="connsiteX470" fmla="*/ 2174231 w 5498758"/>
              <a:gd name="connsiteY470" fmla="*/ 3243587 h 4459172"/>
              <a:gd name="connsiteX471" fmla="*/ 2172092 w 5498758"/>
              <a:gd name="connsiteY471" fmla="*/ 3212075 h 4459172"/>
              <a:gd name="connsiteX472" fmla="*/ 2170862 w 5498758"/>
              <a:gd name="connsiteY472" fmla="*/ 3179282 h 4459172"/>
              <a:gd name="connsiteX473" fmla="*/ 2170469 w 5498758"/>
              <a:gd name="connsiteY473" fmla="*/ 3145255 h 4459172"/>
              <a:gd name="connsiteX474" fmla="*/ 2170876 w 5498758"/>
              <a:gd name="connsiteY474" fmla="*/ 3111374 h 4459172"/>
              <a:gd name="connsiteX475" fmla="*/ 2172142 w 5498758"/>
              <a:gd name="connsiteY475" fmla="*/ 3078726 h 4459172"/>
              <a:gd name="connsiteX476" fmla="*/ 2174338 w 5498758"/>
              <a:gd name="connsiteY476" fmla="*/ 3047357 h 4459172"/>
              <a:gd name="connsiteX477" fmla="*/ 2177534 w 5498758"/>
              <a:gd name="connsiteY477" fmla="*/ 3017307 h 4459172"/>
              <a:gd name="connsiteX478" fmla="*/ 2181800 w 5498758"/>
              <a:gd name="connsiteY478" fmla="*/ 2988621 h 4459172"/>
              <a:gd name="connsiteX479" fmla="*/ 2187206 w 5498758"/>
              <a:gd name="connsiteY479" fmla="*/ 2961342 h 4459172"/>
              <a:gd name="connsiteX480" fmla="*/ 2193820 w 5498758"/>
              <a:gd name="connsiteY480" fmla="*/ 2935511 h 4459172"/>
              <a:gd name="connsiteX481" fmla="*/ 2201715 w 5498758"/>
              <a:gd name="connsiteY481" fmla="*/ 2911173 h 4459172"/>
              <a:gd name="connsiteX482" fmla="*/ 2210959 w 5498758"/>
              <a:gd name="connsiteY482" fmla="*/ 2888369 h 4459172"/>
              <a:gd name="connsiteX483" fmla="*/ 2221622 w 5498758"/>
              <a:gd name="connsiteY483" fmla="*/ 2867143 h 4459172"/>
              <a:gd name="connsiteX484" fmla="*/ 2233775 w 5498758"/>
              <a:gd name="connsiteY484" fmla="*/ 2847538 h 4459172"/>
              <a:gd name="connsiteX485" fmla="*/ 2262829 w 5498758"/>
              <a:gd name="connsiteY485" fmla="*/ 2813361 h 4459172"/>
              <a:gd name="connsiteX486" fmla="*/ 2298679 w 5498758"/>
              <a:gd name="connsiteY486" fmla="*/ 2786182 h 4459172"/>
              <a:gd name="connsiteX487" fmla="*/ 2319329 w 5498758"/>
              <a:gd name="connsiteY487" fmla="*/ 2775324 h 4459172"/>
              <a:gd name="connsiteX488" fmla="*/ 2341886 w 5498758"/>
              <a:gd name="connsiteY488" fmla="*/ 2766344 h 4459172"/>
              <a:gd name="connsiteX489" fmla="*/ 2366424 w 5498758"/>
              <a:gd name="connsiteY489" fmla="*/ 2759285 h 4459172"/>
              <a:gd name="connsiteX490" fmla="*/ 2393009 w 5498758"/>
              <a:gd name="connsiteY490" fmla="*/ 2754189 h 4459172"/>
              <a:gd name="connsiteX491" fmla="*/ 2421714 w 5498758"/>
              <a:gd name="connsiteY491" fmla="*/ 2751100 h 4459172"/>
              <a:gd name="connsiteX492" fmla="*/ 0 w 5498758"/>
              <a:gd name="connsiteY492" fmla="*/ 2365053 h 4459172"/>
              <a:gd name="connsiteX493" fmla="*/ 552046 w 5498758"/>
              <a:gd name="connsiteY493" fmla="*/ 2365053 h 4459172"/>
              <a:gd name="connsiteX494" fmla="*/ 552046 w 5498758"/>
              <a:gd name="connsiteY494" fmla="*/ 2430239 h 4459172"/>
              <a:gd name="connsiteX495" fmla="*/ 0 w 5498758"/>
              <a:gd name="connsiteY495" fmla="*/ 2430239 h 4459172"/>
              <a:gd name="connsiteX496" fmla="*/ 0 w 5498758"/>
              <a:gd name="connsiteY496" fmla="*/ 2152178 h 4459172"/>
              <a:gd name="connsiteX497" fmla="*/ 552046 w 5498758"/>
              <a:gd name="connsiteY497" fmla="*/ 2152178 h 4459172"/>
              <a:gd name="connsiteX498" fmla="*/ 552046 w 5498758"/>
              <a:gd name="connsiteY498" fmla="*/ 2217364 h 4459172"/>
              <a:gd name="connsiteX499" fmla="*/ 0 w 5498758"/>
              <a:gd name="connsiteY499" fmla="*/ 2217364 h 4459172"/>
              <a:gd name="connsiteX500" fmla="*/ 975625 w 5498758"/>
              <a:gd name="connsiteY500" fmla="*/ 1837762 h 4459172"/>
              <a:gd name="connsiteX501" fmla="*/ 1203780 w 5498758"/>
              <a:gd name="connsiteY501" fmla="*/ 1837762 h 4459172"/>
              <a:gd name="connsiteX502" fmla="*/ 1203780 w 5498758"/>
              <a:gd name="connsiteY502" fmla="*/ 1895226 h 4459172"/>
              <a:gd name="connsiteX503" fmla="*/ 1203780 w 5498758"/>
              <a:gd name="connsiteY503" fmla="*/ 2565639 h 4459172"/>
              <a:gd name="connsiteX504" fmla="*/ 1203780 w 5498758"/>
              <a:gd name="connsiteY504" fmla="*/ 2623869 h 4459172"/>
              <a:gd name="connsiteX505" fmla="*/ 975625 w 5498758"/>
              <a:gd name="connsiteY505" fmla="*/ 2623869 h 4459172"/>
              <a:gd name="connsiteX506" fmla="*/ 975625 w 5498758"/>
              <a:gd name="connsiteY506" fmla="*/ 2565639 h 4459172"/>
              <a:gd name="connsiteX507" fmla="*/ 1133506 w 5498758"/>
              <a:gd name="connsiteY507" fmla="*/ 2565639 h 4459172"/>
              <a:gd name="connsiteX508" fmla="*/ 1133506 w 5498758"/>
              <a:gd name="connsiteY508" fmla="*/ 1895226 h 4459172"/>
              <a:gd name="connsiteX509" fmla="*/ 975625 w 5498758"/>
              <a:gd name="connsiteY509" fmla="*/ 1895226 h 4459172"/>
              <a:gd name="connsiteX510" fmla="*/ 686589 w 5498758"/>
              <a:gd name="connsiteY510" fmla="*/ 1837762 h 4459172"/>
              <a:gd name="connsiteX511" fmla="*/ 914744 w 5498758"/>
              <a:gd name="connsiteY511" fmla="*/ 1837762 h 4459172"/>
              <a:gd name="connsiteX512" fmla="*/ 914744 w 5498758"/>
              <a:gd name="connsiteY512" fmla="*/ 1895226 h 4459172"/>
              <a:gd name="connsiteX513" fmla="*/ 756871 w 5498758"/>
              <a:gd name="connsiteY513" fmla="*/ 1895226 h 4459172"/>
              <a:gd name="connsiteX514" fmla="*/ 756871 w 5498758"/>
              <a:gd name="connsiteY514" fmla="*/ 2565639 h 4459172"/>
              <a:gd name="connsiteX515" fmla="*/ 914744 w 5498758"/>
              <a:gd name="connsiteY515" fmla="*/ 2565639 h 4459172"/>
              <a:gd name="connsiteX516" fmla="*/ 914744 w 5498758"/>
              <a:gd name="connsiteY516" fmla="*/ 2623869 h 4459172"/>
              <a:gd name="connsiteX517" fmla="*/ 686589 w 5498758"/>
              <a:gd name="connsiteY517" fmla="*/ 2623869 h 4459172"/>
              <a:gd name="connsiteX518" fmla="*/ 686589 w 5498758"/>
              <a:gd name="connsiteY518" fmla="*/ 2565639 h 4459172"/>
              <a:gd name="connsiteX519" fmla="*/ 686589 w 5498758"/>
              <a:gd name="connsiteY519" fmla="*/ 1895226 h 4459172"/>
              <a:gd name="connsiteX520" fmla="*/ 2196892 w 5498758"/>
              <a:gd name="connsiteY520" fmla="*/ 1833374 h 4459172"/>
              <a:gd name="connsiteX521" fmla="*/ 2227786 w 5498758"/>
              <a:gd name="connsiteY521" fmla="*/ 1834413 h 4459172"/>
              <a:gd name="connsiteX522" fmla="*/ 2256490 w 5498758"/>
              <a:gd name="connsiteY522" fmla="*/ 1837502 h 4459172"/>
              <a:gd name="connsiteX523" fmla="*/ 2283076 w 5498758"/>
              <a:gd name="connsiteY523" fmla="*/ 1842597 h 4459172"/>
              <a:gd name="connsiteX524" fmla="*/ 2307613 w 5498758"/>
              <a:gd name="connsiteY524" fmla="*/ 1849656 h 4459172"/>
              <a:gd name="connsiteX525" fmla="*/ 2330171 w 5498758"/>
              <a:gd name="connsiteY525" fmla="*/ 1858637 h 4459172"/>
              <a:gd name="connsiteX526" fmla="*/ 2350821 w 5498758"/>
              <a:gd name="connsiteY526" fmla="*/ 1869495 h 4459172"/>
              <a:gd name="connsiteX527" fmla="*/ 2386671 w 5498758"/>
              <a:gd name="connsiteY527" fmla="*/ 1896674 h 4459172"/>
              <a:gd name="connsiteX528" fmla="*/ 2415724 w 5498758"/>
              <a:gd name="connsiteY528" fmla="*/ 1930851 h 4459172"/>
              <a:gd name="connsiteX529" fmla="*/ 2427878 w 5498758"/>
              <a:gd name="connsiteY529" fmla="*/ 1950456 h 4459172"/>
              <a:gd name="connsiteX530" fmla="*/ 2438541 w 5498758"/>
              <a:gd name="connsiteY530" fmla="*/ 1971682 h 4459172"/>
              <a:gd name="connsiteX531" fmla="*/ 2447785 w 5498758"/>
              <a:gd name="connsiteY531" fmla="*/ 1994485 h 4459172"/>
              <a:gd name="connsiteX532" fmla="*/ 2455680 w 5498758"/>
              <a:gd name="connsiteY532" fmla="*/ 2018824 h 4459172"/>
              <a:gd name="connsiteX533" fmla="*/ 2462294 w 5498758"/>
              <a:gd name="connsiteY533" fmla="*/ 2044655 h 4459172"/>
              <a:gd name="connsiteX534" fmla="*/ 2467700 w 5498758"/>
              <a:gd name="connsiteY534" fmla="*/ 2071935 h 4459172"/>
              <a:gd name="connsiteX535" fmla="*/ 2471966 w 5498758"/>
              <a:gd name="connsiteY535" fmla="*/ 2100621 h 4459172"/>
              <a:gd name="connsiteX536" fmla="*/ 2475162 w 5498758"/>
              <a:gd name="connsiteY536" fmla="*/ 2130670 h 4459172"/>
              <a:gd name="connsiteX537" fmla="*/ 2477358 w 5498758"/>
              <a:gd name="connsiteY537" fmla="*/ 2162039 h 4459172"/>
              <a:gd name="connsiteX538" fmla="*/ 2478625 w 5498758"/>
              <a:gd name="connsiteY538" fmla="*/ 2194687 h 4459172"/>
              <a:gd name="connsiteX539" fmla="*/ 2479032 w 5498758"/>
              <a:gd name="connsiteY539" fmla="*/ 2228568 h 4459172"/>
              <a:gd name="connsiteX540" fmla="*/ 2478644 w 5498758"/>
              <a:gd name="connsiteY540" fmla="*/ 2262596 h 4459172"/>
              <a:gd name="connsiteX541" fmla="*/ 2477434 w 5498758"/>
              <a:gd name="connsiteY541" fmla="*/ 2295388 h 4459172"/>
              <a:gd name="connsiteX542" fmla="*/ 2475322 w 5498758"/>
              <a:gd name="connsiteY542" fmla="*/ 2326901 h 4459172"/>
              <a:gd name="connsiteX543" fmla="*/ 2472236 w 5498758"/>
              <a:gd name="connsiteY543" fmla="*/ 2357092 h 4459172"/>
              <a:gd name="connsiteX544" fmla="*/ 2468096 w 5498758"/>
              <a:gd name="connsiteY544" fmla="*/ 2385916 h 4459172"/>
              <a:gd name="connsiteX545" fmla="*/ 2462830 w 5498758"/>
              <a:gd name="connsiteY545" fmla="*/ 2413332 h 4459172"/>
              <a:gd name="connsiteX546" fmla="*/ 2456359 w 5498758"/>
              <a:gd name="connsiteY546" fmla="*/ 2439293 h 4459172"/>
              <a:gd name="connsiteX547" fmla="*/ 2448609 w 5498758"/>
              <a:gd name="connsiteY547" fmla="*/ 2463759 h 4459172"/>
              <a:gd name="connsiteX548" fmla="*/ 2439504 w 5498758"/>
              <a:gd name="connsiteY548" fmla="*/ 2486684 h 4459172"/>
              <a:gd name="connsiteX549" fmla="*/ 2428967 w 5498758"/>
              <a:gd name="connsiteY549" fmla="*/ 2508026 h 4459172"/>
              <a:gd name="connsiteX550" fmla="*/ 2416923 w 5498758"/>
              <a:gd name="connsiteY550" fmla="*/ 2527740 h 4459172"/>
              <a:gd name="connsiteX551" fmla="*/ 2388010 w 5498758"/>
              <a:gd name="connsiteY551" fmla="*/ 2562112 h 4459172"/>
              <a:gd name="connsiteX552" fmla="*/ 2352158 w 5498758"/>
              <a:gd name="connsiteY552" fmla="*/ 2589453 h 4459172"/>
              <a:gd name="connsiteX553" fmla="*/ 2331438 w 5498758"/>
              <a:gd name="connsiteY553" fmla="*/ 2600377 h 4459172"/>
              <a:gd name="connsiteX554" fmla="*/ 2308758 w 5498758"/>
              <a:gd name="connsiteY554" fmla="*/ 2609413 h 4459172"/>
              <a:gd name="connsiteX555" fmla="*/ 2284039 w 5498758"/>
              <a:gd name="connsiteY555" fmla="*/ 2616517 h 4459172"/>
              <a:gd name="connsiteX556" fmla="*/ 2257206 w 5498758"/>
              <a:gd name="connsiteY556" fmla="*/ 2621645 h 4459172"/>
              <a:gd name="connsiteX557" fmla="*/ 2228182 w 5498758"/>
              <a:gd name="connsiteY557" fmla="*/ 2624754 h 4459172"/>
              <a:gd name="connsiteX558" fmla="*/ 2196892 w 5498758"/>
              <a:gd name="connsiteY558" fmla="*/ 2625799 h 4459172"/>
              <a:gd name="connsiteX559" fmla="*/ 2196892 w 5498758"/>
              <a:gd name="connsiteY559" fmla="*/ 2566725 h 4459172"/>
              <a:gd name="connsiteX560" fmla="*/ 2227207 w 5498758"/>
              <a:gd name="connsiteY560" fmla="*/ 2565362 h 4459172"/>
              <a:gd name="connsiteX561" fmla="*/ 2254616 w 5498758"/>
              <a:gd name="connsiteY561" fmla="*/ 2561323 h 4459172"/>
              <a:gd name="connsiteX562" fmla="*/ 2279255 w 5498758"/>
              <a:gd name="connsiteY562" fmla="*/ 2554679 h 4459172"/>
              <a:gd name="connsiteX563" fmla="*/ 2301263 w 5498758"/>
              <a:gd name="connsiteY563" fmla="*/ 2545502 h 4459172"/>
              <a:gd name="connsiteX564" fmla="*/ 2337940 w 5498758"/>
              <a:gd name="connsiteY564" fmla="*/ 2519839 h 4459172"/>
              <a:gd name="connsiteX565" fmla="*/ 2365750 w 5498758"/>
              <a:gd name="connsiteY565" fmla="*/ 2484913 h 4459172"/>
              <a:gd name="connsiteX566" fmla="*/ 2376675 w 5498758"/>
              <a:gd name="connsiteY566" fmla="*/ 2464156 h 4459172"/>
              <a:gd name="connsiteX567" fmla="*/ 2385798 w 5498758"/>
              <a:gd name="connsiteY567" fmla="*/ 2441299 h 4459172"/>
              <a:gd name="connsiteX568" fmla="*/ 2393256 w 5498758"/>
              <a:gd name="connsiteY568" fmla="*/ 2416414 h 4459172"/>
              <a:gd name="connsiteX569" fmla="*/ 2399189 w 5498758"/>
              <a:gd name="connsiteY569" fmla="*/ 2389574 h 4459172"/>
              <a:gd name="connsiteX570" fmla="*/ 2403733 w 5498758"/>
              <a:gd name="connsiteY570" fmla="*/ 2360851 h 4459172"/>
              <a:gd name="connsiteX571" fmla="*/ 2407027 w 5498758"/>
              <a:gd name="connsiteY571" fmla="*/ 2330317 h 4459172"/>
              <a:gd name="connsiteX572" fmla="*/ 2409208 w 5498758"/>
              <a:gd name="connsiteY572" fmla="*/ 2298043 h 4459172"/>
              <a:gd name="connsiteX573" fmla="*/ 2410416 w 5498758"/>
              <a:gd name="connsiteY573" fmla="*/ 2264103 h 4459172"/>
              <a:gd name="connsiteX574" fmla="*/ 2410788 w 5498758"/>
              <a:gd name="connsiteY574" fmla="*/ 2228568 h 4459172"/>
              <a:gd name="connsiteX575" fmla="*/ 2410396 w 5498758"/>
              <a:gd name="connsiteY575" fmla="*/ 2193383 h 4459172"/>
              <a:gd name="connsiteX576" fmla="*/ 2409134 w 5498758"/>
              <a:gd name="connsiteY576" fmla="*/ 2159770 h 4459172"/>
              <a:gd name="connsiteX577" fmla="*/ 2406870 w 5498758"/>
              <a:gd name="connsiteY577" fmla="*/ 2127804 h 4459172"/>
              <a:gd name="connsiteX578" fmla="*/ 2403474 w 5498758"/>
              <a:gd name="connsiteY578" fmla="*/ 2097555 h 4459172"/>
              <a:gd name="connsiteX579" fmla="*/ 2398815 w 5498758"/>
              <a:gd name="connsiteY579" fmla="*/ 2069097 h 4459172"/>
              <a:gd name="connsiteX580" fmla="*/ 2392763 w 5498758"/>
              <a:gd name="connsiteY580" fmla="*/ 2042499 h 4459172"/>
              <a:gd name="connsiteX581" fmla="*/ 2385188 w 5498758"/>
              <a:gd name="connsiteY581" fmla="*/ 2017837 h 4459172"/>
              <a:gd name="connsiteX582" fmla="*/ 2375958 w 5498758"/>
              <a:gd name="connsiteY582" fmla="*/ 1995181 h 4459172"/>
              <a:gd name="connsiteX583" fmla="*/ 2364943 w 5498758"/>
              <a:gd name="connsiteY583" fmla="*/ 1974603 h 4459172"/>
              <a:gd name="connsiteX584" fmla="*/ 2337035 w 5498758"/>
              <a:gd name="connsiteY584" fmla="*/ 1939972 h 4459172"/>
              <a:gd name="connsiteX585" fmla="*/ 2300421 w 5498758"/>
              <a:gd name="connsiteY585" fmla="*/ 1914521 h 4459172"/>
              <a:gd name="connsiteX586" fmla="*/ 2278522 w 5498758"/>
              <a:gd name="connsiteY586" fmla="*/ 1905419 h 4459172"/>
              <a:gd name="connsiteX587" fmla="*/ 2254055 w 5498758"/>
              <a:gd name="connsiteY587" fmla="*/ 1898828 h 4459172"/>
              <a:gd name="connsiteX588" fmla="*/ 2226888 w 5498758"/>
              <a:gd name="connsiteY588" fmla="*/ 1894820 h 4459172"/>
              <a:gd name="connsiteX589" fmla="*/ 2196892 w 5498758"/>
              <a:gd name="connsiteY589" fmla="*/ 1893468 h 4459172"/>
              <a:gd name="connsiteX590" fmla="*/ 2140849 w 5498758"/>
              <a:gd name="connsiteY590" fmla="*/ 1833374 h 4459172"/>
              <a:gd name="connsiteX591" fmla="*/ 2140849 w 5498758"/>
              <a:gd name="connsiteY591" fmla="*/ 1893468 h 4459172"/>
              <a:gd name="connsiteX592" fmla="*/ 2111022 w 5498758"/>
              <a:gd name="connsiteY592" fmla="*/ 1894820 h 4459172"/>
              <a:gd name="connsiteX593" fmla="*/ 2084005 w 5498758"/>
              <a:gd name="connsiteY593" fmla="*/ 1898828 h 4459172"/>
              <a:gd name="connsiteX594" fmla="*/ 2059669 w 5498758"/>
              <a:gd name="connsiteY594" fmla="*/ 1905419 h 4459172"/>
              <a:gd name="connsiteX595" fmla="*/ 2037884 w 5498758"/>
              <a:gd name="connsiteY595" fmla="*/ 1914521 h 4459172"/>
              <a:gd name="connsiteX596" fmla="*/ 2001450 w 5498758"/>
              <a:gd name="connsiteY596" fmla="*/ 1939972 h 4459172"/>
              <a:gd name="connsiteX597" fmla="*/ 1973667 w 5498758"/>
              <a:gd name="connsiteY597" fmla="*/ 1974603 h 4459172"/>
              <a:gd name="connsiteX598" fmla="*/ 1962698 w 5498758"/>
              <a:gd name="connsiteY598" fmla="*/ 1995181 h 4459172"/>
              <a:gd name="connsiteX599" fmla="*/ 1953504 w 5498758"/>
              <a:gd name="connsiteY599" fmla="*/ 2017837 h 4459172"/>
              <a:gd name="connsiteX600" fmla="*/ 1945955 w 5498758"/>
              <a:gd name="connsiteY600" fmla="*/ 2042499 h 4459172"/>
              <a:gd name="connsiteX601" fmla="*/ 1939923 w 5498758"/>
              <a:gd name="connsiteY601" fmla="*/ 2069097 h 4459172"/>
              <a:gd name="connsiteX602" fmla="*/ 1935277 w 5498758"/>
              <a:gd name="connsiteY602" fmla="*/ 2097555 h 4459172"/>
              <a:gd name="connsiteX603" fmla="*/ 1931889 w 5498758"/>
              <a:gd name="connsiteY603" fmla="*/ 2127804 h 4459172"/>
              <a:gd name="connsiteX604" fmla="*/ 1929629 w 5498758"/>
              <a:gd name="connsiteY604" fmla="*/ 2159770 h 4459172"/>
              <a:gd name="connsiteX605" fmla="*/ 1928368 w 5498758"/>
              <a:gd name="connsiteY605" fmla="*/ 2193383 h 4459172"/>
              <a:gd name="connsiteX606" fmla="*/ 1927976 w 5498758"/>
              <a:gd name="connsiteY606" fmla="*/ 2228568 h 4459172"/>
              <a:gd name="connsiteX607" fmla="*/ 1928358 w 5498758"/>
              <a:gd name="connsiteY607" fmla="*/ 2264103 h 4459172"/>
              <a:gd name="connsiteX608" fmla="*/ 1929592 w 5498758"/>
              <a:gd name="connsiteY608" fmla="*/ 2298043 h 4459172"/>
              <a:gd name="connsiteX609" fmla="*/ 1931811 w 5498758"/>
              <a:gd name="connsiteY609" fmla="*/ 2330317 h 4459172"/>
              <a:gd name="connsiteX610" fmla="*/ 1935148 w 5498758"/>
              <a:gd name="connsiteY610" fmla="*/ 2360851 h 4459172"/>
              <a:gd name="connsiteX611" fmla="*/ 1939736 w 5498758"/>
              <a:gd name="connsiteY611" fmla="*/ 2389574 h 4459172"/>
              <a:gd name="connsiteX612" fmla="*/ 1945709 w 5498758"/>
              <a:gd name="connsiteY612" fmla="*/ 2416414 h 4459172"/>
              <a:gd name="connsiteX613" fmla="*/ 1953200 w 5498758"/>
              <a:gd name="connsiteY613" fmla="*/ 2441299 h 4459172"/>
              <a:gd name="connsiteX614" fmla="*/ 1962341 w 5498758"/>
              <a:gd name="connsiteY614" fmla="*/ 2464156 h 4459172"/>
              <a:gd name="connsiteX615" fmla="*/ 1973265 w 5498758"/>
              <a:gd name="connsiteY615" fmla="*/ 2484913 h 4459172"/>
              <a:gd name="connsiteX616" fmla="*/ 2000999 w 5498758"/>
              <a:gd name="connsiteY616" fmla="*/ 2519839 h 4459172"/>
              <a:gd name="connsiteX617" fmla="*/ 2037464 w 5498758"/>
              <a:gd name="connsiteY617" fmla="*/ 2545502 h 4459172"/>
              <a:gd name="connsiteX618" fmla="*/ 2059304 w 5498758"/>
              <a:gd name="connsiteY618" fmla="*/ 2554679 h 4459172"/>
              <a:gd name="connsiteX619" fmla="*/ 2083726 w 5498758"/>
              <a:gd name="connsiteY619" fmla="*/ 2561323 h 4459172"/>
              <a:gd name="connsiteX620" fmla="*/ 2110863 w 5498758"/>
              <a:gd name="connsiteY620" fmla="*/ 2565362 h 4459172"/>
              <a:gd name="connsiteX621" fmla="*/ 2140849 w 5498758"/>
              <a:gd name="connsiteY621" fmla="*/ 2566725 h 4459172"/>
              <a:gd name="connsiteX622" fmla="*/ 2140849 w 5498758"/>
              <a:gd name="connsiteY622" fmla="*/ 2625799 h 4459172"/>
              <a:gd name="connsiteX623" fmla="*/ 2109692 w 5498758"/>
              <a:gd name="connsiteY623" fmla="*/ 2624754 h 4459172"/>
              <a:gd name="connsiteX624" fmla="*/ 2080775 w 5498758"/>
              <a:gd name="connsiteY624" fmla="*/ 2621645 h 4459172"/>
              <a:gd name="connsiteX625" fmla="*/ 2054025 w 5498758"/>
              <a:gd name="connsiteY625" fmla="*/ 2616517 h 4459172"/>
              <a:gd name="connsiteX626" fmla="*/ 2029367 w 5498758"/>
              <a:gd name="connsiteY626" fmla="*/ 2609413 h 4459172"/>
              <a:gd name="connsiteX627" fmla="*/ 2006728 w 5498758"/>
              <a:gd name="connsiteY627" fmla="*/ 2600377 h 4459172"/>
              <a:gd name="connsiteX628" fmla="*/ 1986033 w 5498758"/>
              <a:gd name="connsiteY628" fmla="*/ 2589453 h 4459172"/>
              <a:gd name="connsiteX629" fmla="*/ 1950182 w 5498758"/>
              <a:gd name="connsiteY629" fmla="*/ 2562112 h 4459172"/>
              <a:gd name="connsiteX630" fmla="*/ 1921222 w 5498758"/>
              <a:gd name="connsiteY630" fmla="*/ 2527740 h 4459172"/>
              <a:gd name="connsiteX631" fmla="*/ 1909143 w 5498758"/>
              <a:gd name="connsiteY631" fmla="*/ 2508026 h 4459172"/>
              <a:gd name="connsiteX632" fmla="*/ 1898564 w 5498758"/>
              <a:gd name="connsiteY632" fmla="*/ 2486684 h 4459172"/>
              <a:gd name="connsiteX633" fmla="*/ 1889412 w 5498758"/>
              <a:gd name="connsiteY633" fmla="*/ 2463759 h 4459172"/>
              <a:gd name="connsiteX634" fmla="*/ 1881615 w 5498758"/>
              <a:gd name="connsiteY634" fmla="*/ 2439293 h 4459172"/>
              <a:gd name="connsiteX635" fmla="*/ 1875096 w 5498758"/>
              <a:gd name="connsiteY635" fmla="*/ 2413332 h 4459172"/>
              <a:gd name="connsiteX636" fmla="*/ 1869783 w 5498758"/>
              <a:gd name="connsiteY636" fmla="*/ 2385916 h 4459172"/>
              <a:gd name="connsiteX637" fmla="*/ 1865602 w 5498758"/>
              <a:gd name="connsiteY637" fmla="*/ 2357092 h 4459172"/>
              <a:gd name="connsiteX638" fmla="*/ 1862479 w 5498758"/>
              <a:gd name="connsiteY638" fmla="*/ 2326901 h 4459172"/>
              <a:gd name="connsiteX639" fmla="*/ 1860340 w 5498758"/>
              <a:gd name="connsiteY639" fmla="*/ 2295388 h 4459172"/>
              <a:gd name="connsiteX640" fmla="*/ 1859110 w 5498758"/>
              <a:gd name="connsiteY640" fmla="*/ 2262596 h 4459172"/>
              <a:gd name="connsiteX641" fmla="*/ 1858717 w 5498758"/>
              <a:gd name="connsiteY641" fmla="*/ 2228568 h 4459172"/>
              <a:gd name="connsiteX642" fmla="*/ 1859123 w 5498758"/>
              <a:gd name="connsiteY642" fmla="*/ 2194687 h 4459172"/>
              <a:gd name="connsiteX643" fmla="*/ 1860390 w 5498758"/>
              <a:gd name="connsiteY643" fmla="*/ 2162039 h 4459172"/>
              <a:gd name="connsiteX644" fmla="*/ 1862586 w 5498758"/>
              <a:gd name="connsiteY644" fmla="*/ 2130670 h 4459172"/>
              <a:gd name="connsiteX645" fmla="*/ 1865781 w 5498758"/>
              <a:gd name="connsiteY645" fmla="*/ 2100621 h 4459172"/>
              <a:gd name="connsiteX646" fmla="*/ 1870047 w 5498758"/>
              <a:gd name="connsiteY646" fmla="*/ 2071935 h 4459172"/>
              <a:gd name="connsiteX647" fmla="*/ 1875452 w 5498758"/>
              <a:gd name="connsiteY647" fmla="*/ 2044655 h 4459172"/>
              <a:gd name="connsiteX648" fmla="*/ 1882067 w 5498758"/>
              <a:gd name="connsiteY648" fmla="*/ 2018824 h 4459172"/>
              <a:gd name="connsiteX649" fmla="*/ 1889961 w 5498758"/>
              <a:gd name="connsiteY649" fmla="*/ 1994485 h 4459172"/>
              <a:gd name="connsiteX650" fmla="*/ 1899205 w 5498758"/>
              <a:gd name="connsiteY650" fmla="*/ 1971682 h 4459172"/>
              <a:gd name="connsiteX651" fmla="*/ 1909867 w 5498758"/>
              <a:gd name="connsiteY651" fmla="*/ 1950456 h 4459172"/>
              <a:gd name="connsiteX652" fmla="*/ 1922020 w 5498758"/>
              <a:gd name="connsiteY652" fmla="*/ 1930851 h 4459172"/>
              <a:gd name="connsiteX653" fmla="*/ 1951072 w 5498758"/>
              <a:gd name="connsiteY653" fmla="*/ 1896674 h 4459172"/>
              <a:gd name="connsiteX654" fmla="*/ 1986922 w 5498758"/>
              <a:gd name="connsiteY654" fmla="*/ 1869495 h 4459172"/>
              <a:gd name="connsiteX655" fmla="*/ 2007571 w 5498758"/>
              <a:gd name="connsiteY655" fmla="*/ 1858637 h 4459172"/>
              <a:gd name="connsiteX656" fmla="*/ 2030129 w 5498758"/>
              <a:gd name="connsiteY656" fmla="*/ 1849656 h 4459172"/>
              <a:gd name="connsiteX657" fmla="*/ 2054665 w 5498758"/>
              <a:gd name="connsiteY657" fmla="*/ 1842597 h 4459172"/>
              <a:gd name="connsiteX658" fmla="*/ 2081251 w 5498758"/>
              <a:gd name="connsiteY658" fmla="*/ 1837502 h 4459172"/>
              <a:gd name="connsiteX659" fmla="*/ 2109955 w 5498758"/>
              <a:gd name="connsiteY659" fmla="*/ 1834413 h 4459172"/>
              <a:gd name="connsiteX660" fmla="*/ 2219148 w 5498758"/>
              <a:gd name="connsiteY660" fmla="*/ 1448369 h 4459172"/>
              <a:gd name="connsiteX661" fmla="*/ 2771201 w 5498758"/>
              <a:gd name="connsiteY661" fmla="*/ 1448369 h 4459172"/>
              <a:gd name="connsiteX662" fmla="*/ 2771201 w 5498758"/>
              <a:gd name="connsiteY662" fmla="*/ 1513555 h 4459172"/>
              <a:gd name="connsiteX663" fmla="*/ 2219148 w 5498758"/>
              <a:gd name="connsiteY663" fmla="*/ 1513555 h 4459172"/>
              <a:gd name="connsiteX664" fmla="*/ 1555972 w 5498758"/>
              <a:gd name="connsiteY664" fmla="*/ 1448366 h 4459172"/>
              <a:gd name="connsiteX665" fmla="*/ 2108018 w 5498758"/>
              <a:gd name="connsiteY665" fmla="*/ 1448366 h 4459172"/>
              <a:gd name="connsiteX666" fmla="*/ 2108018 w 5498758"/>
              <a:gd name="connsiteY666" fmla="*/ 1513553 h 4459172"/>
              <a:gd name="connsiteX667" fmla="*/ 1555972 w 5498758"/>
              <a:gd name="connsiteY667" fmla="*/ 1513553 h 4459172"/>
              <a:gd name="connsiteX668" fmla="*/ 2219148 w 5498758"/>
              <a:gd name="connsiteY668" fmla="*/ 1235493 h 4459172"/>
              <a:gd name="connsiteX669" fmla="*/ 2771201 w 5498758"/>
              <a:gd name="connsiteY669" fmla="*/ 1235493 h 4459172"/>
              <a:gd name="connsiteX670" fmla="*/ 2771201 w 5498758"/>
              <a:gd name="connsiteY670" fmla="*/ 1300680 h 4459172"/>
              <a:gd name="connsiteX671" fmla="*/ 2219148 w 5498758"/>
              <a:gd name="connsiteY671" fmla="*/ 1300680 h 4459172"/>
              <a:gd name="connsiteX672" fmla="*/ 1555972 w 5498758"/>
              <a:gd name="connsiteY672" fmla="*/ 1235491 h 4459172"/>
              <a:gd name="connsiteX673" fmla="*/ 2108018 w 5498758"/>
              <a:gd name="connsiteY673" fmla="*/ 1235491 h 4459172"/>
              <a:gd name="connsiteX674" fmla="*/ 2108018 w 5498758"/>
              <a:gd name="connsiteY674" fmla="*/ 1300678 h 4459172"/>
              <a:gd name="connsiteX675" fmla="*/ 1555972 w 5498758"/>
              <a:gd name="connsiteY675" fmla="*/ 1300678 h 4459172"/>
              <a:gd name="connsiteX676" fmla="*/ 3742214 w 5498758"/>
              <a:gd name="connsiteY676" fmla="*/ 916690 h 4459172"/>
              <a:gd name="connsiteX677" fmla="*/ 3773108 w 5498758"/>
              <a:gd name="connsiteY677" fmla="*/ 917728 h 4459172"/>
              <a:gd name="connsiteX678" fmla="*/ 3801812 w 5498758"/>
              <a:gd name="connsiteY678" fmla="*/ 920817 h 4459172"/>
              <a:gd name="connsiteX679" fmla="*/ 3828397 w 5498758"/>
              <a:gd name="connsiteY679" fmla="*/ 925913 h 4459172"/>
              <a:gd name="connsiteX680" fmla="*/ 3852935 w 5498758"/>
              <a:gd name="connsiteY680" fmla="*/ 932972 h 4459172"/>
              <a:gd name="connsiteX681" fmla="*/ 3875492 w 5498758"/>
              <a:gd name="connsiteY681" fmla="*/ 941952 h 4459172"/>
              <a:gd name="connsiteX682" fmla="*/ 3896140 w 5498758"/>
              <a:gd name="connsiteY682" fmla="*/ 952810 h 4459172"/>
              <a:gd name="connsiteX683" fmla="*/ 3931990 w 5498758"/>
              <a:gd name="connsiteY683" fmla="*/ 979989 h 4459172"/>
              <a:gd name="connsiteX684" fmla="*/ 3961043 w 5498758"/>
              <a:gd name="connsiteY684" fmla="*/ 1014166 h 4459172"/>
              <a:gd name="connsiteX685" fmla="*/ 3973194 w 5498758"/>
              <a:gd name="connsiteY685" fmla="*/ 1033771 h 4459172"/>
              <a:gd name="connsiteX686" fmla="*/ 3983858 w 5498758"/>
              <a:gd name="connsiteY686" fmla="*/ 1054997 h 4459172"/>
              <a:gd name="connsiteX687" fmla="*/ 3993102 w 5498758"/>
              <a:gd name="connsiteY687" fmla="*/ 1077801 h 4459172"/>
              <a:gd name="connsiteX688" fmla="*/ 4000996 w 5498758"/>
              <a:gd name="connsiteY688" fmla="*/ 1102139 h 4459172"/>
              <a:gd name="connsiteX689" fmla="*/ 4007610 w 5498758"/>
              <a:gd name="connsiteY689" fmla="*/ 1127971 h 4459172"/>
              <a:gd name="connsiteX690" fmla="*/ 4013016 w 5498758"/>
              <a:gd name="connsiteY690" fmla="*/ 1155250 h 4459172"/>
              <a:gd name="connsiteX691" fmla="*/ 4017281 w 5498758"/>
              <a:gd name="connsiteY691" fmla="*/ 1183936 h 4459172"/>
              <a:gd name="connsiteX692" fmla="*/ 4020477 w 5498758"/>
              <a:gd name="connsiteY692" fmla="*/ 1213985 h 4459172"/>
              <a:gd name="connsiteX693" fmla="*/ 4022673 w 5498758"/>
              <a:gd name="connsiteY693" fmla="*/ 1245354 h 4459172"/>
              <a:gd name="connsiteX694" fmla="*/ 4023939 w 5498758"/>
              <a:gd name="connsiteY694" fmla="*/ 1278002 h 4459172"/>
              <a:gd name="connsiteX695" fmla="*/ 4024347 w 5498758"/>
              <a:gd name="connsiteY695" fmla="*/ 1311883 h 4459172"/>
              <a:gd name="connsiteX696" fmla="*/ 4023960 w 5498758"/>
              <a:gd name="connsiteY696" fmla="*/ 1345910 h 4459172"/>
              <a:gd name="connsiteX697" fmla="*/ 4022749 w 5498758"/>
              <a:gd name="connsiteY697" fmla="*/ 1378703 h 4459172"/>
              <a:gd name="connsiteX698" fmla="*/ 4020638 w 5498758"/>
              <a:gd name="connsiteY698" fmla="*/ 1410216 h 4459172"/>
              <a:gd name="connsiteX699" fmla="*/ 4017550 w 5498758"/>
              <a:gd name="connsiteY699" fmla="*/ 1440407 h 4459172"/>
              <a:gd name="connsiteX700" fmla="*/ 4013412 w 5498758"/>
              <a:gd name="connsiteY700" fmla="*/ 1469231 h 4459172"/>
              <a:gd name="connsiteX701" fmla="*/ 4008146 w 5498758"/>
              <a:gd name="connsiteY701" fmla="*/ 1496647 h 4459172"/>
              <a:gd name="connsiteX702" fmla="*/ 4001675 w 5498758"/>
              <a:gd name="connsiteY702" fmla="*/ 1522609 h 4459172"/>
              <a:gd name="connsiteX703" fmla="*/ 3993926 w 5498758"/>
              <a:gd name="connsiteY703" fmla="*/ 1547074 h 4459172"/>
              <a:gd name="connsiteX704" fmla="*/ 3984821 w 5498758"/>
              <a:gd name="connsiteY704" fmla="*/ 1570000 h 4459172"/>
              <a:gd name="connsiteX705" fmla="*/ 3974284 w 5498758"/>
              <a:gd name="connsiteY705" fmla="*/ 1591341 h 4459172"/>
              <a:gd name="connsiteX706" fmla="*/ 3962241 w 5498758"/>
              <a:gd name="connsiteY706" fmla="*/ 1611056 h 4459172"/>
              <a:gd name="connsiteX707" fmla="*/ 3933329 w 5498758"/>
              <a:gd name="connsiteY707" fmla="*/ 1645428 h 4459172"/>
              <a:gd name="connsiteX708" fmla="*/ 3897477 w 5498758"/>
              <a:gd name="connsiteY708" fmla="*/ 1672768 h 4459172"/>
              <a:gd name="connsiteX709" fmla="*/ 3876760 w 5498758"/>
              <a:gd name="connsiteY709" fmla="*/ 1683693 h 4459172"/>
              <a:gd name="connsiteX710" fmla="*/ 3854080 w 5498758"/>
              <a:gd name="connsiteY710" fmla="*/ 1692729 h 4459172"/>
              <a:gd name="connsiteX711" fmla="*/ 3829360 w 5498758"/>
              <a:gd name="connsiteY711" fmla="*/ 1699833 h 4459172"/>
              <a:gd name="connsiteX712" fmla="*/ 3802527 w 5498758"/>
              <a:gd name="connsiteY712" fmla="*/ 1704961 h 4459172"/>
              <a:gd name="connsiteX713" fmla="*/ 3773504 w 5498758"/>
              <a:gd name="connsiteY713" fmla="*/ 1708069 h 4459172"/>
              <a:gd name="connsiteX714" fmla="*/ 3742214 w 5498758"/>
              <a:gd name="connsiteY714" fmla="*/ 1709115 h 4459172"/>
              <a:gd name="connsiteX715" fmla="*/ 3742214 w 5498758"/>
              <a:gd name="connsiteY715" fmla="*/ 1650040 h 4459172"/>
              <a:gd name="connsiteX716" fmla="*/ 3772528 w 5498758"/>
              <a:gd name="connsiteY716" fmla="*/ 1648677 h 4459172"/>
              <a:gd name="connsiteX717" fmla="*/ 3799938 w 5498758"/>
              <a:gd name="connsiteY717" fmla="*/ 1644638 h 4459172"/>
              <a:gd name="connsiteX718" fmla="*/ 3824576 w 5498758"/>
              <a:gd name="connsiteY718" fmla="*/ 1637994 h 4459172"/>
              <a:gd name="connsiteX719" fmla="*/ 3846584 w 5498758"/>
              <a:gd name="connsiteY719" fmla="*/ 1628817 h 4459172"/>
              <a:gd name="connsiteX720" fmla="*/ 3883261 w 5498758"/>
              <a:gd name="connsiteY720" fmla="*/ 1603155 h 4459172"/>
              <a:gd name="connsiteX721" fmla="*/ 3911071 w 5498758"/>
              <a:gd name="connsiteY721" fmla="*/ 1568228 h 4459172"/>
              <a:gd name="connsiteX722" fmla="*/ 3921996 w 5498758"/>
              <a:gd name="connsiteY722" fmla="*/ 1547471 h 4459172"/>
              <a:gd name="connsiteX723" fmla="*/ 3931120 w 5498758"/>
              <a:gd name="connsiteY723" fmla="*/ 1524614 h 4459172"/>
              <a:gd name="connsiteX724" fmla="*/ 3938578 w 5498758"/>
              <a:gd name="connsiteY724" fmla="*/ 1499729 h 4459172"/>
              <a:gd name="connsiteX725" fmla="*/ 3944510 w 5498758"/>
              <a:gd name="connsiteY725" fmla="*/ 1472889 h 4459172"/>
              <a:gd name="connsiteX726" fmla="*/ 3949054 w 5498758"/>
              <a:gd name="connsiteY726" fmla="*/ 1444166 h 4459172"/>
              <a:gd name="connsiteX727" fmla="*/ 3952348 w 5498758"/>
              <a:gd name="connsiteY727" fmla="*/ 1413632 h 4459172"/>
              <a:gd name="connsiteX728" fmla="*/ 3954530 w 5498758"/>
              <a:gd name="connsiteY728" fmla="*/ 1381358 h 4459172"/>
              <a:gd name="connsiteX729" fmla="*/ 3955738 w 5498758"/>
              <a:gd name="connsiteY729" fmla="*/ 1347418 h 4459172"/>
              <a:gd name="connsiteX730" fmla="*/ 3956109 w 5498758"/>
              <a:gd name="connsiteY730" fmla="*/ 1311883 h 4459172"/>
              <a:gd name="connsiteX731" fmla="*/ 3955717 w 5498758"/>
              <a:gd name="connsiteY731" fmla="*/ 1276698 h 4459172"/>
              <a:gd name="connsiteX732" fmla="*/ 3954455 w 5498758"/>
              <a:gd name="connsiteY732" fmla="*/ 1243085 h 4459172"/>
              <a:gd name="connsiteX733" fmla="*/ 3952190 w 5498758"/>
              <a:gd name="connsiteY733" fmla="*/ 1211119 h 4459172"/>
              <a:gd name="connsiteX734" fmla="*/ 3948795 w 5498758"/>
              <a:gd name="connsiteY734" fmla="*/ 1180870 h 4459172"/>
              <a:gd name="connsiteX735" fmla="*/ 3944136 w 5498758"/>
              <a:gd name="connsiteY735" fmla="*/ 1152411 h 4459172"/>
              <a:gd name="connsiteX736" fmla="*/ 3938084 w 5498758"/>
              <a:gd name="connsiteY736" fmla="*/ 1125814 h 4459172"/>
              <a:gd name="connsiteX737" fmla="*/ 3930509 w 5498758"/>
              <a:gd name="connsiteY737" fmla="*/ 1101153 h 4459172"/>
              <a:gd name="connsiteX738" fmla="*/ 3921278 w 5498758"/>
              <a:gd name="connsiteY738" fmla="*/ 1078496 h 4459172"/>
              <a:gd name="connsiteX739" fmla="*/ 3910264 w 5498758"/>
              <a:gd name="connsiteY739" fmla="*/ 1057918 h 4459172"/>
              <a:gd name="connsiteX740" fmla="*/ 3882356 w 5498758"/>
              <a:gd name="connsiteY740" fmla="*/ 1023288 h 4459172"/>
              <a:gd name="connsiteX741" fmla="*/ 3845742 w 5498758"/>
              <a:gd name="connsiteY741" fmla="*/ 997836 h 4459172"/>
              <a:gd name="connsiteX742" fmla="*/ 3823844 w 5498758"/>
              <a:gd name="connsiteY742" fmla="*/ 988734 h 4459172"/>
              <a:gd name="connsiteX743" fmla="*/ 3799376 w 5498758"/>
              <a:gd name="connsiteY743" fmla="*/ 982143 h 4459172"/>
              <a:gd name="connsiteX744" fmla="*/ 3772210 w 5498758"/>
              <a:gd name="connsiteY744" fmla="*/ 978135 h 4459172"/>
              <a:gd name="connsiteX745" fmla="*/ 3742214 w 5498758"/>
              <a:gd name="connsiteY745" fmla="*/ 976783 h 4459172"/>
              <a:gd name="connsiteX746" fmla="*/ 3686156 w 5498758"/>
              <a:gd name="connsiteY746" fmla="*/ 916690 h 4459172"/>
              <a:gd name="connsiteX747" fmla="*/ 3686156 w 5498758"/>
              <a:gd name="connsiteY747" fmla="*/ 976783 h 4459172"/>
              <a:gd name="connsiteX748" fmla="*/ 3656329 w 5498758"/>
              <a:gd name="connsiteY748" fmla="*/ 978135 h 4459172"/>
              <a:gd name="connsiteX749" fmla="*/ 3629312 w 5498758"/>
              <a:gd name="connsiteY749" fmla="*/ 982143 h 4459172"/>
              <a:gd name="connsiteX750" fmla="*/ 3604976 w 5498758"/>
              <a:gd name="connsiteY750" fmla="*/ 988734 h 4459172"/>
              <a:gd name="connsiteX751" fmla="*/ 3583191 w 5498758"/>
              <a:gd name="connsiteY751" fmla="*/ 997836 h 4459172"/>
              <a:gd name="connsiteX752" fmla="*/ 3546757 w 5498758"/>
              <a:gd name="connsiteY752" fmla="*/ 1023288 h 4459172"/>
              <a:gd name="connsiteX753" fmla="*/ 3518975 w 5498758"/>
              <a:gd name="connsiteY753" fmla="*/ 1057918 h 4459172"/>
              <a:gd name="connsiteX754" fmla="*/ 3508006 w 5498758"/>
              <a:gd name="connsiteY754" fmla="*/ 1078496 h 4459172"/>
              <a:gd name="connsiteX755" fmla="*/ 3498812 w 5498758"/>
              <a:gd name="connsiteY755" fmla="*/ 1101153 h 4459172"/>
              <a:gd name="connsiteX756" fmla="*/ 3491262 w 5498758"/>
              <a:gd name="connsiteY756" fmla="*/ 1125814 h 4459172"/>
              <a:gd name="connsiteX757" fmla="*/ 3485230 w 5498758"/>
              <a:gd name="connsiteY757" fmla="*/ 1152411 h 4459172"/>
              <a:gd name="connsiteX758" fmla="*/ 3480584 w 5498758"/>
              <a:gd name="connsiteY758" fmla="*/ 1180870 h 4459172"/>
              <a:gd name="connsiteX759" fmla="*/ 3477197 w 5498758"/>
              <a:gd name="connsiteY759" fmla="*/ 1211119 h 4459172"/>
              <a:gd name="connsiteX760" fmla="*/ 3474937 w 5498758"/>
              <a:gd name="connsiteY760" fmla="*/ 1243085 h 4459172"/>
              <a:gd name="connsiteX761" fmla="*/ 3473675 w 5498758"/>
              <a:gd name="connsiteY761" fmla="*/ 1276698 h 4459172"/>
              <a:gd name="connsiteX762" fmla="*/ 3473284 w 5498758"/>
              <a:gd name="connsiteY762" fmla="*/ 1311883 h 4459172"/>
              <a:gd name="connsiteX763" fmla="*/ 3473666 w 5498758"/>
              <a:gd name="connsiteY763" fmla="*/ 1347418 h 4459172"/>
              <a:gd name="connsiteX764" fmla="*/ 3474899 w 5498758"/>
              <a:gd name="connsiteY764" fmla="*/ 1381358 h 4459172"/>
              <a:gd name="connsiteX765" fmla="*/ 3477118 w 5498758"/>
              <a:gd name="connsiteY765" fmla="*/ 1413632 h 4459172"/>
              <a:gd name="connsiteX766" fmla="*/ 3480455 w 5498758"/>
              <a:gd name="connsiteY766" fmla="*/ 1444166 h 4459172"/>
              <a:gd name="connsiteX767" fmla="*/ 3485044 w 5498758"/>
              <a:gd name="connsiteY767" fmla="*/ 1472889 h 4459172"/>
              <a:gd name="connsiteX768" fmla="*/ 3491016 w 5498758"/>
              <a:gd name="connsiteY768" fmla="*/ 1499729 h 4459172"/>
              <a:gd name="connsiteX769" fmla="*/ 3498507 w 5498758"/>
              <a:gd name="connsiteY769" fmla="*/ 1524614 h 4459172"/>
              <a:gd name="connsiteX770" fmla="*/ 3507648 w 5498758"/>
              <a:gd name="connsiteY770" fmla="*/ 1547471 h 4459172"/>
              <a:gd name="connsiteX771" fmla="*/ 3518572 w 5498758"/>
              <a:gd name="connsiteY771" fmla="*/ 1568228 h 4459172"/>
              <a:gd name="connsiteX772" fmla="*/ 3546307 w 5498758"/>
              <a:gd name="connsiteY772" fmla="*/ 1603155 h 4459172"/>
              <a:gd name="connsiteX773" fmla="*/ 3582771 w 5498758"/>
              <a:gd name="connsiteY773" fmla="*/ 1628817 h 4459172"/>
              <a:gd name="connsiteX774" fmla="*/ 3604611 w 5498758"/>
              <a:gd name="connsiteY774" fmla="*/ 1637994 h 4459172"/>
              <a:gd name="connsiteX775" fmla="*/ 3629033 w 5498758"/>
              <a:gd name="connsiteY775" fmla="*/ 1644638 h 4459172"/>
              <a:gd name="connsiteX776" fmla="*/ 3656171 w 5498758"/>
              <a:gd name="connsiteY776" fmla="*/ 1648677 h 4459172"/>
              <a:gd name="connsiteX777" fmla="*/ 3686156 w 5498758"/>
              <a:gd name="connsiteY777" fmla="*/ 1650040 h 4459172"/>
              <a:gd name="connsiteX778" fmla="*/ 3686156 w 5498758"/>
              <a:gd name="connsiteY778" fmla="*/ 1709115 h 4459172"/>
              <a:gd name="connsiteX779" fmla="*/ 3655000 w 5498758"/>
              <a:gd name="connsiteY779" fmla="*/ 1708069 h 4459172"/>
              <a:gd name="connsiteX780" fmla="*/ 3626082 w 5498758"/>
              <a:gd name="connsiteY780" fmla="*/ 1704961 h 4459172"/>
              <a:gd name="connsiteX781" fmla="*/ 3599332 w 5498758"/>
              <a:gd name="connsiteY781" fmla="*/ 1699833 h 4459172"/>
              <a:gd name="connsiteX782" fmla="*/ 3574674 w 5498758"/>
              <a:gd name="connsiteY782" fmla="*/ 1692729 h 4459172"/>
              <a:gd name="connsiteX783" fmla="*/ 3552035 w 5498758"/>
              <a:gd name="connsiteY783" fmla="*/ 1683693 h 4459172"/>
              <a:gd name="connsiteX784" fmla="*/ 3531340 w 5498758"/>
              <a:gd name="connsiteY784" fmla="*/ 1672768 h 4459172"/>
              <a:gd name="connsiteX785" fmla="*/ 3495489 w 5498758"/>
              <a:gd name="connsiteY785" fmla="*/ 1645428 h 4459172"/>
              <a:gd name="connsiteX786" fmla="*/ 3466530 w 5498758"/>
              <a:gd name="connsiteY786" fmla="*/ 1611056 h 4459172"/>
              <a:gd name="connsiteX787" fmla="*/ 3454450 w 5498758"/>
              <a:gd name="connsiteY787" fmla="*/ 1591341 h 4459172"/>
              <a:gd name="connsiteX788" fmla="*/ 3443871 w 5498758"/>
              <a:gd name="connsiteY788" fmla="*/ 1570000 h 4459172"/>
              <a:gd name="connsiteX789" fmla="*/ 3434720 w 5498758"/>
              <a:gd name="connsiteY789" fmla="*/ 1547074 h 4459172"/>
              <a:gd name="connsiteX790" fmla="*/ 3426922 w 5498758"/>
              <a:gd name="connsiteY790" fmla="*/ 1522609 h 4459172"/>
              <a:gd name="connsiteX791" fmla="*/ 3420404 w 5498758"/>
              <a:gd name="connsiteY791" fmla="*/ 1496647 h 4459172"/>
              <a:gd name="connsiteX792" fmla="*/ 3415090 w 5498758"/>
              <a:gd name="connsiteY792" fmla="*/ 1469231 h 4459172"/>
              <a:gd name="connsiteX793" fmla="*/ 3410910 w 5498758"/>
              <a:gd name="connsiteY793" fmla="*/ 1440407 h 4459172"/>
              <a:gd name="connsiteX794" fmla="*/ 3407786 w 5498758"/>
              <a:gd name="connsiteY794" fmla="*/ 1410216 h 4459172"/>
              <a:gd name="connsiteX795" fmla="*/ 3405647 w 5498758"/>
              <a:gd name="connsiteY795" fmla="*/ 1378703 h 4459172"/>
              <a:gd name="connsiteX796" fmla="*/ 3404417 w 5498758"/>
              <a:gd name="connsiteY796" fmla="*/ 1345910 h 4459172"/>
              <a:gd name="connsiteX797" fmla="*/ 3404024 w 5498758"/>
              <a:gd name="connsiteY797" fmla="*/ 1311883 h 4459172"/>
              <a:gd name="connsiteX798" fmla="*/ 3404430 w 5498758"/>
              <a:gd name="connsiteY798" fmla="*/ 1278002 h 4459172"/>
              <a:gd name="connsiteX799" fmla="*/ 3405697 w 5498758"/>
              <a:gd name="connsiteY799" fmla="*/ 1245354 h 4459172"/>
              <a:gd name="connsiteX800" fmla="*/ 3407893 w 5498758"/>
              <a:gd name="connsiteY800" fmla="*/ 1213985 h 4459172"/>
              <a:gd name="connsiteX801" fmla="*/ 3411088 w 5498758"/>
              <a:gd name="connsiteY801" fmla="*/ 1183936 h 4459172"/>
              <a:gd name="connsiteX802" fmla="*/ 3415354 w 5498758"/>
              <a:gd name="connsiteY802" fmla="*/ 1155250 h 4459172"/>
              <a:gd name="connsiteX803" fmla="*/ 3420760 w 5498758"/>
              <a:gd name="connsiteY803" fmla="*/ 1127971 h 4459172"/>
              <a:gd name="connsiteX804" fmla="*/ 3427374 w 5498758"/>
              <a:gd name="connsiteY804" fmla="*/ 1102139 h 4459172"/>
              <a:gd name="connsiteX805" fmla="*/ 3435268 w 5498758"/>
              <a:gd name="connsiteY805" fmla="*/ 1077801 h 4459172"/>
              <a:gd name="connsiteX806" fmla="*/ 3444512 w 5498758"/>
              <a:gd name="connsiteY806" fmla="*/ 1054997 h 4459172"/>
              <a:gd name="connsiteX807" fmla="*/ 3455174 w 5498758"/>
              <a:gd name="connsiteY807" fmla="*/ 1033771 h 4459172"/>
              <a:gd name="connsiteX808" fmla="*/ 3467327 w 5498758"/>
              <a:gd name="connsiteY808" fmla="*/ 1014166 h 4459172"/>
              <a:gd name="connsiteX809" fmla="*/ 3496380 w 5498758"/>
              <a:gd name="connsiteY809" fmla="*/ 979989 h 4459172"/>
              <a:gd name="connsiteX810" fmla="*/ 3532230 w 5498758"/>
              <a:gd name="connsiteY810" fmla="*/ 952810 h 4459172"/>
              <a:gd name="connsiteX811" fmla="*/ 3552878 w 5498758"/>
              <a:gd name="connsiteY811" fmla="*/ 941952 h 4459172"/>
              <a:gd name="connsiteX812" fmla="*/ 3575436 w 5498758"/>
              <a:gd name="connsiteY812" fmla="*/ 932972 h 4459172"/>
              <a:gd name="connsiteX813" fmla="*/ 3599973 w 5498758"/>
              <a:gd name="connsiteY813" fmla="*/ 925913 h 4459172"/>
              <a:gd name="connsiteX814" fmla="*/ 3626558 w 5498758"/>
              <a:gd name="connsiteY814" fmla="*/ 920817 h 4459172"/>
              <a:gd name="connsiteX815" fmla="*/ 3655263 w 5498758"/>
              <a:gd name="connsiteY815" fmla="*/ 917728 h 4459172"/>
              <a:gd name="connsiteX816" fmla="*/ 2538537 w 5498758"/>
              <a:gd name="connsiteY816" fmla="*/ 623346 h 4459172"/>
              <a:gd name="connsiteX817" fmla="*/ 2664834 w 5498758"/>
              <a:gd name="connsiteY817" fmla="*/ 623346 h 4459172"/>
              <a:gd name="connsiteX818" fmla="*/ 2664834 w 5498758"/>
              <a:gd name="connsiteY818" fmla="*/ 729274 h 4459172"/>
              <a:gd name="connsiteX819" fmla="*/ 2538537 w 5498758"/>
              <a:gd name="connsiteY819" fmla="*/ 729274 h 4459172"/>
              <a:gd name="connsiteX820" fmla="*/ 3538388 w 5498758"/>
              <a:gd name="connsiteY820" fmla="*/ 531682 h 4459172"/>
              <a:gd name="connsiteX821" fmla="*/ 4090442 w 5498758"/>
              <a:gd name="connsiteY821" fmla="*/ 531682 h 4459172"/>
              <a:gd name="connsiteX822" fmla="*/ 4090442 w 5498758"/>
              <a:gd name="connsiteY822" fmla="*/ 596869 h 4459172"/>
              <a:gd name="connsiteX823" fmla="*/ 3538388 w 5498758"/>
              <a:gd name="connsiteY823" fmla="*/ 596869 h 4459172"/>
              <a:gd name="connsiteX824" fmla="*/ 3538388 w 5498758"/>
              <a:gd name="connsiteY824" fmla="*/ 318807 h 4459172"/>
              <a:gd name="connsiteX825" fmla="*/ 4090442 w 5498758"/>
              <a:gd name="connsiteY825" fmla="*/ 318807 h 4459172"/>
              <a:gd name="connsiteX826" fmla="*/ 4090442 w 5498758"/>
              <a:gd name="connsiteY826" fmla="*/ 383994 h 4459172"/>
              <a:gd name="connsiteX827" fmla="*/ 3538388 w 5498758"/>
              <a:gd name="connsiteY827" fmla="*/ 383994 h 4459172"/>
              <a:gd name="connsiteX828" fmla="*/ 4743648 w 5498758"/>
              <a:gd name="connsiteY828" fmla="*/ 4277 h 4459172"/>
              <a:gd name="connsiteX829" fmla="*/ 4971802 w 5498758"/>
              <a:gd name="connsiteY829" fmla="*/ 4277 h 4459172"/>
              <a:gd name="connsiteX830" fmla="*/ 4971802 w 5498758"/>
              <a:gd name="connsiteY830" fmla="*/ 62507 h 4459172"/>
              <a:gd name="connsiteX831" fmla="*/ 4813930 w 5498758"/>
              <a:gd name="connsiteY831" fmla="*/ 62507 h 4459172"/>
              <a:gd name="connsiteX832" fmla="*/ 4813930 w 5498758"/>
              <a:gd name="connsiteY832" fmla="*/ 732154 h 4459172"/>
              <a:gd name="connsiteX833" fmla="*/ 4971802 w 5498758"/>
              <a:gd name="connsiteY833" fmla="*/ 732154 h 4459172"/>
              <a:gd name="connsiteX834" fmla="*/ 4971802 w 5498758"/>
              <a:gd name="connsiteY834" fmla="*/ 790385 h 4459172"/>
              <a:gd name="connsiteX835" fmla="*/ 4743648 w 5498758"/>
              <a:gd name="connsiteY835" fmla="*/ 790385 h 4459172"/>
              <a:gd name="connsiteX836" fmla="*/ 4743648 w 5498758"/>
              <a:gd name="connsiteY836" fmla="*/ 732154 h 4459172"/>
              <a:gd name="connsiteX837" fmla="*/ 4743648 w 5498758"/>
              <a:gd name="connsiteY837" fmla="*/ 62507 h 4459172"/>
              <a:gd name="connsiteX838" fmla="*/ 1841161 w 5498758"/>
              <a:gd name="connsiteY838" fmla="*/ 1 h 4459172"/>
              <a:gd name="connsiteX839" fmla="*/ 1841161 w 5498758"/>
              <a:gd name="connsiteY839" fmla="*/ 60096 h 4459172"/>
              <a:gd name="connsiteX840" fmla="*/ 1811334 w 5498758"/>
              <a:gd name="connsiteY840" fmla="*/ 61447 h 4459172"/>
              <a:gd name="connsiteX841" fmla="*/ 1784317 w 5498758"/>
              <a:gd name="connsiteY841" fmla="*/ 65456 h 4459172"/>
              <a:gd name="connsiteX842" fmla="*/ 1759981 w 5498758"/>
              <a:gd name="connsiteY842" fmla="*/ 72046 h 4459172"/>
              <a:gd name="connsiteX843" fmla="*/ 1738195 w 5498758"/>
              <a:gd name="connsiteY843" fmla="*/ 81149 h 4459172"/>
              <a:gd name="connsiteX844" fmla="*/ 1701760 w 5498758"/>
              <a:gd name="connsiteY844" fmla="*/ 106599 h 4459172"/>
              <a:gd name="connsiteX845" fmla="*/ 1673977 w 5498758"/>
              <a:gd name="connsiteY845" fmla="*/ 141231 h 4459172"/>
              <a:gd name="connsiteX846" fmla="*/ 1663007 w 5498758"/>
              <a:gd name="connsiteY846" fmla="*/ 161808 h 4459172"/>
              <a:gd name="connsiteX847" fmla="*/ 1653812 w 5498758"/>
              <a:gd name="connsiteY847" fmla="*/ 184464 h 4459172"/>
              <a:gd name="connsiteX848" fmla="*/ 1646263 w 5498758"/>
              <a:gd name="connsiteY848" fmla="*/ 209127 h 4459172"/>
              <a:gd name="connsiteX849" fmla="*/ 1640230 w 5498758"/>
              <a:gd name="connsiteY849" fmla="*/ 235723 h 4459172"/>
              <a:gd name="connsiteX850" fmla="*/ 1635584 w 5498758"/>
              <a:gd name="connsiteY850" fmla="*/ 264182 h 4459172"/>
              <a:gd name="connsiteX851" fmla="*/ 1632195 w 5498758"/>
              <a:gd name="connsiteY851" fmla="*/ 294431 h 4459172"/>
              <a:gd name="connsiteX852" fmla="*/ 1629935 w 5498758"/>
              <a:gd name="connsiteY852" fmla="*/ 326398 h 4459172"/>
              <a:gd name="connsiteX853" fmla="*/ 1628674 w 5498758"/>
              <a:gd name="connsiteY853" fmla="*/ 360010 h 4459172"/>
              <a:gd name="connsiteX854" fmla="*/ 1628282 w 5498758"/>
              <a:gd name="connsiteY854" fmla="*/ 395196 h 4459172"/>
              <a:gd name="connsiteX855" fmla="*/ 1628664 w 5498758"/>
              <a:gd name="connsiteY855" fmla="*/ 430731 h 4459172"/>
              <a:gd name="connsiteX856" fmla="*/ 1629898 w 5498758"/>
              <a:gd name="connsiteY856" fmla="*/ 464671 h 4459172"/>
              <a:gd name="connsiteX857" fmla="*/ 1632117 w 5498758"/>
              <a:gd name="connsiteY857" fmla="*/ 496943 h 4459172"/>
              <a:gd name="connsiteX858" fmla="*/ 1635455 w 5498758"/>
              <a:gd name="connsiteY858" fmla="*/ 527477 h 4459172"/>
              <a:gd name="connsiteX859" fmla="*/ 1640043 w 5498758"/>
              <a:gd name="connsiteY859" fmla="*/ 556201 h 4459172"/>
              <a:gd name="connsiteX860" fmla="*/ 1646017 w 5498758"/>
              <a:gd name="connsiteY860" fmla="*/ 583040 h 4459172"/>
              <a:gd name="connsiteX861" fmla="*/ 1653508 w 5498758"/>
              <a:gd name="connsiteY861" fmla="*/ 607925 h 4459172"/>
              <a:gd name="connsiteX862" fmla="*/ 1662650 w 5498758"/>
              <a:gd name="connsiteY862" fmla="*/ 630782 h 4459172"/>
              <a:gd name="connsiteX863" fmla="*/ 1673575 w 5498758"/>
              <a:gd name="connsiteY863" fmla="*/ 651540 h 4459172"/>
              <a:gd name="connsiteX864" fmla="*/ 1701309 w 5498758"/>
              <a:gd name="connsiteY864" fmla="*/ 686466 h 4459172"/>
              <a:gd name="connsiteX865" fmla="*/ 1737775 w 5498758"/>
              <a:gd name="connsiteY865" fmla="*/ 712128 h 4459172"/>
              <a:gd name="connsiteX866" fmla="*/ 1759616 w 5498758"/>
              <a:gd name="connsiteY866" fmla="*/ 721306 h 4459172"/>
              <a:gd name="connsiteX867" fmla="*/ 1784038 w 5498758"/>
              <a:gd name="connsiteY867" fmla="*/ 727950 h 4459172"/>
              <a:gd name="connsiteX868" fmla="*/ 1811175 w 5498758"/>
              <a:gd name="connsiteY868" fmla="*/ 731988 h 4459172"/>
              <a:gd name="connsiteX869" fmla="*/ 1841161 w 5498758"/>
              <a:gd name="connsiteY869" fmla="*/ 733351 h 4459172"/>
              <a:gd name="connsiteX870" fmla="*/ 1841161 w 5498758"/>
              <a:gd name="connsiteY870" fmla="*/ 792427 h 4459172"/>
              <a:gd name="connsiteX871" fmla="*/ 1810003 w 5498758"/>
              <a:gd name="connsiteY871" fmla="*/ 791381 h 4459172"/>
              <a:gd name="connsiteX872" fmla="*/ 1781086 w 5498758"/>
              <a:gd name="connsiteY872" fmla="*/ 788273 h 4459172"/>
              <a:gd name="connsiteX873" fmla="*/ 1754335 w 5498758"/>
              <a:gd name="connsiteY873" fmla="*/ 783144 h 4459172"/>
              <a:gd name="connsiteX874" fmla="*/ 1729676 w 5498758"/>
              <a:gd name="connsiteY874" fmla="*/ 776041 h 4459172"/>
              <a:gd name="connsiteX875" fmla="*/ 1707036 w 5498758"/>
              <a:gd name="connsiteY875" fmla="*/ 767004 h 4459172"/>
              <a:gd name="connsiteX876" fmla="*/ 1686340 w 5498758"/>
              <a:gd name="connsiteY876" fmla="*/ 756080 h 4459172"/>
              <a:gd name="connsiteX877" fmla="*/ 1650489 w 5498758"/>
              <a:gd name="connsiteY877" fmla="*/ 728740 h 4459172"/>
              <a:gd name="connsiteX878" fmla="*/ 1621529 w 5498758"/>
              <a:gd name="connsiteY878" fmla="*/ 694367 h 4459172"/>
              <a:gd name="connsiteX879" fmla="*/ 1609449 w 5498758"/>
              <a:gd name="connsiteY879" fmla="*/ 674653 h 4459172"/>
              <a:gd name="connsiteX880" fmla="*/ 1598870 w 5498758"/>
              <a:gd name="connsiteY880" fmla="*/ 653311 h 4459172"/>
              <a:gd name="connsiteX881" fmla="*/ 1589719 w 5498758"/>
              <a:gd name="connsiteY881" fmla="*/ 630386 h 4459172"/>
              <a:gd name="connsiteX882" fmla="*/ 1581921 w 5498758"/>
              <a:gd name="connsiteY882" fmla="*/ 605921 h 4459172"/>
              <a:gd name="connsiteX883" fmla="*/ 1575402 w 5498758"/>
              <a:gd name="connsiteY883" fmla="*/ 579959 h 4459172"/>
              <a:gd name="connsiteX884" fmla="*/ 1570089 w 5498758"/>
              <a:gd name="connsiteY884" fmla="*/ 552543 h 4459172"/>
              <a:gd name="connsiteX885" fmla="*/ 1565908 w 5498758"/>
              <a:gd name="connsiteY885" fmla="*/ 523719 h 4459172"/>
              <a:gd name="connsiteX886" fmla="*/ 1562785 w 5498758"/>
              <a:gd name="connsiteY886" fmla="*/ 493528 h 4459172"/>
              <a:gd name="connsiteX887" fmla="*/ 1560645 w 5498758"/>
              <a:gd name="connsiteY887" fmla="*/ 462016 h 4459172"/>
              <a:gd name="connsiteX888" fmla="*/ 1559416 w 5498758"/>
              <a:gd name="connsiteY888" fmla="*/ 429223 h 4459172"/>
              <a:gd name="connsiteX889" fmla="*/ 1559022 w 5498758"/>
              <a:gd name="connsiteY889" fmla="*/ 395196 h 4459172"/>
              <a:gd name="connsiteX890" fmla="*/ 1559429 w 5498758"/>
              <a:gd name="connsiteY890" fmla="*/ 361314 h 4459172"/>
              <a:gd name="connsiteX891" fmla="*/ 1560695 w 5498758"/>
              <a:gd name="connsiteY891" fmla="*/ 328666 h 4459172"/>
              <a:gd name="connsiteX892" fmla="*/ 1562891 w 5498758"/>
              <a:gd name="connsiteY892" fmla="*/ 297298 h 4459172"/>
              <a:gd name="connsiteX893" fmla="*/ 1566088 w 5498758"/>
              <a:gd name="connsiteY893" fmla="*/ 267248 h 4459172"/>
              <a:gd name="connsiteX894" fmla="*/ 1570354 w 5498758"/>
              <a:gd name="connsiteY894" fmla="*/ 238562 h 4459172"/>
              <a:gd name="connsiteX895" fmla="*/ 1575759 w 5498758"/>
              <a:gd name="connsiteY895" fmla="*/ 211282 h 4459172"/>
              <a:gd name="connsiteX896" fmla="*/ 1582374 w 5498758"/>
              <a:gd name="connsiteY896" fmla="*/ 185452 h 4459172"/>
              <a:gd name="connsiteX897" fmla="*/ 1590268 w 5498758"/>
              <a:gd name="connsiteY897" fmla="*/ 161113 h 4459172"/>
              <a:gd name="connsiteX898" fmla="*/ 1599513 w 5498758"/>
              <a:gd name="connsiteY898" fmla="*/ 138310 h 4459172"/>
              <a:gd name="connsiteX899" fmla="*/ 1610176 w 5498758"/>
              <a:gd name="connsiteY899" fmla="*/ 117084 h 4459172"/>
              <a:gd name="connsiteX900" fmla="*/ 1622329 w 5498758"/>
              <a:gd name="connsiteY900" fmla="*/ 97478 h 4459172"/>
              <a:gd name="connsiteX901" fmla="*/ 1651382 w 5498758"/>
              <a:gd name="connsiteY901" fmla="*/ 63301 h 4459172"/>
              <a:gd name="connsiteX902" fmla="*/ 1687233 w 5498758"/>
              <a:gd name="connsiteY902" fmla="*/ 36123 h 4459172"/>
              <a:gd name="connsiteX903" fmla="*/ 1707882 w 5498758"/>
              <a:gd name="connsiteY903" fmla="*/ 25265 h 4459172"/>
              <a:gd name="connsiteX904" fmla="*/ 1730440 w 5498758"/>
              <a:gd name="connsiteY904" fmla="*/ 16284 h 4459172"/>
              <a:gd name="connsiteX905" fmla="*/ 1754977 w 5498758"/>
              <a:gd name="connsiteY905" fmla="*/ 9224 h 4459172"/>
              <a:gd name="connsiteX906" fmla="*/ 1781563 w 5498758"/>
              <a:gd name="connsiteY906" fmla="*/ 4130 h 4459172"/>
              <a:gd name="connsiteX907" fmla="*/ 1810268 w 5498758"/>
              <a:gd name="connsiteY907" fmla="*/ 1040 h 4459172"/>
              <a:gd name="connsiteX908" fmla="*/ 5029634 w 5498758"/>
              <a:gd name="connsiteY908" fmla="*/ 1 h 4459172"/>
              <a:gd name="connsiteX909" fmla="*/ 5060528 w 5498758"/>
              <a:gd name="connsiteY909" fmla="*/ 1040 h 4459172"/>
              <a:gd name="connsiteX910" fmla="*/ 5089233 w 5498758"/>
              <a:gd name="connsiteY910" fmla="*/ 4128 h 4459172"/>
              <a:gd name="connsiteX911" fmla="*/ 5115819 w 5498758"/>
              <a:gd name="connsiteY911" fmla="*/ 9224 h 4459172"/>
              <a:gd name="connsiteX912" fmla="*/ 5140355 w 5498758"/>
              <a:gd name="connsiteY912" fmla="*/ 16283 h 4459172"/>
              <a:gd name="connsiteX913" fmla="*/ 5162912 w 5498758"/>
              <a:gd name="connsiteY913" fmla="*/ 25263 h 4459172"/>
              <a:gd name="connsiteX914" fmla="*/ 5183562 w 5498758"/>
              <a:gd name="connsiteY914" fmla="*/ 36121 h 4459172"/>
              <a:gd name="connsiteX915" fmla="*/ 5219411 w 5498758"/>
              <a:gd name="connsiteY915" fmla="*/ 63300 h 4459172"/>
              <a:gd name="connsiteX916" fmla="*/ 5248464 w 5498758"/>
              <a:gd name="connsiteY916" fmla="*/ 97477 h 4459172"/>
              <a:gd name="connsiteX917" fmla="*/ 5260616 w 5498758"/>
              <a:gd name="connsiteY917" fmla="*/ 117083 h 4459172"/>
              <a:gd name="connsiteX918" fmla="*/ 5271279 w 5498758"/>
              <a:gd name="connsiteY918" fmla="*/ 138308 h 4459172"/>
              <a:gd name="connsiteX919" fmla="*/ 5280522 w 5498758"/>
              <a:gd name="connsiteY919" fmla="*/ 161112 h 4459172"/>
              <a:gd name="connsiteX920" fmla="*/ 5288418 w 5498758"/>
              <a:gd name="connsiteY920" fmla="*/ 185450 h 4459172"/>
              <a:gd name="connsiteX921" fmla="*/ 5295032 w 5498758"/>
              <a:gd name="connsiteY921" fmla="*/ 211281 h 4459172"/>
              <a:gd name="connsiteX922" fmla="*/ 5300436 w 5498758"/>
              <a:gd name="connsiteY922" fmla="*/ 238560 h 4459172"/>
              <a:gd name="connsiteX923" fmla="*/ 5304703 w 5498758"/>
              <a:gd name="connsiteY923" fmla="*/ 267247 h 4459172"/>
              <a:gd name="connsiteX924" fmla="*/ 5307899 w 5498758"/>
              <a:gd name="connsiteY924" fmla="*/ 297296 h 4459172"/>
              <a:gd name="connsiteX925" fmla="*/ 5310095 w 5498758"/>
              <a:gd name="connsiteY925" fmla="*/ 328665 h 4459172"/>
              <a:gd name="connsiteX926" fmla="*/ 5311361 w 5498758"/>
              <a:gd name="connsiteY926" fmla="*/ 361313 h 4459172"/>
              <a:gd name="connsiteX927" fmla="*/ 5311768 w 5498758"/>
              <a:gd name="connsiteY927" fmla="*/ 395194 h 4459172"/>
              <a:gd name="connsiteX928" fmla="*/ 5311382 w 5498758"/>
              <a:gd name="connsiteY928" fmla="*/ 429222 h 4459172"/>
              <a:gd name="connsiteX929" fmla="*/ 5310170 w 5498758"/>
              <a:gd name="connsiteY929" fmla="*/ 462014 h 4459172"/>
              <a:gd name="connsiteX930" fmla="*/ 5308058 w 5498758"/>
              <a:gd name="connsiteY930" fmla="*/ 493527 h 4459172"/>
              <a:gd name="connsiteX931" fmla="*/ 5304972 w 5498758"/>
              <a:gd name="connsiteY931" fmla="*/ 523718 h 4459172"/>
              <a:gd name="connsiteX932" fmla="*/ 5300834 w 5498758"/>
              <a:gd name="connsiteY932" fmla="*/ 552543 h 4459172"/>
              <a:gd name="connsiteX933" fmla="*/ 5295566 w 5498758"/>
              <a:gd name="connsiteY933" fmla="*/ 579958 h 4459172"/>
              <a:gd name="connsiteX934" fmla="*/ 5289096 w 5498758"/>
              <a:gd name="connsiteY934" fmla="*/ 605920 h 4459172"/>
              <a:gd name="connsiteX935" fmla="*/ 5281347 w 5498758"/>
              <a:gd name="connsiteY935" fmla="*/ 630385 h 4459172"/>
              <a:gd name="connsiteX936" fmla="*/ 5272242 w 5498758"/>
              <a:gd name="connsiteY936" fmla="*/ 653311 h 4459172"/>
              <a:gd name="connsiteX937" fmla="*/ 5261706 w 5498758"/>
              <a:gd name="connsiteY937" fmla="*/ 674652 h 4459172"/>
              <a:gd name="connsiteX938" fmla="*/ 5249663 w 5498758"/>
              <a:gd name="connsiteY938" fmla="*/ 694367 h 4459172"/>
              <a:gd name="connsiteX939" fmla="*/ 5220750 w 5498758"/>
              <a:gd name="connsiteY939" fmla="*/ 728739 h 4459172"/>
              <a:gd name="connsiteX940" fmla="*/ 5184899 w 5498758"/>
              <a:gd name="connsiteY940" fmla="*/ 756079 h 4459172"/>
              <a:gd name="connsiteX941" fmla="*/ 5164180 w 5498758"/>
              <a:gd name="connsiteY941" fmla="*/ 767004 h 4459172"/>
              <a:gd name="connsiteX942" fmla="*/ 5141500 w 5498758"/>
              <a:gd name="connsiteY942" fmla="*/ 776040 h 4459172"/>
              <a:gd name="connsiteX943" fmla="*/ 5116782 w 5498758"/>
              <a:gd name="connsiteY943" fmla="*/ 783144 h 4459172"/>
              <a:gd name="connsiteX944" fmla="*/ 5089948 w 5498758"/>
              <a:gd name="connsiteY944" fmla="*/ 788272 h 4459172"/>
              <a:gd name="connsiteX945" fmla="*/ 5060925 w 5498758"/>
              <a:gd name="connsiteY945" fmla="*/ 791381 h 4459172"/>
              <a:gd name="connsiteX946" fmla="*/ 5029634 w 5498758"/>
              <a:gd name="connsiteY946" fmla="*/ 792426 h 4459172"/>
              <a:gd name="connsiteX947" fmla="*/ 5029634 w 5498758"/>
              <a:gd name="connsiteY947" fmla="*/ 733351 h 4459172"/>
              <a:gd name="connsiteX948" fmla="*/ 5059950 w 5498758"/>
              <a:gd name="connsiteY948" fmla="*/ 731988 h 4459172"/>
              <a:gd name="connsiteX949" fmla="*/ 5087358 w 5498758"/>
              <a:gd name="connsiteY949" fmla="*/ 727949 h 4459172"/>
              <a:gd name="connsiteX950" fmla="*/ 5111996 w 5498758"/>
              <a:gd name="connsiteY950" fmla="*/ 721305 h 4459172"/>
              <a:gd name="connsiteX951" fmla="*/ 5134005 w 5498758"/>
              <a:gd name="connsiteY951" fmla="*/ 712128 h 4459172"/>
              <a:gd name="connsiteX952" fmla="*/ 5170680 w 5498758"/>
              <a:gd name="connsiteY952" fmla="*/ 686465 h 4459172"/>
              <a:gd name="connsiteX953" fmla="*/ 5198489 w 5498758"/>
              <a:gd name="connsiteY953" fmla="*/ 651539 h 4459172"/>
              <a:gd name="connsiteX954" fmla="*/ 5209414 w 5498758"/>
              <a:gd name="connsiteY954" fmla="*/ 630782 h 4459172"/>
              <a:gd name="connsiteX955" fmla="*/ 5218536 w 5498758"/>
              <a:gd name="connsiteY955" fmla="*/ 607925 h 4459172"/>
              <a:gd name="connsiteX956" fmla="*/ 5225994 w 5498758"/>
              <a:gd name="connsiteY956" fmla="*/ 583040 h 4459172"/>
              <a:gd name="connsiteX957" fmla="*/ 5231926 w 5498758"/>
              <a:gd name="connsiteY957" fmla="*/ 556200 h 4459172"/>
              <a:gd name="connsiteX958" fmla="*/ 5236470 w 5498758"/>
              <a:gd name="connsiteY958" fmla="*/ 527476 h 4459172"/>
              <a:gd name="connsiteX959" fmla="*/ 5239763 w 5498758"/>
              <a:gd name="connsiteY959" fmla="*/ 496942 h 4459172"/>
              <a:gd name="connsiteX960" fmla="*/ 5241944 w 5498758"/>
              <a:gd name="connsiteY960" fmla="*/ 464669 h 4459172"/>
              <a:gd name="connsiteX961" fmla="*/ 5243152 w 5498758"/>
              <a:gd name="connsiteY961" fmla="*/ 430729 h 4459172"/>
              <a:gd name="connsiteX962" fmla="*/ 5243524 w 5498758"/>
              <a:gd name="connsiteY962" fmla="*/ 395194 h 4459172"/>
              <a:gd name="connsiteX963" fmla="*/ 5243133 w 5498758"/>
              <a:gd name="connsiteY963" fmla="*/ 360008 h 4459172"/>
              <a:gd name="connsiteX964" fmla="*/ 5241870 w 5498758"/>
              <a:gd name="connsiteY964" fmla="*/ 326396 h 4459172"/>
              <a:gd name="connsiteX965" fmla="*/ 5239606 w 5498758"/>
              <a:gd name="connsiteY965" fmla="*/ 294430 h 4459172"/>
              <a:gd name="connsiteX966" fmla="*/ 5236210 w 5498758"/>
              <a:gd name="connsiteY966" fmla="*/ 264181 h 4459172"/>
              <a:gd name="connsiteX967" fmla="*/ 5231552 w 5498758"/>
              <a:gd name="connsiteY967" fmla="*/ 235722 h 4459172"/>
              <a:gd name="connsiteX968" fmla="*/ 5225501 w 5498758"/>
              <a:gd name="connsiteY968" fmla="*/ 209126 h 4459172"/>
              <a:gd name="connsiteX969" fmla="*/ 5217926 w 5498758"/>
              <a:gd name="connsiteY969" fmla="*/ 184463 h 4459172"/>
              <a:gd name="connsiteX970" fmla="*/ 5208696 w 5498758"/>
              <a:gd name="connsiteY970" fmla="*/ 161807 h 4459172"/>
              <a:gd name="connsiteX971" fmla="*/ 5197682 w 5498758"/>
              <a:gd name="connsiteY971" fmla="*/ 141229 h 4459172"/>
              <a:gd name="connsiteX972" fmla="*/ 5169776 w 5498758"/>
              <a:gd name="connsiteY972" fmla="*/ 106598 h 4459172"/>
              <a:gd name="connsiteX973" fmla="*/ 5133162 w 5498758"/>
              <a:gd name="connsiteY973" fmla="*/ 81148 h 4459172"/>
              <a:gd name="connsiteX974" fmla="*/ 5111264 w 5498758"/>
              <a:gd name="connsiteY974" fmla="*/ 72045 h 4459172"/>
              <a:gd name="connsiteX975" fmla="*/ 5086797 w 5498758"/>
              <a:gd name="connsiteY975" fmla="*/ 65454 h 4459172"/>
              <a:gd name="connsiteX976" fmla="*/ 5059632 w 5498758"/>
              <a:gd name="connsiteY976" fmla="*/ 61446 h 4459172"/>
              <a:gd name="connsiteX977" fmla="*/ 5029634 w 5498758"/>
              <a:gd name="connsiteY977" fmla="*/ 60095 h 4459172"/>
              <a:gd name="connsiteX978" fmla="*/ 1897218 w 5498758"/>
              <a:gd name="connsiteY978" fmla="*/ 0 h 4459172"/>
              <a:gd name="connsiteX979" fmla="*/ 1928111 w 5498758"/>
              <a:gd name="connsiteY979" fmla="*/ 1039 h 4459172"/>
              <a:gd name="connsiteX980" fmla="*/ 1956816 w 5498758"/>
              <a:gd name="connsiteY980" fmla="*/ 4128 h 4459172"/>
              <a:gd name="connsiteX981" fmla="*/ 1983402 w 5498758"/>
              <a:gd name="connsiteY981" fmla="*/ 9223 h 4459172"/>
              <a:gd name="connsiteX982" fmla="*/ 2007938 w 5498758"/>
              <a:gd name="connsiteY982" fmla="*/ 16282 h 4459172"/>
              <a:gd name="connsiteX983" fmla="*/ 2030496 w 5498758"/>
              <a:gd name="connsiteY983" fmla="*/ 25263 h 4459172"/>
              <a:gd name="connsiteX984" fmla="*/ 2051145 w 5498758"/>
              <a:gd name="connsiteY984" fmla="*/ 36121 h 4459172"/>
              <a:gd name="connsiteX985" fmla="*/ 2086994 w 5498758"/>
              <a:gd name="connsiteY985" fmla="*/ 63300 h 4459172"/>
              <a:gd name="connsiteX986" fmla="*/ 2116047 w 5498758"/>
              <a:gd name="connsiteY986" fmla="*/ 97477 h 4459172"/>
              <a:gd name="connsiteX987" fmla="*/ 2128200 w 5498758"/>
              <a:gd name="connsiteY987" fmla="*/ 117082 h 4459172"/>
              <a:gd name="connsiteX988" fmla="*/ 2138863 w 5498758"/>
              <a:gd name="connsiteY988" fmla="*/ 138308 h 4459172"/>
              <a:gd name="connsiteX989" fmla="*/ 2148106 w 5498758"/>
              <a:gd name="connsiteY989" fmla="*/ 161111 h 4459172"/>
              <a:gd name="connsiteX990" fmla="*/ 2156000 w 5498758"/>
              <a:gd name="connsiteY990" fmla="*/ 185450 h 4459172"/>
              <a:gd name="connsiteX991" fmla="*/ 2162615 w 5498758"/>
              <a:gd name="connsiteY991" fmla="*/ 211281 h 4459172"/>
              <a:gd name="connsiteX992" fmla="*/ 2168020 w 5498758"/>
              <a:gd name="connsiteY992" fmla="*/ 238560 h 4459172"/>
              <a:gd name="connsiteX993" fmla="*/ 2172286 w 5498758"/>
              <a:gd name="connsiteY993" fmla="*/ 267247 h 4459172"/>
              <a:gd name="connsiteX994" fmla="*/ 2175482 w 5498758"/>
              <a:gd name="connsiteY994" fmla="*/ 297296 h 4459172"/>
              <a:gd name="connsiteX995" fmla="*/ 2177678 w 5498758"/>
              <a:gd name="connsiteY995" fmla="*/ 328665 h 4459172"/>
              <a:gd name="connsiteX996" fmla="*/ 2178944 w 5498758"/>
              <a:gd name="connsiteY996" fmla="*/ 361313 h 4459172"/>
              <a:gd name="connsiteX997" fmla="*/ 2179350 w 5498758"/>
              <a:gd name="connsiteY997" fmla="*/ 395194 h 4459172"/>
              <a:gd name="connsiteX998" fmla="*/ 2178964 w 5498758"/>
              <a:gd name="connsiteY998" fmla="*/ 429222 h 4459172"/>
              <a:gd name="connsiteX999" fmla="*/ 2177753 w 5498758"/>
              <a:gd name="connsiteY999" fmla="*/ 462014 h 4459172"/>
              <a:gd name="connsiteX1000" fmla="*/ 2175642 w 5498758"/>
              <a:gd name="connsiteY1000" fmla="*/ 493527 h 4459172"/>
              <a:gd name="connsiteX1001" fmla="*/ 2172554 w 5498758"/>
              <a:gd name="connsiteY1001" fmla="*/ 523718 h 4459172"/>
              <a:gd name="connsiteX1002" fmla="*/ 2168416 w 5498758"/>
              <a:gd name="connsiteY1002" fmla="*/ 552542 h 4459172"/>
              <a:gd name="connsiteX1003" fmla="*/ 2163149 w 5498758"/>
              <a:gd name="connsiteY1003" fmla="*/ 579958 h 4459172"/>
              <a:gd name="connsiteX1004" fmla="*/ 2156679 w 5498758"/>
              <a:gd name="connsiteY1004" fmla="*/ 605919 h 4459172"/>
              <a:gd name="connsiteX1005" fmla="*/ 2148929 w 5498758"/>
              <a:gd name="connsiteY1005" fmla="*/ 630385 h 4459172"/>
              <a:gd name="connsiteX1006" fmla="*/ 2139823 w 5498758"/>
              <a:gd name="connsiteY1006" fmla="*/ 653310 h 4459172"/>
              <a:gd name="connsiteX1007" fmla="*/ 2129287 w 5498758"/>
              <a:gd name="connsiteY1007" fmla="*/ 674652 h 4459172"/>
              <a:gd name="connsiteX1008" fmla="*/ 2117243 w 5498758"/>
              <a:gd name="connsiteY1008" fmla="*/ 694366 h 4459172"/>
              <a:gd name="connsiteX1009" fmla="*/ 2088331 w 5498758"/>
              <a:gd name="connsiteY1009" fmla="*/ 728738 h 4459172"/>
              <a:gd name="connsiteX1010" fmla="*/ 2052479 w 5498758"/>
              <a:gd name="connsiteY1010" fmla="*/ 756079 h 4459172"/>
              <a:gd name="connsiteX1011" fmla="*/ 2031761 w 5498758"/>
              <a:gd name="connsiteY1011" fmla="*/ 767003 h 4459172"/>
              <a:gd name="connsiteX1012" fmla="*/ 2009081 w 5498758"/>
              <a:gd name="connsiteY1012" fmla="*/ 776039 h 4459172"/>
              <a:gd name="connsiteX1013" fmla="*/ 1984362 w 5498758"/>
              <a:gd name="connsiteY1013" fmla="*/ 783143 h 4459172"/>
              <a:gd name="connsiteX1014" fmla="*/ 1957530 w 5498758"/>
              <a:gd name="connsiteY1014" fmla="*/ 788271 h 4459172"/>
              <a:gd name="connsiteX1015" fmla="*/ 1928507 w 5498758"/>
              <a:gd name="connsiteY1015" fmla="*/ 791380 h 4459172"/>
              <a:gd name="connsiteX1016" fmla="*/ 1897218 w 5498758"/>
              <a:gd name="connsiteY1016" fmla="*/ 792425 h 4459172"/>
              <a:gd name="connsiteX1017" fmla="*/ 1897218 w 5498758"/>
              <a:gd name="connsiteY1017" fmla="*/ 733350 h 4459172"/>
              <a:gd name="connsiteX1018" fmla="*/ 1927532 w 5498758"/>
              <a:gd name="connsiteY1018" fmla="*/ 731987 h 4459172"/>
              <a:gd name="connsiteX1019" fmla="*/ 1954939 w 5498758"/>
              <a:gd name="connsiteY1019" fmla="*/ 727948 h 4459172"/>
              <a:gd name="connsiteX1020" fmla="*/ 1979577 w 5498758"/>
              <a:gd name="connsiteY1020" fmla="*/ 721304 h 4459172"/>
              <a:gd name="connsiteX1021" fmla="*/ 2001585 w 5498758"/>
              <a:gd name="connsiteY1021" fmla="*/ 712127 h 4459172"/>
              <a:gd name="connsiteX1022" fmla="*/ 2038261 w 5498758"/>
              <a:gd name="connsiteY1022" fmla="*/ 686465 h 4459172"/>
              <a:gd name="connsiteX1023" fmla="*/ 2066070 w 5498758"/>
              <a:gd name="connsiteY1023" fmla="*/ 651538 h 4459172"/>
              <a:gd name="connsiteX1024" fmla="*/ 2076995 w 5498758"/>
              <a:gd name="connsiteY1024" fmla="*/ 630781 h 4459172"/>
              <a:gd name="connsiteX1025" fmla="*/ 2086118 w 5498758"/>
              <a:gd name="connsiteY1025" fmla="*/ 607924 h 4459172"/>
              <a:gd name="connsiteX1026" fmla="*/ 2093576 w 5498758"/>
              <a:gd name="connsiteY1026" fmla="*/ 583039 h 4459172"/>
              <a:gd name="connsiteX1027" fmla="*/ 2099508 w 5498758"/>
              <a:gd name="connsiteY1027" fmla="*/ 556200 h 4459172"/>
              <a:gd name="connsiteX1028" fmla="*/ 2104052 w 5498758"/>
              <a:gd name="connsiteY1028" fmla="*/ 527476 h 4459172"/>
              <a:gd name="connsiteX1029" fmla="*/ 2107346 w 5498758"/>
              <a:gd name="connsiteY1029" fmla="*/ 496942 h 4459172"/>
              <a:gd name="connsiteX1030" fmla="*/ 2109528 w 5498758"/>
              <a:gd name="connsiteY1030" fmla="*/ 464669 h 4459172"/>
              <a:gd name="connsiteX1031" fmla="*/ 2110736 w 5498758"/>
              <a:gd name="connsiteY1031" fmla="*/ 430729 h 4459172"/>
              <a:gd name="connsiteX1032" fmla="*/ 2111108 w 5498758"/>
              <a:gd name="connsiteY1032" fmla="*/ 395194 h 4459172"/>
              <a:gd name="connsiteX1033" fmla="*/ 2110716 w 5498758"/>
              <a:gd name="connsiteY1033" fmla="*/ 360008 h 4459172"/>
              <a:gd name="connsiteX1034" fmla="*/ 2109453 w 5498758"/>
              <a:gd name="connsiteY1034" fmla="*/ 326396 h 4459172"/>
              <a:gd name="connsiteX1035" fmla="*/ 2107190 w 5498758"/>
              <a:gd name="connsiteY1035" fmla="*/ 294429 h 4459172"/>
              <a:gd name="connsiteX1036" fmla="*/ 2103794 w 5498758"/>
              <a:gd name="connsiteY1036" fmla="*/ 264181 h 4459172"/>
              <a:gd name="connsiteX1037" fmla="*/ 2099136 w 5498758"/>
              <a:gd name="connsiteY1037" fmla="*/ 235721 h 4459172"/>
              <a:gd name="connsiteX1038" fmla="*/ 2093084 w 5498758"/>
              <a:gd name="connsiteY1038" fmla="*/ 209125 h 4459172"/>
              <a:gd name="connsiteX1039" fmla="*/ 2085509 w 5498758"/>
              <a:gd name="connsiteY1039" fmla="*/ 184462 h 4459172"/>
              <a:gd name="connsiteX1040" fmla="*/ 2076280 w 5498758"/>
              <a:gd name="connsiteY1040" fmla="*/ 161806 h 4459172"/>
              <a:gd name="connsiteX1041" fmla="*/ 2065265 w 5498758"/>
              <a:gd name="connsiteY1041" fmla="*/ 141229 h 4459172"/>
              <a:gd name="connsiteX1042" fmla="*/ 2037359 w 5498758"/>
              <a:gd name="connsiteY1042" fmla="*/ 106598 h 4459172"/>
              <a:gd name="connsiteX1043" fmla="*/ 2000745 w 5498758"/>
              <a:gd name="connsiteY1043" fmla="*/ 81147 h 4459172"/>
              <a:gd name="connsiteX1044" fmla="*/ 1978847 w 5498758"/>
              <a:gd name="connsiteY1044" fmla="*/ 72045 h 4459172"/>
              <a:gd name="connsiteX1045" fmla="*/ 1954380 w 5498758"/>
              <a:gd name="connsiteY1045" fmla="*/ 65454 h 4459172"/>
              <a:gd name="connsiteX1046" fmla="*/ 1927214 w 5498758"/>
              <a:gd name="connsiteY1046" fmla="*/ 61446 h 4459172"/>
              <a:gd name="connsiteX1047" fmla="*/ 1897218 w 5498758"/>
              <a:gd name="connsiteY1047" fmla="*/ 60094 h 445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Lst>
            <a:rect l="l" t="t" r="r" b="b"/>
            <a:pathLst>
              <a:path w="5498758" h="4459172">
                <a:moveTo>
                  <a:pt x="3875521" y="4290095"/>
                </a:moveTo>
                <a:lnTo>
                  <a:pt x="4001824" y="4290095"/>
                </a:lnTo>
                <a:lnTo>
                  <a:pt x="4001824" y="4396023"/>
                </a:lnTo>
                <a:lnTo>
                  <a:pt x="3875521" y="4396023"/>
                </a:lnTo>
                <a:close/>
                <a:moveTo>
                  <a:pt x="2034141" y="4198427"/>
                </a:moveTo>
                <a:lnTo>
                  <a:pt x="2586194" y="4198427"/>
                </a:lnTo>
                <a:lnTo>
                  <a:pt x="2586194" y="4263614"/>
                </a:lnTo>
                <a:lnTo>
                  <a:pt x="2034141" y="4263614"/>
                </a:lnTo>
                <a:close/>
                <a:moveTo>
                  <a:pt x="2034141" y="3985552"/>
                </a:moveTo>
                <a:lnTo>
                  <a:pt x="2586194" y="3985552"/>
                </a:lnTo>
                <a:lnTo>
                  <a:pt x="2586194" y="4050739"/>
                </a:lnTo>
                <a:lnTo>
                  <a:pt x="2034141" y="4050739"/>
                </a:lnTo>
                <a:close/>
                <a:moveTo>
                  <a:pt x="3269090" y="3670481"/>
                </a:moveTo>
                <a:lnTo>
                  <a:pt x="3497245" y="3670481"/>
                </a:lnTo>
                <a:lnTo>
                  <a:pt x="3497245" y="3728711"/>
                </a:lnTo>
                <a:lnTo>
                  <a:pt x="3497245" y="4399124"/>
                </a:lnTo>
                <a:lnTo>
                  <a:pt x="3497245" y="4457355"/>
                </a:lnTo>
                <a:lnTo>
                  <a:pt x="3269090" y="4457355"/>
                </a:lnTo>
                <a:lnTo>
                  <a:pt x="3269090" y="4399124"/>
                </a:lnTo>
                <a:lnTo>
                  <a:pt x="3426962" y="4399124"/>
                </a:lnTo>
                <a:lnTo>
                  <a:pt x="3426962" y="3728711"/>
                </a:lnTo>
                <a:lnTo>
                  <a:pt x="3269090" y="3728711"/>
                </a:lnTo>
                <a:close/>
                <a:moveTo>
                  <a:pt x="2980062" y="3670481"/>
                </a:moveTo>
                <a:lnTo>
                  <a:pt x="3208209" y="3670481"/>
                </a:lnTo>
                <a:lnTo>
                  <a:pt x="3208209" y="3728711"/>
                </a:lnTo>
                <a:lnTo>
                  <a:pt x="3050336" y="3728711"/>
                </a:lnTo>
                <a:lnTo>
                  <a:pt x="3050336" y="4399124"/>
                </a:lnTo>
                <a:lnTo>
                  <a:pt x="3208209" y="4399124"/>
                </a:lnTo>
                <a:lnTo>
                  <a:pt x="3208209" y="4457355"/>
                </a:lnTo>
                <a:lnTo>
                  <a:pt x="2980062" y="4457355"/>
                </a:lnTo>
                <a:lnTo>
                  <a:pt x="2980062" y="4399124"/>
                </a:lnTo>
                <a:lnTo>
                  <a:pt x="2980062" y="3728711"/>
                </a:lnTo>
                <a:close/>
                <a:moveTo>
                  <a:pt x="5216619" y="3666747"/>
                </a:moveTo>
                <a:lnTo>
                  <a:pt x="5247512" y="3667786"/>
                </a:lnTo>
                <a:lnTo>
                  <a:pt x="5276218" y="3670875"/>
                </a:lnTo>
                <a:lnTo>
                  <a:pt x="5302804" y="3675971"/>
                </a:lnTo>
                <a:lnTo>
                  <a:pt x="5327340" y="3683030"/>
                </a:lnTo>
                <a:lnTo>
                  <a:pt x="5349898" y="3692010"/>
                </a:lnTo>
                <a:lnTo>
                  <a:pt x="5370546" y="3702868"/>
                </a:lnTo>
                <a:lnTo>
                  <a:pt x="5406397" y="3730047"/>
                </a:lnTo>
                <a:lnTo>
                  <a:pt x="5435450" y="3764224"/>
                </a:lnTo>
                <a:lnTo>
                  <a:pt x="5447604" y="3783829"/>
                </a:lnTo>
                <a:lnTo>
                  <a:pt x="5458267" y="3805055"/>
                </a:lnTo>
                <a:lnTo>
                  <a:pt x="5467511" y="3827858"/>
                </a:lnTo>
                <a:lnTo>
                  <a:pt x="5475406" y="3852197"/>
                </a:lnTo>
                <a:lnTo>
                  <a:pt x="5482020" y="3878028"/>
                </a:lnTo>
                <a:lnTo>
                  <a:pt x="5487426" y="3905307"/>
                </a:lnTo>
                <a:lnTo>
                  <a:pt x="5491692" y="3933993"/>
                </a:lnTo>
                <a:lnTo>
                  <a:pt x="5494888" y="3964042"/>
                </a:lnTo>
                <a:lnTo>
                  <a:pt x="5497084" y="3995412"/>
                </a:lnTo>
                <a:lnTo>
                  <a:pt x="5498352" y="4028059"/>
                </a:lnTo>
                <a:lnTo>
                  <a:pt x="5498758" y="4061941"/>
                </a:lnTo>
                <a:lnTo>
                  <a:pt x="5498370" y="4095968"/>
                </a:lnTo>
                <a:lnTo>
                  <a:pt x="5497160" y="4128760"/>
                </a:lnTo>
                <a:lnTo>
                  <a:pt x="5495049" y="4160274"/>
                </a:lnTo>
                <a:lnTo>
                  <a:pt x="5491962" y="4190464"/>
                </a:lnTo>
                <a:lnTo>
                  <a:pt x="5487822" y="4219289"/>
                </a:lnTo>
                <a:lnTo>
                  <a:pt x="5482556" y="4246704"/>
                </a:lnTo>
                <a:lnTo>
                  <a:pt x="5476085" y="4272666"/>
                </a:lnTo>
                <a:lnTo>
                  <a:pt x="5468335" y="4297132"/>
                </a:lnTo>
                <a:lnTo>
                  <a:pt x="5459230" y="4320057"/>
                </a:lnTo>
                <a:lnTo>
                  <a:pt x="5448693" y="4341398"/>
                </a:lnTo>
                <a:lnTo>
                  <a:pt x="5436648" y="4361113"/>
                </a:lnTo>
                <a:lnTo>
                  <a:pt x="5407736" y="4395485"/>
                </a:lnTo>
                <a:lnTo>
                  <a:pt x="5371884" y="4422825"/>
                </a:lnTo>
                <a:lnTo>
                  <a:pt x="5351165" y="4433750"/>
                </a:lnTo>
                <a:lnTo>
                  <a:pt x="5328485" y="4442786"/>
                </a:lnTo>
                <a:lnTo>
                  <a:pt x="5303766" y="4449890"/>
                </a:lnTo>
                <a:lnTo>
                  <a:pt x="5276932" y="4455018"/>
                </a:lnTo>
                <a:lnTo>
                  <a:pt x="5247908" y="4458127"/>
                </a:lnTo>
                <a:lnTo>
                  <a:pt x="5216619" y="4459172"/>
                </a:lnTo>
                <a:lnTo>
                  <a:pt x="5216619" y="4400097"/>
                </a:lnTo>
                <a:lnTo>
                  <a:pt x="5246934" y="4398734"/>
                </a:lnTo>
                <a:lnTo>
                  <a:pt x="5274342" y="4394695"/>
                </a:lnTo>
                <a:lnTo>
                  <a:pt x="5298981" y="4388051"/>
                </a:lnTo>
                <a:lnTo>
                  <a:pt x="5320990" y="4378874"/>
                </a:lnTo>
                <a:lnTo>
                  <a:pt x="5357666" y="4353212"/>
                </a:lnTo>
                <a:lnTo>
                  <a:pt x="5385476" y="4318285"/>
                </a:lnTo>
                <a:lnTo>
                  <a:pt x="5396402" y="4297528"/>
                </a:lnTo>
                <a:lnTo>
                  <a:pt x="5405524" y="4274671"/>
                </a:lnTo>
                <a:lnTo>
                  <a:pt x="5412982" y="4249786"/>
                </a:lnTo>
                <a:lnTo>
                  <a:pt x="5418916" y="4222947"/>
                </a:lnTo>
                <a:lnTo>
                  <a:pt x="5423460" y="4194223"/>
                </a:lnTo>
                <a:lnTo>
                  <a:pt x="5426754" y="4163689"/>
                </a:lnTo>
                <a:lnTo>
                  <a:pt x="5428935" y="4131416"/>
                </a:lnTo>
                <a:lnTo>
                  <a:pt x="5430142" y="4097476"/>
                </a:lnTo>
                <a:lnTo>
                  <a:pt x="5430514" y="4061941"/>
                </a:lnTo>
                <a:lnTo>
                  <a:pt x="5430122" y="4026755"/>
                </a:lnTo>
                <a:lnTo>
                  <a:pt x="5428860" y="3993143"/>
                </a:lnTo>
                <a:lnTo>
                  <a:pt x="5426596" y="3961177"/>
                </a:lnTo>
                <a:lnTo>
                  <a:pt x="5423200" y="3930927"/>
                </a:lnTo>
                <a:lnTo>
                  <a:pt x="5418542" y="3902469"/>
                </a:lnTo>
                <a:lnTo>
                  <a:pt x="5412490" y="3875872"/>
                </a:lnTo>
                <a:lnTo>
                  <a:pt x="5404915" y="3851210"/>
                </a:lnTo>
                <a:lnTo>
                  <a:pt x="5395686" y="3828553"/>
                </a:lnTo>
                <a:lnTo>
                  <a:pt x="5384671" y="3807976"/>
                </a:lnTo>
                <a:lnTo>
                  <a:pt x="5356765" y="3773345"/>
                </a:lnTo>
                <a:lnTo>
                  <a:pt x="5320150" y="3747894"/>
                </a:lnTo>
                <a:lnTo>
                  <a:pt x="5298251" y="3738792"/>
                </a:lnTo>
                <a:lnTo>
                  <a:pt x="5273782" y="3732201"/>
                </a:lnTo>
                <a:lnTo>
                  <a:pt x="5246616" y="3728193"/>
                </a:lnTo>
                <a:lnTo>
                  <a:pt x="5216619" y="3726841"/>
                </a:lnTo>
                <a:close/>
                <a:moveTo>
                  <a:pt x="5160582" y="3666747"/>
                </a:moveTo>
                <a:lnTo>
                  <a:pt x="5160582" y="3726841"/>
                </a:lnTo>
                <a:lnTo>
                  <a:pt x="5130753" y="3728193"/>
                </a:lnTo>
                <a:lnTo>
                  <a:pt x="5103735" y="3732201"/>
                </a:lnTo>
                <a:lnTo>
                  <a:pt x="5079398" y="3738792"/>
                </a:lnTo>
                <a:lnTo>
                  <a:pt x="5057612" y="3747894"/>
                </a:lnTo>
                <a:lnTo>
                  <a:pt x="5021178" y="3773345"/>
                </a:lnTo>
                <a:lnTo>
                  <a:pt x="4993394" y="3807976"/>
                </a:lnTo>
                <a:lnTo>
                  <a:pt x="4982426" y="3828553"/>
                </a:lnTo>
                <a:lnTo>
                  <a:pt x="4973230" y="3851210"/>
                </a:lnTo>
                <a:lnTo>
                  <a:pt x="4965682" y="3875872"/>
                </a:lnTo>
                <a:lnTo>
                  <a:pt x="4959648" y="3902469"/>
                </a:lnTo>
                <a:lnTo>
                  <a:pt x="4955003" y="3930927"/>
                </a:lnTo>
                <a:lnTo>
                  <a:pt x="4951615" y="3961177"/>
                </a:lnTo>
                <a:lnTo>
                  <a:pt x="4949355" y="3993143"/>
                </a:lnTo>
                <a:lnTo>
                  <a:pt x="4948094" y="4026755"/>
                </a:lnTo>
                <a:lnTo>
                  <a:pt x="4947702" y="4061941"/>
                </a:lnTo>
                <a:lnTo>
                  <a:pt x="4948084" y="4097476"/>
                </a:lnTo>
                <a:lnTo>
                  <a:pt x="4949318" y="4131416"/>
                </a:lnTo>
                <a:lnTo>
                  <a:pt x="4951536" y="4163689"/>
                </a:lnTo>
                <a:lnTo>
                  <a:pt x="4954874" y="4194223"/>
                </a:lnTo>
                <a:lnTo>
                  <a:pt x="4959462" y="4222947"/>
                </a:lnTo>
                <a:lnTo>
                  <a:pt x="4965436" y="4249786"/>
                </a:lnTo>
                <a:lnTo>
                  <a:pt x="4972926" y="4274671"/>
                </a:lnTo>
                <a:lnTo>
                  <a:pt x="4982067" y="4297528"/>
                </a:lnTo>
                <a:lnTo>
                  <a:pt x="4992992" y="4318285"/>
                </a:lnTo>
                <a:lnTo>
                  <a:pt x="5020726" y="4353212"/>
                </a:lnTo>
                <a:lnTo>
                  <a:pt x="5057192" y="4378874"/>
                </a:lnTo>
                <a:lnTo>
                  <a:pt x="5079032" y="4388051"/>
                </a:lnTo>
                <a:lnTo>
                  <a:pt x="5103455" y="4394695"/>
                </a:lnTo>
                <a:lnTo>
                  <a:pt x="5130594" y="4398734"/>
                </a:lnTo>
                <a:lnTo>
                  <a:pt x="5160582" y="4400097"/>
                </a:lnTo>
                <a:lnTo>
                  <a:pt x="5160582" y="4459172"/>
                </a:lnTo>
                <a:lnTo>
                  <a:pt x="5129424" y="4458127"/>
                </a:lnTo>
                <a:lnTo>
                  <a:pt x="5100505" y="4455018"/>
                </a:lnTo>
                <a:lnTo>
                  <a:pt x="5073755" y="4449890"/>
                </a:lnTo>
                <a:lnTo>
                  <a:pt x="5049096" y="4442786"/>
                </a:lnTo>
                <a:lnTo>
                  <a:pt x="5026456" y="4433750"/>
                </a:lnTo>
                <a:lnTo>
                  <a:pt x="5005761" y="4422825"/>
                </a:lnTo>
                <a:lnTo>
                  <a:pt x="4969910" y="4395485"/>
                </a:lnTo>
                <a:lnTo>
                  <a:pt x="4940950" y="4361113"/>
                </a:lnTo>
                <a:lnTo>
                  <a:pt x="4928870" y="4341398"/>
                </a:lnTo>
                <a:lnTo>
                  <a:pt x="4918290" y="4320057"/>
                </a:lnTo>
                <a:lnTo>
                  <a:pt x="4909140" y="4297132"/>
                </a:lnTo>
                <a:lnTo>
                  <a:pt x="4901341" y="4272666"/>
                </a:lnTo>
                <a:lnTo>
                  <a:pt x="4894822" y="4246704"/>
                </a:lnTo>
                <a:lnTo>
                  <a:pt x="4889509" y="4219289"/>
                </a:lnTo>
                <a:lnTo>
                  <a:pt x="4885328" y="4190464"/>
                </a:lnTo>
                <a:lnTo>
                  <a:pt x="4882204" y="4160274"/>
                </a:lnTo>
                <a:lnTo>
                  <a:pt x="4880065" y="4128760"/>
                </a:lnTo>
                <a:lnTo>
                  <a:pt x="4878836" y="4095968"/>
                </a:lnTo>
                <a:lnTo>
                  <a:pt x="4878442" y="4061941"/>
                </a:lnTo>
                <a:lnTo>
                  <a:pt x="4878849" y="4028059"/>
                </a:lnTo>
                <a:lnTo>
                  <a:pt x="4880116" y="3995412"/>
                </a:lnTo>
                <a:lnTo>
                  <a:pt x="4882312" y="3964042"/>
                </a:lnTo>
                <a:lnTo>
                  <a:pt x="4885508" y="3933993"/>
                </a:lnTo>
                <a:lnTo>
                  <a:pt x="4889774" y="3905307"/>
                </a:lnTo>
                <a:lnTo>
                  <a:pt x="4895179" y="3878028"/>
                </a:lnTo>
                <a:lnTo>
                  <a:pt x="4901794" y="3852197"/>
                </a:lnTo>
                <a:lnTo>
                  <a:pt x="4909688" y="3827858"/>
                </a:lnTo>
                <a:lnTo>
                  <a:pt x="4918933" y="3805055"/>
                </a:lnTo>
                <a:lnTo>
                  <a:pt x="4929596" y="3783829"/>
                </a:lnTo>
                <a:lnTo>
                  <a:pt x="4941748" y="3764224"/>
                </a:lnTo>
                <a:lnTo>
                  <a:pt x="4970802" y="3730047"/>
                </a:lnTo>
                <a:lnTo>
                  <a:pt x="5006652" y="3702868"/>
                </a:lnTo>
                <a:lnTo>
                  <a:pt x="5027302" y="3692010"/>
                </a:lnTo>
                <a:lnTo>
                  <a:pt x="5049860" y="3683030"/>
                </a:lnTo>
                <a:lnTo>
                  <a:pt x="5074396" y="3675971"/>
                </a:lnTo>
                <a:lnTo>
                  <a:pt x="5100983" y="3670875"/>
                </a:lnTo>
                <a:lnTo>
                  <a:pt x="5129688" y="3667786"/>
                </a:lnTo>
                <a:close/>
                <a:moveTo>
                  <a:pt x="859902" y="3666747"/>
                </a:moveTo>
                <a:lnTo>
                  <a:pt x="890796" y="3667786"/>
                </a:lnTo>
                <a:lnTo>
                  <a:pt x="919501" y="3670875"/>
                </a:lnTo>
                <a:lnTo>
                  <a:pt x="946088" y="3675971"/>
                </a:lnTo>
                <a:lnTo>
                  <a:pt x="970625" y="3683030"/>
                </a:lnTo>
                <a:lnTo>
                  <a:pt x="993183" y="3692010"/>
                </a:lnTo>
                <a:lnTo>
                  <a:pt x="1013832" y="3702868"/>
                </a:lnTo>
                <a:lnTo>
                  <a:pt x="1049682" y="3730047"/>
                </a:lnTo>
                <a:lnTo>
                  <a:pt x="1078736" y="3764224"/>
                </a:lnTo>
                <a:lnTo>
                  <a:pt x="1090888" y="3783829"/>
                </a:lnTo>
                <a:lnTo>
                  <a:pt x="1101552" y="3805055"/>
                </a:lnTo>
                <a:lnTo>
                  <a:pt x="1110795" y="3827858"/>
                </a:lnTo>
                <a:lnTo>
                  <a:pt x="1118690" y="3852197"/>
                </a:lnTo>
                <a:lnTo>
                  <a:pt x="1125304" y="3878028"/>
                </a:lnTo>
                <a:lnTo>
                  <a:pt x="1130710" y="3905307"/>
                </a:lnTo>
                <a:lnTo>
                  <a:pt x="1134975" y="3933993"/>
                </a:lnTo>
                <a:lnTo>
                  <a:pt x="1138171" y="3964042"/>
                </a:lnTo>
                <a:lnTo>
                  <a:pt x="1140367" y="3995412"/>
                </a:lnTo>
                <a:lnTo>
                  <a:pt x="1141633" y="4028059"/>
                </a:lnTo>
                <a:lnTo>
                  <a:pt x="1142040" y="4061941"/>
                </a:lnTo>
                <a:lnTo>
                  <a:pt x="1141653" y="4095968"/>
                </a:lnTo>
                <a:lnTo>
                  <a:pt x="1140442" y="4128760"/>
                </a:lnTo>
                <a:lnTo>
                  <a:pt x="1138331" y="4160274"/>
                </a:lnTo>
                <a:lnTo>
                  <a:pt x="1135244" y="4190464"/>
                </a:lnTo>
                <a:lnTo>
                  <a:pt x="1131105" y="4219289"/>
                </a:lnTo>
                <a:lnTo>
                  <a:pt x="1125838" y="4246704"/>
                </a:lnTo>
                <a:lnTo>
                  <a:pt x="1119368" y="4272666"/>
                </a:lnTo>
                <a:lnTo>
                  <a:pt x="1111618" y="4297132"/>
                </a:lnTo>
                <a:lnTo>
                  <a:pt x="1102512" y="4320057"/>
                </a:lnTo>
                <a:lnTo>
                  <a:pt x="1091976" y="4341398"/>
                </a:lnTo>
                <a:lnTo>
                  <a:pt x="1079931" y="4361113"/>
                </a:lnTo>
                <a:lnTo>
                  <a:pt x="1051018" y="4395485"/>
                </a:lnTo>
                <a:lnTo>
                  <a:pt x="1015166" y="4422825"/>
                </a:lnTo>
                <a:lnTo>
                  <a:pt x="994448" y="4433750"/>
                </a:lnTo>
                <a:lnTo>
                  <a:pt x="971768" y="4442786"/>
                </a:lnTo>
                <a:lnTo>
                  <a:pt x="947048" y="4449890"/>
                </a:lnTo>
                <a:lnTo>
                  <a:pt x="920215" y="4455018"/>
                </a:lnTo>
                <a:lnTo>
                  <a:pt x="891191" y="4458127"/>
                </a:lnTo>
                <a:lnTo>
                  <a:pt x="859902" y="4459172"/>
                </a:lnTo>
                <a:lnTo>
                  <a:pt x="859902" y="4400097"/>
                </a:lnTo>
                <a:lnTo>
                  <a:pt x="890216" y="4398734"/>
                </a:lnTo>
                <a:lnTo>
                  <a:pt x="917625" y="4394695"/>
                </a:lnTo>
                <a:lnTo>
                  <a:pt x="942264" y="4388051"/>
                </a:lnTo>
                <a:lnTo>
                  <a:pt x="964272" y="4378874"/>
                </a:lnTo>
                <a:lnTo>
                  <a:pt x="1000948" y="4353212"/>
                </a:lnTo>
                <a:lnTo>
                  <a:pt x="1028759" y="4318285"/>
                </a:lnTo>
                <a:lnTo>
                  <a:pt x="1039684" y="4297528"/>
                </a:lnTo>
                <a:lnTo>
                  <a:pt x="1048807" y="4274671"/>
                </a:lnTo>
                <a:lnTo>
                  <a:pt x="1056265" y="4249786"/>
                </a:lnTo>
                <a:lnTo>
                  <a:pt x="1062197" y="4222947"/>
                </a:lnTo>
                <a:lnTo>
                  <a:pt x="1066741" y="4194223"/>
                </a:lnTo>
                <a:lnTo>
                  <a:pt x="1070035" y="4163689"/>
                </a:lnTo>
                <a:lnTo>
                  <a:pt x="1072217" y="4131416"/>
                </a:lnTo>
                <a:lnTo>
                  <a:pt x="1073425" y="4097476"/>
                </a:lnTo>
                <a:lnTo>
                  <a:pt x="1073797" y="4061941"/>
                </a:lnTo>
                <a:lnTo>
                  <a:pt x="1073405" y="4026755"/>
                </a:lnTo>
                <a:lnTo>
                  <a:pt x="1072143" y="3993143"/>
                </a:lnTo>
                <a:lnTo>
                  <a:pt x="1069879" y="3961177"/>
                </a:lnTo>
                <a:lnTo>
                  <a:pt x="1066483" y="3930927"/>
                </a:lnTo>
                <a:lnTo>
                  <a:pt x="1061825" y="3902469"/>
                </a:lnTo>
                <a:lnTo>
                  <a:pt x="1055773" y="3875872"/>
                </a:lnTo>
                <a:lnTo>
                  <a:pt x="1048198" y="3851210"/>
                </a:lnTo>
                <a:lnTo>
                  <a:pt x="1038968" y="3828553"/>
                </a:lnTo>
                <a:lnTo>
                  <a:pt x="1027954" y="3807976"/>
                </a:lnTo>
                <a:lnTo>
                  <a:pt x="1000047" y="3773345"/>
                </a:lnTo>
                <a:lnTo>
                  <a:pt x="963432" y="3747894"/>
                </a:lnTo>
                <a:lnTo>
                  <a:pt x="941533" y="3738792"/>
                </a:lnTo>
                <a:lnTo>
                  <a:pt x="917065" y="3732201"/>
                </a:lnTo>
                <a:lnTo>
                  <a:pt x="889898" y="3728193"/>
                </a:lnTo>
                <a:lnTo>
                  <a:pt x="859902" y="3726841"/>
                </a:lnTo>
                <a:close/>
                <a:moveTo>
                  <a:pt x="803845" y="3666747"/>
                </a:moveTo>
                <a:lnTo>
                  <a:pt x="803845" y="3726841"/>
                </a:lnTo>
                <a:lnTo>
                  <a:pt x="774018" y="3728193"/>
                </a:lnTo>
                <a:lnTo>
                  <a:pt x="747000" y="3732201"/>
                </a:lnTo>
                <a:lnTo>
                  <a:pt x="722664" y="3738792"/>
                </a:lnTo>
                <a:lnTo>
                  <a:pt x="700878" y="3747894"/>
                </a:lnTo>
                <a:lnTo>
                  <a:pt x="664443" y="3773345"/>
                </a:lnTo>
                <a:lnTo>
                  <a:pt x="636661" y="3807976"/>
                </a:lnTo>
                <a:lnTo>
                  <a:pt x="625691" y="3828553"/>
                </a:lnTo>
                <a:lnTo>
                  <a:pt x="616496" y="3851210"/>
                </a:lnTo>
                <a:lnTo>
                  <a:pt x="608947" y="3875872"/>
                </a:lnTo>
                <a:lnTo>
                  <a:pt x="602914" y="3902469"/>
                </a:lnTo>
                <a:lnTo>
                  <a:pt x="598268" y="3930927"/>
                </a:lnTo>
                <a:lnTo>
                  <a:pt x="594879" y="3961177"/>
                </a:lnTo>
                <a:lnTo>
                  <a:pt x="592619" y="3993143"/>
                </a:lnTo>
                <a:lnTo>
                  <a:pt x="591358" y="4026755"/>
                </a:lnTo>
                <a:lnTo>
                  <a:pt x="590966" y="4061941"/>
                </a:lnTo>
                <a:lnTo>
                  <a:pt x="591348" y="4097476"/>
                </a:lnTo>
                <a:lnTo>
                  <a:pt x="592582" y="4131416"/>
                </a:lnTo>
                <a:lnTo>
                  <a:pt x="594801" y="4163689"/>
                </a:lnTo>
                <a:lnTo>
                  <a:pt x="598139" y="4194223"/>
                </a:lnTo>
                <a:lnTo>
                  <a:pt x="602727" y="4222947"/>
                </a:lnTo>
                <a:lnTo>
                  <a:pt x="608701" y="4249786"/>
                </a:lnTo>
                <a:lnTo>
                  <a:pt x="616192" y="4274671"/>
                </a:lnTo>
                <a:lnTo>
                  <a:pt x="625333" y="4297528"/>
                </a:lnTo>
                <a:lnTo>
                  <a:pt x="636259" y="4318285"/>
                </a:lnTo>
                <a:lnTo>
                  <a:pt x="663993" y="4353212"/>
                </a:lnTo>
                <a:lnTo>
                  <a:pt x="700458" y="4378874"/>
                </a:lnTo>
                <a:lnTo>
                  <a:pt x="722299" y="4388051"/>
                </a:lnTo>
                <a:lnTo>
                  <a:pt x="746721" y="4394695"/>
                </a:lnTo>
                <a:lnTo>
                  <a:pt x="773858" y="4398734"/>
                </a:lnTo>
                <a:lnTo>
                  <a:pt x="803845" y="4400097"/>
                </a:lnTo>
                <a:lnTo>
                  <a:pt x="803845" y="4459172"/>
                </a:lnTo>
                <a:lnTo>
                  <a:pt x="772687" y="4458127"/>
                </a:lnTo>
                <a:lnTo>
                  <a:pt x="743769" y="4455018"/>
                </a:lnTo>
                <a:lnTo>
                  <a:pt x="717018" y="4449890"/>
                </a:lnTo>
                <a:lnTo>
                  <a:pt x="692360" y="4442786"/>
                </a:lnTo>
                <a:lnTo>
                  <a:pt x="669720" y="4433750"/>
                </a:lnTo>
                <a:lnTo>
                  <a:pt x="649024" y="4422825"/>
                </a:lnTo>
                <a:lnTo>
                  <a:pt x="613173" y="4395485"/>
                </a:lnTo>
                <a:lnTo>
                  <a:pt x="584213" y="4361113"/>
                </a:lnTo>
                <a:lnTo>
                  <a:pt x="572133" y="4341398"/>
                </a:lnTo>
                <a:lnTo>
                  <a:pt x="561554" y="4320057"/>
                </a:lnTo>
                <a:lnTo>
                  <a:pt x="552403" y="4297132"/>
                </a:lnTo>
                <a:lnTo>
                  <a:pt x="544605" y="4272666"/>
                </a:lnTo>
                <a:lnTo>
                  <a:pt x="538086" y="4246704"/>
                </a:lnTo>
                <a:lnTo>
                  <a:pt x="532773" y="4219289"/>
                </a:lnTo>
                <a:lnTo>
                  <a:pt x="528592" y="4190464"/>
                </a:lnTo>
                <a:lnTo>
                  <a:pt x="525469" y="4160274"/>
                </a:lnTo>
                <a:lnTo>
                  <a:pt x="523329" y="4128760"/>
                </a:lnTo>
                <a:lnTo>
                  <a:pt x="522100" y="4095968"/>
                </a:lnTo>
                <a:lnTo>
                  <a:pt x="521706" y="4061941"/>
                </a:lnTo>
                <a:lnTo>
                  <a:pt x="522113" y="4028059"/>
                </a:lnTo>
                <a:lnTo>
                  <a:pt x="523379" y="3995412"/>
                </a:lnTo>
                <a:lnTo>
                  <a:pt x="525575" y="3964042"/>
                </a:lnTo>
                <a:lnTo>
                  <a:pt x="528772" y="3933993"/>
                </a:lnTo>
                <a:lnTo>
                  <a:pt x="533038" y="3905307"/>
                </a:lnTo>
                <a:lnTo>
                  <a:pt x="538443" y="3878028"/>
                </a:lnTo>
                <a:lnTo>
                  <a:pt x="545058" y="3852197"/>
                </a:lnTo>
                <a:lnTo>
                  <a:pt x="552952" y="3827858"/>
                </a:lnTo>
                <a:lnTo>
                  <a:pt x="562197" y="3805055"/>
                </a:lnTo>
                <a:lnTo>
                  <a:pt x="572860" y="3783829"/>
                </a:lnTo>
                <a:lnTo>
                  <a:pt x="585013" y="3764224"/>
                </a:lnTo>
                <a:lnTo>
                  <a:pt x="614066" y="3730047"/>
                </a:lnTo>
                <a:lnTo>
                  <a:pt x="649917" y="3702868"/>
                </a:lnTo>
                <a:lnTo>
                  <a:pt x="670566" y="3692010"/>
                </a:lnTo>
                <a:lnTo>
                  <a:pt x="693123" y="3683030"/>
                </a:lnTo>
                <a:lnTo>
                  <a:pt x="717661" y="3675971"/>
                </a:lnTo>
                <a:lnTo>
                  <a:pt x="744246" y="3670875"/>
                </a:lnTo>
                <a:lnTo>
                  <a:pt x="772951" y="3667786"/>
                </a:lnTo>
                <a:close/>
                <a:moveTo>
                  <a:pt x="308214" y="3373408"/>
                </a:moveTo>
                <a:lnTo>
                  <a:pt x="333981" y="3375652"/>
                </a:lnTo>
                <a:lnTo>
                  <a:pt x="353923" y="3383720"/>
                </a:lnTo>
                <a:lnTo>
                  <a:pt x="366798" y="3399619"/>
                </a:lnTo>
                <a:lnTo>
                  <a:pt x="371366" y="3425353"/>
                </a:lnTo>
                <a:lnTo>
                  <a:pt x="366798" y="3452265"/>
                </a:lnTo>
                <a:lnTo>
                  <a:pt x="353923" y="3468768"/>
                </a:lnTo>
                <a:lnTo>
                  <a:pt x="333981" y="3477060"/>
                </a:lnTo>
                <a:lnTo>
                  <a:pt x="308214" y="3479336"/>
                </a:lnTo>
                <a:lnTo>
                  <a:pt x="282447" y="3477060"/>
                </a:lnTo>
                <a:lnTo>
                  <a:pt x="262505" y="3468768"/>
                </a:lnTo>
                <a:lnTo>
                  <a:pt x="249631" y="3452265"/>
                </a:lnTo>
                <a:lnTo>
                  <a:pt x="245063" y="3425353"/>
                </a:lnTo>
                <a:lnTo>
                  <a:pt x="249774" y="3399619"/>
                </a:lnTo>
                <a:lnTo>
                  <a:pt x="262889" y="3383720"/>
                </a:lnTo>
                <a:lnTo>
                  <a:pt x="282879" y="3375652"/>
                </a:lnTo>
                <a:close/>
                <a:moveTo>
                  <a:pt x="1504247" y="3281741"/>
                </a:moveTo>
                <a:lnTo>
                  <a:pt x="2056300" y="3281741"/>
                </a:lnTo>
                <a:lnTo>
                  <a:pt x="2056300" y="3346928"/>
                </a:lnTo>
                <a:lnTo>
                  <a:pt x="1504247" y="3346928"/>
                </a:lnTo>
                <a:close/>
                <a:moveTo>
                  <a:pt x="1504247" y="3068866"/>
                </a:moveTo>
                <a:lnTo>
                  <a:pt x="2056300" y="3068866"/>
                </a:lnTo>
                <a:lnTo>
                  <a:pt x="2056300" y="3134053"/>
                </a:lnTo>
                <a:lnTo>
                  <a:pt x="1504247" y="3134053"/>
                </a:lnTo>
                <a:close/>
                <a:moveTo>
                  <a:pt x="308214" y="2945621"/>
                </a:moveTo>
                <a:lnTo>
                  <a:pt x="333981" y="2947737"/>
                </a:lnTo>
                <a:lnTo>
                  <a:pt x="353923" y="2955678"/>
                </a:lnTo>
                <a:lnTo>
                  <a:pt x="366798" y="2971832"/>
                </a:lnTo>
                <a:lnTo>
                  <a:pt x="371366" y="2998585"/>
                </a:lnTo>
                <a:lnTo>
                  <a:pt x="366798" y="3024478"/>
                </a:lnTo>
                <a:lnTo>
                  <a:pt x="353923" y="3040727"/>
                </a:lnTo>
                <a:lnTo>
                  <a:pt x="333981" y="3049145"/>
                </a:lnTo>
                <a:lnTo>
                  <a:pt x="308214" y="3051549"/>
                </a:lnTo>
                <a:lnTo>
                  <a:pt x="283039" y="3049145"/>
                </a:lnTo>
                <a:lnTo>
                  <a:pt x="263401" y="3040727"/>
                </a:lnTo>
                <a:lnTo>
                  <a:pt x="250637" y="3024478"/>
                </a:lnTo>
                <a:lnTo>
                  <a:pt x="246086" y="2998585"/>
                </a:lnTo>
                <a:lnTo>
                  <a:pt x="250637" y="2971832"/>
                </a:lnTo>
                <a:lnTo>
                  <a:pt x="263401" y="2955678"/>
                </a:lnTo>
                <a:lnTo>
                  <a:pt x="283039" y="2947737"/>
                </a:lnTo>
                <a:close/>
                <a:moveTo>
                  <a:pt x="2508665" y="2750062"/>
                </a:moveTo>
                <a:lnTo>
                  <a:pt x="2539559" y="2751100"/>
                </a:lnTo>
                <a:lnTo>
                  <a:pt x="2568264" y="2754189"/>
                </a:lnTo>
                <a:lnTo>
                  <a:pt x="2594850" y="2759285"/>
                </a:lnTo>
                <a:lnTo>
                  <a:pt x="2619388" y="2766344"/>
                </a:lnTo>
                <a:lnTo>
                  <a:pt x="2641946" y="2775324"/>
                </a:lnTo>
                <a:lnTo>
                  <a:pt x="2662596" y="2786182"/>
                </a:lnTo>
                <a:lnTo>
                  <a:pt x="2698446" y="2813361"/>
                </a:lnTo>
                <a:lnTo>
                  <a:pt x="2727499" y="2847538"/>
                </a:lnTo>
                <a:lnTo>
                  <a:pt x="2739652" y="2867143"/>
                </a:lnTo>
                <a:lnTo>
                  <a:pt x="2750315" y="2888369"/>
                </a:lnTo>
                <a:lnTo>
                  <a:pt x="2759559" y="2911173"/>
                </a:lnTo>
                <a:lnTo>
                  <a:pt x="2767453" y="2935511"/>
                </a:lnTo>
                <a:lnTo>
                  <a:pt x="2774068" y="2961342"/>
                </a:lnTo>
                <a:lnTo>
                  <a:pt x="2779473" y="2988621"/>
                </a:lnTo>
                <a:lnTo>
                  <a:pt x="2783738" y="3017307"/>
                </a:lnTo>
                <a:lnTo>
                  <a:pt x="2786934" y="3047357"/>
                </a:lnTo>
                <a:lnTo>
                  <a:pt x="2789131" y="3078726"/>
                </a:lnTo>
                <a:lnTo>
                  <a:pt x="2790397" y="3111374"/>
                </a:lnTo>
                <a:lnTo>
                  <a:pt x="2790804" y="3145255"/>
                </a:lnTo>
                <a:lnTo>
                  <a:pt x="2790416" y="3179282"/>
                </a:lnTo>
                <a:lnTo>
                  <a:pt x="2789206" y="3212075"/>
                </a:lnTo>
                <a:lnTo>
                  <a:pt x="2787095" y="3243587"/>
                </a:lnTo>
                <a:lnTo>
                  <a:pt x="2784008" y="3273778"/>
                </a:lnTo>
                <a:lnTo>
                  <a:pt x="2779868" y="3302603"/>
                </a:lnTo>
                <a:lnTo>
                  <a:pt x="2774602" y="3330018"/>
                </a:lnTo>
                <a:lnTo>
                  <a:pt x="2768131" y="3355980"/>
                </a:lnTo>
                <a:lnTo>
                  <a:pt x="2760381" y="3380445"/>
                </a:lnTo>
                <a:lnTo>
                  <a:pt x="2751276" y="3403370"/>
                </a:lnTo>
                <a:lnTo>
                  <a:pt x="2740739" y="3424712"/>
                </a:lnTo>
                <a:lnTo>
                  <a:pt x="2728695" y="3444427"/>
                </a:lnTo>
                <a:lnTo>
                  <a:pt x="2699782" y="3478799"/>
                </a:lnTo>
                <a:lnTo>
                  <a:pt x="2663930" y="3506139"/>
                </a:lnTo>
                <a:lnTo>
                  <a:pt x="2643211" y="3517063"/>
                </a:lnTo>
                <a:lnTo>
                  <a:pt x="2620530" y="3526100"/>
                </a:lnTo>
                <a:lnTo>
                  <a:pt x="2595811" y="3533203"/>
                </a:lnTo>
                <a:lnTo>
                  <a:pt x="2568978" y="3538331"/>
                </a:lnTo>
                <a:lnTo>
                  <a:pt x="2539954" y="3541440"/>
                </a:lnTo>
                <a:lnTo>
                  <a:pt x="2508665" y="3542486"/>
                </a:lnTo>
                <a:lnTo>
                  <a:pt x="2508665" y="3483411"/>
                </a:lnTo>
                <a:lnTo>
                  <a:pt x="2538979" y="3482048"/>
                </a:lnTo>
                <a:lnTo>
                  <a:pt x="2566388" y="3478009"/>
                </a:lnTo>
                <a:lnTo>
                  <a:pt x="2591027" y="3471365"/>
                </a:lnTo>
                <a:lnTo>
                  <a:pt x="2613035" y="3462188"/>
                </a:lnTo>
                <a:lnTo>
                  <a:pt x="2649712" y="3436526"/>
                </a:lnTo>
                <a:lnTo>
                  <a:pt x="2677522" y="3401599"/>
                </a:lnTo>
                <a:lnTo>
                  <a:pt x="2688447" y="3380842"/>
                </a:lnTo>
                <a:lnTo>
                  <a:pt x="2697570" y="3357985"/>
                </a:lnTo>
                <a:lnTo>
                  <a:pt x="2705029" y="3333100"/>
                </a:lnTo>
                <a:lnTo>
                  <a:pt x="2710961" y="3306261"/>
                </a:lnTo>
                <a:lnTo>
                  <a:pt x="2715505" y="3277537"/>
                </a:lnTo>
                <a:lnTo>
                  <a:pt x="2718799" y="3247003"/>
                </a:lnTo>
                <a:lnTo>
                  <a:pt x="2720980" y="3214730"/>
                </a:lnTo>
                <a:lnTo>
                  <a:pt x="2722188" y="3180790"/>
                </a:lnTo>
                <a:lnTo>
                  <a:pt x="2722561" y="3145255"/>
                </a:lnTo>
                <a:lnTo>
                  <a:pt x="2722168" y="3110069"/>
                </a:lnTo>
                <a:lnTo>
                  <a:pt x="2720906" y="3076457"/>
                </a:lnTo>
                <a:lnTo>
                  <a:pt x="2718642" y="3044490"/>
                </a:lnTo>
                <a:lnTo>
                  <a:pt x="2715246" y="3014242"/>
                </a:lnTo>
                <a:lnTo>
                  <a:pt x="2710588" y="2985783"/>
                </a:lnTo>
                <a:lnTo>
                  <a:pt x="2704536" y="2959186"/>
                </a:lnTo>
                <a:lnTo>
                  <a:pt x="2696962" y="2934524"/>
                </a:lnTo>
                <a:lnTo>
                  <a:pt x="2687732" y="2911868"/>
                </a:lnTo>
                <a:lnTo>
                  <a:pt x="2676717" y="2891290"/>
                </a:lnTo>
                <a:lnTo>
                  <a:pt x="2648810" y="2856659"/>
                </a:lnTo>
                <a:lnTo>
                  <a:pt x="2612196" y="2831208"/>
                </a:lnTo>
                <a:lnTo>
                  <a:pt x="2590296" y="2822106"/>
                </a:lnTo>
                <a:lnTo>
                  <a:pt x="2565828" y="2815514"/>
                </a:lnTo>
                <a:lnTo>
                  <a:pt x="2538661" y="2811507"/>
                </a:lnTo>
                <a:lnTo>
                  <a:pt x="2508665" y="2810155"/>
                </a:lnTo>
                <a:close/>
                <a:moveTo>
                  <a:pt x="2452608" y="2750062"/>
                </a:moveTo>
                <a:lnTo>
                  <a:pt x="2452608" y="2810155"/>
                </a:lnTo>
                <a:lnTo>
                  <a:pt x="2422781" y="2811507"/>
                </a:lnTo>
                <a:lnTo>
                  <a:pt x="2395763" y="2815514"/>
                </a:lnTo>
                <a:lnTo>
                  <a:pt x="2371427" y="2822106"/>
                </a:lnTo>
                <a:lnTo>
                  <a:pt x="2349641" y="2831208"/>
                </a:lnTo>
                <a:lnTo>
                  <a:pt x="2313206" y="2856659"/>
                </a:lnTo>
                <a:lnTo>
                  <a:pt x="2285424" y="2891290"/>
                </a:lnTo>
                <a:lnTo>
                  <a:pt x="2274454" y="2911868"/>
                </a:lnTo>
                <a:lnTo>
                  <a:pt x="2265258" y="2934524"/>
                </a:lnTo>
                <a:lnTo>
                  <a:pt x="2257709" y="2959186"/>
                </a:lnTo>
                <a:lnTo>
                  <a:pt x="2251676" y="2985783"/>
                </a:lnTo>
                <a:lnTo>
                  <a:pt x="2247030" y="3014242"/>
                </a:lnTo>
                <a:lnTo>
                  <a:pt x="2243642" y="3044490"/>
                </a:lnTo>
                <a:lnTo>
                  <a:pt x="2241382" y="3076457"/>
                </a:lnTo>
                <a:lnTo>
                  <a:pt x="2240120" y="3110069"/>
                </a:lnTo>
                <a:lnTo>
                  <a:pt x="2239728" y="3145255"/>
                </a:lnTo>
                <a:lnTo>
                  <a:pt x="2240110" y="3180790"/>
                </a:lnTo>
                <a:lnTo>
                  <a:pt x="2241344" y="3214730"/>
                </a:lnTo>
                <a:lnTo>
                  <a:pt x="2243564" y="3247003"/>
                </a:lnTo>
                <a:lnTo>
                  <a:pt x="2246901" y="3277537"/>
                </a:lnTo>
                <a:lnTo>
                  <a:pt x="2251490" y="3306261"/>
                </a:lnTo>
                <a:lnTo>
                  <a:pt x="2257463" y="3333100"/>
                </a:lnTo>
                <a:lnTo>
                  <a:pt x="2264954" y="3357985"/>
                </a:lnTo>
                <a:lnTo>
                  <a:pt x="2274096" y="3380842"/>
                </a:lnTo>
                <a:lnTo>
                  <a:pt x="2285021" y="3401599"/>
                </a:lnTo>
                <a:lnTo>
                  <a:pt x="2312756" y="3436526"/>
                </a:lnTo>
                <a:lnTo>
                  <a:pt x="2349222" y="3462188"/>
                </a:lnTo>
                <a:lnTo>
                  <a:pt x="2371062" y="3471365"/>
                </a:lnTo>
                <a:lnTo>
                  <a:pt x="2395484" y="3478009"/>
                </a:lnTo>
                <a:lnTo>
                  <a:pt x="2422622" y="3482048"/>
                </a:lnTo>
                <a:lnTo>
                  <a:pt x="2452608" y="3483411"/>
                </a:lnTo>
                <a:lnTo>
                  <a:pt x="2452608" y="3542486"/>
                </a:lnTo>
                <a:lnTo>
                  <a:pt x="2421450" y="3541440"/>
                </a:lnTo>
                <a:lnTo>
                  <a:pt x="2392532" y="3538331"/>
                </a:lnTo>
                <a:lnTo>
                  <a:pt x="2365781" y="3533203"/>
                </a:lnTo>
                <a:lnTo>
                  <a:pt x="2341123" y="3526100"/>
                </a:lnTo>
                <a:lnTo>
                  <a:pt x="2318483" y="3517063"/>
                </a:lnTo>
                <a:lnTo>
                  <a:pt x="2297787" y="3506139"/>
                </a:lnTo>
                <a:lnTo>
                  <a:pt x="2261935" y="3478799"/>
                </a:lnTo>
                <a:lnTo>
                  <a:pt x="2232976" y="3444427"/>
                </a:lnTo>
                <a:lnTo>
                  <a:pt x="2220895" y="3424712"/>
                </a:lnTo>
                <a:lnTo>
                  <a:pt x="2210316" y="3403370"/>
                </a:lnTo>
                <a:lnTo>
                  <a:pt x="2201165" y="3380445"/>
                </a:lnTo>
                <a:lnTo>
                  <a:pt x="2193367" y="3355980"/>
                </a:lnTo>
                <a:lnTo>
                  <a:pt x="2186848" y="3330018"/>
                </a:lnTo>
                <a:lnTo>
                  <a:pt x="2181536" y="3302603"/>
                </a:lnTo>
                <a:lnTo>
                  <a:pt x="2177354" y="3273778"/>
                </a:lnTo>
                <a:lnTo>
                  <a:pt x="2174231" y="3243587"/>
                </a:lnTo>
                <a:lnTo>
                  <a:pt x="2172092" y="3212075"/>
                </a:lnTo>
                <a:lnTo>
                  <a:pt x="2170862" y="3179282"/>
                </a:lnTo>
                <a:lnTo>
                  <a:pt x="2170469" y="3145255"/>
                </a:lnTo>
                <a:lnTo>
                  <a:pt x="2170876" y="3111374"/>
                </a:lnTo>
                <a:lnTo>
                  <a:pt x="2172142" y="3078726"/>
                </a:lnTo>
                <a:lnTo>
                  <a:pt x="2174338" y="3047357"/>
                </a:lnTo>
                <a:lnTo>
                  <a:pt x="2177534" y="3017307"/>
                </a:lnTo>
                <a:lnTo>
                  <a:pt x="2181800" y="2988621"/>
                </a:lnTo>
                <a:lnTo>
                  <a:pt x="2187206" y="2961342"/>
                </a:lnTo>
                <a:lnTo>
                  <a:pt x="2193820" y="2935511"/>
                </a:lnTo>
                <a:lnTo>
                  <a:pt x="2201715" y="2911173"/>
                </a:lnTo>
                <a:lnTo>
                  <a:pt x="2210959" y="2888369"/>
                </a:lnTo>
                <a:lnTo>
                  <a:pt x="2221622" y="2867143"/>
                </a:lnTo>
                <a:lnTo>
                  <a:pt x="2233775" y="2847538"/>
                </a:lnTo>
                <a:lnTo>
                  <a:pt x="2262829" y="2813361"/>
                </a:lnTo>
                <a:lnTo>
                  <a:pt x="2298679" y="2786182"/>
                </a:lnTo>
                <a:lnTo>
                  <a:pt x="2319329" y="2775324"/>
                </a:lnTo>
                <a:lnTo>
                  <a:pt x="2341886" y="2766344"/>
                </a:lnTo>
                <a:lnTo>
                  <a:pt x="2366424" y="2759285"/>
                </a:lnTo>
                <a:lnTo>
                  <a:pt x="2393009" y="2754189"/>
                </a:lnTo>
                <a:lnTo>
                  <a:pt x="2421714" y="2751100"/>
                </a:lnTo>
                <a:close/>
                <a:moveTo>
                  <a:pt x="0" y="2365053"/>
                </a:moveTo>
                <a:lnTo>
                  <a:pt x="552046" y="2365053"/>
                </a:lnTo>
                <a:lnTo>
                  <a:pt x="552046" y="2430239"/>
                </a:lnTo>
                <a:lnTo>
                  <a:pt x="0" y="2430239"/>
                </a:lnTo>
                <a:close/>
                <a:moveTo>
                  <a:pt x="0" y="2152178"/>
                </a:moveTo>
                <a:lnTo>
                  <a:pt x="552046" y="2152178"/>
                </a:lnTo>
                <a:lnTo>
                  <a:pt x="552046" y="2217364"/>
                </a:lnTo>
                <a:lnTo>
                  <a:pt x="0" y="2217364"/>
                </a:lnTo>
                <a:close/>
                <a:moveTo>
                  <a:pt x="975625" y="1837762"/>
                </a:moveTo>
                <a:lnTo>
                  <a:pt x="1203780" y="1837762"/>
                </a:lnTo>
                <a:lnTo>
                  <a:pt x="1203780" y="1895226"/>
                </a:lnTo>
                <a:lnTo>
                  <a:pt x="1203780" y="2565639"/>
                </a:lnTo>
                <a:lnTo>
                  <a:pt x="1203780" y="2623869"/>
                </a:lnTo>
                <a:lnTo>
                  <a:pt x="975625" y="2623869"/>
                </a:lnTo>
                <a:lnTo>
                  <a:pt x="975625" y="2565639"/>
                </a:lnTo>
                <a:lnTo>
                  <a:pt x="1133506" y="2565639"/>
                </a:lnTo>
                <a:lnTo>
                  <a:pt x="1133506" y="1895226"/>
                </a:lnTo>
                <a:lnTo>
                  <a:pt x="975625" y="1895226"/>
                </a:lnTo>
                <a:close/>
                <a:moveTo>
                  <a:pt x="686589" y="1837762"/>
                </a:moveTo>
                <a:lnTo>
                  <a:pt x="914744" y="1837762"/>
                </a:lnTo>
                <a:lnTo>
                  <a:pt x="914744" y="1895226"/>
                </a:lnTo>
                <a:lnTo>
                  <a:pt x="756871" y="1895226"/>
                </a:lnTo>
                <a:lnTo>
                  <a:pt x="756871" y="2565639"/>
                </a:lnTo>
                <a:lnTo>
                  <a:pt x="914744" y="2565639"/>
                </a:lnTo>
                <a:lnTo>
                  <a:pt x="914744" y="2623869"/>
                </a:lnTo>
                <a:lnTo>
                  <a:pt x="686589" y="2623869"/>
                </a:lnTo>
                <a:lnTo>
                  <a:pt x="686589" y="2565639"/>
                </a:lnTo>
                <a:lnTo>
                  <a:pt x="686589" y="1895226"/>
                </a:lnTo>
                <a:close/>
                <a:moveTo>
                  <a:pt x="2196892" y="1833374"/>
                </a:moveTo>
                <a:lnTo>
                  <a:pt x="2227786" y="1834413"/>
                </a:lnTo>
                <a:lnTo>
                  <a:pt x="2256490" y="1837502"/>
                </a:lnTo>
                <a:lnTo>
                  <a:pt x="2283076" y="1842597"/>
                </a:lnTo>
                <a:lnTo>
                  <a:pt x="2307613" y="1849656"/>
                </a:lnTo>
                <a:lnTo>
                  <a:pt x="2330171" y="1858637"/>
                </a:lnTo>
                <a:lnTo>
                  <a:pt x="2350821" y="1869495"/>
                </a:lnTo>
                <a:lnTo>
                  <a:pt x="2386671" y="1896674"/>
                </a:lnTo>
                <a:lnTo>
                  <a:pt x="2415724" y="1930851"/>
                </a:lnTo>
                <a:lnTo>
                  <a:pt x="2427878" y="1950456"/>
                </a:lnTo>
                <a:lnTo>
                  <a:pt x="2438541" y="1971682"/>
                </a:lnTo>
                <a:lnTo>
                  <a:pt x="2447785" y="1994485"/>
                </a:lnTo>
                <a:lnTo>
                  <a:pt x="2455680" y="2018824"/>
                </a:lnTo>
                <a:lnTo>
                  <a:pt x="2462294" y="2044655"/>
                </a:lnTo>
                <a:lnTo>
                  <a:pt x="2467700" y="2071935"/>
                </a:lnTo>
                <a:lnTo>
                  <a:pt x="2471966" y="2100621"/>
                </a:lnTo>
                <a:lnTo>
                  <a:pt x="2475162" y="2130670"/>
                </a:lnTo>
                <a:lnTo>
                  <a:pt x="2477358" y="2162039"/>
                </a:lnTo>
                <a:lnTo>
                  <a:pt x="2478625" y="2194687"/>
                </a:lnTo>
                <a:lnTo>
                  <a:pt x="2479032" y="2228568"/>
                </a:lnTo>
                <a:lnTo>
                  <a:pt x="2478644" y="2262596"/>
                </a:lnTo>
                <a:lnTo>
                  <a:pt x="2477434" y="2295388"/>
                </a:lnTo>
                <a:lnTo>
                  <a:pt x="2475322" y="2326901"/>
                </a:lnTo>
                <a:lnTo>
                  <a:pt x="2472236" y="2357092"/>
                </a:lnTo>
                <a:lnTo>
                  <a:pt x="2468096" y="2385916"/>
                </a:lnTo>
                <a:lnTo>
                  <a:pt x="2462830" y="2413332"/>
                </a:lnTo>
                <a:lnTo>
                  <a:pt x="2456359" y="2439293"/>
                </a:lnTo>
                <a:lnTo>
                  <a:pt x="2448609" y="2463759"/>
                </a:lnTo>
                <a:lnTo>
                  <a:pt x="2439504" y="2486684"/>
                </a:lnTo>
                <a:lnTo>
                  <a:pt x="2428967" y="2508026"/>
                </a:lnTo>
                <a:lnTo>
                  <a:pt x="2416923" y="2527740"/>
                </a:lnTo>
                <a:lnTo>
                  <a:pt x="2388010" y="2562112"/>
                </a:lnTo>
                <a:lnTo>
                  <a:pt x="2352158" y="2589453"/>
                </a:lnTo>
                <a:lnTo>
                  <a:pt x="2331438" y="2600377"/>
                </a:lnTo>
                <a:lnTo>
                  <a:pt x="2308758" y="2609413"/>
                </a:lnTo>
                <a:lnTo>
                  <a:pt x="2284039" y="2616517"/>
                </a:lnTo>
                <a:lnTo>
                  <a:pt x="2257206" y="2621645"/>
                </a:lnTo>
                <a:lnTo>
                  <a:pt x="2228182" y="2624754"/>
                </a:lnTo>
                <a:lnTo>
                  <a:pt x="2196892" y="2625799"/>
                </a:lnTo>
                <a:lnTo>
                  <a:pt x="2196892" y="2566725"/>
                </a:lnTo>
                <a:lnTo>
                  <a:pt x="2227207" y="2565362"/>
                </a:lnTo>
                <a:lnTo>
                  <a:pt x="2254616" y="2561323"/>
                </a:lnTo>
                <a:lnTo>
                  <a:pt x="2279255" y="2554679"/>
                </a:lnTo>
                <a:lnTo>
                  <a:pt x="2301263" y="2545502"/>
                </a:lnTo>
                <a:lnTo>
                  <a:pt x="2337940" y="2519839"/>
                </a:lnTo>
                <a:lnTo>
                  <a:pt x="2365750" y="2484913"/>
                </a:lnTo>
                <a:lnTo>
                  <a:pt x="2376675" y="2464156"/>
                </a:lnTo>
                <a:lnTo>
                  <a:pt x="2385798" y="2441299"/>
                </a:lnTo>
                <a:lnTo>
                  <a:pt x="2393256" y="2416414"/>
                </a:lnTo>
                <a:lnTo>
                  <a:pt x="2399189" y="2389574"/>
                </a:lnTo>
                <a:lnTo>
                  <a:pt x="2403733" y="2360851"/>
                </a:lnTo>
                <a:lnTo>
                  <a:pt x="2407027" y="2330317"/>
                </a:lnTo>
                <a:lnTo>
                  <a:pt x="2409208" y="2298043"/>
                </a:lnTo>
                <a:lnTo>
                  <a:pt x="2410416" y="2264103"/>
                </a:lnTo>
                <a:lnTo>
                  <a:pt x="2410788" y="2228568"/>
                </a:lnTo>
                <a:lnTo>
                  <a:pt x="2410396" y="2193383"/>
                </a:lnTo>
                <a:lnTo>
                  <a:pt x="2409134" y="2159770"/>
                </a:lnTo>
                <a:lnTo>
                  <a:pt x="2406870" y="2127804"/>
                </a:lnTo>
                <a:lnTo>
                  <a:pt x="2403474" y="2097555"/>
                </a:lnTo>
                <a:lnTo>
                  <a:pt x="2398815" y="2069097"/>
                </a:lnTo>
                <a:lnTo>
                  <a:pt x="2392763" y="2042499"/>
                </a:lnTo>
                <a:lnTo>
                  <a:pt x="2385188" y="2017837"/>
                </a:lnTo>
                <a:lnTo>
                  <a:pt x="2375958" y="1995181"/>
                </a:lnTo>
                <a:lnTo>
                  <a:pt x="2364943" y="1974603"/>
                </a:lnTo>
                <a:lnTo>
                  <a:pt x="2337035" y="1939972"/>
                </a:lnTo>
                <a:lnTo>
                  <a:pt x="2300421" y="1914521"/>
                </a:lnTo>
                <a:lnTo>
                  <a:pt x="2278522" y="1905419"/>
                </a:lnTo>
                <a:lnTo>
                  <a:pt x="2254055" y="1898828"/>
                </a:lnTo>
                <a:lnTo>
                  <a:pt x="2226888" y="1894820"/>
                </a:lnTo>
                <a:lnTo>
                  <a:pt x="2196892" y="1893468"/>
                </a:lnTo>
                <a:close/>
                <a:moveTo>
                  <a:pt x="2140849" y="1833374"/>
                </a:moveTo>
                <a:lnTo>
                  <a:pt x="2140849" y="1893468"/>
                </a:lnTo>
                <a:lnTo>
                  <a:pt x="2111022" y="1894820"/>
                </a:lnTo>
                <a:lnTo>
                  <a:pt x="2084005" y="1898828"/>
                </a:lnTo>
                <a:lnTo>
                  <a:pt x="2059669" y="1905419"/>
                </a:lnTo>
                <a:lnTo>
                  <a:pt x="2037884" y="1914521"/>
                </a:lnTo>
                <a:lnTo>
                  <a:pt x="2001450" y="1939972"/>
                </a:lnTo>
                <a:lnTo>
                  <a:pt x="1973667" y="1974603"/>
                </a:lnTo>
                <a:lnTo>
                  <a:pt x="1962698" y="1995181"/>
                </a:lnTo>
                <a:lnTo>
                  <a:pt x="1953504" y="2017837"/>
                </a:lnTo>
                <a:lnTo>
                  <a:pt x="1945955" y="2042499"/>
                </a:lnTo>
                <a:lnTo>
                  <a:pt x="1939923" y="2069097"/>
                </a:lnTo>
                <a:lnTo>
                  <a:pt x="1935277" y="2097555"/>
                </a:lnTo>
                <a:lnTo>
                  <a:pt x="1931889" y="2127804"/>
                </a:lnTo>
                <a:lnTo>
                  <a:pt x="1929629" y="2159770"/>
                </a:lnTo>
                <a:lnTo>
                  <a:pt x="1928368" y="2193383"/>
                </a:lnTo>
                <a:lnTo>
                  <a:pt x="1927976" y="2228568"/>
                </a:lnTo>
                <a:lnTo>
                  <a:pt x="1928358" y="2264103"/>
                </a:lnTo>
                <a:lnTo>
                  <a:pt x="1929592" y="2298043"/>
                </a:lnTo>
                <a:lnTo>
                  <a:pt x="1931811" y="2330317"/>
                </a:lnTo>
                <a:lnTo>
                  <a:pt x="1935148" y="2360851"/>
                </a:lnTo>
                <a:lnTo>
                  <a:pt x="1939736" y="2389574"/>
                </a:lnTo>
                <a:lnTo>
                  <a:pt x="1945709" y="2416414"/>
                </a:lnTo>
                <a:lnTo>
                  <a:pt x="1953200" y="2441299"/>
                </a:lnTo>
                <a:lnTo>
                  <a:pt x="1962341" y="2464156"/>
                </a:lnTo>
                <a:lnTo>
                  <a:pt x="1973265" y="2484913"/>
                </a:lnTo>
                <a:lnTo>
                  <a:pt x="2000999" y="2519839"/>
                </a:lnTo>
                <a:lnTo>
                  <a:pt x="2037464" y="2545502"/>
                </a:lnTo>
                <a:lnTo>
                  <a:pt x="2059304" y="2554679"/>
                </a:lnTo>
                <a:lnTo>
                  <a:pt x="2083726" y="2561323"/>
                </a:lnTo>
                <a:lnTo>
                  <a:pt x="2110863" y="2565362"/>
                </a:lnTo>
                <a:lnTo>
                  <a:pt x="2140849" y="2566725"/>
                </a:lnTo>
                <a:lnTo>
                  <a:pt x="2140849" y="2625799"/>
                </a:lnTo>
                <a:lnTo>
                  <a:pt x="2109692" y="2624754"/>
                </a:lnTo>
                <a:lnTo>
                  <a:pt x="2080775" y="2621645"/>
                </a:lnTo>
                <a:lnTo>
                  <a:pt x="2054025" y="2616517"/>
                </a:lnTo>
                <a:lnTo>
                  <a:pt x="2029367" y="2609413"/>
                </a:lnTo>
                <a:lnTo>
                  <a:pt x="2006728" y="2600377"/>
                </a:lnTo>
                <a:lnTo>
                  <a:pt x="1986033" y="2589453"/>
                </a:lnTo>
                <a:lnTo>
                  <a:pt x="1950182" y="2562112"/>
                </a:lnTo>
                <a:lnTo>
                  <a:pt x="1921222" y="2527740"/>
                </a:lnTo>
                <a:lnTo>
                  <a:pt x="1909143" y="2508026"/>
                </a:lnTo>
                <a:lnTo>
                  <a:pt x="1898564" y="2486684"/>
                </a:lnTo>
                <a:lnTo>
                  <a:pt x="1889412" y="2463759"/>
                </a:lnTo>
                <a:lnTo>
                  <a:pt x="1881615" y="2439293"/>
                </a:lnTo>
                <a:lnTo>
                  <a:pt x="1875096" y="2413332"/>
                </a:lnTo>
                <a:lnTo>
                  <a:pt x="1869783" y="2385916"/>
                </a:lnTo>
                <a:lnTo>
                  <a:pt x="1865602" y="2357092"/>
                </a:lnTo>
                <a:lnTo>
                  <a:pt x="1862479" y="2326901"/>
                </a:lnTo>
                <a:lnTo>
                  <a:pt x="1860340" y="2295388"/>
                </a:lnTo>
                <a:lnTo>
                  <a:pt x="1859110" y="2262596"/>
                </a:lnTo>
                <a:lnTo>
                  <a:pt x="1858717" y="2228568"/>
                </a:lnTo>
                <a:lnTo>
                  <a:pt x="1859123" y="2194687"/>
                </a:lnTo>
                <a:lnTo>
                  <a:pt x="1860390" y="2162039"/>
                </a:lnTo>
                <a:lnTo>
                  <a:pt x="1862586" y="2130670"/>
                </a:lnTo>
                <a:lnTo>
                  <a:pt x="1865781" y="2100621"/>
                </a:lnTo>
                <a:lnTo>
                  <a:pt x="1870047" y="2071935"/>
                </a:lnTo>
                <a:lnTo>
                  <a:pt x="1875452" y="2044655"/>
                </a:lnTo>
                <a:lnTo>
                  <a:pt x="1882067" y="2018824"/>
                </a:lnTo>
                <a:lnTo>
                  <a:pt x="1889961" y="1994485"/>
                </a:lnTo>
                <a:lnTo>
                  <a:pt x="1899205" y="1971682"/>
                </a:lnTo>
                <a:lnTo>
                  <a:pt x="1909867" y="1950456"/>
                </a:lnTo>
                <a:lnTo>
                  <a:pt x="1922020" y="1930851"/>
                </a:lnTo>
                <a:lnTo>
                  <a:pt x="1951072" y="1896674"/>
                </a:lnTo>
                <a:lnTo>
                  <a:pt x="1986922" y="1869495"/>
                </a:lnTo>
                <a:lnTo>
                  <a:pt x="2007571" y="1858637"/>
                </a:lnTo>
                <a:lnTo>
                  <a:pt x="2030129" y="1849656"/>
                </a:lnTo>
                <a:lnTo>
                  <a:pt x="2054665" y="1842597"/>
                </a:lnTo>
                <a:lnTo>
                  <a:pt x="2081251" y="1837502"/>
                </a:lnTo>
                <a:lnTo>
                  <a:pt x="2109955" y="1834413"/>
                </a:lnTo>
                <a:close/>
                <a:moveTo>
                  <a:pt x="2219148" y="1448369"/>
                </a:moveTo>
                <a:lnTo>
                  <a:pt x="2771201" y="1448369"/>
                </a:lnTo>
                <a:lnTo>
                  <a:pt x="2771201" y="1513555"/>
                </a:lnTo>
                <a:lnTo>
                  <a:pt x="2219148" y="1513555"/>
                </a:lnTo>
                <a:close/>
                <a:moveTo>
                  <a:pt x="1555972" y="1448366"/>
                </a:moveTo>
                <a:lnTo>
                  <a:pt x="2108018" y="1448366"/>
                </a:lnTo>
                <a:lnTo>
                  <a:pt x="2108018" y="1513553"/>
                </a:lnTo>
                <a:lnTo>
                  <a:pt x="1555972" y="1513553"/>
                </a:lnTo>
                <a:close/>
                <a:moveTo>
                  <a:pt x="2219148" y="1235493"/>
                </a:moveTo>
                <a:lnTo>
                  <a:pt x="2771201" y="1235493"/>
                </a:lnTo>
                <a:lnTo>
                  <a:pt x="2771201" y="1300680"/>
                </a:lnTo>
                <a:lnTo>
                  <a:pt x="2219148" y="1300680"/>
                </a:lnTo>
                <a:close/>
                <a:moveTo>
                  <a:pt x="1555972" y="1235491"/>
                </a:moveTo>
                <a:lnTo>
                  <a:pt x="2108018" y="1235491"/>
                </a:lnTo>
                <a:lnTo>
                  <a:pt x="2108018" y="1300678"/>
                </a:lnTo>
                <a:lnTo>
                  <a:pt x="1555972" y="1300678"/>
                </a:lnTo>
                <a:close/>
                <a:moveTo>
                  <a:pt x="3742214" y="916690"/>
                </a:moveTo>
                <a:lnTo>
                  <a:pt x="3773108" y="917728"/>
                </a:lnTo>
                <a:lnTo>
                  <a:pt x="3801812" y="920817"/>
                </a:lnTo>
                <a:lnTo>
                  <a:pt x="3828397" y="925913"/>
                </a:lnTo>
                <a:lnTo>
                  <a:pt x="3852935" y="932972"/>
                </a:lnTo>
                <a:lnTo>
                  <a:pt x="3875492" y="941952"/>
                </a:lnTo>
                <a:lnTo>
                  <a:pt x="3896140" y="952810"/>
                </a:lnTo>
                <a:lnTo>
                  <a:pt x="3931990" y="979989"/>
                </a:lnTo>
                <a:lnTo>
                  <a:pt x="3961043" y="1014166"/>
                </a:lnTo>
                <a:lnTo>
                  <a:pt x="3973194" y="1033771"/>
                </a:lnTo>
                <a:lnTo>
                  <a:pt x="3983858" y="1054997"/>
                </a:lnTo>
                <a:lnTo>
                  <a:pt x="3993102" y="1077801"/>
                </a:lnTo>
                <a:lnTo>
                  <a:pt x="4000996" y="1102139"/>
                </a:lnTo>
                <a:lnTo>
                  <a:pt x="4007610" y="1127971"/>
                </a:lnTo>
                <a:lnTo>
                  <a:pt x="4013016" y="1155250"/>
                </a:lnTo>
                <a:lnTo>
                  <a:pt x="4017281" y="1183936"/>
                </a:lnTo>
                <a:lnTo>
                  <a:pt x="4020477" y="1213985"/>
                </a:lnTo>
                <a:lnTo>
                  <a:pt x="4022673" y="1245354"/>
                </a:lnTo>
                <a:lnTo>
                  <a:pt x="4023939" y="1278002"/>
                </a:lnTo>
                <a:lnTo>
                  <a:pt x="4024347" y="1311883"/>
                </a:lnTo>
                <a:lnTo>
                  <a:pt x="4023960" y="1345910"/>
                </a:lnTo>
                <a:lnTo>
                  <a:pt x="4022749" y="1378703"/>
                </a:lnTo>
                <a:lnTo>
                  <a:pt x="4020638" y="1410216"/>
                </a:lnTo>
                <a:lnTo>
                  <a:pt x="4017550" y="1440407"/>
                </a:lnTo>
                <a:lnTo>
                  <a:pt x="4013412" y="1469231"/>
                </a:lnTo>
                <a:lnTo>
                  <a:pt x="4008146" y="1496647"/>
                </a:lnTo>
                <a:lnTo>
                  <a:pt x="4001675" y="1522609"/>
                </a:lnTo>
                <a:lnTo>
                  <a:pt x="3993926" y="1547074"/>
                </a:lnTo>
                <a:lnTo>
                  <a:pt x="3984821" y="1570000"/>
                </a:lnTo>
                <a:lnTo>
                  <a:pt x="3974284" y="1591341"/>
                </a:lnTo>
                <a:lnTo>
                  <a:pt x="3962241" y="1611056"/>
                </a:lnTo>
                <a:lnTo>
                  <a:pt x="3933329" y="1645428"/>
                </a:lnTo>
                <a:lnTo>
                  <a:pt x="3897477" y="1672768"/>
                </a:lnTo>
                <a:lnTo>
                  <a:pt x="3876760" y="1683693"/>
                </a:lnTo>
                <a:lnTo>
                  <a:pt x="3854080" y="1692729"/>
                </a:lnTo>
                <a:lnTo>
                  <a:pt x="3829360" y="1699833"/>
                </a:lnTo>
                <a:lnTo>
                  <a:pt x="3802527" y="1704961"/>
                </a:lnTo>
                <a:lnTo>
                  <a:pt x="3773504" y="1708069"/>
                </a:lnTo>
                <a:lnTo>
                  <a:pt x="3742214" y="1709115"/>
                </a:lnTo>
                <a:lnTo>
                  <a:pt x="3742214" y="1650040"/>
                </a:lnTo>
                <a:lnTo>
                  <a:pt x="3772528" y="1648677"/>
                </a:lnTo>
                <a:lnTo>
                  <a:pt x="3799938" y="1644638"/>
                </a:lnTo>
                <a:lnTo>
                  <a:pt x="3824576" y="1637994"/>
                </a:lnTo>
                <a:lnTo>
                  <a:pt x="3846584" y="1628817"/>
                </a:lnTo>
                <a:lnTo>
                  <a:pt x="3883261" y="1603155"/>
                </a:lnTo>
                <a:lnTo>
                  <a:pt x="3911071" y="1568228"/>
                </a:lnTo>
                <a:lnTo>
                  <a:pt x="3921996" y="1547471"/>
                </a:lnTo>
                <a:lnTo>
                  <a:pt x="3931120" y="1524614"/>
                </a:lnTo>
                <a:lnTo>
                  <a:pt x="3938578" y="1499729"/>
                </a:lnTo>
                <a:lnTo>
                  <a:pt x="3944510" y="1472889"/>
                </a:lnTo>
                <a:lnTo>
                  <a:pt x="3949054" y="1444166"/>
                </a:lnTo>
                <a:lnTo>
                  <a:pt x="3952348" y="1413632"/>
                </a:lnTo>
                <a:lnTo>
                  <a:pt x="3954530" y="1381358"/>
                </a:lnTo>
                <a:lnTo>
                  <a:pt x="3955738" y="1347418"/>
                </a:lnTo>
                <a:lnTo>
                  <a:pt x="3956109" y="1311883"/>
                </a:lnTo>
                <a:lnTo>
                  <a:pt x="3955717" y="1276698"/>
                </a:lnTo>
                <a:lnTo>
                  <a:pt x="3954455" y="1243085"/>
                </a:lnTo>
                <a:lnTo>
                  <a:pt x="3952190" y="1211119"/>
                </a:lnTo>
                <a:lnTo>
                  <a:pt x="3948795" y="1180870"/>
                </a:lnTo>
                <a:lnTo>
                  <a:pt x="3944136" y="1152411"/>
                </a:lnTo>
                <a:lnTo>
                  <a:pt x="3938084" y="1125814"/>
                </a:lnTo>
                <a:lnTo>
                  <a:pt x="3930509" y="1101153"/>
                </a:lnTo>
                <a:lnTo>
                  <a:pt x="3921278" y="1078496"/>
                </a:lnTo>
                <a:lnTo>
                  <a:pt x="3910264" y="1057918"/>
                </a:lnTo>
                <a:lnTo>
                  <a:pt x="3882356" y="1023288"/>
                </a:lnTo>
                <a:lnTo>
                  <a:pt x="3845742" y="997836"/>
                </a:lnTo>
                <a:lnTo>
                  <a:pt x="3823844" y="988734"/>
                </a:lnTo>
                <a:lnTo>
                  <a:pt x="3799376" y="982143"/>
                </a:lnTo>
                <a:lnTo>
                  <a:pt x="3772210" y="978135"/>
                </a:lnTo>
                <a:lnTo>
                  <a:pt x="3742214" y="976783"/>
                </a:lnTo>
                <a:close/>
                <a:moveTo>
                  <a:pt x="3686156" y="916690"/>
                </a:moveTo>
                <a:lnTo>
                  <a:pt x="3686156" y="976783"/>
                </a:lnTo>
                <a:lnTo>
                  <a:pt x="3656329" y="978135"/>
                </a:lnTo>
                <a:lnTo>
                  <a:pt x="3629312" y="982143"/>
                </a:lnTo>
                <a:lnTo>
                  <a:pt x="3604976" y="988734"/>
                </a:lnTo>
                <a:lnTo>
                  <a:pt x="3583191" y="997836"/>
                </a:lnTo>
                <a:lnTo>
                  <a:pt x="3546757" y="1023288"/>
                </a:lnTo>
                <a:lnTo>
                  <a:pt x="3518975" y="1057918"/>
                </a:lnTo>
                <a:lnTo>
                  <a:pt x="3508006" y="1078496"/>
                </a:lnTo>
                <a:lnTo>
                  <a:pt x="3498812" y="1101153"/>
                </a:lnTo>
                <a:lnTo>
                  <a:pt x="3491262" y="1125814"/>
                </a:lnTo>
                <a:lnTo>
                  <a:pt x="3485230" y="1152411"/>
                </a:lnTo>
                <a:lnTo>
                  <a:pt x="3480584" y="1180870"/>
                </a:lnTo>
                <a:lnTo>
                  <a:pt x="3477197" y="1211119"/>
                </a:lnTo>
                <a:lnTo>
                  <a:pt x="3474937" y="1243085"/>
                </a:lnTo>
                <a:lnTo>
                  <a:pt x="3473675" y="1276698"/>
                </a:lnTo>
                <a:lnTo>
                  <a:pt x="3473284" y="1311883"/>
                </a:lnTo>
                <a:lnTo>
                  <a:pt x="3473666" y="1347418"/>
                </a:lnTo>
                <a:lnTo>
                  <a:pt x="3474899" y="1381358"/>
                </a:lnTo>
                <a:lnTo>
                  <a:pt x="3477118" y="1413632"/>
                </a:lnTo>
                <a:lnTo>
                  <a:pt x="3480455" y="1444166"/>
                </a:lnTo>
                <a:lnTo>
                  <a:pt x="3485044" y="1472889"/>
                </a:lnTo>
                <a:lnTo>
                  <a:pt x="3491016" y="1499729"/>
                </a:lnTo>
                <a:lnTo>
                  <a:pt x="3498507" y="1524614"/>
                </a:lnTo>
                <a:lnTo>
                  <a:pt x="3507648" y="1547471"/>
                </a:lnTo>
                <a:lnTo>
                  <a:pt x="3518572" y="1568228"/>
                </a:lnTo>
                <a:lnTo>
                  <a:pt x="3546307" y="1603155"/>
                </a:lnTo>
                <a:lnTo>
                  <a:pt x="3582771" y="1628817"/>
                </a:lnTo>
                <a:lnTo>
                  <a:pt x="3604611" y="1637994"/>
                </a:lnTo>
                <a:lnTo>
                  <a:pt x="3629033" y="1644638"/>
                </a:lnTo>
                <a:lnTo>
                  <a:pt x="3656171" y="1648677"/>
                </a:lnTo>
                <a:lnTo>
                  <a:pt x="3686156" y="1650040"/>
                </a:lnTo>
                <a:lnTo>
                  <a:pt x="3686156" y="1709115"/>
                </a:lnTo>
                <a:lnTo>
                  <a:pt x="3655000" y="1708069"/>
                </a:lnTo>
                <a:lnTo>
                  <a:pt x="3626082" y="1704961"/>
                </a:lnTo>
                <a:lnTo>
                  <a:pt x="3599332" y="1699833"/>
                </a:lnTo>
                <a:lnTo>
                  <a:pt x="3574674" y="1692729"/>
                </a:lnTo>
                <a:lnTo>
                  <a:pt x="3552035" y="1683693"/>
                </a:lnTo>
                <a:lnTo>
                  <a:pt x="3531340" y="1672768"/>
                </a:lnTo>
                <a:lnTo>
                  <a:pt x="3495489" y="1645428"/>
                </a:lnTo>
                <a:lnTo>
                  <a:pt x="3466530" y="1611056"/>
                </a:lnTo>
                <a:lnTo>
                  <a:pt x="3454450" y="1591341"/>
                </a:lnTo>
                <a:lnTo>
                  <a:pt x="3443871" y="1570000"/>
                </a:lnTo>
                <a:lnTo>
                  <a:pt x="3434720" y="1547074"/>
                </a:lnTo>
                <a:lnTo>
                  <a:pt x="3426922" y="1522609"/>
                </a:lnTo>
                <a:lnTo>
                  <a:pt x="3420404" y="1496647"/>
                </a:lnTo>
                <a:lnTo>
                  <a:pt x="3415090" y="1469231"/>
                </a:lnTo>
                <a:lnTo>
                  <a:pt x="3410910" y="1440407"/>
                </a:lnTo>
                <a:lnTo>
                  <a:pt x="3407786" y="1410216"/>
                </a:lnTo>
                <a:lnTo>
                  <a:pt x="3405647" y="1378703"/>
                </a:lnTo>
                <a:lnTo>
                  <a:pt x="3404417" y="1345910"/>
                </a:lnTo>
                <a:lnTo>
                  <a:pt x="3404024" y="1311883"/>
                </a:lnTo>
                <a:lnTo>
                  <a:pt x="3404430" y="1278002"/>
                </a:lnTo>
                <a:lnTo>
                  <a:pt x="3405697" y="1245354"/>
                </a:lnTo>
                <a:lnTo>
                  <a:pt x="3407893" y="1213985"/>
                </a:lnTo>
                <a:lnTo>
                  <a:pt x="3411088" y="1183936"/>
                </a:lnTo>
                <a:lnTo>
                  <a:pt x="3415354" y="1155250"/>
                </a:lnTo>
                <a:lnTo>
                  <a:pt x="3420760" y="1127971"/>
                </a:lnTo>
                <a:lnTo>
                  <a:pt x="3427374" y="1102139"/>
                </a:lnTo>
                <a:lnTo>
                  <a:pt x="3435268" y="1077801"/>
                </a:lnTo>
                <a:lnTo>
                  <a:pt x="3444512" y="1054997"/>
                </a:lnTo>
                <a:lnTo>
                  <a:pt x="3455174" y="1033771"/>
                </a:lnTo>
                <a:lnTo>
                  <a:pt x="3467327" y="1014166"/>
                </a:lnTo>
                <a:lnTo>
                  <a:pt x="3496380" y="979989"/>
                </a:lnTo>
                <a:lnTo>
                  <a:pt x="3532230" y="952810"/>
                </a:lnTo>
                <a:lnTo>
                  <a:pt x="3552878" y="941952"/>
                </a:lnTo>
                <a:lnTo>
                  <a:pt x="3575436" y="932972"/>
                </a:lnTo>
                <a:lnTo>
                  <a:pt x="3599973" y="925913"/>
                </a:lnTo>
                <a:lnTo>
                  <a:pt x="3626558" y="920817"/>
                </a:lnTo>
                <a:lnTo>
                  <a:pt x="3655263" y="917728"/>
                </a:lnTo>
                <a:close/>
                <a:moveTo>
                  <a:pt x="2538537" y="623346"/>
                </a:moveTo>
                <a:lnTo>
                  <a:pt x="2664834" y="623346"/>
                </a:lnTo>
                <a:lnTo>
                  <a:pt x="2664834" y="729274"/>
                </a:lnTo>
                <a:lnTo>
                  <a:pt x="2538537" y="729274"/>
                </a:lnTo>
                <a:close/>
                <a:moveTo>
                  <a:pt x="3538388" y="531682"/>
                </a:moveTo>
                <a:lnTo>
                  <a:pt x="4090442" y="531682"/>
                </a:lnTo>
                <a:lnTo>
                  <a:pt x="4090442" y="596869"/>
                </a:lnTo>
                <a:lnTo>
                  <a:pt x="3538388" y="596869"/>
                </a:lnTo>
                <a:close/>
                <a:moveTo>
                  <a:pt x="3538388" y="318807"/>
                </a:moveTo>
                <a:lnTo>
                  <a:pt x="4090442" y="318807"/>
                </a:lnTo>
                <a:lnTo>
                  <a:pt x="4090442" y="383994"/>
                </a:lnTo>
                <a:lnTo>
                  <a:pt x="3538388" y="383994"/>
                </a:lnTo>
                <a:close/>
                <a:moveTo>
                  <a:pt x="4743648" y="4277"/>
                </a:moveTo>
                <a:lnTo>
                  <a:pt x="4971802" y="4277"/>
                </a:lnTo>
                <a:lnTo>
                  <a:pt x="4971802" y="62507"/>
                </a:lnTo>
                <a:lnTo>
                  <a:pt x="4813930" y="62507"/>
                </a:lnTo>
                <a:lnTo>
                  <a:pt x="4813930" y="732154"/>
                </a:lnTo>
                <a:lnTo>
                  <a:pt x="4971802" y="732154"/>
                </a:lnTo>
                <a:lnTo>
                  <a:pt x="4971802" y="790385"/>
                </a:lnTo>
                <a:lnTo>
                  <a:pt x="4743648" y="790385"/>
                </a:lnTo>
                <a:lnTo>
                  <a:pt x="4743648" y="732154"/>
                </a:lnTo>
                <a:lnTo>
                  <a:pt x="4743648" y="62507"/>
                </a:lnTo>
                <a:close/>
                <a:moveTo>
                  <a:pt x="1841161" y="1"/>
                </a:moveTo>
                <a:lnTo>
                  <a:pt x="1841161" y="60096"/>
                </a:lnTo>
                <a:lnTo>
                  <a:pt x="1811334" y="61447"/>
                </a:lnTo>
                <a:lnTo>
                  <a:pt x="1784317" y="65456"/>
                </a:lnTo>
                <a:lnTo>
                  <a:pt x="1759981" y="72046"/>
                </a:lnTo>
                <a:lnTo>
                  <a:pt x="1738195" y="81149"/>
                </a:lnTo>
                <a:lnTo>
                  <a:pt x="1701760" y="106599"/>
                </a:lnTo>
                <a:lnTo>
                  <a:pt x="1673977" y="141231"/>
                </a:lnTo>
                <a:lnTo>
                  <a:pt x="1663007" y="161808"/>
                </a:lnTo>
                <a:lnTo>
                  <a:pt x="1653812" y="184464"/>
                </a:lnTo>
                <a:lnTo>
                  <a:pt x="1646263" y="209127"/>
                </a:lnTo>
                <a:lnTo>
                  <a:pt x="1640230" y="235723"/>
                </a:lnTo>
                <a:lnTo>
                  <a:pt x="1635584" y="264182"/>
                </a:lnTo>
                <a:lnTo>
                  <a:pt x="1632195" y="294431"/>
                </a:lnTo>
                <a:lnTo>
                  <a:pt x="1629935" y="326398"/>
                </a:lnTo>
                <a:lnTo>
                  <a:pt x="1628674" y="360010"/>
                </a:lnTo>
                <a:lnTo>
                  <a:pt x="1628282" y="395196"/>
                </a:lnTo>
                <a:lnTo>
                  <a:pt x="1628664" y="430731"/>
                </a:lnTo>
                <a:lnTo>
                  <a:pt x="1629898" y="464671"/>
                </a:lnTo>
                <a:lnTo>
                  <a:pt x="1632117" y="496943"/>
                </a:lnTo>
                <a:lnTo>
                  <a:pt x="1635455" y="527477"/>
                </a:lnTo>
                <a:lnTo>
                  <a:pt x="1640043" y="556201"/>
                </a:lnTo>
                <a:lnTo>
                  <a:pt x="1646017" y="583040"/>
                </a:lnTo>
                <a:lnTo>
                  <a:pt x="1653508" y="607925"/>
                </a:lnTo>
                <a:lnTo>
                  <a:pt x="1662650" y="630782"/>
                </a:lnTo>
                <a:lnTo>
                  <a:pt x="1673575" y="651540"/>
                </a:lnTo>
                <a:lnTo>
                  <a:pt x="1701309" y="686466"/>
                </a:lnTo>
                <a:lnTo>
                  <a:pt x="1737775" y="712128"/>
                </a:lnTo>
                <a:lnTo>
                  <a:pt x="1759616" y="721306"/>
                </a:lnTo>
                <a:lnTo>
                  <a:pt x="1784038" y="727950"/>
                </a:lnTo>
                <a:lnTo>
                  <a:pt x="1811175" y="731988"/>
                </a:lnTo>
                <a:lnTo>
                  <a:pt x="1841161" y="733351"/>
                </a:lnTo>
                <a:lnTo>
                  <a:pt x="1841161" y="792427"/>
                </a:lnTo>
                <a:lnTo>
                  <a:pt x="1810003" y="791381"/>
                </a:lnTo>
                <a:lnTo>
                  <a:pt x="1781086" y="788273"/>
                </a:lnTo>
                <a:lnTo>
                  <a:pt x="1754335" y="783144"/>
                </a:lnTo>
                <a:lnTo>
                  <a:pt x="1729676" y="776041"/>
                </a:lnTo>
                <a:lnTo>
                  <a:pt x="1707036" y="767004"/>
                </a:lnTo>
                <a:lnTo>
                  <a:pt x="1686340" y="756080"/>
                </a:lnTo>
                <a:lnTo>
                  <a:pt x="1650489" y="728740"/>
                </a:lnTo>
                <a:lnTo>
                  <a:pt x="1621529" y="694367"/>
                </a:lnTo>
                <a:lnTo>
                  <a:pt x="1609449" y="674653"/>
                </a:lnTo>
                <a:lnTo>
                  <a:pt x="1598870" y="653311"/>
                </a:lnTo>
                <a:lnTo>
                  <a:pt x="1589719" y="630386"/>
                </a:lnTo>
                <a:lnTo>
                  <a:pt x="1581921" y="605921"/>
                </a:lnTo>
                <a:lnTo>
                  <a:pt x="1575402" y="579959"/>
                </a:lnTo>
                <a:lnTo>
                  <a:pt x="1570089" y="552543"/>
                </a:lnTo>
                <a:lnTo>
                  <a:pt x="1565908" y="523719"/>
                </a:lnTo>
                <a:lnTo>
                  <a:pt x="1562785" y="493528"/>
                </a:lnTo>
                <a:lnTo>
                  <a:pt x="1560645" y="462016"/>
                </a:lnTo>
                <a:lnTo>
                  <a:pt x="1559416" y="429223"/>
                </a:lnTo>
                <a:lnTo>
                  <a:pt x="1559022" y="395196"/>
                </a:lnTo>
                <a:lnTo>
                  <a:pt x="1559429" y="361314"/>
                </a:lnTo>
                <a:lnTo>
                  <a:pt x="1560695" y="328666"/>
                </a:lnTo>
                <a:lnTo>
                  <a:pt x="1562891" y="297298"/>
                </a:lnTo>
                <a:lnTo>
                  <a:pt x="1566088" y="267248"/>
                </a:lnTo>
                <a:lnTo>
                  <a:pt x="1570354" y="238562"/>
                </a:lnTo>
                <a:lnTo>
                  <a:pt x="1575759" y="211282"/>
                </a:lnTo>
                <a:lnTo>
                  <a:pt x="1582374" y="185452"/>
                </a:lnTo>
                <a:lnTo>
                  <a:pt x="1590268" y="161113"/>
                </a:lnTo>
                <a:lnTo>
                  <a:pt x="1599513" y="138310"/>
                </a:lnTo>
                <a:lnTo>
                  <a:pt x="1610176" y="117084"/>
                </a:lnTo>
                <a:lnTo>
                  <a:pt x="1622329" y="97478"/>
                </a:lnTo>
                <a:lnTo>
                  <a:pt x="1651382" y="63301"/>
                </a:lnTo>
                <a:lnTo>
                  <a:pt x="1687233" y="36123"/>
                </a:lnTo>
                <a:lnTo>
                  <a:pt x="1707882" y="25265"/>
                </a:lnTo>
                <a:lnTo>
                  <a:pt x="1730440" y="16284"/>
                </a:lnTo>
                <a:lnTo>
                  <a:pt x="1754977" y="9224"/>
                </a:lnTo>
                <a:lnTo>
                  <a:pt x="1781563" y="4130"/>
                </a:lnTo>
                <a:lnTo>
                  <a:pt x="1810268" y="1040"/>
                </a:lnTo>
                <a:close/>
                <a:moveTo>
                  <a:pt x="5029634" y="1"/>
                </a:moveTo>
                <a:lnTo>
                  <a:pt x="5060528" y="1040"/>
                </a:lnTo>
                <a:lnTo>
                  <a:pt x="5089233" y="4128"/>
                </a:lnTo>
                <a:lnTo>
                  <a:pt x="5115819" y="9224"/>
                </a:lnTo>
                <a:lnTo>
                  <a:pt x="5140355" y="16283"/>
                </a:lnTo>
                <a:lnTo>
                  <a:pt x="5162912" y="25263"/>
                </a:lnTo>
                <a:lnTo>
                  <a:pt x="5183562" y="36121"/>
                </a:lnTo>
                <a:lnTo>
                  <a:pt x="5219411" y="63300"/>
                </a:lnTo>
                <a:lnTo>
                  <a:pt x="5248464" y="97477"/>
                </a:lnTo>
                <a:lnTo>
                  <a:pt x="5260616" y="117083"/>
                </a:lnTo>
                <a:lnTo>
                  <a:pt x="5271279" y="138308"/>
                </a:lnTo>
                <a:lnTo>
                  <a:pt x="5280522" y="161112"/>
                </a:lnTo>
                <a:lnTo>
                  <a:pt x="5288418" y="185450"/>
                </a:lnTo>
                <a:lnTo>
                  <a:pt x="5295032" y="211281"/>
                </a:lnTo>
                <a:lnTo>
                  <a:pt x="5300436" y="238560"/>
                </a:lnTo>
                <a:lnTo>
                  <a:pt x="5304703" y="267247"/>
                </a:lnTo>
                <a:lnTo>
                  <a:pt x="5307899" y="297296"/>
                </a:lnTo>
                <a:lnTo>
                  <a:pt x="5310095" y="328665"/>
                </a:lnTo>
                <a:lnTo>
                  <a:pt x="5311361" y="361313"/>
                </a:lnTo>
                <a:lnTo>
                  <a:pt x="5311768" y="395194"/>
                </a:lnTo>
                <a:lnTo>
                  <a:pt x="5311382" y="429222"/>
                </a:lnTo>
                <a:lnTo>
                  <a:pt x="5310170" y="462014"/>
                </a:lnTo>
                <a:lnTo>
                  <a:pt x="5308058" y="493527"/>
                </a:lnTo>
                <a:lnTo>
                  <a:pt x="5304972" y="523718"/>
                </a:lnTo>
                <a:lnTo>
                  <a:pt x="5300834" y="552543"/>
                </a:lnTo>
                <a:lnTo>
                  <a:pt x="5295566" y="579958"/>
                </a:lnTo>
                <a:lnTo>
                  <a:pt x="5289096" y="605920"/>
                </a:lnTo>
                <a:lnTo>
                  <a:pt x="5281347" y="630385"/>
                </a:lnTo>
                <a:lnTo>
                  <a:pt x="5272242" y="653311"/>
                </a:lnTo>
                <a:lnTo>
                  <a:pt x="5261706" y="674652"/>
                </a:lnTo>
                <a:lnTo>
                  <a:pt x="5249663" y="694367"/>
                </a:lnTo>
                <a:lnTo>
                  <a:pt x="5220750" y="728739"/>
                </a:lnTo>
                <a:lnTo>
                  <a:pt x="5184899" y="756079"/>
                </a:lnTo>
                <a:lnTo>
                  <a:pt x="5164180" y="767004"/>
                </a:lnTo>
                <a:lnTo>
                  <a:pt x="5141500" y="776040"/>
                </a:lnTo>
                <a:lnTo>
                  <a:pt x="5116782" y="783144"/>
                </a:lnTo>
                <a:lnTo>
                  <a:pt x="5089948" y="788272"/>
                </a:lnTo>
                <a:lnTo>
                  <a:pt x="5060925" y="791381"/>
                </a:lnTo>
                <a:lnTo>
                  <a:pt x="5029634" y="792426"/>
                </a:lnTo>
                <a:lnTo>
                  <a:pt x="5029634" y="733351"/>
                </a:lnTo>
                <a:lnTo>
                  <a:pt x="5059950" y="731988"/>
                </a:lnTo>
                <a:lnTo>
                  <a:pt x="5087358" y="727949"/>
                </a:lnTo>
                <a:lnTo>
                  <a:pt x="5111996" y="721305"/>
                </a:lnTo>
                <a:lnTo>
                  <a:pt x="5134005" y="712128"/>
                </a:lnTo>
                <a:lnTo>
                  <a:pt x="5170680" y="686465"/>
                </a:lnTo>
                <a:lnTo>
                  <a:pt x="5198489" y="651539"/>
                </a:lnTo>
                <a:lnTo>
                  <a:pt x="5209414" y="630782"/>
                </a:lnTo>
                <a:lnTo>
                  <a:pt x="5218536" y="607925"/>
                </a:lnTo>
                <a:lnTo>
                  <a:pt x="5225994" y="583040"/>
                </a:lnTo>
                <a:lnTo>
                  <a:pt x="5231926" y="556200"/>
                </a:lnTo>
                <a:lnTo>
                  <a:pt x="5236470" y="527476"/>
                </a:lnTo>
                <a:lnTo>
                  <a:pt x="5239763" y="496942"/>
                </a:lnTo>
                <a:lnTo>
                  <a:pt x="5241944" y="464669"/>
                </a:lnTo>
                <a:lnTo>
                  <a:pt x="5243152" y="430729"/>
                </a:lnTo>
                <a:lnTo>
                  <a:pt x="5243524" y="395194"/>
                </a:lnTo>
                <a:lnTo>
                  <a:pt x="5243133" y="360008"/>
                </a:lnTo>
                <a:lnTo>
                  <a:pt x="5241870" y="326396"/>
                </a:lnTo>
                <a:lnTo>
                  <a:pt x="5239606" y="294430"/>
                </a:lnTo>
                <a:lnTo>
                  <a:pt x="5236210" y="264181"/>
                </a:lnTo>
                <a:lnTo>
                  <a:pt x="5231552" y="235722"/>
                </a:lnTo>
                <a:lnTo>
                  <a:pt x="5225501" y="209126"/>
                </a:lnTo>
                <a:lnTo>
                  <a:pt x="5217926" y="184463"/>
                </a:lnTo>
                <a:lnTo>
                  <a:pt x="5208696" y="161807"/>
                </a:lnTo>
                <a:lnTo>
                  <a:pt x="5197682" y="141229"/>
                </a:lnTo>
                <a:lnTo>
                  <a:pt x="5169776" y="106598"/>
                </a:lnTo>
                <a:lnTo>
                  <a:pt x="5133162" y="81148"/>
                </a:lnTo>
                <a:lnTo>
                  <a:pt x="5111264" y="72045"/>
                </a:lnTo>
                <a:lnTo>
                  <a:pt x="5086797" y="65454"/>
                </a:lnTo>
                <a:lnTo>
                  <a:pt x="5059632" y="61446"/>
                </a:lnTo>
                <a:lnTo>
                  <a:pt x="5029634" y="60095"/>
                </a:lnTo>
                <a:close/>
                <a:moveTo>
                  <a:pt x="1897218" y="0"/>
                </a:moveTo>
                <a:lnTo>
                  <a:pt x="1928111" y="1039"/>
                </a:lnTo>
                <a:lnTo>
                  <a:pt x="1956816" y="4128"/>
                </a:lnTo>
                <a:lnTo>
                  <a:pt x="1983402" y="9223"/>
                </a:lnTo>
                <a:lnTo>
                  <a:pt x="2007938" y="16282"/>
                </a:lnTo>
                <a:lnTo>
                  <a:pt x="2030496" y="25263"/>
                </a:lnTo>
                <a:lnTo>
                  <a:pt x="2051145" y="36121"/>
                </a:lnTo>
                <a:lnTo>
                  <a:pt x="2086994" y="63300"/>
                </a:lnTo>
                <a:lnTo>
                  <a:pt x="2116047" y="97477"/>
                </a:lnTo>
                <a:lnTo>
                  <a:pt x="2128200" y="117082"/>
                </a:lnTo>
                <a:lnTo>
                  <a:pt x="2138863" y="138308"/>
                </a:lnTo>
                <a:lnTo>
                  <a:pt x="2148106" y="161111"/>
                </a:lnTo>
                <a:lnTo>
                  <a:pt x="2156000" y="185450"/>
                </a:lnTo>
                <a:lnTo>
                  <a:pt x="2162615" y="211281"/>
                </a:lnTo>
                <a:lnTo>
                  <a:pt x="2168020" y="238560"/>
                </a:lnTo>
                <a:lnTo>
                  <a:pt x="2172286" y="267247"/>
                </a:lnTo>
                <a:lnTo>
                  <a:pt x="2175482" y="297296"/>
                </a:lnTo>
                <a:lnTo>
                  <a:pt x="2177678" y="328665"/>
                </a:lnTo>
                <a:lnTo>
                  <a:pt x="2178944" y="361313"/>
                </a:lnTo>
                <a:lnTo>
                  <a:pt x="2179350" y="395194"/>
                </a:lnTo>
                <a:lnTo>
                  <a:pt x="2178964" y="429222"/>
                </a:lnTo>
                <a:lnTo>
                  <a:pt x="2177753" y="462014"/>
                </a:lnTo>
                <a:lnTo>
                  <a:pt x="2175642" y="493527"/>
                </a:lnTo>
                <a:lnTo>
                  <a:pt x="2172554" y="523718"/>
                </a:lnTo>
                <a:lnTo>
                  <a:pt x="2168416" y="552542"/>
                </a:lnTo>
                <a:lnTo>
                  <a:pt x="2163149" y="579958"/>
                </a:lnTo>
                <a:lnTo>
                  <a:pt x="2156679" y="605919"/>
                </a:lnTo>
                <a:lnTo>
                  <a:pt x="2148929" y="630385"/>
                </a:lnTo>
                <a:lnTo>
                  <a:pt x="2139823" y="653310"/>
                </a:lnTo>
                <a:lnTo>
                  <a:pt x="2129287" y="674652"/>
                </a:lnTo>
                <a:lnTo>
                  <a:pt x="2117243" y="694366"/>
                </a:lnTo>
                <a:lnTo>
                  <a:pt x="2088331" y="728738"/>
                </a:lnTo>
                <a:lnTo>
                  <a:pt x="2052479" y="756079"/>
                </a:lnTo>
                <a:lnTo>
                  <a:pt x="2031761" y="767003"/>
                </a:lnTo>
                <a:lnTo>
                  <a:pt x="2009081" y="776039"/>
                </a:lnTo>
                <a:lnTo>
                  <a:pt x="1984362" y="783143"/>
                </a:lnTo>
                <a:lnTo>
                  <a:pt x="1957530" y="788271"/>
                </a:lnTo>
                <a:lnTo>
                  <a:pt x="1928507" y="791380"/>
                </a:lnTo>
                <a:lnTo>
                  <a:pt x="1897218" y="792425"/>
                </a:lnTo>
                <a:lnTo>
                  <a:pt x="1897218" y="733350"/>
                </a:lnTo>
                <a:lnTo>
                  <a:pt x="1927532" y="731987"/>
                </a:lnTo>
                <a:lnTo>
                  <a:pt x="1954939" y="727948"/>
                </a:lnTo>
                <a:lnTo>
                  <a:pt x="1979577" y="721304"/>
                </a:lnTo>
                <a:lnTo>
                  <a:pt x="2001585" y="712127"/>
                </a:lnTo>
                <a:lnTo>
                  <a:pt x="2038261" y="686465"/>
                </a:lnTo>
                <a:lnTo>
                  <a:pt x="2066070" y="651538"/>
                </a:lnTo>
                <a:lnTo>
                  <a:pt x="2076995" y="630781"/>
                </a:lnTo>
                <a:lnTo>
                  <a:pt x="2086118" y="607924"/>
                </a:lnTo>
                <a:lnTo>
                  <a:pt x="2093576" y="583039"/>
                </a:lnTo>
                <a:lnTo>
                  <a:pt x="2099508" y="556200"/>
                </a:lnTo>
                <a:lnTo>
                  <a:pt x="2104052" y="527476"/>
                </a:lnTo>
                <a:lnTo>
                  <a:pt x="2107346" y="496942"/>
                </a:lnTo>
                <a:lnTo>
                  <a:pt x="2109528" y="464669"/>
                </a:lnTo>
                <a:lnTo>
                  <a:pt x="2110736" y="430729"/>
                </a:lnTo>
                <a:lnTo>
                  <a:pt x="2111108" y="395194"/>
                </a:lnTo>
                <a:lnTo>
                  <a:pt x="2110716" y="360008"/>
                </a:lnTo>
                <a:lnTo>
                  <a:pt x="2109453" y="326396"/>
                </a:lnTo>
                <a:lnTo>
                  <a:pt x="2107190" y="294429"/>
                </a:lnTo>
                <a:lnTo>
                  <a:pt x="2103794" y="264181"/>
                </a:lnTo>
                <a:lnTo>
                  <a:pt x="2099136" y="235721"/>
                </a:lnTo>
                <a:lnTo>
                  <a:pt x="2093084" y="209125"/>
                </a:lnTo>
                <a:lnTo>
                  <a:pt x="2085509" y="184462"/>
                </a:lnTo>
                <a:lnTo>
                  <a:pt x="2076280" y="161806"/>
                </a:lnTo>
                <a:lnTo>
                  <a:pt x="2065265" y="141229"/>
                </a:lnTo>
                <a:lnTo>
                  <a:pt x="2037359" y="106598"/>
                </a:lnTo>
                <a:lnTo>
                  <a:pt x="2000745" y="81147"/>
                </a:lnTo>
                <a:lnTo>
                  <a:pt x="1978847" y="72045"/>
                </a:lnTo>
                <a:lnTo>
                  <a:pt x="1954380" y="65454"/>
                </a:lnTo>
                <a:lnTo>
                  <a:pt x="1927214" y="61446"/>
                </a:lnTo>
                <a:lnTo>
                  <a:pt x="1897218" y="60094"/>
                </a:lnTo>
                <a:close/>
              </a:path>
            </a:pathLst>
          </a:custGeom>
          <a:solidFill>
            <a:srgbClr val="88C66D"/>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dirty="0"/>
              <a:t>.</a:t>
            </a:r>
          </a:p>
        </p:txBody>
      </p:sp>
      <p:sp>
        <p:nvSpPr>
          <p:cNvPr id="5" name="TextBox 1">
            <a:extLst>
              <a:ext uri="{FF2B5EF4-FFF2-40B4-BE49-F238E27FC236}">
                <a16:creationId xmlns:a16="http://schemas.microsoft.com/office/drawing/2014/main" id="{916E4058-CC2C-B0C0-BF3E-8F17149AAB1C}"/>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ikro grafikken: Klik på Mikro grafikken, klik på Fyldfarve til figur, vælg farve fra Brugerdefinerede farvers anden række. </a:t>
            </a:r>
          </a:p>
        </p:txBody>
      </p:sp>
    </p:spTree>
    <p:extLst>
      <p:ext uri="{BB962C8B-B14F-4D97-AF65-F5344CB8AC3E}">
        <p14:creationId xmlns:p14="http://schemas.microsoft.com/office/powerpoint/2010/main" val="21967480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reaker C">
    <p:bg>
      <p:bgRef idx="1001">
        <a:schemeClr val="bg1"/>
      </p:bgRef>
    </p:bg>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Tx/>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dirty="0"/>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dirty="0"/>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87C710D9-C93F-423E-B535-622B5249ACB1}" type="datetime2">
              <a:rPr lang="da-DK" smtClean="0"/>
              <a:t>11. december 2025</a:t>
            </a:fld>
            <a:endParaRPr lang="da-DK" dirty="0"/>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dirty="0"/>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dirty="0"/>
          </a:p>
        </p:txBody>
      </p:sp>
      <p:sp>
        <p:nvSpPr>
          <p:cNvPr id="31" name="Mikro grafik 1">
            <a:extLst>
              <a:ext uri="{FF2B5EF4-FFF2-40B4-BE49-F238E27FC236}">
                <a16:creationId xmlns:a16="http://schemas.microsoft.com/office/drawing/2014/main" id="{21B31AA2-91AA-1118-DBE5-7EAEED2ADD3A}"/>
              </a:ext>
            </a:extLst>
          </p:cNvPr>
          <p:cNvSpPr>
            <a:spLocks noGrp="1"/>
          </p:cNvSpPr>
          <p:nvPr>
            <p:ph type="body" sz="quarter" idx="18" hasCustomPrompt="1"/>
          </p:nvPr>
        </p:nvSpPr>
        <p:spPr>
          <a:xfrm>
            <a:off x="367396" y="1045688"/>
            <a:ext cx="3833093" cy="3051877"/>
          </a:xfrm>
          <a:custGeom>
            <a:avLst/>
            <a:gdLst>
              <a:gd name="connsiteX0" fmla="*/ 1358848 w 5110790"/>
              <a:gd name="connsiteY0" fmla="*/ 3644032 h 4069169"/>
              <a:gd name="connsiteX1" fmla="*/ 1439826 w 5110790"/>
              <a:gd name="connsiteY1" fmla="*/ 3644032 h 4069169"/>
              <a:gd name="connsiteX2" fmla="*/ 1554208 w 5110790"/>
              <a:gd name="connsiteY2" fmla="*/ 3853564 h 4069169"/>
              <a:gd name="connsiteX3" fmla="*/ 1437802 w 5110790"/>
              <a:gd name="connsiteY3" fmla="*/ 4069169 h 4069169"/>
              <a:gd name="connsiteX4" fmla="*/ 1358848 w 5110790"/>
              <a:gd name="connsiteY4" fmla="*/ 4069169 h 4069169"/>
              <a:gd name="connsiteX5" fmla="*/ 1458047 w 5110790"/>
              <a:gd name="connsiteY5" fmla="*/ 3883931 h 4069169"/>
              <a:gd name="connsiteX6" fmla="*/ 1068338 w 5110790"/>
              <a:gd name="connsiteY6" fmla="*/ 3883931 h 4069169"/>
              <a:gd name="connsiteX7" fmla="*/ 1068338 w 5110790"/>
              <a:gd name="connsiteY7" fmla="*/ 3819148 h 4069169"/>
              <a:gd name="connsiteX8" fmla="*/ 1456022 w 5110790"/>
              <a:gd name="connsiteY8" fmla="*/ 3819148 h 4069169"/>
              <a:gd name="connsiteX9" fmla="*/ 3579243 w 5110790"/>
              <a:gd name="connsiteY9" fmla="*/ 3101476 h 4069169"/>
              <a:gd name="connsiteX10" fmla="*/ 3604850 w 5110790"/>
              <a:gd name="connsiteY10" fmla="*/ 3103707 h 4069169"/>
              <a:gd name="connsiteX11" fmla="*/ 3624668 w 5110790"/>
              <a:gd name="connsiteY11" fmla="*/ 3111725 h 4069169"/>
              <a:gd name="connsiteX12" fmla="*/ 3637463 w 5110790"/>
              <a:gd name="connsiteY12" fmla="*/ 3127526 h 4069169"/>
              <a:gd name="connsiteX13" fmla="*/ 3642002 w 5110790"/>
              <a:gd name="connsiteY13" fmla="*/ 3153100 h 4069169"/>
              <a:gd name="connsiteX14" fmla="*/ 3637463 w 5110790"/>
              <a:gd name="connsiteY14" fmla="*/ 3179845 h 4069169"/>
              <a:gd name="connsiteX15" fmla="*/ 3624668 w 5110790"/>
              <a:gd name="connsiteY15" fmla="*/ 3196247 h 4069169"/>
              <a:gd name="connsiteX16" fmla="*/ 3604850 w 5110790"/>
              <a:gd name="connsiteY16" fmla="*/ 3204487 h 4069169"/>
              <a:gd name="connsiteX17" fmla="*/ 3579243 w 5110790"/>
              <a:gd name="connsiteY17" fmla="*/ 3206749 h 4069169"/>
              <a:gd name="connsiteX18" fmla="*/ 3553637 w 5110790"/>
              <a:gd name="connsiteY18" fmla="*/ 3204487 h 4069169"/>
              <a:gd name="connsiteX19" fmla="*/ 3533820 w 5110790"/>
              <a:gd name="connsiteY19" fmla="*/ 3196247 h 4069169"/>
              <a:gd name="connsiteX20" fmla="*/ 3521024 w 5110790"/>
              <a:gd name="connsiteY20" fmla="*/ 3179845 h 4069169"/>
              <a:gd name="connsiteX21" fmla="*/ 3516485 w 5110790"/>
              <a:gd name="connsiteY21" fmla="*/ 3153100 h 4069169"/>
              <a:gd name="connsiteX22" fmla="*/ 3521166 w 5110790"/>
              <a:gd name="connsiteY22" fmla="*/ 3127526 h 4069169"/>
              <a:gd name="connsiteX23" fmla="*/ 3534199 w 5110790"/>
              <a:gd name="connsiteY23" fmla="*/ 3111725 h 4069169"/>
              <a:gd name="connsiteX24" fmla="*/ 3554064 w 5110790"/>
              <a:gd name="connsiteY24" fmla="*/ 3103707 h 4069169"/>
              <a:gd name="connsiteX25" fmla="*/ 1609095 w 5110790"/>
              <a:gd name="connsiteY25" fmla="*/ 3101476 h 4069169"/>
              <a:gd name="connsiteX26" fmla="*/ 1634701 w 5110790"/>
              <a:gd name="connsiteY26" fmla="*/ 3103707 h 4069169"/>
              <a:gd name="connsiteX27" fmla="*/ 1654519 w 5110790"/>
              <a:gd name="connsiteY27" fmla="*/ 3111725 h 4069169"/>
              <a:gd name="connsiteX28" fmla="*/ 1667313 w 5110790"/>
              <a:gd name="connsiteY28" fmla="*/ 3127526 h 4069169"/>
              <a:gd name="connsiteX29" fmla="*/ 1671852 w 5110790"/>
              <a:gd name="connsiteY29" fmla="*/ 3153100 h 4069169"/>
              <a:gd name="connsiteX30" fmla="*/ 1667313 w 5110790"/>
              <a:gd name="connsiteY30" fmla="*/ 3179845 h 4069169"/>
              <a:gd name="connsiteX31" fmla="*/ 1654519 w 5110790"/>
              <a:gd name="connsiteY31" fmla="*/ 3196247 h 4069169"/>
              <a:gd name="connsiteX32" fmla="*/ 1634701 w 5110790"/>
              <a:gd name="connsiteY32" fmla="*/ 3204487 h 4069169"/>
              <a:gd name="connsiteX33" fmla="*/ 1609095 w 5110790"/>
              <a:gd name="connsiteY33" fmla="*/ 3206749 h 4069169"/>
              <a:gd name="connsiteX34" fmla="*/ 1583490 w 5110790"/>
              <a:gd name="connsiteY34" fmla="*/ 3204487 h 4069169"/>
              <a:gd name="connsiteX35" fmla="*/ 1563672 w 5110790"/>
              <a:gd name="connsiteY35" fmla="*/ 3196247 h 4069169"/>
              <a:gd name="connsiteX36" fmla="*/ 1550877 w 5110790"/>
              <a:gd name="connsiteY36" fmla="*/ 3179845 h 4069169"/>
              <a:gd name="connsiteX37" fmla="*/ 1546338 w 5110790"/>
              <a:gd name="connsiteY37" fmla="*/ 3153100 h 4069169"/>
              <a:gd name="connsiteX38" fmla="*/ 1551020 w 5110790"/>
              <a:gd name="connsiteY38" fmla="*/ 3127526 h 4069169"/>
              <a:gd name="connsiteX39" fmla="*/ 1564052 w 5110790"/>
              <a:gd name="connsiteY39" fmla="*/ 3111725 h 4069169"/>
              <a:gd name="connsiteX40" fmla="*/ 1583917 w 5110790"/>
              <a:gd name="connsiteY40" fmla="*/ 3103707 h 4069169"/>
              <a:gd name="connsiteX41" fmla="*/ 3579243 w 5110790"/>
              <a:gd name="connsiteY41" fmla="*/ 2676340 h 4069169"/>
              <a:gd name="connsiteX42" fmla="*/ 3604850 w 5110790"/>
              <a:gd name="connsiteY42" fmla="*/ 2678443 h 4069169"/>
              <a:gd name="connsiteX43" fmla="*/ 3624668 w 5110790"/>
              <a:gd name="connsiteY43" fmla="*/ 2686335 h 4069169"/>
              <a:gd name="connsiteX44" fmla="*/ 3637463 w 5110790"/>
              <a:gd name="connsiteY44" fmla="*/ 2702388 h 4069169"/>
              <a:gd name="connsiteX45" fmla="*/ 3642002 w 5110790"/>
              <a:gd name="connsiteY45" fmla="*/ 2728976 h 4069169"/>
              <a:gd name="connsiteX46" fmla="*/ 3637463 w 5110790"/>
              <a:gd name="connsiteY46" fmla="*/ 2754708 h 4069169"/>
              <a:gd name="connsiteX47" fmla="*/ 3624668 w 5110790"/>
              <a:gd name="connsiteY47" fmla="*/ 2770857 h 4069169"/>
              <a:gd name="connsiteX48" fmla="*/ 3604850 w 5110790"/>
              <a:gd name="connsiteY48" fmla="*/ 2779223 h 4069169"/>
              <a:gd name="connsiteX49" fmla="*/ 3579243 w 5110790"/>
              <a:gd name="connsiteY49" fmla="*/ 2781612 h 4069169"/>
              <a:gd name="connsiteX50" fmla="*/ 3554223 w 5110790"/>
              <a:gd name="connsiteY50" fmla="*/ 2779223 h 4069169"/>
              <a:gd name="connsiteX51" fmla="*/ 3534706 w 5110790"/>
              <a:gd name="connsiteY51" fmla="*/ 2770857 h 4069169"/>
              <a:gd name="connsiteX52" fmla="*/ 3522021 w 5110790"/>
              <a:gd name="connsiteY52" fmla="*/ 2754708 h 4069169"/>
              <a:gd name="connsiteX53" fmla="*/ 3517498 w 5110790"/>
              <a:gd name="connsiteY53" fmla="*/ 2728976 h 4069169"/>
              <a:gd name="connsiteX54" fmla="*/ 3522021 w 5110790"/>
              <a:gd name="connsiteY54" fmla="*/ 2702388 h 4069169"/>
              <a:gd name="connsiteX55" fmla="*/ 3534706 w 5110790"/>
              <a:gd name="connsiteY55" fmla="*/ 2686335 h 4069169"/>
              <a:gd name="connsiteX56" fmla="*/ 3554223 w 5110790"/>
              <a:gd name="connsiteY56" fmla="*/ 2678443 h 4069169"/>
              <a:gd name="connsiteX57" fmla="*/ 1609095 w 5110790"/>
              <a:gd name="connsiteY57" fmla="*/ 2676340 h 4069169"/>
              <a:gd name="connsiteX58" fmla="*/ 1634701 w 5110790"/>
              <a:gd name="connsiteY58" fmla="*/ 2678443 h 4069169"/>
              <a:gd name="connsiteX59" fmla="*/ 1654519 w 5110790"/>
              <a:gd name="connsiteY59" fmla="*/ 2686335 h 4069169"/>
              <a:gd name="connsiteX60" fmla="*/ 1667313 w 5110790"/>
              <a:gd name="connsiteY60" fmla="*/ 2702388 h 4069169"/>
              <a:gd name="connsiteX61" fmla="*/ 1671852 w 5110790"/>
              <a:gd name="connsiteY61" fmla="*/ 2728976 h 4069169"/>
              <a:gd name="connsiteX62" fmla="*/ 1667313 w 5110790"/>
              <a:gd name="connsiteY62" fmla="*/ 2754708 h 4069169"/>
              <a:gd name="connsiteX63" fmla="*/ 1654519 w 5110790"/>
              <a:gd name="connsiteY63" fmla="*/ 2770857 h 4069169"/>
              <a:gd name="connsiteX64" fmla="*/ 1634701 w 5110790"/>
              <a:gd name="connsiteY64" fmla="*/ 2779223 h 4069169"/>
              <a:gd name="connsiteX65" fmla="*/ 1609095 w 5110790"/>
              <a:gd name="connsiteY65" fmla="*/ 2781612 h 4069169"/>
              <a:gd name="connsiteX66" fmla="*/ 1584075 w 5110790"/>
              <a:gd name="connsiteY66" fmla="*/ 2779223 h 4069169"/>
              <a:gd name="connsiteX67" fmla="*/ 1564558 w 5110790"/>
              <a:gd name="connsiteY67" fmla="*/ 2770857 h 4069169"/>
              <a:gd name="connsiteX68" fmla="*/ 1551873 w 5110790"/>
              <a:gd name="connsiteY68" fmla="*/ 2754708 h 4069169"/>
              <a:gd name="connsiteX69" fmla="*/ 1547350 w 5110790"/>
              <a:gd name="connsiteY69" fmla="*/ 2728976 h 4069169"/>
              <a:gd name="connsiteX70" fmla="*/ 1551873 w 5110790"/>
              <a:gd name="connsiteY70" fmla="*/ 2702388 h 4069169"/>
              <a:gd name="connsiteX71" fmla="*/ 1564558 w 5110790"/>
              <a:gd name="connsiteY71" fmla="*/ 2686335 h 4069169"/>
              <a:gd name="connsiteX72" fmla="*/ 1584075 w 5110790"/>
              <a:gd name="connsiteY72" fmla="*/ 2678443 h 4069169"/>
              <a:gd name="connsiteX73" fmla="*/ 2879125 w 5110790"/>
              <a:gd name="connsiteY73" fmla="*/ 2481992 h 4069169"/>
              <a:gd name="connsiteX74" fmla="*/ 2911305 w 5110790"/>
              <a:gd name="connsiteY74" fmla="*/ 2483129 h 4069169"/>
              <a:gd name="connsiteX75" fmla="*/ 2941090 w 5110790"/>
              <a:gd name="connsiteY75" fmla="*/ 2486511 h 4069169"/>
              <a:gd name="connsiteX76" fmla="*/ 2968561 w 5110790"/>
              <a:gd name="connsiteY76" fmla="*/ 2492087 h 4069169"/>
              <a:gd name="connsiteX77" fmla="*/ 2993799 w 5110790"/>
              <a:gd name="connsiteY77" fmla="*/ 2499807 h 4069169"/>
              <a:gd name="connsiteX78" fmla="*/ 3016884 w 5110790"/>
              <a:gd name="connsiteY78" fmla="*/ 2509622 h 4069169"/>
              <a:gd name="connsiteX79" fmla="*/ 3037896 w 5110790"/>
              <a:gd name="connsiteY79" fmla="*/ 2521483 h 4069169"/>
              <a:gd name="connsiteX80" fmla="*/ 3056916 w 5110790"/>
              <a:gd name="connsiteY80" fmla="*/ 2535342 h 4069169"/>
              <a:gd name="connsiteX81" fmla="*/ 3074024 w 5110790"/>
              <a:gd name="connsiteY81" fmla="*/ 2551147 h 4069169"/>
              <a:gd name="connsiteX82" fmla="*/ 3089302 w 5110790"/>
              <a:gd name="connsiteY82" fmla="*/ 2568850 h 4069169"/>
              <a:gd name="connsiteX83" fmla="*/ 3102829 w 5110790"/>
              <a:gd name="connsiteY83" fmla="*/ 2588403 h 4069169"/>
              <a:gd name="connsiteX84" fmla="*/ 3114685 w 5110790"/>
              <a:gd name="connsiteY84" fmla="*/ 2609754 h 4069169"/>
              <a:gd name="connsiteX85" fmla="*/ 3124952 w 5110790"/>
              <a:gd name="connsiteY85" fmla="*/ 2632854 h 4069169"/>
              <a:gd name="connsiteX86" fmla="*/ 3133709 w 5110790"/>
              <a:gd name="connsiteY86" fmla="*/ 2657656 h 4069169"/>
              <a:gd name="connsiteX87" fmla="*/ 3141039 w 5110790"/>
              <a:gd name="connsiteY87" fmla="*/ 2684109 h 4069169"/>
              <a:gd name="connsiteX88" fmla="*/ 3147019 w 5110790"/>
              <a:gd name="connsiteY88" fmla="*/ 2712163 h 4069169"/>
              <a:gd name="connsiteX89" fmla="*/ 3151732 w 5110790"/>
              <a:gd name="connsiteY89" fmla="*/ 2741770 h 4069169"/>
              <a:gd name="connsiteX90" fmla="*/ 3155257 w 5110790"/>
              <a:gd name="connsiteY90" fmla="*/ 2772881 h 4069169"/>
              <a:gd name="connsiteX91" fmla="*/ 3157675 w 5110790"/>
              <a:gd name="connsiteY91" fmla="*/ 2805445 h 4069169"/>
              <a:gd name="connsiteX92" fmla="*/ 3159067 w 5110790"/>
              <a:gd name="connsiteY92" fmla="*/ 2839413 h 4069169"/>
              <a:gd name="connsiteX93" fmla="*/ 3159514 w 5110790"/>
              <a:gd name="connsiteY93" fmla="*/ 2874737 h 4069169"/>
              <a:gd name="connsiteX94" fmla="*/ 3159089 w 5110790"/>
              <a:gd name="connsiteY94" fmla="*/ 2910212 h 4069169"/>
              <a:gd name="connsiteX95" fmla="*/ 3157757 w 5110790"/>
              <a:gd name="connsiteY95" fmla="*/ 2944332 h 4069169"/>
              <a:gd name="connsiteX96" fmla="*/ 3155431 w 5110790"/>
              <a:gd name="connsiteY96" fmla="*/ 2977045 h 4069169"/>
              <a:gd name="connsiteX97" fmla="*/ 3152023 w 5110790"/>
              <a:gd name="connsiteY97" fmla="*/ 3008303 h 4069169"/>
              <a:gd name="connsiteX98" fmla="*/ 3147446 w 5110790"/>
              <a:gd name="connsiteY98" fmla="*/ 3038054 h 4069169"/>
              <a:gd name="connsiteX99" fmla="*/ 3141612 w 5110790"/>
              <a:gd name="connsiteY99" fmla="*/ 3066249 h 4069169"/>
              <a:gd name="connsiteX100" fmla="*/ 3134435 w 5110790"/>
              <a:gd name="connsiteY100" fmla="*/ 3092837 h 4069169"/>
              <a:gd name="connsiteX101" fmla="*/ 3125826 w 5110790"/>
              <a:gd name="connsiteY101" fmla="*/ 3117770 h 4069169"/>
              <a:gd name="connsiteX102" fmla="*/ 3115700 w 5110790"/>
              <a:gd name="connsiteY102" fmla="*/ 3140995 h 4069169"/>
              <a:gd name="connsiteX103" fmla="*/ 3103967 w 5110790"/>
              <a:gd name="connsiteY103" fmla="*/ 3162464 h 4069169"/>
              <a:gd name="connsiteX104" fmla="*/ 3090542 w 5110790"/>
              <a:gd name="connsiteY104" fmla="*/ 3182126 h 4069169"/>
              <a:gd name="connsiteX105" fmla="*/ 3075336 w 5110790"/>
              <a:gd name="connsiteY105" fmla="*/ 3199931 h 4069169"/>
              <a:gd name="connsiteX106" fmla="*/ 3058263 w 5110790"/>
              <a:gd name="connsiteY106" fmla="*/ 3215828 h 4069169"/>
              <a:gd name="connsiteX107" fmla="*/ 3039235 w 5110790"/>
              <a:gd name="connsiteY107" fmla="*/ 3229769 h 4069169"/>
              <a:gd name="connsiteX108" fmla="*/ 3018165 w 5110790"/>
              <a:gd name="connsiteY108" fmla="*/ 3241703 h 4069169"/>
              <a:gd name="connsiteX109" fmla="*/ 2994965 w 5110790"/>
              <a:gd name="connsiteY109" fmla="*/ 3251579 h 4069169"/>
              <a:gd name="connsiteX110" fmla="*/ 2969548 w 5110790"/>
              <a:gd name="connsiteY110" fmla="*/ 3259347 h 4069169"/>
              <a:gd name="connsiteX111" fmla="*/ 2941828 w 5110790"/>
              <a:gd name="connsiteY111" fmla="*/ 3264959 h 4069169"/>
              <a:gd name="connsiteX112" fmla="*/ 2911716 w 5110790"/>
              <a:gd name="connsiteY112" fmla="*/ 3268362 h 4069169"/>
              <a:gd name="connsiteX113" fmla="*/ 2879125 w 5110790"/>
              <a:gd name="connsiteY113" fmla="*/ 3269508 h 4069169"/>
              <a:gd name="connsiteX114" fmla="*/ 2879125 w 5110790"/>
              <a:gd name="connsiteY114" fmla="*/ 3210798 h 4069169"/>
              <a:gd name="connsiteX115" fmla="*/ 2909252 w 5110790"/>
              <a:gd name="connsiteY115" fmla="*/ 3209444 h 4069169"/>
              <a:gd name="connsiteX116" fmla="*/ 2936490 w 5110790"/>
              <a:gd name="connsiteY116" fmla="*/ 3205429 h 4069169"/>
              <a:gd name="connsiteX117" fmla="*/ 2960977 w 5110790"/>
              <a:gd name="connsiteY117" fmla="*/ 3198827 h 4069169"/>
              <a:gd name="connsiteX118" fmla="*/ 2982849 w 5110790"/>
              <a:gd name="connsiteY118" fmla="*/ 3189707 h 4069169"/>
              <a:gd name="connsiteX119" fmla="*/ 3019298 w 5110790"/>
              <a:gd name="connsiteY119" fmla="*/ 3164203 h 4069169"/>
              <a:gd name="connsiteX120" fmla="*/ 3046935 w 5110790"/>
              <a:gd name="connsiteY120" fmla="*/ 3129493 h 4069169"/>
              <a:gd name="connsiteX121" fmla="*/ 3057792 w 5110790"/>
              <a:gd name="connsiteY121" fmla="*/ 3108864 h 4069169"/>
              <a:gd name="connsiteX122" fmla="*/ 3066859 w 5110790"/>
              <a:gd name="connsiteY122" fmla="*/ 3086149 h 4069169"/>
              <a:gd name="connsiteX123" fmla="*/ 3074271 w 5110790"/>
              <a:gd name="connsiteY123" fmla="*/ 3061419 h 4069169"/>
              <a:gd name="connsiteX124" fmla="*/ 3080167 w 5110790"/>
              <a:gd name="connsiteY124" fmla="*/ 3034745 h 4069169"/>
              <a:gd name="connsiteX125" fmla="*/ 3084682 w 5110790"/>
              <a:gd name="connsiteY125" fmla="*/ 3006199 h 4069169"/>
              <a:gd name="connsiteX126" fmla="*/ 3087956 w 5110790"/>
              <a:gd name="connsiteY126" fmla="*/ 2975855 h 4069169"/>
              <a:gd name="connsiteX127" fmla="*/ 3090124 w 5110790"/>
              <a:gd name="connsiteY127" fmla="*/ 2943781 h 4069169"/>
              <a:gd name="connsiteX128" fmla="*/ 3091324 w 5110790"/>
              <a:gd name="connsiteY128" fmla="*/ 2910051 h 4069169"/>
              <a:gd name="connsiteX129" fmla="*/ 3091694 w 5110790"/>
              <a:gd name="connsiteY129" fmla="*/ 2874737 h 4069169"/>
              <a:gd name="connsiteX130" fmla="*/ 3091305 w 5110790"/>
              <a:gd name="connsiteY130" fmla="*/ 2839769 h 4069169"/>
              <a:gd name="connsiteX131" fmla="*/ 3090050 w 5110790"/>
              <a:gd name="connsiteY131" fmla="*/ 2806365 h 4069169"/>
              <a:gd name="connsiteX132" fmla="*/ 3087800 w 5110790"/>
              <a:gd name="connsiteY132" fmla="*/ 2774596 h 4069169"/>
              <a:gd name="connsiteX133" fmla="*/ 3084425 w 5110790"/>
              <a:gd name="connsiteY133" fmla="*/ 2744535 h 4069169"/>
              <a:gd name="connsiteX134" fmla="*/ 3079795 w 5110790"/>
              <a:gd name="connsiteY134" fmla="*/ 2716252 h 4069169"/>
              <a:gd name="connsiteX135" fmla="*/ 3073782 w 5110790"/>
              <a:gd name="connsiteY135" fmla="*/ 2689820 h 4069169"/>
              <a:gd name="connsiteX136" fmla="*/ 3066253 w 5110790"/>
              <a:gd name="connsiteY136" fmla="*/ 2665311 h 4069169"/>
              <a:gd name="connsiteX137" fmla="*/ 3057081 w 5110790"/>
              <a:gd name="connsiteY137" fmla="*/ 2642795 h 4069169"/>
              <a:gd name="connsiteX138" fmla="*/ 3046134 w 5110790"/>
              <a:gd name="connsiteY138" fmla="*/ 2622345 h 4069169"/>
              <a:gd name="connsiteX139" fmla="*/ 3018400 w 5110790"/>
              <a:gd name="connsiteY139" fmla="*/ 2587929 h 4069169"/>
              <a:gd name="connsiteX140" fmla="*/ 2982013 w 5110790"/>
              <a:gd name="connsiteY140" fmla="*/ 2562635 h 4069169"/>
              <a:gd name="connsiteX141" fmla="*/ 2960250 w 5110790"/>
              <a:gd name="connsiteY141" fmla="*/ 2553590 h 4069169"/>
              <a:gd name="connsiteX142" fmla="*/ 2935934 w 5110790"/>
              <a:gd name="connsiteY142" fmla="*/ 2547039 h 4069169"/>
              <a:gd name="connsiteX143" fmla="*/ 2908936 w 5110790"/>
              <a:gd name="connsiteY143" fmla="*/ 2543056 h 4069169"/>
              <a:gd name="connsiteX144" fmla="*/ 2879125 w 5110790"/>
              <a:gd name="connsiteY144" fmla="*/ 2541713 h 4069169"/>
              <a:gd name="connsiteX145" fmla="*/ 2565698 w 5110790"/>
              <a:gd name="connsiteY145" fmla="*/ 2481992 h 4069169"/>
              <a:gd name="connsiteX146" fmla="*/ 2565698 w 5110790"/>
              <a:gd name="connsiteY146" fmla="*/ 2541713 h 4069169"/>
              <a:gd name="connsiteX147" fmla="*/ 2536056 w 5110790"/>
              <a:gd name="connsiteY147" fmla="*/ 2543056 h 4069169"/>
              <a:gd name="connsiteX148" fmla="*/ 2509206 w 5110790"/>
              <a:gd name="connsiteY148" fmla="*/ 2547039 h 4069169"/>
              <a:gd name="connsiteX149" fmla="*/ 2485020 w 5110790"/>
              <a:gd name="connsiteY149" fmla="*/ 2553590 h 4069169"/>
              <a:gd name="connsiteX150" fmla="*/ 2463369 w 5110790"/>
              <a:gd name="connsiteY150" fmla="*/ 2562635 h 4069169"/>
              <a:gd name="connsiteX151" fmla="*/ 2427161 w 5110790"/>
              <a:gd name="connsiteY151" fmla="*/ 2587929 h 4069169"/>
              <a:gd name="connsiteX152" fmla="*/ 2399551 w 5110790"/>
              <a:gd name="connsiteY152" fmla="*/ 2622345 h 4069169"/>
              <a:gd name="connsiteX153" fmla="*/ 2388649 w 5110790"/>
              <a:gd name="connsiteY153" fmla="*/ 2642795 h 4069169"/>
              <a:gd name="connsiteX154" fmla="*/ 2379511 w 5110790"/>
              <a:gd name="connsiteY154" fmla="*/ 2665311 h 4069169"/>
              <a:gd name="connsiteX155" fmla="*/ 2372009 w 5110790"/>
              <a:gd name="connsiteY155" fmla="*/ 2689820 h 4069169"/>
              <a:gd name="connsiteX156" fmla="*/ 2366014 w 5110790"/>
              <a:gd name="connsiteY156" fmla="*/ 2716252 h 4069169"/>
              <a:gd name="connsiteX157" fmla="*/ 2361397 w 5110790"/>
              <a:gd name="connsiteY157" fmla="*/ 2744535 h 4069169"/>
              <a:gd name="connsiteX158" fmla="*/ 2358029 w 5110790"/>
              <a:gd name="connsiteY158" fmla="*/ 2774596 h 4069169"/>
              <a:gd name="connsiteX159" fmla="*/ 2355783 w 5110790"/>
              <a:gd name="connsiteY159" fmla="*/ 2806365 h 4069169"/>
              <a:gd name="connsiteX160" fmla="*/ 2354530 w 5110790"/>
              <a:gd name="connsiteY160" fmla="*/ 2839769 h 4069169"/>
              <a:gd name="connsiteX161" fmla="*/ 2354141 w 5110790"/>
              <a:gd name="connsiteY161" fmla="*/ 2874737 h 4069169"/>
              <a:gd name="connsiteX162" fmla="*/ 2354520 w 5110790"/>
              <a:gd name="connsiteY162" fmla="*/ 2910051 h 4069169"/>
              <a:gd name="connsiteX163" fmla="*/ 2355746 w 5110790"/>
              <a:gd name="connsiteY163" fmla="*/ 2943781 h 4069169"/>
              <a:gd name="connsiteX164" fmla="*/ 2357952 w 5110790"/>
              <a:gd name="connsiteY164" fmla="*/ 2975855 h 4069169"/>
              <a:gd name="connsiteX165" fmla="*/ 2361268 w 5110790"/>
              <a:gd name="connsiteY165" fmla="*/ 3006199 h 4069169"/>
              <a:gd name="connsiteX166" fmla="*/ 2365828 w 5110790"/>
              <a:gd name="connsiteY166" fmla="*/ 3034745 h 4069169"/>
              <a:gd name="connsiteX167" fmla="*/ 2371764 w 5110790"/>
              <a:gd name="connsiteY167" fmla="*/ 3061419 h 4069169"/>
              <a:gd name="connsiteX168" fmla="*/ 2379208 w 5110790"/>
              <a:gd name="connsiteY168" fmla="*/ 3086149 h 4069169"/>
              <a:gd name="connsiteX169" fmla="*/ 2388293 w 5110790"/>
              <a:gd name="connsiteY169" fmla="*/ 3108864 h 4069169"/>
              <a:gd name="connsiteX170" fmla="*/ 2399150 w 5110790"/>
              <a:gd name="connsiteY170" fmla="*/ 3129493 h 4069169"/>
              <a:gd name="connsiteX171" fmla="*/ 2426712 w 5110790"/>
              <a:gd name="connsiteY171" fmla="*/ 3164203 h 4069169"/>
              <a:gd name="connsiteX172" fmla="*/ 2462952 w 5110790"/>
              <a:gd name="connsiteY172" fmla="*/ 3189707 h 4069169"/>
              <a:gd name="connsiteX173" fmla="*/ 2484656 w 5110790"/>
              <a:gd name="connsiteY173" fmla="*/ 3198827 h 4069169"/>
              <a:gd name="connsiteX174" fmla="*/ 2508928 w 5110790"/>
              <a:gd name="connsiteY174" fmla="*/ 3205429 h 4069169"/>
              <a:gd name="connsiteX175" fmla="*/ 2535898 w 5110790"/>
              <a:gd name="connsiteY175" fmla="*/ 3209444 h 4069169"/>
              <a:gd name="connsiteX176" fmla="*/ 2565698 w 5110790"/>
              <a:gd name="connsiteY176" fmla="*/ 3210798 h 4069169"/>
              <a:gd name="connsiteX177" fmla="*/ 2565698 w 5110790"/>
              <a:gd name="connsiteY177" fmla="*/ 3269508 h 4069169"/>
              <a:gd name="connsiteX178" fmla="*/ 2533244 w 5110790"/>
              <a:gd name="connsiteY178" fmla="*/ 3268362 h 4069169"/>
              <a:gd name="connsiteX179" fmla="*/ 2503241 w 5110790"/>
              <a:gd name="connsiteY179" fmla="*/ 3264959 h 4069169"/>
              <a:gd name="connsiteX180" fmla="*/ 2475603 w 5110790"/>
              <a:gd name="connsiteY180" fmla="*/ 3259347 h 4069169"/>
              <a:gd name="connsiteX181" fmla="*/ 2450247 w 5110790"/>
              <a:gd name="connsiteY181" fmla="*/ 3251579 h 4069169"/>
              <a:gd name="connsiteX182" fmla="*/ 2427085 w 5110790"/>
              <a:gd name="connsiteY182" fmla="*/ 3241703 h 4069169"/>
              <a:gd name="connsiteX183" fmla="*/ 2406034 w 5110790"/>
              <a:gd name="connsiteY183" fmla="*/ 3229769 h 4069169"/>
              <a:gd name="connsiteX184" fmla="*/ 2387009 w 5110790"/>
              <a:gd name="connsiteY184" fmla="*/ 3215828 h 4069169"/>
              <a:gd name="connsiteX185" fmla="*/ 2369924 w 5110790"/>
              <a:gd name="connsiteY185" fmla="*/ 3199931 h 4069169"/>
              <a:gd name="connsiteX186" fmla="*/ 2354694 w 5110790"/>
              <a:gd name="connsiteY186" fmla="*/ 3182126 h 4069169"/>
              <a:gd name="connsiteX187" fmla="*/ 2341235 w 5110790"/>
              <a:gd name="connsiteY187" fmla="*/ 3162464 h 4069169"/>
              <a:gd name="connsiteX188" fmla="*/ 2329461 w 5110790"/>
              <a:gd name="connsiteY188" fmla="*/ 3140995 h 4069169"/>
              <a:gd name="connsiteX189" fmla="*/ 2319288 w 5110790"/>
              <a:gd name="connsiteY189" fmla="*/ 3117770 h 4069169"/>
              <a:gd name="connsiteX190" fmla="*/ 2310630 w 5110790"/>
              <a:gd name="connsiteY190" fmla="*/ 3092837 h 4069169"/>
              <a:gd name="connsiteX191" fmla="*/ 2303402 w 5110790"/>
              <a:gd name="connsiteY191" fmla="*/ 3066249 h 4069169"/>
              <a:gd name="connsiteX192" fmla="*/ 2297519 w 5110790"/>
              <a:gd name="connsiteY192" fmla="*/ 3038054 h 4069169"/>
              <a:gd name="connsiteX193" fmla="*/ 2292897 w 5110790"/>
              <a:gd name="connsiteY193" fmla="*/ 3008303 h 4069169"/>
              <a:gd name="connsiteX194" fmla="*/ 2289449 w 5110790"/>
              <a:gd name="connsiteY194" fmla="*/ 2977045 h 4069169"/>
              <a:gd name="connsiteX195" fmla="*/ 2287092 w 5110790"/>
              <a:gd name="connsiteY195" fmla="*/ 2944332 h 4069169"/>
              <a:gd name="connsiteX196" fmla="*/ 2285740 w 5110790"/>
              <a:gd name="connsiteY196" fmla="*/ 2910212 h 4069169"/>
              <a:gd name="connsiteX197" fmla="*/ 2285309 w 5110790"/>
              <a:gd name="connsiteY197" fmla="*/ 2874737 h 4069169"/>
              <a:gd name="connsiteX198" fmla="*/ 2285755 w 5110790"/>
              <a:gd name="connsiteY198" fmla="*/ 2839413 h 4069169"/>
              <a:gd name="connsiteX199" fmla="*/ 2287147 w 5110790"/>
              <a:gd name="connsiteY199" fmla="*/ 2805445 h 4069169"/>
              <a:gd name="connsiteX200" fmla="*/ 2289566 w 5110790"/>
              <a:gd name="connsiteY200" fmla="*/ 2772881 h 4069169"/>
              <a:gd name="connsiteX201" fmla="*/ 2293091 w 5110790"/>
              <a:gd name="connsiteY201" fmla="*/ 2741770 h 4069169"/>
              <a:gd name="connsiteX202" fmla="*/ 2297804 w 5110790"/>
              <a:gd name="connsiteY202" fmla="*/ 2712163 h 4069169"/>
              <a:gd name="connsiteX203" fmla="*/ 2303784 w 5110790"/>
              <a:gd name="connsiteY203" fmla="*/ 2684109 h 4069169"/>
              <a:gd name="connsiteX204" fmla="*/ 2311113 w 5110790"/>
              <a:gd name="connsiteY204" fmla="*/ 2657656 h 4069169"/>
              <a:gd name="connsiteX205" fmla="*/ 2319870 w 5110790"/>
              <a:gd name="connsiteY205" fmla="*/ 2632854 h 4069169"/>
              <a:gd name="connsiteX206" fmla="*/ 2330137 w 5110790"/>
              <a:gd name="connsiteY206" fmla="*/ 2609754 h 4069169"/>
              <a:gd name="connsiteX207" fmla="*/ 2341994 w 5110790"/>
              <a:gd name="connsiteY207" fmla="*/ 2588403 h 4069169"/>
              <a:gd name="connsiteX208" fmla="*/ 2355521 w 5110790"/>
              <a:gd name="connsiteY208" fmla="*/ 2568850 h 4069169"/>
              <a:gd name="connsiteX209" fmla="*/ 2370798 w 5110790"/>
              <a:gd name="connsiteY209" fmla="*/ 2551147 h 4069169"/>
              <a:gd name="connsiteX210" fmla="*/ 2387907 w 5110790"/>
              <a:gd name="connsiteY210" fmla="*/ 2535342 h 4069169"/>
              <a:gd name="connsiteX211" fmla="*/ 2406927 w 5110790"/>
              <a:gd name="connsiteY211" fmla="*/ 2521483 h 4069169"/>
              <a:gd name="connsiteX212" fmla="*/ 2427939 w 5110790"/>
              <a:gd name="connsiteY212" fmla="*/ 2509622 h 4069169"/>
              <a:gd name="connsiteX213" fmla="*/ 2451024 w 5110790"/>
              <a:gd name="connsiteY213" fmla="*/ 2499807 h 4069169"/>
              <a:gd name="connsiteX214" fmla="*/ 2476262 w 5110790"/>
              <a:gd name="connsiteY214" fmla="*/ 2492087 h 4069169"/>
              <a:gd name="connsiteX215" fmla="*/ 2503733 w 5110790"/>
              <a:gd name="connsiteY215" fmla="*/ 2486511 h 4069169"/>
              <a:gd name="connsiteX216" fmla="*/ 2533518 w 5110790"/>
              <a:gd name="connsiteY216" fmla="*/ 2483129 h 4069169"/>
              <a:gd name="connsiteX217" fmla="*/ 4308476 w 5110790"/>
              <a:gd name="connsiteY217" fmla="*/ 2413668 h 4069169"/>
              <a:gd name="connsiteX218" fmla="*/ 4389455 w 5110790"/>
              <a:gd name="connsiteY218" fmla="*/ 2413668 h 4069169"/>
              <a:gd name="connsiteX219" fmla="*/ 4503836 w 5110790"/>
              <a:gd name="connsiteY219" fmla="*/ 2623200 h 4069169"/>
              <a:gd name="connsiteX220" fmla="*/ 4387430 w 5110790"/>
              <a:gd name="connsiteY220" fmla="*/ 2838804 h 4069169"/>
              <a:gd name="connsiteX221" fmla="*/ 4308476 w 5110790"/>
              <a:gd name="connsiteY221" fmla="*/ 2838804 h 4069169"/>
              <a:gd name="connsiteX222" fmla="*/ 4407674 w 5110790"/>
              <a:gd name="connsiteY222" fmla="*/ 2653567 h 4069169"/>
              <a:gd name="connsiteX223" fmla="*/ 4017966 w 5110790"/>
              <a:gd name="connsiteY223" fmla="*/ 2653567 h 4069169"/>
              <a:gd name="connsiteX224" fmla="*/ 4017966 w 5110790"/>
              <a:gd name="connsiteY224" fmla="*/ 2588784 h 4069169"/>
              <a:gd name="connsiteX225" fmla="*/ 4405650 w 5110790"/>
              <a:gd name="connsiteY225" fmla="*/ 2588784 h 4069169"/>
              <a:gd name="connsiteX226" fmla="*/ 2147951 w 5110790"/>
              <a:gd name="connsiteY226" fmla="*/ 2190467 h 4069169"/>
              <a:gd name="connsiteX227" fmla="*/ 2173557 w 5110790"/>
              <a:gd name="connsiteY227" fmla="*/ 2192697 h 4069169"/>
              <a:gd name="connsiteX228" fmla="*/ 2193375 w 5110790"/>
              <a:gd name="connsiteY228" fmla="*/ 2200715 h 4069169"/>
              <a:gd name="connsiteX229" fmla="*/ 2206169 w 5110790"/>
              <a:gd name="connsiteY229" fmla="*/ 2216516 h 4069169"/>
              <a:gd name="connsiteX230" fmla="*/ 2210708 w 5110790"/>
              <a:gd name="connsiteY230" fmla="*/ 2242090 h 4069169"/>
              <a:gd name="connsiteX231" fmla="*/ 2206169 w 5110790"/>
              <a:gd name="connsiteY231" fmla="*/ 2268835 h 4069169"/>
              <a:gd name="connsiteX232" fmla="*/ 2193375 w 5110790"/>
              <a:gd name="connsiteY232" fmla="*/ 2285237 h 4069169"/>
              <a:gd name="connsiteX233" fmla="*/ 2173557 w 5110790"/>
              <a:gd name="connsiteY233" fmla="*/ 2293477 h 4069169"/>
              <a:gd name="connsiteX234" fmla="*/ 2147951 w 5110790"/>
              <a:gd name="connsiteY234" fmla="*/ 2295739 h 4069169"/>
              <a:gd name="connsiteX235" fmla="*/ 2122345 w 5110790"/>
              <a:gd name="connsiteY235" fmla="*/ 2293477 h 4069169"/>
              <a:gd name="connsiteX236" fmla="*/ 2102527 w 5110790"/>
              <a:gd name="connsiteY236" fmla="*/ 2285237 h 4069169"/>
              <a:gd name="connsiteX237" fmla="*/ 2089732 w 5110790"/>
              <a:gd name="connsiteY237" fmla="*/ 2268835 h 4069169"/>
              <a:gd name="connsiteX238" fmla="*/ 2085193 w 5110790"/>
              <a:gd name="connsiteY238" fmla="*/ 2242090 h 4069169"/>
              <a:gd name="connsiteX239" fmla="*/ 2089874 w 5110790"/>
              <a:gd name="connsiteY239" fmla="*/ 2216516 h 4069169"/>
              <a:gd name="connsiteX240" fmla="*/ 2102907 w 5110790"/>
              <a:gd name="connsiteY240" fmla="*/ 2200715 h 4069169"/>
              <a:gd name="connsiteX241" fmla="*/ 2122772 w 5110790"/>
              <a:gd name="connsiteY241" fmla="*/ 2192697 h 4069169"/>
              <a:gd name="connsiteX242" fmla="*/ 784523 w 5110790"/>
              <a:gd name="connsiteY242" fmla="*/ 2190467 h 4069169"/>
              <a:gd name="connsiteX243" fmla="*/ 810128 w 5110790"/>
              <a:gd name="connsiteY243" fmla="*/ 2192697 h 4069169"/>
              <a:gd name="connsiteX244" fmla="*/ 829946 w 5110790"/>
              <a:gd name="connsiteY244" fmla="*/ 2200715 h 4069169"/>
              <a:gd name="connsiteX245" fmla="*/ 842741 w 5110790"/>
              <a:gd name="connsiteY245" fmla="*/ 2216516 h 4069169"/>
              <a:gd name="connsiteX246" fmla="*/ 847281 w 5110790"/>
              <a:gd name="connsiteY246" fmla="*/ 2242090 h 4069169"/>
              <a:gd name="connsiteX247" fmla="*/ 842741 w 5110790"/>
              <a:gd name="connsiteY247" fmla="*/ 2268835 h 4069169"/>
              <a:gd name="connsiteX248" fmla="*/ 829946 w 5110790"/>
              <a:gd name="connsiteY248" fmla="*/ 2285237 h 4069169"/>
              <a:gd name="connsiteX249" fmla="*/ 810128 w 5110790"/>
              <a:gd name="connsiteY249" fmla="*/ 2293477 h 4069169"/>
              <a:gd name="connsiteX250" fmla="*/ 784523 w 5110790"/>
              <a:gd name="connsiteY250" fmla="*/ 2295739 h 4069169"/>
              <a:gd name="connsiteX251" fmla="*/ 758916 w 5110790"/>
              <a:gd name="connsiteY251" fmla="*/ 2293477 h 4069169"/>
              <a:gd name="connsiteX252" fmla="*/ 739098 w 5110790"/>
              <a:gd name="connsiteY252" fmla="*/ 2285237 h 4069169"/>
              <a:gd name="connsiteX253" fmla="*/ 726304 w 5110790"/>
              <a:gd name="connsiteY253" fmla="*/ 2268835 h 4069169"/>
              <a:gd name="connsiteX254" fmla="*/ 721765 w 5110790"/>
              <a:gd name="connsiteY254" fmla="*/ 2242090 h 4069169"/>
              <a:gd name="connsiteX255" fmla="*/ 726446 w 5110790"/>
              <a:gd name="connsiteY255" fmla="*/ 2216516 h 4069169"/>
              <a:gd name="connsiteX256" fmla="*/ 739479 w 5110790"/>
              <a:gd name="connsiteY256" fmla="*/ 2200715 h 4069169"/>
              <a:gd name="connsiteX257" fmla="*/ 759344 w 5110790"/>
              <a:gd name="connsiteY257" fmla="*/ 2192697 h 4069169"/>
              <a:gd name="connsiteX258" fmla="*/ 62758 w 5110790"/>
              <a:gd name="connsiteY258" fmla="*/ 2190467 h 4069169"/>
              <a:gd name="connsiteX259" fmla="*/ 88364 w 5110790"/>
              <a:gd name="connsiteY259" fmla="*/ 2192697 h 4069169"/>
              <a:gd name="connsiteX260" fmla="*/ 108181 w 5110790"/>
              <a:gd name="connsiteY260" fmla="*/ 2200715 h 4069169"/>
              <a:gd name="connsiteX261" fmla="*/ 120977 w 5110790"/>
              <a:gd name="connsiteY261" fmla="*/ 2216516 h 4069169"/>
              <a:gd name="connsiteX262" fmla="*/ 125516 w 5110790"/>
              <a:gd name="connsiteY262" fmla="*/ 2242090 h 4069169"/>
              <a:gd name="connsiteX263" fmla="*/ 120977 w 5110790"/>
              <a:gd name="connsiteY263" fmla="*/ 2268835 h 4069169"/>
              <a:gd name="connsiteX264" fmla="*/ 108181 w 5110790"/>
              <a:gd name="connsiteY264" fmla="*/ 2285237 h 4069169"/>
              <a:gd name="connsiteX265" fmla="*/ 88364 w 5110790"/>
              <a:gd name="connsiteY265" fmla="*/ 2293477 h 4069169"/>
              <a:gd name="connsiteX266" fmla="*/ 62758 w 5110790"/>
              <a:gd name="connsiteY266" fmla="*/ 2295739 h 4069169"/>
              <a:gd name="connsiteX267" fmla="*/ 37151 w 5110790"/>
              <a:gd name="connsiteY267" fmla="*/ 2293477 h 4069169"/>
              <a:gd name="connsiteX268" fmla="*/ 17334 w 5110790"/>
              <a:gd name="connsiteY268" fmla="*/ 2285237 h 4069169"/>
              <a:gd name="connsiteX269" fmla="*/ 4539 w 5110790"/>
              <a:gd name="connsiteY269" fmla="*/ 2268835 h 4069169"/>
              <a:gd name="connsiteX270" fmla="*/ 0 w 5110790"/>
              <a:gd name="connsiteY270" fmla="*/ 2242090 h 4069169"/>
              <a:gd name="connsiteX271" fmla="*/ 4681 w 5110790"/>
              <a:gd name="connsiteY271" fmla="*/ 2216516 h 4069169"/>
              <a:gd name="connsiteX272" fmla="*/ 17713 w 5110790"/>
              <a:gd name="connsiteY272" fmla="*/ 2200715 h 4069169"/>
              <a:gd name="connsiteX273" fmla="*/ 37578 w 5110790"/>
              <a:gd name="connsiteY273" fmla="*/ 2192697 h 4069169"/>
              <a:gd name="connsiteX274" fmla="*/ 4915430 w 5110790"/>
              <a:gd name="connsiteY274" fmla="*/ 1822022 h 4069169"/>
              <a:gd name="connsiteX275" fmla="*/ 4996408 w 5110790"/>
              <a:gd name="connsiteY275" fmla="*/ 1822022 h 4069169"/>
              <a:gd name="connsiteX276" fmla="*/ 5110790 w 5110790"/>
              <a:gd name="connsiteY276" fmla="*/ 2031553 h 4069169"/>
              <a:gd name="connsiteX277" fmla="*/ 4994384 w 5110790"/>
              <a:gd name="connsiteY277" fmla="*/ 2247158 h 4069169"/>
              <a:gd name="connsiteX278" fmla="*/ 4915430 w 5110790"/>
              <a:gd name="connsiteY278" fmla="*/ 2247158 h 4069169"/>
              <a:gd name="connsiteX279" fmla="*/ 5014628 w 5110790"/>
              <a:gd name="connsiteY279" fmla="*/ 2061920 h 4069169"/>
              <a:gd name="connsiteX280" fmla="*/ 4624920 w 5110790"/>
              <a:gd name="connsiteY280" fmla="*/ 2061920 h 4069169"/>
              <a:gd name="connsiteX281" fmla="*/ 4624920 w 5110790"/>
              <a:gd name="connsiteY281" fmla="*/ 1997137 h 4069169"/>
              <a:gd name="connsiteX282" fmla="*/ 5012604 w 5110790"/>
              <a:gd name="connsiteY282" fmla="*/ 1997137 h 4069169"/>
              <a:gd name="connsiteX283" fmla="*/ 2876800 w 5110790"/>
              <a:gd name="connsiteY283" fmla="*/ 1822016 h 4069169"/>
              <a:gd name="connsiteX284" fmla="*/ 2957778 w 5110790"/>
              <a:gd name="connsiteY284" fmla="*/ 1822016 h 4069169"/>
              <a:gd name="connsiteX285" fmla="*/ 3072160 w 5110790"/>
              <a:gd name="connsiteY285" fmla="*/ 2031547 h 4069169"/>
              <a:gd name="connsiteX286" fmla="*/ 2955754 w 5110790"/>
              <a:gd name="connsiteY286" fmla="*/ 2247152 h 4069169"/>
              <a:gd name="connsiteX287" fmla="*/ 2876800 w 5110790"/>
              <a:gd name="connsiteY287" fmla="*/ 2247152 h 4069169"/>
              <a:gd name="connsiteX288" fmla="*/ 2975998 w 5110790"/>
              <a:gd name="connsiteY288" fmla="*/ 2061915 h 4069169"/>
              <a:gd name="connsiteX289" fmla="*/ 2586290 w 5110790"/>
              <a:gd name="connsiteY289" fmla="*/ 2061915 h 4069169"/>
              <a:gd name="connsiteX290" fmla="*/ 2586290 w 5110790"/>
              <a:gd name="connsiteY290" fmla="*/ 1997132 h 4069169"/>
              <a:gd name="connsiteX291" fmla="*/ 2973974 w 5110790"/>
              <a:gd name="connsiteY291" fmla="*/ 1997132 h 4069169"/>
              <a:gd name="connsiteX292" fmla="*/ 1513768 w 5110790"/>
              <a:gd name="connsiteY292" fmla="*/ 1822016 h 4069169"/>
              <a:gd name="connsiteX293" fmla="*/ 1594748 w 5110790"/>
              <a:gd name="connsiteY293" fmla="*/ 1822016 h 4069169"/>
              <a:gd name="connsiteX294" fmla="*/ 1709128 w 5110790"/>
              <a:gd name="connsiteY294" fmla="*/ 2031547 h 4069169"/>
              <a:gd name="connsiteX295" fmla="*/ 1592723 w 5110790"/>
              <a:gd name="connsiteY295" fmla="*/ 2247152 h 4069169"/>
              <a:gd name="connsiteX296" fmla="*/ 1513768 w 5110790"/>
              <a:gd name="connsiteY296" fmla="*/ 2247152 h 4069169"/>
              <a:gd name="connsiteX297" fmla="*/ 1612966 w 5110790"/>
              <a:gd name="connsiteY297" fmla="*/ 2061915 h 4069169"/>
              <a:gd name="connsiteX298" fmla="*/ 1223259 w 5110790"/>
              <a:gd name="connsiteY298" fmla="*/ 2061915 h 4069169"/>
              <a:gd name="connsiteX299" fmla="*/ 1223259 w 5110790"/>
              <a:gd name="connsiteY299" fmla="*/ 1997132 h 4069169"/>
              <a:gd name="connsiteX300" fmla="*/ 1610942 w 5110790"/>
              <a:gd name="connsiteY300" fmla="*/ 1997132 h 4069169"/>
              <a:gd name="connsiteX301" fmla="*/ 2147951 w 5110790"/>
              <a:gd name="connsiteY301" fmla="*/ 1765330 h 4069169"/>
              <a:gd name="connsiteX302" fmla="*/ 2173557 w 5110790"/>
              <a:gd name="connsiteY302" fmla="*/ 1767433 h 4069169"/>
              <a:gd name="connsiteX303" fmla="*/ 2193375 w 5110790"/>
              <a:gd name="connsiteY303" fmla="*/ 1775325 h 4069169"/>
              <a:gd name="connsiteX304" fmla="*/ 2206169 w 5110790"/>
              <a:gd name="connsiteY304" fmla="*/ 1791378 h 4069169"/>
              <a:gd name="connsiteX305" fmla="*/ 2210708 w 5110790"/>
              <a:gd name="connsiteY305" fmla="*/ 1817966 h 4069169"/>
              <a:gd name="connsiteX306" fmla="*/ 2206169 w 5110790"/>
              <a:gd name="connsiteY306" fmla="*/ 1843698 h 4069169"/>
              <a:gd name="connsiteX307" fmla="*/ 2193375 w 5110790"/>
              <a:gd name="connsiteY307" fmla="*/ 1859846 h 4069169"/>
              <a:gd name="connsiteX308" fmla="*/ 2173557 w 5110790"/>
              <a:gd name="connsiteY308" fmla="*/ 1868213 h 4069169"/>
              <a:gd name="connsiteX309" fmla="*/ 2147951 w 5110790"/>
              <a:gd name="connsiteY309" fmla="*/ 1870601 h 4069169"/>
              <a:gd name="connsiteX310" fmla="*/ 2122930 w 5110790"/>
              <a:gd name="connsiteY310" fmla="*/ 1868213 h 4069169"/>
              <a:gd name="connsiteX311" fmla="*/ 2103413 w 5110790"/>
              <a:gd name="connsiteY311" fmla="*/ 1859846 h 4069169"/>
              <a:gd name="connsiteX312" fmla="*/ 2090728 w 5110790"/>
              <a:gd name="connsiteY312" fmla="*/ 1843698 h 4069169"/>
              <a:gd name="connsiteX313" fmla="*/ 2086205 w 5110790"/>
              <a:gd name="connsiteY313" fmla="*/ 1817966 h 4069169"/>
              <a:gd name="connsiteX314" fmla="*/ 2090728 w 5110790"/>
              <a:gd name="connsiteY314" fmla="*/ 1791378 h 4069169"/>
              <a:gd name="connsiteX315" fmla="*/ 2103413 w 5110790"/>
              <a:gd name="connsiteY315" fmla="*/ 1775325 h 4069169"/>
              <a:gd name="connsiteX316" fmla="*/ 2122930 w 5110790"/>
              <a:gd name="connsiteY316" fmla="*/ 1767433 h 4069169"/>
              <a:gd name="connsiteX317" fmla="*/ 784523 w 5110790"/>
              <a:gd name="connsiteY317" fmla="*/ 1765330 h 4069169"/>
              <a:gd name="connsiteX318" fmla="*/ 810128 w 5110790"/>
              <a:gd name="connsiteY318" fmla="*/ 1767433 h 4069169"/>
              <a:gd name="connsiteX319" fmla="*/ 829946 w 5110790"/>
              <a:gd name="connsiteY319" fmla="*/ 1775325 h 4069169"/>
              <a:gd name="connsiteX320" fmla="*/ 842741 w 5110790"/>
              <a:gd name="connsiteY320" fmla="*/ 1791378 h 4069169"/>
              <a:gd name="connsiteX321" fmla="*/ 847281 w 5110790"/>
              <a:gd name="connsiteY321" fmla="*/ 1817966 h 4069169"/>
              <a:gd name="connsiteX322" fmla="*/ 842741 w 5110790"/>
              <a:gd name="connsiteY322" fmla="*/ 1843698 h 4069169"/>
              <a:gd name="connsiteX323" fmla="*/ 829946 w 5110790"/>
              <a:gd name="connsiteY323" fmla="*/ 1859846 h 4069169"/>
              <a:gd name="connsiteX324" fmla="*/ 810128 w 5110790"/>
              <a:gd name="connsiteY324" fmla="*/ 1868213 h 4069169"/>
              <a:gd name="connsiteX325" fmla="*/ 784523 w 5110790"/>
              <a:gd name="connsiteY325" fmla="*/ 1870601 h 4069169"/>
              <a:gd name="connsiteX326" fmla="*/ 759502 w 5110790"/>
              <a:gd name="connsiteY326" fmla="*/ 1868213 h 4069169"/>
              <a:gd name="connsiteX327" fmla="*/ 739984 w 5110790"/>
              <a:gd name="connsiteY327" fmla="*/ 1859846 h 4069169"/>
              <a:gd name="connsiteX328" fmla="*/ 727300 w 5110790"/>
              <a:gd name="connsiteY328" fmla="*/ 1843698 h 4069169"/>
              <a:gd name="connsiteX329" fmla="*/ 722777 w 5110790"/>
              <a:gd name="connsiteY329" fmla="*/ 1817966 h 4069169"/>
              <a:gd name="connsiteX330" fmla="*/ 727300 w 5110790"/>
              <a:gd name="connsiteY330" fmla="*/ 1791378 h 4069169"/>
              <a:gd name="connsiteX331" fmla="*/ 739984 w 5110790"/>
              <a:gd name="connsiteY331" fmla="*/ 1775325 h 4069169"/>
              <a:gd name="connsiteX332" fmla="*/ 759502 w 5110790"/>
              <a:gd name="connsiteY332" fmla="*/ 1767433 h 4069169"/>
              <a:gd name="connsiteX333" fmla="*/ 62758 w 5110790"/>
              <a:gd name="connsiteY333" fmla="*/ 1765330 h 4069169"/>
              <a:gd name="connsiteX334" fmla="*/ 88364 w 5110790"/>
              <a:gd name="connsiteY334" fmla="*/ 1767433 h 4069169"/>
              <a:gd name="connsiteX335" fmla="*/ 108181 w 5110790"/>
              <a:gd name="connsiteY335" fmla="*/ 1775325 h 4069169"/>
              <a:gd name="connsiteX336" fmla="*/ 120977 w 5110790"/>
              <a:gd name="connsiteY336" fmla="*/ 1791378 h 4069169"/>
              <a:gd name="connsiteX337" fmla="*/ 125516 w 5110790"/>
              <a:gd name="connsiteY337" fmla="*/ 1817966 h 4069169"/>
              <a:gd name="connsiteX338" fmla="*/ 120977 w 5110790"/>
              <a:gd name="connsiteY338" fmla="*/ 1843698 h 4069169"/>
              <a:gd name="connsiteX339" fmla="*/ 108181 w 5110790"/>
              <a:gd name="connsiteY339" fmla="*/ 1859846 h 4069169"/>
              <a:gd name="connsiteX340" fmla="*/ 88364 w 5110790"/>
              <a:gd name="connsiteY340" fmla="*/ 1868213 h 4069169"/>
              <a:gd name="connsiteX341" fmla="*/ 62758 w 5110790"/>
              <a:gd name="connsiteY341" fmla="*/ 1870601 h 4069169"/>
              <a:gd name="connsiteX342" fmla="*/ 37736 w 5110790"/>
              <a:gd name="connsiteY342" fmla="*/ 1868213 h 4069169"/>
              <a:gd name="connsiteX343" fmla="*/ 18219 w 5110790"/>
              <a:gd name="connsiteY343" fmla="*/ 1859846 h 4069169"/>
              <a:gd name="connsiteX344" fmla="*/ 5535 w 5110790"/>
              <a:gd name="connsiteY344" fmla="*/ 1843698 h 4069169"/>
              <a:gd name="connsiteX345" fmla="*/ 1012 w 5110790"/>
              <a:gd name="connsiteY345" fmla="*/ 1817966 h 4069169"/>
              <a:gd name="connsiteX346" fmla="*/ 5535 w 5110790"/>
              <a:gd name="connsiteY346" fmla="*/ 1791378 h 4069169"/>
              <a:gd name="connsiteX347" fmla="*/ 18219 w 5110790"/>
              <a:gd name="connsiteY347" fmla="*/ 1775325 h 4069169"/>
              <a:gd name="connsiteX348" fmla="*/ 37736 w 5110790"/>
              <a:gd name="connsiteY348" fmla="*/ 1767433 h 4069169"/>
              <a:gd name="connsiteX349" fmla="*/ 3434660 w 5110790"/>
              <a:gd name="connsiteY349" fmla="*/ 1570981 h 4069169"/>
              <a:gd name="connsiteX350" fmla="*/ 3466840 w 5110790"/>
              <a:gd name="connsiteY350" fmla="*/ 1572118 h 4069169"/>
              <a:gd name="connsiteX351" fmla="*/ 3496625 w 5110790"/>
              <a:gd name="connsiteY351" fmla="*/ 1575500 h 4069169"/>
              <a:gd name="connsiteX352" fmla="*/ 3524096 w 5110790"/>
              <a:gd name="connsiteY352" fmla="*/ 1581076 h 4069169"/>
              <a:gd name="connsiteX353" fmla="*/ 3549334 w 5110790"/>
              <a:gd name="connsiteY353" fmla="*/ 1588796 h 4069169"/>
              <a:gd name="connsiteX354" fmla="*/ 3572418 w 5110790"/>
              <a:gd name="connsiteY354" fmla="*/ 1598611 h 4069169"/>
              <a:gd name="connsiteX355" fmla="*/ 3593431 w 5110790"/>
              <a:gd name="connsiteY355" fmla="*/ 1610473 h 4069169"/>
              <a:gd name="connsiteX356" fmla="*/ 3612450 w 5110790"/>
              <a:gd name="connsiteY356" fmla="*/ 1624331 h 4069169"/>
              <a:gd name="connsiteX357" fmla="*/ 3629559 w 5110790"/>
              <a:gd name="connsiteY357" fmla="*/ 1640136 h 4069169"/>
              <a:gd name="connsiteX358" fmla="*/ 3644837 w 5110790"/>
              <a:gd name="connsiteY358" fmla="*/ 1657839 h 4069169"/>
              <a:gd name="connsiteX359" fmla="*/ 3658363 w 5110790"/>
              <a:gd name="connsiteY359" fmla="*/ 1677391 h 4069169"/>
              <a:gd name="connsiteX360" fmla="*/ 3670219 w 5110790"/>
              <a:gd name="connsiteY360" fmla="*/ 1698743 h 4069169"/>
              <a:gd name="connsiteX361" fmla="*/ 3680486 w 5110790"/>
              <a:gd name="connsiteY361" fmla="*/ 1721844 h 4069169"/>
              <a:gd name="connsiteX362" fmla="*/ 3689244 w 5110790"/>
              <a:gd name="connsiteY362" fmla="*/ 1746646 h 4069169"/>
              <a:gd name="connsiteX363" fmla="*/ 3696573 w 5110790"/>
              <a:gd name="connsiteY363" fmla="*/ 1773098 h 4069169"/>
              <a:gd name="connsiteX364" fmla="*/ 3702553 w 5110790"/>
              <a:gd name="connsiteY364" fmla="*/ 1801152 h 4069169"/>
              <a:gd name="connsiteX365" fmla="*/ 3707266 w 5110790"/>
              <a:gd name="connsiteY365" fmla="*/ 1830760 h 4069169"/>
              <a:gd name="connsiteX366" fmla="*/ 3710792 w 5110790"/>
              <a:gd name="connsiteY366" fmla="*/ 1861870 h 4069169"/>
              <a:gd name="connsiteX367" fmla="*/ 3713210 w 5110790"/>
              <a:gd name="connsiteY367" fmla="*/ 1894434 h 4069169"/>
              <a:gd name="connsiteX368" fmla="*/ 3714602 w 5110790"/>
              <a:gd name="connsiteY368" fmla="*/ 1928402 h 4069169"/>
              <a:gd name="connsiteX369" fmla="*/ 3715048 w 5110790"/>
              <a:gd name="connsiteY369" fmla="*/ 1963726 h 4069169"/>
              <a:gd name="connsiteX370" fmla="*/ 3714624 w 5110790"/>
              <a:gd name="connsiteY370" fmla="*/ 1999201 h 4069169"/>
              <a:gd name="connsiteX371" fmla="*/ 3713292 w 5110790"/>
              <a:gd name="connsiteY371" fmla="*/ 2033321 h 4069169"/>
              <a:gd name="connsiteX372" fmla="*/ 3710966 w 5110790"/>
              <a:gd name="connsiteY372" fmla="*/ 2066034 h 4069169"/>
              <a:gd name="connsiteX373" fmla="*/ 3707557 w 5110790"/>
              <a:gd name="connsiteY373" fmla="*/ 2097292 h 4069169"/>
              <a:gd name="connsiteX374" fmla="*/ 3702980 w 5110790"/>
              <a:gd name="connsiteY374" fmla="*/ 2127043 h 4069169"/>
              <a:gd name="connsiteX375" fmla="*/ 3697147 w 5110790"/>
              <a:gd name="connsiteY375" fmla="*/ 2155238 h 4069169"/>
              <a:gd name="connsiteX376" fmla="*/ 3689969 w 5110790"/>
              <a:gd name="connsiteY376" fmla="*/ 2181827 h 4069169"/>
              <a:gd name="connsiteX377" fmla="*/ 3681361 w 5110790"/>
              <a:gd name="connsiteY377" fmla="*/ 2206759 h 4069169"/>
              <a:gd name="connsiteX378" fmla="*/ 3671234 w 5110790"/>
              <a:gd name="connsiteY378" fmla="*/ 2229984 h 4069169"/>
              <a:gd name="connsiteX379" fmla="*/ 3659502 w 5110790"/>
              <a:gd name="connsiteY379" fmla="*/ 2251453 h 4069169"/>
              <a:gd name="connsiteX380" fmla="*/ 3646077 w 5110790"/>
              <a:gd name="connsiteY380" fmla="*/ 2271115 h 4069169"/>
              <a:gd name="connsiteX381" fmla="*/ 3630871 w 5110790"/>
              <a:gd name="connsiteY381" fmla="*/ 2288919 h 4069169"/>
              <a:gd name="connsiteX382" fmla="*/ 3613798 w 5110790"/>
              <a:gd name="connsiteY382" fmla="*/ 2304817 h 4069169"/>
              <a:gd name="connsiteX383" fmla="*/ 3594769 w 5110790"/>
              <a:gd name="connsiteY383" fmla="*/ 2318758 h 4069169"/>
              <a:gd name="connsiteX384" fmla="*/ 3573700 w 5110790"/>
              <a:gd name="connsiteY384" fmla="*/ 2330691 h 4069169"/>
              <a:gd name="connsiteX385" fmla="*/ 3550500 w 5110790"/>
              <a:gd name="connsiteY385" fmla="*/ 2340567 h 4069169"/>
              <a:gd name="connsiteX386" fmla="*/ 3525083 w 5110790"/>
              <a:gd name="connsiteY386" fmla="*/ 2348336 h 4069169"/>
              <a:gd name="connsiteX387" fmla="*/ 3497363 w 5110790"/>
              <a:gd name="connsiteY387" fmla="*/ 2353947 h 4069169"/>
              <a:gd name="connsiteX388" fmla="*/ 3467251 w 5110790"/>
              <a:gd name="connsiteY388" fmla="*/ 2357351 h 4069169"/>
              <a:gd name="connsiteX389" fmla="*/ 3434660 w 5110790"/>
              <a:gd name="connsiteY389" fmla="*/ 2358496 h 4069169"/>
              <a:gd name="connsiteX390" fmla="*/ 3434660 w 5110790"/>
              <a:gd name="connsiteY390" fmla="*/ 2299787 h 4069169"/>
              <a:gd name="connsiteX391" fmla="*/ 3464787 w 5110790"/>
              <a:gd name="connsiteY391" fmla="*/ 2298433 h 4069169"/>
              <a:gd name="connsiteX392" fmla="*/ 3492025 w 5110790"/>
              <a:gd name="connsiteY392" fmla="*/ 2294418 h 4069169"/>
              <a:gd name="connsiteX393" fmla="*/ 3516511 w 5110790"/>
              <a:gd name="connsiteY393" fmla="*/ 2287816 h 4069169"/>
              <a:gd name="connsiteX394" fmla="*/ 3538383 w 5110790"/>
              <a:gd name="connsiteY394" fmla="*/ 2278696 h 4069169"/>
              <a:gd name="connsiteX395" fmla="*/ 3574832 w 5110790"/>
              <a:gd name="connsiteY395" fmla="*/ 2253193 h 4069169"/>
              <a:gd name="connsiteX396" fmla="*/ 3602470 w 5110790"/>
              <a:gd name="connsiteY396" fmla="*/ 2218482 h 4069169"/>
              <a:gd name="connsiteX397" fmla="*/ 3613327 w 5110790"/>
              <a:gd name="connsiteY397" fmla="*/ 2197853 h 4069169"/>
              <a:gd name="connsiteX398" fmla="*/ 3622393 w 5110790"/>
              <a:gd name="connsiteY398" fmla="*/ 2175138 h 4069169"/>
              <a:gd name="connsiteX399" fmla="*/ 3629805 w 5110790"/>
              <a:gd name="connsiteY399" fmla="*/ 2150408 h 4069169"/>
              <a:gd name="connsiteX400" fmla="*/ 3635701 w 5110790"/>
              <a:gd name="connsiteY400" fmla="*/ 2123734 h 4069169"/>
              <a:gd name="connsiteX401" fmla="*/ 3640217 w 5110790"/>
              <a:gd name="connsiteY401" fmla="*/ 2095189 h 4069169"/>
              <a:gd name="connsiteX402" fmla="*/ 3643490 w 5110790"/>
              <a:gd name="connsiteY402" fmla="*/ 2064844 h 4069169"/>
              <a:gd name="connsiteX403" fmla="*/ 3645659 w 5110790"/>
              <a:gd name="connsiteY403" fmla="*/ 2032771 h 4069169"/>
              <a:gd name="connsiteX404" fmla="*/ 3646859 w 5110790"/>
              <a:gd name="connsiteY404" fmla="*/ 1999041 h 4069169"/>
              <a:gd name="connsiteX405" fmla="*/ 3647229 w 5110790"/>
              <a:gd name="connsiteY405" fmla="*/ 1963726 h 4069169"/>
              <a:gd name="connsiteX406" fmla="*/ 3646839 w 5110790"/>
              <a:gd name="connsiteY406" fmla="*/ 1928758 h 4069169"/>
              <a:gd name="connsiteX407" fmla="*/ 3645584 w 5110790"/>
              <a:gd name="connsiteY407" fmla="*/ 1895355 h 4069169"/>
              <a:gd name="connsiteX408" fmla="*/ 3643335 w 5110790"/>
              <a:gd name="connsiteY408" fmla="*/ 1863586 h 4069169"/>
              <a:gd name="connsiteX409" fmla="*/ 3639960 w 5110790"/>
              <a:gd name="connsiteY409" fmla="*/ 1833525 h 4069169"/>
              <a:gd name="connsiteX410" fmla="*/ 3635330 w 5110790"/>
              <a:gd name="connsiteY410" fmla="*/ 1805242 h 4069169"/>
              <a:gd name="connsiteX411" fmla="*/ 3629316 w 5110790"/>
              <a:gd name="connsiteY411" fmla="*/ 1778810 h 4069169"/>
              <a:gd name="connsiteX412" fmla="*/ 3621788 w 5110790"/>
              <a:gd name="connsiteY412" fmla="*/ 1754300 h 4069169"/>
              <a:gd name="connsiteX413" fmla="*/ 3612615 w 5110790"/>
              <a:gd name="connsiteY413" fmla="*/ 1731785 h 4069169"/>
              <a:gd name="connsiteX414" fmla="*/ 3601669 w 5110790"/>
              <a:gd name="connsiteY414" fmla="*/ 1711335 h 4069169"/>
              <a:gd name="connsiteX415" fmla="*/ 3573935 w 5110790"/>
              <a:gd name="connsiteY415" fmla="*/ 1676919 h 4069169"/>
              <a:gd name="connsiteX416" fmla="*/ 3537548 w 5110790"/>
              <a:gd name="connsiteY416" fmla="*/ 1651625 h 4069169"/>
              <a:gd name="connsiteX417" fmla="*/ 3515784 w 5110790"/>
              <a:gd name="connsiteY417" fmla="*/ 1642579 h 4069169"/>
              <a:gd name="connsiteX418" fmla="*/ 3491469 w 5110790"/>
              <a:gd name="connsiteY418" fmla="*/ 1636029 h 4069169"/>
              <a:gd name="connsiteX419" fmla="*/ 3464471 w 5110790"/>
              <a:gd name="connsiteY419" fmla="*/ 1632046 h 4069169"/>
              <a:gd name="connsiteX420" fmla="*/ 3434660 w 5110790"/>
              <a:gd name="connsiteY420" fmla="*/ 1630702 h 4069169"/>
              <a:gd name="connsiteX421" fmla="*/ 3579243 w 5110790"/>
              <a:gd name="connsiteY421" fmla="*/ 1279461 h 4069169"/>
              <a:gd name="connsiteX422" fmla="*/ 3604850 w 5110790"/>
              <a:gd name="connsiteY422" fmla="*/ 1281691 h 4069169"/>
              <a:gd name="connsiteX423" fmla="*/ 3624668 w 5110790"/>
              <a:gd name="connsiteY423" fmla="*/ 1289709 h 4069169"/>
              <a:gd name="connsiteX424" fmla="*/ 3637463 w 5110790"/>
              <a:gd name="connsiteY424" fmla="*/ 1305510 h 4069169"/>
              <a:gd name="connsiteX425" fmla="*/ 3642002 w 5110790"/>
              <a:gd name="connsiteY425" fmla="*/ 1331085 h 4069169"/>
              <a:gd name="connsiteX426" fmla="*/ 3637463 w 5110790"/>
              <a:gd name="connsiteY426" fmla="*/ 1357829 h 4069169"/>
              <a:gd name="connsiteX427" fmla="*/ 3624668 w 5110790"/>
              <a:gd name="connsiteY427" fmla="*/ 1374231 h 4069169"/>
              <a:gd name="connsiteX428" fmla="*/ 3604850 w 5110790"/>
              <a:gd name="connsiteY428" fmla="*/ 1382471 h 4069169"/>
              <a:gd name="connsiteX429" fmla="*/ 3579243 w 5110790"/>
              <a:gd name="connsiteY429" fmla="*/ 1384733 h 4069169"/>
              <a:gd name="connsiteX430" fmla="*/ 3553637 w 5110790"/>
              <a:gd name="connsiteY430" fmla="*/ 1382471 h 4069169"/>
              <a:gd name="connsiteX431" fmla="*/ 3533820 w 5110790"/>
              <a:gd name="connsiteY431" fmla="*/ 1374231 h 4069169"/>
              <a:gd name="connsiteX432" fmla="*/ 3521024 w 5110790"/>
              <a:gd name="connsiteY432" fmla="*/ 1357829 h 4069169"/>
              <a:gd name="connsiteX433" fmla="*/ 3516485 w 5110790"/>
              <a:gd name="connsiteY433" fmla="*/ 1331085 h 4069169"/>
              <a:gd name="connsiteX434" fmla="*/ 3521166 w 5110790"/>
              <a:gd name="connsiteY434" fmla="*/ 1305510 h 4069169"/>
              <a:gd name="connsiteX435" fmla="*/ 3534199 w 5110790"/>
              <a:gd name="connsiteY435" fmla="*/ 1289709 h 4069169"/>
              <a:gd name="connsiteX436" fmla="*/ 3554064 w 5110790"/>
              <a:gd name="connsiteY436" fmla="*/ 1281691 h 4069169"/>
              <a:gd name="connsiteX437" fmla="*/ 1609095 w 5110790"/>
              <a:gd name="connsiteY437" fmla="*/ 1279455 h 4069169"/>
              <a:gd name="connsiteX438" fmla="*/ 1634701 w 5110790"/>
              <a:gd name="connsiteY438" fmla="*/ 1281685 h 4069169"/>
              <a:gd name="connsiteX439" fmla="*/ 1654519 w 5110790"/>
              <a:gd name="connsiteY439" fmla="*/ 1289703 h 4069169"/>
              <a:gd name="connsiteX440" fmla="*/ 1667313 w 5110790"/>
              <a:gd name="connsiteY440" fmla="*/ 1305504 h 4069169"/>
              <a:gd name="connsiteX441" fmla="*/ 1671852 w 5110790"/>
              <a:gd name="connsiteY441" fmla="*/ 1331078 h 4069169"/>
              <a:gd name="connsiteX442" fmla="*/ 1667313 w 5110790"/>
              <a:gd name="connsiteY442" fmla="*/ 1357823 h 4069169"/>
              <a:gd name="connsiteX443" fmla="*/ 1654519 w 5110790"/>
              <a:gd name="connsiteY443" fmla="*/ 1374224 h 4069169"/>
              <a:gd name="connsiteX444" fmla="*/ 1634701 w 5110790"/>
              <a:gd name="connsiteY444" fmla="*/ 1382465 h 4069169"/>
              <a:gd name="connsiteX445" fmla="*/ 1609095 w 5110790"/>
              <a:gd name="connsiteY445" fmla="*/ 1384726 h 4069169"/>
              <a:gd name="connsiteX446" fmla="*/ 1583489 w 5110790"/>
              <a:gd name="connsiteY446" fmla="*/ 1382465 h 4069169"/>
              <a:gd name="connsiteX447" fmla="*/ 1563671 w 5110790"/>
              <a:gd name="connsiteY447" fmla="*/ 1374224 h 4069169"/>
              <a:gd name="connsiteX448" fmla="*/ 1550877 w 5110790"/>
              <a:gd name="connsiteY448" fmla="*/ 1357823 h 4069169"/>
              <a:gd name="connsiteX449" fmla="*/ 1546337 w 5110790"/>
              <a:gd name="connsiteY449" fmla="*/ 1331078 h 4069169"/>
              <a:gd name="connsiteX450" fmla="*/ 1551018 w 5110790"/>
              <a:gd name="connsiteY450" fmla="*/ 1305504 h 4069169"/>
              <a:gd name="connsiteX451" fmla="*/ 1564051 w 5110790"/>
              <a:gd name="connsiteY451" fmla="*/ 1289703 h 4069169"/>
              <a:gd name="connsiteX452" fmla="*/ 1583916 w 5110790"/>
              <a:gd name="connsiteY452" fmla="*/ 1281685 h 4069169"/>
              <a:gd name="connsiteX453" fmla="*/ 4308476 w 5110790"/>
              <a:gd name="connsiteY453" fmla="*/ 1229360 h 4069169"/>
              <a:gd name="connsiteX454" fmla="*/ 4389455 w 5110790"/>
              <a:gd name="connsiteY454" fmla="*/ 1229360 h 4069169"/>
              <a:gd name="connsiteX455" fmla="*/ 4503836 w 5110790"/>
              <a:gd name="connsiteY455" fmla="*/ 1438891 h 4069169"/>
              <a:gd name="connsiteX456" fmla="*/ 4387430 w 5110790"/>
              <a:gd name="connsiteY456" fmla="*/ 1654496 h 4069169"/>
              <a:gd name="connsiteX457" fmla="*/ 4308476 w 5110790"/>
              <a:gd name="connsiteY457" fmla="*/ 1654496 h 4069169"/>
              <a:gd name="connsiteX458" fmla="*/ 4407674 w 5110790"/>
              <a:gd name="connsiteY458" fmla="*/ 1469259 h 4069169"/>
              <a:gd name="connsiteX459" fmla="*/ 4017966 w 5110790"/>
              <a:gd name="connsiteY459" fmla="*/ 1469259 h 4069169"/>
              <a:gd name="connsiteX460" fmla="*/ 4017966 w 5110790"/>
              <a:gd name="connsiteY460" fmla="*/ 1404475 h 4069169"/>
              <a:gd name="connsiteX461" fmla="*/ 4405650 w 5110790"/>
              <a:gd name="connsiteY461" fmla="*/ 1404475 h 4069169"/>
              <a:gd name="connsiteX462" fmla="*/ 3579243 w 5110790"/>
              <a:gd name="connsiteY462" fmla="*/ 854324 h 4069169"/>
              <a:gd name="connsiteX463" fmla="*/ 3604850 w 5110790"/>
              <a:gd name="connsiteY463" fmla="*/ 856427 h 4069169"/>
              <a:gd name="connsiteX464" fmla="*/ 3624668 w 5110790"/>
              <a:gd name="connsiteY464" fmla="*/ 864320 h 4069169"/>
              <a:gd name="connsiteX465" fmla="*/ 3637463 w 5110790"/>
              <a:gd name="connsiteY465" fmla="*/ 880373 h 4069169"/>
              <a:gd name="connsiteX466" fmla="*/ 3642002 w 5110790"/>
              <a:gd name="connsiteY466" fmla="*/ 906960 h 4069169"/>
              <a:gd name="connsiteX467" fmla="*/ 3637463 w 5110790"/>
              <a:gd name="connsiteY467" fmla="*/ 932693 h 4069169"/>
              <a:gd name="connsiteX468" fmla="*/ 3624668 w 5110790"/>
              <a:gd name="connsiteY468" fmla="*/ 948841 h 4069169"/>
              <a:gd name="connsiteX469" fmla="*/ 3604850 w 5110790"/>
              <a:gd name="connsiteY469" fmla="*/ 957207 h 4069169"/>
              <a:gd name="connsiteX470" fmla="*/ 3579243 w 5110790"/>
              <a:gd name="connsiteY470" fmla="*/ 959596 h 4069169"/>
              <a:gd name="connsiteX471" fmla="*/ 3554223 w 5110790"/>
              <a:gd name="connsiteY471" fmla="*/ 957207 h 4069169"/>
              <a:gd name="connsiteX472" fmla="*/ 3534706 w 5110790"/>
              <a:gd name="connsiteY472" fmla="*/ 948841 h 4069169"/>
              <a:gd name="connsiteX473" fmla="*/ 3522021 w 5110790"/>
              <a:gd name="connsiteY473" fmla="*/ 932693 h 4069169"/>
              <a:gd name="connsiteX474" fmla="*/ 3517498 w 5110790"/>
              <a:gd name="connsiteY474" fmla="*/ 906960 h 4069169"/>
              <a:gd name="connsiteX475" fmla="*/ 3522021 w 5110790"/>
              <a:gd name="connsiteY475" fmla="*/ 880373 h 4069169"/>
              <a:gd name="connsiteX476" fmla="*/ 3534706 w 5110790"/>
              <a:gd name="connsiteY476" fmla="*/ 864320 h 4069169"/>
              <a:gd name="connsiteX477" fmla="*/ 3554223 w 5110790"/>
              <a:gd name="connsiteY477" fmla="*/ 856427 h 4069169"/>
              <a:gd name="connsiteX478" fmla="*/ 1609095 w 5110790"/>
              <a:gd name="connsiteY478" fmla="*/ 854318 h 4069169"/>
              <a:gd name="connsiteX479" fmla="*/ 1634701 w 5110790"/>
              <a:gd name="connsiteY479" fmla="*/ 856421 h 4069169"/>
              <a:gd name="connsiteX480" fmla="*/ 1654519 w 5110790"/>
              <a:gd name="connsiteY480" fmla="*/ 864313 h 4069169"/>
              <a:gd name="connsiteX481" fmla="*/ 1667313 w 5110790"/>
              <a:gd name="connsiteY481" fmla="*/ 880366 h 4069169"/>
              <a:gd name="connsiteX482" fmla="*/ 1671852 w 5110790"/>
              <a:gd name="connsiteY482" fmla="*/ 906953 h 4069169"/>
              <a:gd name="connsiteX483" fmla="*/ 1667313 w 5110790"/>
              <a:gd name="connsiteY483" fmla="*/ 932686 h 4069169"/>
              <a:gd name="connsiteX484" fmla="*/ 1654519 w 5110790"/>
              <a:gd name="connsiteY484" fmla="*/ 948834 h 4069169"/>
              <a:gd name="connsiteX485" fmla="*/ 1634701 w 5110790"/>
              <a:gd name="connsiteY485" fmla="*/ 957201 h 4069169"/>
              <a:gd name="connsiteX486" fmla="*/ 1609095 w 5110790"/>
              <a:gd name="connsiteY486" fmla="*/ 959589 h 4069169"/>
              <a:gd name="connsiteX487" fmla="*/ 1584074 w 5110790"/>
              <a:gd name="connsiteY487" fmla="*/ 957201 h 4069169"/>
              <a:gd name="connsiteX488" fmla="*/ 1564557 w 5110790"/>
              <a:gd name="connsiteY488" fmla="*/ 948834 h 4069169"/>
              <a:gd name="connsiteX489" fmla="*/ 1551872 w 5110790"/>
              <a:gd name="connsiteY489" fmla="*/ 932686 h 4069169"/>
              <a:gd name="connsiteX490" fmla="*/ 1547349 w 5110790"/>
              <a:gd name="connsiteY490" fmla="*/ 906953 h 4069169"/>
              <a:gd name="connsiteX491" fmla="*/ 1551872 w 5110790"/>
              <a:gd name="connsiteY491" fmla="*/ 880366 h 4069169"/>
              <a:gd name="connsiteX492" fmla="*/ 1564557 w 5110790"/>
              <a:gd name="connsiteY492" fmla="*/ 864313 h 4069169"/>
              <a:gd name="connsiteX493" fmla="*/ 1584074 w 5110790"/>
              <a:gd name="connsiteY493" fmla="*/ 856421 h 4069169"/>
              <a:gd name="connsiteX494" fmla="*/ 2879125 w 5110790"/>
              <a:gd name="connsiteY494" fmla="*/ 659976 h 4069169"/>
              <a:gd name="connsiteX495" fmla="*/ 2911305 w 5110790"/>
              <a:gd name="connsiteY495" fmla="*/ 661113 h 4069169"/>
              <a:gd name="connsiteX496" fmla="*/ 2941090 w 5110790"/>
              <a:gd name="connsiteY496" fmla="*/ 664495 h 4069169"/>
              <a:gd name="connsiteX497" fmla="*/ 2968561 w 5110790"/>
              <a:gd name="connsiteY497" fmla="*/ 670071 h 4069169"/>
              <a:gd name="connsiteX498" fmla="*/ 2993799 w 5110790"/>
              <a:gd name="connsiteY498" fmla="*/ 677791 h 4069169"/>
              <a:gd name="connsiteX499" fmla="*/ 3016884 w 5110790"/>
              <a:gd name="connsiteY499" fmla="*/ 687607 h 4069169"/>
              <a:gd name="connsiteX500" fmla="*/ 3037896 w 5110790"/>
              <a:gd name="connsiteY500" fmla="*/ 699468 h 4069169"/>
              <a:gd name="connsiteX501" fmla="*/ 3056916 w 5110790"/>
              <a:gd name="connsiteY501" fmla="*/ 713326 h 4069169"/>
              <a:gd name="connsiteX502" fmla="*/ 3074024 w 5110790"/>
              <a:gd name="connsiteY502" fmla="*/ 729131 h 4069169"/>
              <a:gd name="connsiteX503" fmla="*/ 3089302 w 5110790"/>
              <a:gd name="connsiteY503" fmla="*/ 746834 h 4069169"/>
              <a:gd name="connsiteX504" fmla="*/ 3102829 w 5110790"/>
              <a:gd name="connsiteY504" fmla="*/ 766386 h 4069169"/>
              <a:gd name="connsiteX505" fmla="*/ 3114685 w 5110790"/>
              <a:gd name="connsiteY505" fmla="*/ 787738 h 4069169"/>
              <a:gd name="connsiteX506" fmla="*/ 3124952 w 5110790"/>
              <a:gd name="connsiteY506" fmla="*/ 810839 h 4069169"/>
              <a:gd name="connsiteX507" fmla="*/ 3133709 w 5110790"/>
              <a:gd name="connsiteY507" fmla="*/ 835640 h 4069169"/>
              <a:gd name="connsiteX508" fmla="*/ 3141039 w 5110790"/>
              <a:gd name="connsiteY508" fmla="*/ 862093 h 4069169"/>
              <a:gd name="connsiteX509" fmla="*/ 3147019 w 5110790"/>
              <a:gd name="connsiteY509" fmla="*/ 890147 h 4069169"/>
              <a:gd name="connsiteX510" fmla="*/ 3151732 w 5110790"/>
              <a:gd name="connsiteY510" fmla="*/ 919755 h 4069169"/>
              <a:gd name="connsiteX511" fmla="*/ 3155257 w 5110790"/>
              <a:gd name="connsiteY511" fmla="*/ 950865 h 4069169"/>
              <a:gd name="connsiteX512" fmla="*/ 3157675 w 5110790"/>
              <a:gd name="connsiteY512" fmla="*/ 983429 h 4069169"/>
              <a:gd name="connsiteX513" fmla="*/ 3159067 w 5110790"/>
              <a:gd name="connsiteY513" fmla="*/ 1017397 h 4069169"/>
              <a:gd name="connsiteX514" fmla="*/ 3159514 w 5110790"/>
              <a:gd name="connsiteY514" fmla="*/ 1052721 h 4069169"/>
              <a:gd name="connsiteX515" fmla="*/ 3159089 w 5110790"/>
              <a:gd name="connsiteY515" fmla="*/ 1088196 h 4069169"/>
              <a:gd name="connsiteX516" fmla="*/ 3157757 w 5110790"/>
              <a:gd name="connsiteY516" fmla="*/ 1122316 h 4069169"/>
              <a:gd name="connsiteX517" fmla="*/ 3155431 w 5110790"/>
              <a:gd name="connsiteY517" fmla="*/ 1155029 h 4069169"/>
              <a:gd name="connsiteX518" fmla="*/ 3152023 w 5110790"/>
              <a:gd name="connsiteY518" fmla="*/ 1186287 h 4069169"/>
              <a:gd name="connsiteX519" fmla="*/ 3147446 w 5110790"/>
              <a:gd name="connsiteY519" fmla="*/ 1216038 h 4069169"/>
              <a:gd name="connsiteX520" fmla="*/ 3141612 w 5110790"/>
              <a:gd name="connsiteY520" fmla="*/ 1244233 h 4069169"/>
              <a:gd name="connsiteX521" fmla="*/ 3134435 w 5110790"/>
              <a:gd name="connsiteY521" fmla="*/ 1270822 h 4069169"/>
              <a:gd name="connsiteX522" fmla="*/ 3125826 w 5110790"/>
              <a:gd name="connsiteY522" fmla="*/ 1295754 h 4069169"/>
              <a:gd name="connsiteX523" fmla="*/ 3115700 w 5110790"/>
              <a:gd name="connsiteY523" fmla="*/ 1318979 h 4069169"/>
              <a:gd name="connsiteX524" fmla="*/ 3103967 w 5110790"/>
              <a:gd name="connsiteY524" fmla="*/ 1340448 h 4069169"/>
              <a:gd name="connsiteX525" fmla="*/ 3090542 w 5110790"/>
              <a:gd name="connsiteY525" fmla="*/ 1360110 h 4069169"/>
              <a:gd name="connsiteX526" fmla="*/ 3075336 w 5110790"/>
              <a:gd name="connsiteY526" fmla="*/ 1377914 h 4069169"/>
              <a:gd name="connsiteX527" fmla="*/ 3058263 w 5110790"/>
              <a:gd name="connsiteY527" fmla="*/ 1393812 h 4069169"/>
              <a:gd name="connsiteX528" fmla="*/ 3039235 w 5110790"/>
              <a:gd name="connsiteY528" fmla="*/ 1407753 h 4069169"/>
              <a:gd name="connsiteX529" fmla="*/ 3018165 w 5110790"/>
              <a:gd name="connsiteY529" fmla="*/ 1419686 h 4069169"/>
              <a:gd name="connsiteX530" fmla="*/ 2994965 w 5110790"/>
              <a:gd name="connsiteY530" fmla="*/ 1429562 h 4069169"/>
              <a:gd name="connsiteX531" fmla="*/ 2969548 w 5110790"/>
              <a:gd name="connsiteY531" fmla="*/ 1437331 h 4069169"/>
              <a:gd name="connsiteX532" fmla="*/ 2941828 w 5110790"/>
              <a:gd name="connsiteY532" fmla="*/ 1442942 h 4069169"/>
              <a:gd name="connsiteX533" fmla="*/ 2911716 w 5110790"/>
              <a:gd name="connsiteY533" fmla="*/ 1446346 h 4069169"/>
              <a:gd name="connsiteX534" fmla="*/ 2879125 w 5110790"/>
              <a:gd name="connsiteY534" fmla="*/ 1447491 h 4069169"/>
              <a:gd name="connsiteX535" fmla="*/ 2879125 w 5110790"/>
              <a:gd name="connsiteY535" fmla="*/ 1388782 h 4069169"/>
              <a:gd name="connsiteX536" fmla="*/ 2909252 w 5110790"/>
              <a:gd name="connsiteY536" fmla="*/ 1387428 h 4069169"/>
              <a:gd name="connsiteX537" fmla="*/ 2936490 w 5110790"/>
              <a:gd name="connsiteY537" fmla="*/ 1383413 h 4069169"/>
              <a:gd name="connsiteX538" fmla="*/ 2960977 w 5110790"/>
              <a:gd name="connsiteY538" fmla="*/ 1376811 h 4069169"/>
              <a:gd name="connsiteX539" fmla="*/ 2982849 w 5110790"/>
              <a:gd name="connsiteY539" fmla="*/ 1367691 h 4069169"/>
              <a:gd name="connsiteX540" fmla="*/ 3019298 w 5110790"/>
              <a:gd name="connsiteY540" fmla="*/ 1342188 h 4069169"/>
              <a:gd name="connsiteX541" fmla="*/ 3046935 w 5110790"/>
              <a:gd name="connsiteY541" fmla="*/ 1307477 h 4069169"/>
              <a:gd name="connsiteX542" fmla="*/ 3057792 w 5110790"/>
              <a:gd name="connsiteY542" fmla="*/ 1286848 h 4069169"/>
              <a:gd name="connsiteX543" fmla="*/ 3066859 w 5110790"/>
              <a:gd name="connsiteY543" fmla="*/ 1264133 h 4069169"/>
              <a:gd name="connsiteX544" fmla="*/ 3074271 w 5110790"/>
              <a:gd name="connsiteY544" fmla="*/ 1239402 h 4069169"/>
              <a:gd name="connsiteX545" fmla="*/ 3080167 w 5110790"/>
              <a:gd name="connsiteY545" fmla="*/ 1212729 h 4069169"/>
              <a:gd name="connsiteX546" fmla="*/ 3084682 w 5110790"/>
              <a:gd name="connsiteY546" fmla="*/ 1184184 h 4069169"/>
              <a:gd name="connsiteX547" fmla="*/ 3087956 w 5110790"/>
              <a:gd name="connsiteY547" fmla="*/ 1153838 h 4069169"/>
              <a:gd name="connsiteX548" fmla="*/ 3090124 w 5110790"/>
              <a:gd name="connsiteY548" fmla="*/ 1121765 h 4069169"/>
              <a:gd name="connsiteX549" fmla="*/ 3091324 w 5110790"/>
              <a:gd name="connsiteY549" fmla="*/ 1088036 h 4069169"/>
              <a:gd name="connsiteX550" fmla="*/ 3091694 w 5110790"/>
              <a:gd name="connsiteY550" fmla="*/ 1052721 h 4069169"/>
              <a:gd name="connsiteX551" fmla="*/ 3091305 w 5110790"/>
              <a:gd name="connsiteY551" fmla="*/ 1017753 h 4069169"/>
              <a:gd name="connsiteX552" fmla="*/ 3090050 w 5110790"/>
              <a:gd name="connsiteY552" fmla="*/ 984350 h 4069169"/>
              <a:gd name="connsiteX553" fmla="*/ 3087800 w 5110790"/>
              <a:gd name="connsiteY553" fmla="*/ 952581 h 4069169"/>
              <a:gd name="connsiteX554" fmla="*/ 3084425 w 5110790"/>
              <a:gd name="connsiteY554" fmla="*/ 922520 h 4069169"/>
              <a:gd name="connsiteX555" fmla="*/ 3079795 w 5110790"/>
              <a:gd name="connsiteY555" fmla="*/ 894237 h 4069169"/>
              <a:gd name="connsiteX556" fmla="*/ 3073782 w 5110790"/>
              <a:gd name="connsiteY556" fmla="*/ 867805 h 4069169"/>
              <a:gd name="connsiteX557" fmla="*/ 3066253 w 5110790"/>
              <a:gd name="connsiteY557" fmla="*/ 843295 h 4069169"/>
              <a:gd name="connsiteX558" fmla="*/ 3057081 w 5110790"/>
              <a:gd name="connsiteY558" fmla="*/ 820780 h 4069169"/>
              <a:gd name="connsiteX559" fmla="*/ 3046134 w 5110790"/>
              <a:gd name="connsiteY559" fmla="*/ 800330 h 4069169"/>
              <a:gd name="connsiteX560" fmla="*/ 3018400 w 5110790"/>
              <a:gd name="connsiteY560" fmla="*/ 765914 h 4069169"/>
              <a:gd name="connsiteX561" fmla="*/ 2982013 w 5110790"/>
              <a:gd name="connsiteY561" fmla="*/ 740620 h 4069169"/>
              <a:gd name="connsiteX562" fmla="*/ 2960250 w 5110790"/>
              <a:gd name="connsiteY562" fmla="*/ 731574 h 4069169"/>
              <a:gd name="connsiteX563" fmla="*/ 2935934 w 5110790"/>
              <a:gd name="connsiteY563" fmla="*/ 725024 h 4069169"/>
              <a:gd name="connsiteX564" fmla="*/ 2908936 w 5110790"/>
              <a:gd name="connsiteY564" fmla="*/ 721041 h 4069169"/>
              <a:gd name="connsiteX565" fmla="*/ 2879125 w 5110790"/>
              <a:gd name="connsiteY565" fmla="*/ 719697 h 4069169"/>
              <a:gd name="connsiteX566" fmla="*/ 2565698 w 5110790"/>
              <a:gd name="connsiteY566" fmla="*/ 659976 h 4069169"/>
              <a:gd name="connsiteX567" fmla="*/ 2565698 w 5110790"/>
              <a:gd name="connsiteY567" fmla="*/ 719697 h 4069169"/>
              <a:gd name="connsiteX568" fmla="*/ 2536056 w 5110790"/>
              <a:gd name="connsiteY568" fmla="*/ 721041 h 4069169"/>
              <a:gd name="connsiteX569" fmla="*/ 2509206 w 5110790"/>
              <a:gd name="connsiteY569" fmla="*/ 725024 h 4069169"/>
              <a:gd name="connsiteX570" fmla="*/ 2485020 w 5110790"/>
              <a:gd name="connsiteY570" fmla="*/ 731574 h 4069169"/>
              <a:gd name="connsiteX571" fmla="*/ 2463369 w 5110790"/>
              <a:gd name="connsiteY571" fmla="*/ 740620 h 4069169"/>
              <a:gd name="connsiteX572" fmla="*/ 2427161 w 5110790"/>
              <a:gd name="connsiteY572" fmla="*/ 765914 h 4069169"/>
              <a:gd name="connsiteX573" fmla="*/ 2399551 w 5110790"/>
              <a:gd name="connsiteY573" fmla="*/ 800330 h 4069169"/>
              <a:gd name="connsiteX574" fmla="*/ 2388649 w 5110790"/>
              <a:gd name="connsiteY574" fmla="*/ 820780 h 4069169"/>
              <a:gd name="connsiteX575" fmla="*/ 2379511 w 5110790"/>
              <a:gd name="connsiteY575" fmla="*/ 843295 h 4069169"/>
              <a:gd name="connsiteX576" fmla="*/ 2372009 w 5110790"/>
              <a:gd name="connsiteY576" fmla="*/ 867805 h 4069169"/>
              <a:gd name="connsiteX577" fmla="*/ 2366014 w 5110790"/>
              <a:gd name="connsiteY577" fmla="*/ 894237 h 4069169"/>
              <a:gd name="connsiteX578" fmla="*/ 2361397 w 5110790"/>
              <a:gd name="connsiteY578" fmla="*/ 922520 h 4069169"/>
              <a:gd name="connsiteX579" fmla="*/ 2358029 w 5110790"/>
              <a:gd name="connsiteY579" fmla="*/ 952581 h 4069169"/>
              <a:gd name="connsiteX580" fmla="*/ 2355783 w 5110790"/>
              <a:gd name="connsiteY580" fmla="*/ 984350 h 4069169"/>
              <a:gd name="connsiteX581" fmla="*/ 2354530 w 5110790"/>
              <a:gd name="connsiteY581" fmla="*/ 1017753 h 4069169"/>
              <a:gd name="connsiteX582" fmla="*/ 2354141 w 5110790"/>
              <a:gd name="connsiteY582" fmla="*/ 1052721 h 4069169"/>
              <a:gd name="connsiteX583" fmla="*/ 2354520 w 5110790"/>
              <a:gd name="connsiteY583" fmla="*/ 1088036 h 4069169"/>
              <a:gd name="connsiteX584" fmla="*/ 2355746 w 5110790"/>
              <a:gd name="connsiteY584" fmla="*/ 1121765 h 4069169"/>
              <a:gd name="connsiteX585" fmla="*/ 2357952 w 5110790"/>
              <a:gd name="connsiteY585" fmla="*/ 1153838 h 4069169"/>
              <a:gd name="connsiteX586" fmla="*/ 2361268 w 5110790"/>
              <a:gd name="connsiteY586" fmla="*/ 1184184 h 4069169"/>
              <a:gd name="connsiteX587" fmla="*/ 2365828 w 5110790"/>
              <a:gd name="connsiteY587" fmla="*/ 1212729 h 4069169"/>
              <a:gd name="connsiteX588" fmla="*/ 2371764 w 5110790"/>
              <a:gd name="connsiteY588" fmla="*/ 1239402 h 4069169"/>
              <a:gd name="connsiteX589" fmla="*/ 2379208 w 5110790"/>
              <a:gd name="connsiteY589" fmla="*/ 1264133 h 4069169"/>
              <a:gd name="connsiteX590" fmla="*/ 2388293 w 5110790"/>
              <a:gd name="connsiteY590" fmla="*/ 1286848 h 4069169"/>
              <a:gd name="connsiteX591" fmla="*/ 2399150 w 5110790"/>
              <a:gd name="connsiteY591" fmla="*/ 1307477 h 4069169"/>
              <a:gd name="connsiteX592" fmla="*/ 2426712 w 5110790"/>
              <a:gd name="connsiteY592" fmla="*/ 1342188 h 4069169"/>
              <a:gd name="connsiteX593" fmla="*/ 2462952 w 5110790"/>
              <a:gd name="connsiteY593" fmla="*/ 1367691 h 4069169"/>
              <a:gd name="connsiteX594" fmla="*/ 2484656 w 5110790"/>
              <a:gd name="connsiteY594" fmla="*/ 1376811 h 4069169"/>
              <a:gd name="connsiteX595" fmla="*/ 2508928 w 5110790"/>
              <a:gd name="connsiteY595" fmla="*/ 1383413 h 4069169"/>
              <a:gd name="connsiteX596" fmla="*/ 2535898 w 5110790"/>
              <a:gd name="connsiteY596" fmla="*/ 1387428 h 4069169"/>
              <a:gd name="connsiteX597" fmla="*/ 2565698 w 5110790"/>
              <a:gd name="connsiteY597" fmla="*/ 1388782 h 4069169"/>
              <a:gd name="connsiteX598" fmla="*/ 2565698 w 5110790"/>
              <a:gd name="connsiteY598" fmla="*/ 1447491 h 4069169"/>
              <a:gd name="connsiteX599" fmla="*/ 2533244 w 5110790"/>
              <a:gd name="connsiteY599" fmla="*/ 1446346 h 4069169"/>
              <a:gd name="connsiteX600" fmla="*/ 2503241 w 5110790"/>
              <a:gd name="connsiteY600" fmla="*/ 1442942 h 4069169"/>
              <a:gd name="connsiteX601" fmla="*/ 2475603 w 5110790"/>
              <a:gd name="connsiteY601" fmla="*/ 1437331 h 4069169"/>
              <a:gd name="connsiteX602" fmla="*/ 2450247 w 5110790"/>
              <a:gd name="connsiteY602" fmla="*/ 1429562 h 4069169"/>
              <a:gd name="connsiteX603" fmla="*/ 2427085 w 5110790"/>
              <a:gd name="connsiteY603" fmla="*/ 1419686 h 4069169"/>
              <a:gd name="connsiteX604" fmla="*/ 2406034 w 5110790"/>
              <a:gd name="connsiteY604" fmla="*/ 1407753 h 4069169"/>
              <a:gd name="connsiteX605" fmla="*/ 2387009 w 5110790"/>
              <a:gd name="connsiteY605" fmla="*/ 1393812 h 4069169"/>
              <a:gd name="connsiteX606" fmla="*/ 2369924 w 5110790"/>
              <a:gd name="connsiteY606" fmla="*/ 1377914 h 4069169"/>
              <a:gd name="connsiteX607" fmla="*/ 2354694 w 5110790"/>
              <a:gd name="connsiteY607" fmla="*/ 1360110 h 4069169"/>
              <a:gd name="connsiteX608" fmla="*/ 2341235 w 5110790"/>
              <a:gd name="connsiteY608" fmla="*/ 1340448 h 4069169"/>
              <a:gd name="connsiteX609" fmla="*/ 2329461 w 5110790"/>
              <a:gd name="connsiteY609" fmla="*/ 1318979 h 4069169"/>
              <a:gd name="connsiteX610" fmla="*/ 2319288 w 5110790"/>
              <a:gd name="connsiteY610" fmla="*/ 1295754 h 4069169"/>
              <a:gd name="connsiteX611" fmla="*/ 2310630 w 5110790"/>
              <a:gd name="connsiteY611" fmla="*/ 1270822 h 4069169"/>
              <a:gd name="connsiteX612" fmla="*/ 2303402 w 5110790"/>
              <a:gd name="connsiteY612" fmla="*/ 1244233 h 4069169"/>
              <a:gd name="connsiteX613" fmla="*/ 2297519 w 5110790"/>
              <a:gd name="connsiteY613" fmla="*/ 1216038 h 4069169"/>
              <a:gd name="connsiteX614" fmla="*/ 2292897 w 5110790"/>
              <a:gd name="connsiteY614" fmla="*/ 1186287 h 4069169"/>
              <a:gd name="connsiteX615" fmla="*/ 2289449 w 5110790"/>
              <a:gd name="connsiteY615" fmla="*/ 1155029 h 4069169"/>
              <a:gd name="connsiteX616" fmla="*/ 2287092 w 5110790"/>
              <a:gd name="connsiteY616" fmla="*/ 1122316 h 4069169"/>
              <a:gd name="connsiteX617" fmla="*/ 2285740 w 5110790"/>
              <a:gd name="connsiteY617" fmla="*/ 1088196 h 4069169"/>
              <a:gd name="connsiteX618" fmla="*/ 2285309 w 5110790"/>
              <a:gd name="connsiteY618" fmla="*/ 1052721 h 4069169"/>
              <a:gd name="connsiteX619" fmla="*/ 2285755 w 5110790"/>
              <a:gd name="connsiteY619" fmla="*/ 1017397 h 4069169"/>
              <a:gd name="connsiteX620" fmla="*/ 2287147 w 5110790"/>
              <a:gd name="connsiteY620" fmla="*/ 983429 h 4069169"/>
              <a:gd name="connsiteX621" fmla="*/ 2289566 w 5110790"/>
              <a:gd name="connsiteY621" fmla="*/ 950865 h 4069169"/>
              <a:gd name="connsiteX622" fmla="*/ 2293091 w 5110790"/>
              <a:gd name="connsiteY622" fmla="*/ 919755 h 4069169"/>
              <a:gd name="connsiteX623" fmla="*/ 2297804 w 5110790"/>
              <a:gd name="connsiteY623" fmla="*/ 890147 h 4069169"/>
              <a:gd name="connsiteX624" fmla="*/ 2303784 w 5110790"/>
              <a:gd name="connsiteY624" fmla="*/ 862093 h 4069169"/>
              <a:gd name="connsiteX625" fmla="*/ 2311113 w 5110790"/>
              <a:gd name="connsiteY625" fmla="*/ 835640 h 4069169"/>
              <a:gd name="connsiteX626" fmla="*/ 2319870 w 5110790"/>
              <a:gd name="connsiteY626" fmla="*/ 810839 h 4069169"/>
              <a:gd name="connsiteX627" fmla="*/ 2330137 w 5110790"/>
              <a:gd name="connsiteY627" fmla="*/ 787738 h 4069169"/>
              <a:gd name="connsiteX628" fmla="*/ 2341994 w 5110790"/>
              <a:gd name="connsiteY628" fmla="*/ 766386 h 4069169"/>
              <a:gd name="connsiteX629" fmla="*/ 2355521 w 5110790"/>
              <a:gd name="connsiteY629" fmla="*/ 746834 h 4069169"/>
              <a:gd name="connsiteX630" fmla="*/ 2370798 w 5110790"/>
              <a:gd name="connsiteY630" fmla="*/ 729131 h 4069169"/>
              <a:gd name="connsiteX631" fmla="*/ 2387907 w 5110790"/>
              <a:gd name="connsiteY631" fmla="*/ 713326 h 4069169"/>
              <a:gd name="connsiteX632" fmla="*/ 2406927 w 5110790"/>
              <a:gd name="connsiteY632" fmla="*/ 699468 h 4069169"/>
              <a:gd name="connsiteX633" fmla="*/ 2427939 w 5110790"/>
              <a:gd name="connsiteY633" fmla="*/ 687607 h 4069169"/>
              <a:gd name="connsiteX634" fmla="*/ 2451024 w 5110790"/>
              <a:gd name="connsiteY634" fmla="*/ 677791 h 4069169"/>
              <a:gd name="connsiteX635" fmla="*/ 2476262 w 5110790"/>
              <a:gd name="connsiteY635" fmla="*/ 670071 h 4069169"/>
              <a:gd name="connsiteX636" fmla="*/ 2503733 w 5110790"/>
              <a:gd name="connsiteY636" fmla="*/ 664495 h 4069169"/>
              <a:gd name="connsiteX637" fmla="*/ 2533518 w 5110790"/>
              <a:gd name="connsiteY637" fmla="*/ 661113 h 4069169"/>
              <a:gd name="connsiteX638" fmla="*/ 1358847 w 5110790"/>
              <a:gd name="connsiteY638" fmla="*/ 0 h 4069169"/>
              <a:gd name="connsiteX639" fmla="*/ 1439826 w 5110790"/>
              <a:gd name="connsiteY639" fmla="*/ 0 h 4069169"/>
              <a:gd name="connsiteX640" fmla="*/ 1554207 w 5110790"/>
              <a:gd name="connsiteY640" fmla="*/ 209532 h 4069169"/>
              <a:gd name="connsiteX641" fmla="*/ 1437801 w 5110790"/>
              <a:gd name="connsiteY641" fmla="*/ 425136 h 4069169"/>
              <a:gd name="connsiteX642" fmla="*/ 1358847 w 5110790"/>
              <a:gd name="connsiteY642" fmla="*/ 425136 h 4069169"/>
              <a:gd name="connsiteX643" fmla="*/ 1458045 w 5110790"/>
              <a:gd name="connsiteY643" fmla="*/ 239899 h 4069169"/>
              <a:gd name="connsiteX644" fmla="*/ 1068337 w 5110790"/>
              <a:gd name="connsiteY644" fmla="*/ 239899 h 4069169"/>
              <a:gd name="connsiteX645" fmla="*/ 1068337 w 5110790"/>
              <a:gd name="connsiteY645" fmla="*/ 175116 h 4069169"/>
              <a:gd name="connsiteX646" fmla="*/ 1456021 w 5110790"/>
              <a:gd name="connsiteY646" fmla="*/ 175116 h 4069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Lst>
            <a:rect l="l" t="t" r="r" b="b"/>
            <a:pathLst>
              <a:path w="5110790" h="4069169">
                <a:moveTo>
                  <a:pt x="1358848" y="3644032"/>
                </a:moveTo>
                <a:lnTo>
                  <a:pt x="1439826" y="3644032"/>
                </a:lnTo>
                <a:lnTo>
                  <a:pt x="1554208" y="3853564"/>
                </a:lnTo>
                <a:lnTo>
                  <a:pt x="1437802" y="4069169"/>
                </a:lnTo>
                <a:lnTo>
                  <a:pt x="1358848" y="4069169"/>
                </a:lnTo>
                <a:lnTo>
                  <a:pt x="1458047" y="3883931"/>
                </a:lnTo>
                <a:lnTo>
                  <a:pt x="1068338" y="3883931"/>
                </a:lnTo>
                <a:lnTo>
                  <a:pt x="1068338" y="3819148"/>
                </a:lnTo>
                <a:lnTo>
                  <a:pt x="1456022" y="3819148"/>
                </a:lnTo>
                <a:close/>
                <a:moveTo>
                  <a:pt x="3579243" y="3101476"/>
                </a:moveTo>
                <a:lnTo>
                  <a:pt x="3604850" y="3103707"/>
                </a:lnTo>
                <a:lnTo>
                  <a:pt x="3624668" y="3111725"/>
                </a:lnTo>
                <a:lnTo>
                  <a:pt x="3637463" y="3127526"/>
                </a:lnTo>
                <a:lnTo>
                  <a:pt x="3642002" y="3153100"/>
                </a:lnTo>
                <a:lnTo>
                  <a:pt x="3637463" y="3179845"/>
                </a:lnTo>
                <a:lnTo>
                  <a:pt x="3624668" y="3196247"/>
                </a:lnTo>
                <a:lnTo>
                  <a:pt x="3604850" y="3204487"/>
                </a:lnTo>
                <a:lnTo>
                  <a:pt x="3579243" y="3206749"/>
                </a:lnTo>
                <a:lnTo>
                  <a:pt x="3553637" y="3204487"/>
                </a:lnTo>
                <a:lnTo>
                  <a:pt x="3533820" y="3196247"/>
                </a:lnTo>
                <a:lnTo>
                  <a:pt x="3521024" y="3179845"/>
                </a:lnTo>
                <a:lnTo>
                  <a:pt x="3516485" y="3153100"/>
                </a:lnTo>
                <a:lnTo>
                  <a:pt x="3521166" y="3127526"/>
                </a:lnTo>
                <a:lnTo>
                  <a:pt x="3534199" y="3111725"/>
                </a:lnTo>
                <a:lnTo>
                  <a:pt x="3554064" y="3103707"/>
                </a:lnTo>
                <a:close/>
                <a:moveTo>
                  <a:pt x="1609095" y="3101476"/>
                </a:moveTo>
                <a:lnTo>
                  <a:pt x="1634701" y="3103707"/>
                </a:lnTo>
                <a:lnTo>
                  <a:pt x="1654519" y="3111725"/>
                </a:lnTo>
                <a:lnTo>
                  <a:pt x="1667313" y="3127526"/>
                </a:lnTo>
                <a:lnTo>
                  <a:pt x="1671852" y="3153100"/>
                </a:lnTo>
                <a:lnTo>
                  <a:pt x="1667313" y="3179845"/>
                </a:lnTo>
                <a:lnTo>
                  <a:pt x="1654519" y="3196247"/>
                </a:lnTo>
                <a:lnTo>
                  <a:pt x="1634701" y="3204487"/>
                </a:lnTo>
                <a:lnTo>
                  <a:pt x="1609095" y="3206749"/>
                </a:lnTo>
                <a:lnTo>
                  <a:pt x="1583490" y="3204487"/>
                </a:lnTo>
                <a:lnTo>
                  <a:pt x="1563672" y="3196247"/>
                </a:lnTo>
                <a:lnTo>
                  <a:pt x="1550877" y="3179845"/>
                </a:lnTo>
                <a:lnTo>
                  <a:pt x="1546338" y="3153100"/>
                </a:lnTo>
                <a:lnTo>
                  <a:pt x="1551020" y="3127526"/>
                </a:lnTo>
                <a:lnTo>
                  <a:pt x="1564052" y="3111725"/>
                </a:lnTo>
                <a:lnTo>
                  <a:pt x="1583917" y="3103707"/>
                </a:lnTo>
                <a:close/>
                <a:moveTo>
                  <a:pt x="3579243" y="2676340"/>
                </a:moveTo>
                <a:lnTo>
                  <a:pt x="3604850" y="2678443"/>
                </a:lnTo>
                <a:lnTo>
                  <a:pt x="3624668" y="2686335"/>
                </a:lnTo>
                <a:lnTo>
                  <a:pt x="3637463" y="2702388"/>
                </a:lnTo>
                <a:lnTo>
                  <a:pt x="3642002" y="2728976"/>
                </a:lnTo>
                <a:lnTo>
                  <a:pt x="3637463" y="2754708"/>
                </a:lnTo>
                <a:lnTo>
                  <a:pt x="3624668" y="2770857"/>
                </a:lnTo>
                <a:lnTo>
                  <a:pt x="3604850" y="2779223"/>
                </a:lnTo>
                <a:lnTo>
                  <a:pt x="3579243" y="2781612"/>
                </a:lnTo>
                <a:lnTo>
                  <a:pt x="3554223" y="2779223"/>
                </a:lnTo>
                <a:lnTo>
                  <a:pt x="3534706" y="2770857"/>
                </a:lnTo>
                <a:lnTo>
                  <a:pt x="3522021" y="2754708"/>
                </a:lnTo>
                <a:lnTo>
                  <a:pt x="3517498" y="2728976"/>
                </a:lnTo>
                <a:lnTo>
                  <a:pt x="3522021" y="2702388"/>
                </a:lnTo>
                <a:lnTo>
                  <a:pt x="3534706" y="2686335"/>
                </a:lnTo>
                <a:lnTo>
                  <a:pt x="3554223" y="2678443"/>
                </a:lnTo>
                <a:close/>
                <a:moveTo>
                  <a:pt x="1609095" y="2676340"/>
                </a:moveTo>
                <a:lnTo>
                  <a:pt x="1634701" y="2678443"/>
                </a:lnTo>
                <a:lnTo>
                  <a:pt x="1654519" y="2686335"/>
                </a:lnTo>
                <a:lnTo>
                  <a:pt x="1667313" y="2702388"/>
                </a:lnTo>
                <a:lnTo>
                  <a:pt x="1671852" y="2728976"/>
                </a:lnTo>
                <a:lnTo>
                  <a:pt x="1667313" y="2754708"/>
                </a:lnTo>
                <a:lnTo>
                  <a:pt x="1654519" y="2770857"/>
                </a:lnTo>
                <a:lnTo>
                  <a:pt x="1634701" y="2779223"/>
                </a:lnTo>
                <a:lnTo>
                  <a:pt x="1609095" y="2781612"/>
                </a:lnTo>
                <a:lnTo>
                  <a:pt x="1584075" y="2779223"/>
                </a:lnTo>
                <a:lnTo>
                  <a:pt x="1564558" y="2770857"/>
                </a:lnTo>
                <a:lnTo>
                  <a:pt x="1551873" y="2754708"/>
                </a:lnTo>
                <a:lnTo>
                  <a:pt x="1547350" y="2728976"/>
                </a:lnTo>
                <a:lnTo>
                  <a:pt x="1551873" y="2702388"/>
                </a:lnTo>
                <a:lnTo>
                  <a:pt x="1564558" y="2686335"/>
                </a:lnTo>
                <a:lnTo>
                  <a:pt x="1584075" y="2678443"/>
                </a:lnTo>
                <a:close/>
                <a:moveTo>
                  <a:pt x="2879125" y="2481992"/>
                </a:moveTo>
                <a:lnTo>
                  <a:pt x="2911305" y="2483129"/>
                </a:lnTo>
                <a:lnTo>
                  <a:pt x="2941090" y="2486511"/>
                </a:lnTo>
                <a:lnTo>
                  <a:pt x="2968561" y="2492087"/>
                </a:lnTo>
                <a:lnTo>
                  <a:pt x="2993799" y="2499807"/>
                </a:lnTo>
                <a:lnTo>
                  <a:pt x="3016884" y="2509622"/>
                </a:lnTo>
                <a:lnTo>
                  <a:pt x="3037896" y="2521483"/>
                </a:lnTo>
                <a:lnTo>
                  <a:pt x="3056916" y="2535342"/>
                </a:lnTo>
                <a:lnTo>
                  <a:pt x="3074024" y="2551147"/>
                </a:lnTo>
                <a:lnTo>
                  <a:pt x="3089302" y="2568850"/>
                </a:lnTo>
                <a:lnTo>
                  <a:pt x="3102829" y="2588403"/>
                </a:lnTo>
                <a:lnTo>
                  <a:pt x="3114685" y="2609754"/>
                </a:lnTo>
                <a:lnTo>
                  <a:pt x="3124952" y="2632854"/>
                </a:lnTo>
                <a:lnTo>
                  <a:pt x="3133709" y="2657656"/>
                </a:lnTo>
                <a:lnTo>
                  <a:pt x="3141039" y="2684109"/>
                </a:lnTo>
                <a:lnTo>
                  <a:pt x="3147019" y="2712163"/>
                </a:lnTo>
                <a:lnTo>
                  <a:pt x="3151732" y="2741770"/>
                </a:lnTo>
                <a:lnTo>
                  <a:pt x="3155257" y="2772881"/>
                </a:lnTo>
                <a:lnTo>
                  <a:pt x="3157675" y="2805445"/>
                </a:lnTo>
                <a:lnTo>
                  <a:pt x="3159067" y="2839413"/>
                </a:lnTo>
                <a:lnTo>
                  <a:pt x="3159514" y="2874737"/>
                </a:lnTo>
                <a:lnTo>
                  <a:pt x="3159089" y="2910212"/>
                </a:lnTo>
                <a:lnTo>
                  <a:pt x="3157757" y="2944332"/>
                </a:lnTo>
                <a:lnTo>
                  <a:pt x="3155431" y="2977045"/>
                </a:lnTo>
                <a:lnTo>
                  <a:pt x="3152023" y="3008303"/>
                </a:lnTo>
                <a:lnTo>
                  <a:pt x="3147446" y="3038054"/>
                </a:lnTo>
                <a:lnTo>
                  <a:pt x="3141612" y="3066249"/>
                </a:lnTo>
                <a:lnTo>
                  <a:pt x="3134435" y="3092837"/>
                </a:lnTo>
                <a:lnTo>
                  <a:pt x="3125826" y="3117770"/>
                </a:lnTo>
                <a:lnTo>
                  <a:pt x="3115700" y="3140995"/>
                </a:lnTo>
                <a:lnTo>
                  <a:pt x="3103967" y="3162464"/>
                </a:lnTo>
                <a:lnTo>
                  <a:pt x="3090542" y="3182126"/>
                </a:lnTo>
                <a:lnTo>
                  <a:pt x="3075336" y="3199931"/>
                </a:lnTo>
                <a:lnTo>
                  <a:pt x="3058263" y="3215828"/>
                </a:lnTo>
                <a:lnTo>
                  <a:pt x="3039235" y="3229769"/>
                </a:lnTo>
                <a:lnTo>
                  <a:pt x="3018165" y="3241703"/>
                </a:lnTo>
                <a:lnTo>
                  <a:pt x="2994965" y="3251579"/>
                </a:lnTo>
                <a:lnTo>
                  <a:pt x="2969548" y="3259347"/>
                </a:lnTo>
                <a:lnTo>
                  <a:pt x="2941828" y="3264959"/>
                </a:lnTo>
                <a:lnTo>
                  <a:pt x="2911716" y="3268362"/>
                </a:lnTo>
                <a:lnTo>
                  <a:pt x="2879125" y="3269508"/>
                </a:lnTo>
                <a:lnTo>
                  <a:pt x="2879125" y="3210798"/>
                </a:lnTo>
                <a:lnTo>
                  <a:pt x="2909252" y="3209444"/>
                </a:lnTo>
                <a:lnTo>
                  <a:pt x="2936490" y="3205429"/>
                </a:lnTo>
                <a:lnTo>
                  <a:pt x="2960977" y="3198827"/>
                </a:lnTo>
                <a:lnTo>
                  <a:pt x="2982849" y="3189707"/>
                </a:lnTo>
                <a:lnTo>
                  <a:pt x="3019298" y="3164203"/>
                </a:lnTo>
                <a:lnTo>
                  <a:pt x="3046935" y="3129493"/>
                </a:lnTo>
                <a:lnTo>
                  <a:pt x="3057792" y="3108864"/>
                </a:lnTo>
                <a:lnTo>
                  <a:pt x="3066859" y="3086149"/>
                </a:lnTo>
                <a:lnTo>
                  <a:pt x="3074271" y="3061419"/>
                </a:lnTo>
                <a:lnTo>
                  <a:pt x="3080167" y="3034745"/>
                </a:lnTo>
                <a:lnTo>
                  <a:pt x="3084682" y="3006199"/>
                </a:lnTo>
                <a:lnTo>
                  <a:pt x="3087956" y="2975855"/>
                </a:lnTo>
                <a:lnTo>
                  <a:pt x="3090124" y="2943781"/>
                </a:lnTo>
                <a:lnTo>
                  <a:pt x="3091324" y="2910051"/>
                </a:lnTo>
                <a:lnTo>
                  <a:pt x="3091694" y="2874737"/>
                </a:lnTo>
                <a:lnTo>
                  <a:pt x="3091305" y="2839769"/>
                </a:lnTo>
                <a:lnTo>
                  <a:pt x="3090050" y="2806365"/>
                </a:lnTo>
                <a:lnTo>
                  <a:pt x="3087800" y="2774596"/>
                </a:lnTo>
                <a:lnTo>
                  <a:pt x="3084425" y="2744535"/>
                </a:lnTo>
                <a:lnTo>
                  <a:pt x="3079795" y="2716252"/>
                </a:lnTo>
                <a:lnTo>
                  <a:pt x="3073782" y="2689820"/>
                </a:lnTo>
                <a:lnTo>
                  <a:pt x="3066253" y="2665311"/>
                </a:lnTo>
                <a:lnTo>
                  <a:pt x="3057081" y="2642795"/>
                </a:lnTo>
                <a:lnTo>
                  <a:pt x="3046134" y="2622345"/>
                </a:lnTo>
                <a:lnTo>
                  <a:pt x="3018400" y="2587929"/>
                </a:lnTo>
                <a:lnTo>
                  <a:pt x="2982013" y="2562635"/>
                </a:lnTo>
                <a:lnTo>
                  <a:pt x="2960250" y="2553590"/>
                </a:lnTo>
                <a:lnTo>
                  <a:pt x="2935934" y="2547039"/>
                </a:lnTo>
                <a:lnTo>
                  <a:pt x="2908936" y="2543056"/>
                </a:lnTo>
                <a:lnTo>
                  <a:pt x="2879125" y="2541713"/>
                </a:lnTo>
                <a:close/>
                <a:moveTo>
                  <a:pt x="2565698" y="2481992"/>
                </a:moveTo>
                <a:lnTo>
                  <a:pt x="2565698" y="2541713"/>
                </a:lnTo>
                <a:lnTo>
                  <a:pt x="2536056" y="2543056"/>
                </a:lnTo>
                <a:lnTo>
                  <a:pt x="2509206" y="2547039"/>
                </a:lnTo>
                <a:lnTo>
                  <a:pt x="2485020" y="2553590"/>
                </a:lnTo>
                <a:lnTo>
                  <a:pt x="2463369" y="2562635"/>
                </a:lnTo>
                <a:lnTo>
                  <a:pt x="2427161" y="2587929"/>
                </a:lnTo>
                <a:lnTo>
                  <a:pt x="2399551" y="2622345"/>
                </a:lnTo>
                <a:lnTo>
                  <a:pt x="2388649" y="2642795"/>
                </a:lnTo>
                <a:lnTo>
                  <a:pt x="2379511" y="2665311"/>
                </a:lnTo>
                <a:lnTo>
                  <a:pt x="2372009" y="2689820"/>
                </a:lnTo>
                <a:lnTo>
                  <a:pt x="2366014" y="2716252"/>
                </a:lnTo>
                <a:lnTo>
                  <a:pt x="2361397" y="2744535"/>
                </a:lnTo>
                <a:lnTo>
                  <a:pt x="2358029" y="2774596"/>
                </a:lnTo>
                <a:lnTo>
                  <a:pt x="2355783" y="2806365"/>
                </a:lnTo>
                <a:lnTo>
                  <a:pt x="2354530" y="2839769"/>
                </a:lnTo>
                <a:lnTo>
                  <a:pt x="2354141" y="2874737"/>
                </a:lnTo>
                <a:lnTo>
                  <a:pt x="2354520" y="2910051"/>
                </a:lnTo>
                <a:lnTo>
                  <a:pt x="2355746" y="2943781"/>
                </a:lnTo>
                <a:lnTo>
                  <a:pt x="2357952" y="2975855"/>
                </a:lnTo>
                <a:lnTo>
                  <a:pt x="2361268" y="3006199"/>
                </a:lnTo>
                <a:lnTo>
                  <a:pt x="2365828" y="3034745"/>
                </a:lnTo>
                <a:lnTo>
                  <a:pt x="2371764" y="3061419"/>
                </a:lnTo>
                <a:lnTo>
                  <a:pt x="2379208" y="3086149"/>
                </a:lnTo>
                <a:lnTo>
                  <a:pt x="2388293" y="3108864"/>
                </a:lnTo>
                <a:lnTo>
                  <a:pt x="2399150" y="3129493"/>
                </a:lnTo>
                <a:lnTo>
                  <a:pt x="2426712" y="3164203"/>
                </a:lnTo>
                <a:lnTo>
                  <a:pt x="2462952" y="3189707"/>
                </a:lnTo>
                <a:lnTo>
                  <a:pt x="2484656" y="3198827"/>
                </a:lnTo>
                <a:lnTo>
                  <a:pt x="2508928" y="3205429"/>
                </a:lnTo>
                <a:lnTo>
                  <a:pt x="2535898" y="3209444"/>
                </a:lnTo>
                <a:lnTo>
                  <a:pt x="2565698" y="3210798"/>
                </a:lnTo>
                <a:lnTo>
                  <a:pt x="2565698" y="3269508"/>
                </a:lnTo>
                <a:lnTo>
                  <a:pt x="2533244" y="3268362"/>
                </a:lnTo>
                <a:lnTo>
                  <a:pt x="2503241" y="3264959"/>
                </a:lnTo>
                <a:lnTo>
                  <a:pt x="2475603" y="3259347"/>
                </a:lnTo>
                <a:lnTo>
                  <a:pt x="2450247" y="3251579"/>
                </a:lnTo>
                <a:lnTo>
                  <a:pt x="2427085" y="3241703"/>
                </a:lnTo>
                <a:lnTo>
                  <a:pt x="2406034" y="3229769"/>
                </a:lnTo>
                <a:lnTo>
                  <a:pt x="2387009" y="3215828"/>
                </a:lnTo>
                <a:lnTo>
                  <a:pt x="2369924" y="3199931"/>
                </a:lnTo>
                <a:lnTo>
                  <a:pt x="2354694" y="3182126"/>
                </a:lnTo>
                <a:lnTo>
                  <a:pt x="2341235" y="3162464"/>
                </a:lnTo>
                <a:lnTo>
                  <a:pt x="2329461" y="3140995"/>
                </a:lnTo>
                <a:lnTo>
                  <a:pt x="2319288" y="3117770"/>
                </a:lnTo>
                <a:lnTo>
                  <a:pt x="2310630" y="3092837"/>
                </a:lnTo>
                <a:lnTo>
                  <a:pt x="2303402" y="3066249"/>
                </a:lnTo>
                <a:lnTo>
                  <a:pt x="2297519" y="3038054"/>
                </a:lnTo>
                <a:lnTo>
                  <a:pt x="2292897" y="3008303"/>
                </a:lnTo>
                <a:lnTo>
                  <a:pt x="2289449" y="2977045"/>
                </a:lnTo>
                <a:lnTo>
                  <a:pt x="2287092" y="2944332"/>
                </a:lnTo>
                <a:lnTo>
                  <a:pt x="2285740" y="2910212"/>
                </a:lnTo>
                <a:lnTo>
                  <a:pt x="2285309" y="2874737"/>
                </a:lnTo>
                <a:lnTo>
                  <a:pt x="2285755" y="2839413"/>
                </a:lnTo>
                <a:lnTo>
                  <a:pt x="2287147" y="2805445"/>
                </a:lnTo>
                <a:lnTo>
                  <a:pt x="2289566" y="2772881"/>
                </a:lnTo>
                <a:lnTo>
                  <a:pt x="2293091" y="2741770"/>
                </a:lnTo>
                <a:lnTo>
                  <a:pt x="2297804" y="2712163"/>
                </a:lnTo>
                <a:lnTo>
                  <a:pt x="2303784" y="2684109"/>
                </a:lnTo>
                <a:lnTo>
                  <a:pt x="2311113" y="2657656"/>
                </a:lnTo>
                <a:lnTo>
                  <a:pt x="2319870" y="2632854"/>
                </a:lnTo>
                <a:lnTo>
                  <a:pt x="2330137" y="2609754"/>
                </a:lnTo>
                <a:lnTo>
                  <a:pt x="2341994" y="2588403"/>
                </a:lnTo>
                <a:lnTo>
                  <a:pt x="2355521" y="2568850"/>
                </a:lnTo>
                <a:lnTo>
                  <a:pt x="2370798" y="2551147"/>
                </a:lnTo>
                <a:lnTo>
                  <a:pt x="2387907" y="2535342"/>
                </a:lnTo>
                <a:lnTo>
                  <a:pt x="2406927" y="2521483"/>
                </a:lnTo>
                <a:lnTo>
                  <a:pt x="2427939" y="2509622"/>
                </a:lnTo>
                <a:lnTo>
                  <a:pt x="2451024" y="2499807"/>
                </a:lnTo>
                <a:lnTo>
                  <a:pt x="2476262" y="2492087"/>
                </a:lnTo>
                <a:lnTo>
                  <a:pt x="2503733" y="2486511"/>
                </a:lnTo>
                <a:lnTo>
                  <a:pt x="2533518" y="2483129"/>
                </a:lnTo>
                <a:close/>
                <a:moveTo>
                  <a:pt x="4308476" y="2413668"/>
                </a:moveTo>
                <a:lnTo>
                  <a:pt x="4389455" y="2413668"/>
                </a:lnTo>
                <a:lnTo>
                  <a:pt x="4503836" y="2623200"/>
                </a:lnTo>
                <a:lnTo>
                  <a:pt x="4387430" y="2838804"/>
                </a:lnTo>
                <a:lnTo>
                  <a:pt x="4308476" y="2838804"/>
                </a:lnTo>
                <a:lnTo>
                  <a:pt x="4407674" y="2653567"/>
                </a:lnTo>
                <a:lnTo>
                  <a:pt x="4017966" y="2653567"/>
                </a:lnTo>
                <a:lnTo>
                  <a:pt x="4017966" y="2588784"/>
                </a:lnTo>
                <a:lnTo>
                  <a:pt x="4405650" y="2588784"/>
                </a:lnTo>
                <a:close/>
                <a:moveTo>
                  <a:pt x="2147951" y="2190467"/>
                </a:moveTo>
                <a:lnTo>
                  <a:pt x="2173557" y="2192697"/>
                </a:lnTo>
                <a:lnTo>
                  <a:pt x="2193375" y="2200715"/>
                </a:lnTo>
                <a:lnTo>
                  <a:pt x="2206169" y="2216516"/>
                </a:lnTo>
                <a:lnTo>
                  <a:pt x="2210708" y="2242090"/>
                </a:lnTo>
                <a:lnTo>
                  <a:pt x="2206169" y="2268835"/>
                </a:lnTo>
                <a:lnTo>
                  <a:pt x="2193375" y="2285237"/>
                </a:lnTo>
                <a:lnTo>
                  <a:pt x="2173557" y="2293477"/>
                </a:lnTo>
                <a:lnTo>
                  <a:pt x="2147951" y="2295739"/>
                </a:lnTo>
                <a:lnTo>
                  <a:pt x="2122345" y="2293477"/>
                </a:lnTo>
                <a:lnTo>
                  <a:pt x="2102527" y="2285237"/>
                </a:lnTo>
                <a:lnTo>
                  <a:pt x="2089732" y="2268835"/>
                </a:lnTo>
                <a:lnTo>
                  <a:pt x="2085193" y="2242090"/>
                </a:lnTo>
                <a:lnTo>
                  <a:pt x="2089874" y="2216516"/>
                </a:lnTo>
                <a:lnTo>
                  <a:pt x="2102907" y="2200715"/>
                </a:lnTo>
                <a:lnTo>
                  <a:pt x="2122772" y="2192697"/>
                </a:lnTo>
                <a:close/>
                <a:moveTo>
                  <a:pt x="784523" y="2190467"/>
                </a:moveTo>
                <a:lnTo>
                  <a:pt x="810128" y="2192697"/>
                </a:lnTo>
                <a:lnTo>
                  <a:pt x="829946" y="2200715"/>
                </a:lnTo>
                <a:lnTo>
                  <a:pt x="842741" y="2216516"/>
                </a:lnTo>
                <a:lnTo>
                  <a:pt x="847281" y="2242090"/>
                </a:lnTo>
                <a:lnTo>
                  <a:pt x="842741" y="2268835"/>
                </a:lnTo>
                <a:lnTo>
                  <a:pt x="829946" y="2285237"/>
                </a:lnTo>
                <a:lnTo>
                  <a:pt x="810128" y="2293477"/>
                </a:lnTo>
                <a:lnTo>
                  <a:pt x="784523" y="2295739"/>
                </a:lnTo>
                <a:lnTo>
                  <a:pt x="758916" y="2293477"/>
                </a:lnTo>
                <a:lnTo>
                  <a:pt x="739098" y="2285237"/>
                </a:lnTo>
                <a:lnTo>
                  <a:pt x="726304" y="2268835"/>
                </a:lnTo>
                <a:lnTo>
                  <a:pt x="721765" y="2242090"/>
                </a:lnTo>
                <a:lnTo>
                  <a:pt x="726446" y="2216516"/>
                </a:lnTo>
                <a:lnTo>
                  <a:pt x="739479" y="2200715"/>
                </a:lnTo>
                <a:lnTo>
                  <a:pt x="759344" y="2192697"/>
                </a:lnTo>
                <a:close/>
                <a:moveTo>
                  <a:pt x="62758" y="2190467"/>
                </a:moveTo>
                <a:lnTo>
                  <a:pt x="88364" y="2192697"/>
                </a:lnTo>
                <a:lnTo>
                  <a:pt x="108181" y="2200715"/>
                </a:lnTo>
                <a:lnTo>
                  <a:pt x="120977" y="2216516"/>
                </a:lnTo>
                <a:lnTo>
                  <a:pt x="125516" y="2242090"/>
                </a:lnTo>
                <a:lnTo>
                  <a:pt x="120977" y="2268835"/>
                </a:lnTo>
                <a:lnTo>
                  <a:pt x="108181" y="2285237"/>
                </a:lnTo>
                <a:lnTo>
                  <a:pt x="88364" y="2293477"/>
                </a:lnTo>
                <a:lnTo>
                  <a:pt x="62758" y="2295739"/>
                </a:lnTo>
                <a:lnTo>
                  <a:pt x="37151" y="2293477"/>
                </a:lnTo>
                <a:lnTo>
                  <a:pt x="17334" y="2285237"/>
                </a:lnTo>
                <a:lnTo>
                  <a:pt x="4539" y="2268835"/>
                </a:lnTo>
                <a:lnTo>
                  <a:pt x="0" y="2242090"/>
                </a:lnTo>
                <a:lnTo>
                  <a:pt x="4681" y="2216516"/>
                </a:lnTo>
                <a:lnTo>
                  <a:pt x="17713" y="2200715"/>
                </a:lnTo>
                <a:lnTo>
                  <a:pt x="37578" y="2192697"/>
                </a:lnTo>
                <a:close/>
                <a:moveTo>
                  <a:pt x="4915430" y="1822022"/>
                </a:moveTo>
                <a:lnTo>
                  <a:pt x="4996408" y="1822022"/>
                </a:lnTo>
                <a:lnTo>
                  <a:pt x="5110790" y="2031553"/>
                </a:lnTo>
                <a:lnTo>
                  <a:pt x="4994384" y="2247158"/>
                </a:lnTo>
                <a:lnTo>
                  <a:pt x="4915430" y="2247158"/>
                </a:lnTo>
                <a:lnTo>
                  <a:pt x="5014628" y="2061920"/>
                </a:lnTo>
                <a:lnTo>
                  <a:pt x="4624920" y="2061920"/>
                </a:lnTo>
                <a:lnTo>
                  <a:pt x="4624920" y="1997137"/>
                </a:lnTo>
                <a:lnTo>
                  <a:pt x="5012604" y="1997137"/>
                </a:lnTo>
                <a:close/>
                <a:moveTo>
                  <a:pt x="2876800" y="1822016"/>
                </a:moveTo>
                <a:lnTo>
                  <a:pt x="2957778" y="1822016"/>
                </a:lnTo>
                <a:lnTo>
                  <a:pt x="3072160" y="2031547"/>
                </a:lnTo>
                <a:lnTo>
                  <a:pt x="2955754" y="2247152"/>
                </a:lnTo>
                <a:lnTo>
                  <a:pt x="2876800" y="2247152"/>
                </a:lnTo>
                <a:lnTo>
                  <a:pt x="2975998" y="2061915"/>
                </a:lnTo>
                <a:lnTo>
                  <a:pt x="2586290" y="2061915"/>
                </a:lnTo>
                <a:lnTo>
                  <a:pt x="2586290" y="1997132"/>
                </a:lnTo>
                <a:lnTo>
                  <a:pt x="2973974" y="1997132"/>
                </a:lnTo>
                <a:close/>
                <a:moveTo>
                  <a:pt x="1513768" y="1822016"/>
                </a:moveTo>
                <a:lnTo>
                  <a:pt x="1594748" y="1822016"/>
                </a:lnTo>
                <a:lnTo>
                  <a:pt x="1709128" y="2031547"/>
                </a:lnTo>
                <a:lnTo>
                  <a:pt x="1592723" y="2247152"/>
                </a:lnTo>
                <a:lnTo>
                  <a:pt x="1513768" y="2247152"/>
                </a:lnTo>
                <a:lnTo>
                  <a:pt x="1612966" y="2061915"/>
                </a:lnTo>
                <a:lnTo>
                  <a:pt x="1223259" y="2061915"/>
                </a:lnTo>
                <a:lnTo>
                  <a:pt x="1223259" y="1997132"/>
                </a:lnTo>
                <a:lnTo>
                  <a:pt x="1610942" y="1997132"/>
                </a:lnTo>
                <a:close/>
                <a:moveTo>
                  <a:pt x="2147951" y="1765330"/>
                </a:moveTo>
                <a:lnTo>
                  <a:pt x="2173557" y="1767433"/>
                </a:lnTo>
                <a:lnTo>
                  <a:pt x="2193375" y="1775325"/>
                </a:lnTo>
                <a:lnTo>
                  <a:pt x="2206169" y="1791378"/>
                </a:lnTo>
                <a:lnTo>
                  <a:pt x="2210708" y="1817966"/>
                </a:lnTo>
                <a:lnTo>
                  <a:pt x="2206169" y="1843698"/>
                </a:lnTo>
                <a:lnTo>
                  <a:pt x="2193375" y="1859846"/>
                </a:lnTo>
                <a:lnTo>
                  <a:pt x="2173557" y="1868213"/>
                </a:lnTo>
                <a:lnTo>
                  <a:pt x="2147951" y="1870601"/>
                </a:lnTo>
                <a:lnTo>
                  <a:pt x="2122930" y="1868213"/>
                </a:lnTo>
                <a:lnTo>
                  <a:pt x="2103413" y="1859846"/>
                </a:lnTo>
                <a:lnTo>
                  <a:pt x="2090728" y="1843698"/>
                </a:lnTo>
                <a:lnTo>
                  <a:pt x="2086205" y="1817966"/>
                </a:lnTo>
                <a:lnTo>
                  <a:pt x="2090728" y="1791378"/>
                </a:lnTo>
                <a:lnTo>
                  <a:pt x="2103413" y="1775325"/>
                </a:lnTo>
                <a:lnTo>
                  <a:pt x="2122930" y="1767433"/>
                </a:lnTo>
                <a:close/>
                <a:moveTo>
                  <a:pt x="784523" y="1765330"/>
                </a:moveTo>
                <a:lnTo>
                  <a:pt x="810128" y="1767433"/>
                </a:lnTo>
                <a:lnTo>
                  <a:pt x="829946" y="1775325"/>
                </a:lnTo>
                <a:lnTo>
                  <a:pt x="842741" y="1791378"/>
                </a:lnTo>
                <a:lnTo>
                  <a:pt x="847281" y="1817966"/>
                </a:lnTo>
                <a:lnTo>
                  <a:pt x="842741" y="1843698"/>
                </a:lnTo>
                <a:lnTo>
                  <a:pt x="829946" y="1859846"/>
                </a:lnTo>
                <a:lnTo>
                  <a:pt x="810128" y="1868213"/>
                </a:lnTo>
                <a:lnTo>
                  <a:pt x="784523" y="1870601"/>
                </a:lnTo>
                <a:lnTo>
                  <a:pt x="759502" y="1868213"/>
                </a:lnTo>
                <a:lnTo>
                  <a:pt x="739984" y="1859846"/>
                </a:lnTo>
                <a:lnTo>
                  <a:pt x="727300" y="1843698"/>
                </a:lnTo>
                <a:lnTo>
                  <a:pt x="722777" y="1817966"/>
                </a:lnTo>
                <a:lnTo>
                  <a:pt x="727300" y="1791378"/>
                </a:lnTo>
                <a:lnTo>
                  <a:pt x="739984" y="1775325"/>
                </a:lnTo>
                <a:lnTo>
                  <a:pt x="759502" y="1767433"/>
                </a:lnTo>
                <a:close/>
                <a:moveTo>
                  <a:pt x="62758" y="1765330"/>
                </a:moveTo>
                <a:lnTo>
                  <a:pt x="88364" y="1767433"/>
                </a:lnTo>
                <a:lnTo>
                  <a:pt x="108181" y="1775325"/>
                </a:lnTo>
                <a:lnTo>
                  <a:pt x="120977" y="1791378"/>
                </a:lnTo>
                <a:lnTo>
                  <a:pt x="125516" y="1817966"/>
                </a:lnTo>
                <a:lnTo>
                  <a:pt x="120977" y="1843698"/>
                </a:lnTo>
                <a:lnTo>
                  <a:pt x="108181" y="1859846"/>
                </a:lnTo>
                <a:lnTo>
                  <a:pt x="88364" y="1868213"/>
                </a:lnTo>
                <a:lnTo>
                  <a:pt x="62758" y="1870601"/>
                </a:lnTo>
                <a:lnTo>
                  <a:pt x="37736" y="1868213"/>
                </a:lnTo>
                <a:lnTo>
                  <a:pt x="18219" y="1859846"/>
                </a:lnTo>
                <a:lnTo>
                  <a:pt x="5535" y="1843698"/>
                </a:lnTo>
                <a:lnTo>
                  <a:pt x="1012" y="1817966"/>
                </a:lnTo>
                <a:lnTo>
                  <a:pt x="5535" y="1791378"/>
                </a:lnTo>
                <a:lnTo>
                  <a:pt x="18219" y="1775325"/>
                </a:lnTo>
                <a:lnTo>
                  <a:pt x="37736" y="1767433"/>
                </a:lnTo>
                <a:close/>
                <a:moveTo>
                  <a:pt x="3434660" y="1570981"/>
                </a:moveTo>
                <a:lnTo>
                  <a:pt x="3466840" y="1572118"/>
                </a:lnTo>
                <a:lnTo>
                  <a:pt x="3496625" y="1575500"/>
                </a:lnTo>
                <a:lnTo>
                  <a:pt x="3524096" y="1581076"/>
                </a:lnTo>
                <a:lnTo>
                  <a:pt x="3549334" y="1588796"/>
                </a:lnTo>
                <a:lnTo>
                  <a:pt x="3572418" y="1598611"/>
                </a:lnTo>
                <a:lnTo>
                  <a:pt x="3593431" y="1610473"/>
                </a:lnTo>
                <a:lnTo>
                  <a:pt x="3612450" y="1624331"/>
                </a:lnTo>
                <a:lnTo>
                  <a:pt x="3629559" y="1640136"/>
                </a:lnTo>
                <a:lnTo>
                  <a:pt x="3644837" y="1657839"/>
                </a:lnTo>
                <a:lnTo>
                  <a:pt x="3658363" y="1677391"/>
                </a:lnTo>
                <a:lnTo>
                  <a:pt x="3670219" y="1698743"/>
                </a:lnTo>
                <a:lnTo>
                  <a:pt x="3680486" y="1721844"/>
                </a:lnTo>
                <a:lnTo>
                  <a:pt x="3689244" y="1746646"/>
                </a:lnTo>
                <a:lnTo>
                  <a:pt x="3696573" y="1773098"/>
                </a:lnTo>
                <a:lnTo>
                  <a:pt x="3702553" y="1801152"/>
                </a:lnTo>
                <a:lnTo>
                  <a:pt x="3707266" y="1830760"/>
                </a:lnTo>
                <a:lnTo>
                  <a:pt x="3710792" y="1861870"/>
                </a:lnTo>
                <a:lnTo>
                  <a:pt x="3713210" y="1894434"/>
                </a:lnTo>
                <a:lnTo>
                  <a:pt x="3714602" y="1928402"/>
                </a:lnTo>
                <a:lnTo>
                  <a:pt x="3715048" y="1963726"/>
                </a:lnTo>
                <a:lnTo>
                  <a:pt x="3714624" y="1999201"/>
                </a:lnTo>
                <a:lnTo>
                  <a:pt x="3713292" y="2033321"/>
                </a:lnTo>
                <a:lnTo>
                  <a:pt x="3710966" y="2066034"/>
                </a:lnTo>
                <a:lnTo>
                  <a:pt x="3707557" y="2097292"/>
                </a:lnTo>
                <a:lnTo>
                  <a:pt x="3702980" y="2127043"/>
                </a:lnTo>
                <a:lnTo>
                  <a:pt x="3697147" y="2155238"/>
                </a:lnTo>
                <a:lnTo>
                  <a:pt x="3689969" y="2181827"/>
                </a:lnTo>
                <a:lnTo>
                  <a:pt x="3681361" y="2206759"/>
                </a:lnTo>
                <a:lnTo>
                  <a:pt x="3671234" y="2229984"/>
                </a:lnTo>
                <a:lnTo>
                  <a:pt x="3659502" y="2251453"/>
                </a:lnTo>
                <a:lnTo>
                  <a:pt x="3646077" y="2271115"/>
                </a:lnTo>
                <a:lnTo>
                  <a:pt x="3630871" y="2288919"/>
                </a:lnTo>
                <a:lnTo>
                  <a:pt x="3613798" y="2304817"/>
                </a:lnTo>
                <a:lnTo>
                  <a:pt x="3594769" y="2318758"/>
                </a:lnTo>
                <a:lnTo>
                  <a:pt x="3573700" y="2330691"/>
                </a:lnTo>
                <a:lnTo>
                  <a:pt x="3550500" y="2340567"/>
                </a:lnTo>
                <a:lnTo>
                  <a:pt x="3525083" y="2348336"/>
                </a:lnTo>
                <a:lnTo>
                  <a:pt x="3497363" y="2353947"/>
                </a:lnTo>
                <a:lnTo>
                  <a:pt x="3467251" y="2357351"/>
                </a:lnTo>
                <a:lnTo>
                  <a:pt x="3434660" y="2358496"/>
                </a:lnTo>
                <a:lnTo>
                  <a:pt x="3434660" y="2299787"/>
                </a:lnTo>
                <a:lnTo>
                  <a:pt x="3464787" y="2298433"/>
                </a:lnTo>
                <a:lnTo>
                  <a:pt x="3492025" y="2294418"/>
                </a:lnTo>
                <a:lnTo>
                  <a:pt x="3516511" y="2287816"/>
                </a:lnTo>
                <a:lnTo>
                  <a:pt x="3538383" y="2278696"/>
                </a:lnTo>
                <a:lnTo>
                  <a:pt x="3574832" y="2253193"/>
                </a:lnTo>
                <a:lnTo>
                  <a:pt x="3602470" y="2218482"/>
                </a:lnTo>
                <a:lnTo>
                  <a:pt x="3613327" y="2197853"/>
                </a:lnTo>
                <a:lnTo>
                  <a:pt x="3622393" y="2175138"/>
                </a:lnTo>
                <a:lnTo>
                  <a:pt x="3629805" y="2150408"/>
                </a:lnTo>
                <a:lnTo>
                  <a:pt x="3635701" y="2123734"/>
                </a:lnTo>
                <a:lnTo>
                  <a:pt x="3640217" y="2095189"/>
                </a:lnTo>
                <a:lnTo>
                  <a:pt x="3643490" y="2064844"/>
                </a:lnTo>
                <a:lnTo>
                  <a:pt x="3645659" y="2032771"/>
                </a:lnTo>
                <a:lnTo>
                  <a:pt x="3646859" y="1999041"/>
                </a:lnTo>
                <a:lnTo>
                  <a:pt x="3647229" y="1963726"/>
                </a:lnTo>
                <a:lnTo>
                  <a:pt x="3646839" y="1928758"/>
                </a:lnTo>
                <a:lnTo>
                  <a:pt x="3645584" y="1895355"/>
                </a:lnTo>
                <a:lnTo>
                  <a:pt x="3643335" y="1863586"/>
                </a:lnTo>
                <a:lnTo>
                  <a:pt x="3639960" y="1833525"/>
                </a:lnTo>
                <a:lnTo>
                  <a:pt x="3635330" y="1805242"/>
                </a:lnTo>
                <a:lnTo>
                  <a:pt x="3629316" y="1778810"/>
                </a:lnTo>
                <a:lnTo>
                  <a:pt x="3621788" y="1754300"/>
                </a:lnTo>
                <a:lnTo>
                  <a:pt x="3612615" y="1731785"/>
                </a:lnTo>
                <a:lnTo>
                  <a:pt x="3601669" y="1711335"/>
                </a:lnTo>
                <a:lnTo>
                  <a:pt x="3573935" y="1676919"/>
                </a:lnTo>
                <a:lnTo>
                  <a:pt x="3537548" y="1651625"/>
                </a:lnTo>
                <a:lnTo>
                  <a:pt x="3515784" y="1642579"/>
                </a:lnTo>
                <a:lnTo>
                  <a:pt x="3491469" y="1636029"/>
                </a:lnTo>
                <a:lnTo>
                  <a:pt x="3464471" y="1632046"/>
                </a:lnTo>
                <a:lnTo>
                  <a:pt x="3434660" y="1630702"/>
                </a:lnTo>
                <a:close/>
                <a:moveTo>
                  <a:pt x="3579243" y="1279461"/>
                </a:moveTo>
                <a:lnTo>
                  <a:pt x="3604850" y="1281691"/>
                </a:lnTo>
                <a:lnTo>
                  <a:pt x="3624668" y="1289709"/>
                </a:lnTo>
                <a:lnTo>
                  <a:pt x="3637463" y="1305510"/>
                </a:lnTo>
                <a:lnTo>
                  <a:pt x="3642002" y="1331085"/>
                </a:lnTo>
                <a:lnTo>
                  <a:pt x="3637463" y="1357829"/>
                </a:lnTo>
                <a:lnTo>
                  <a:pt x="3624668" y="1374231"/>
                </a:lnTo>
                <a:lnTo>
                  <a:pt x="3604850" y="1382471"/>
                </a:lnTo>
                <a:lnTo>
                  <a:pt x="3579243" y="1384733"/>
                </a:lnTo>
                <a:lnTo>
                  <a:pt x="3553637" y="1382471"/>
                </a:lnTo>
                <a:lnTo>
                  <a:pt x="3533820" y="1374231"/>
                </a:lnTo>
                <a:lnTo>
                  <a:pt x="3521024" y="1357829"/>
                </a:lnTo>
                <a:lnTo>
                  <a:pt x="3516485" y="1331085"/>
                </a:lnTo>
                <a:lnTo>
                  <a:pt x="3521166" y="1305510"/>
                </a:lnTo>
                <a:lnTo>
                  <a:pt x="3534199" y="1289709"/>
                </a:lnTo>
                <a:lnTo>
                  <a:pt x="3554064" y="1281691"/>
                </a:lnTo>
                <a:close/>
                <a:moveTo>
                  <a:pt x="1609095" y="1279455"/>
                </a:moveTo>
                <a:lnTo>
                  <a:pt x="1634701" y="1281685"/>
                </a:lnTo>
                <a:lnTo>
                  <a:pt x="1654519" y="1289703"/>
                </a:lnTo>
                <a:lnTo>
                  <a:pt x="1667313" y="1305504"/>
                </a:lnTo>
                <a:lnTo>
                  <a:pt x="1671852" y="1331078"/>
                </a:lnTo>
                <a:lnTo>
                  <a:pt x="1667313" y="1357823"/>
                </a:lnTo>
                <a:lnTo>
                  <a:pt x="1654519" y="1374224"/>
                </a:lnTo>
                <a:lnTo>
                  <a:pt x="1634701" y="1382465"/>
                </a:lnTo>
                <a:lnTo>
                  <a:pt x="1609095" y="1384726"/>
                </a:lnTo>
                <a:lnTo>
                  <a:pt x="1583489" y="1382465"/>
                </a:lnTo>
                <a:lnTo>
                  <a:pt x="1563671" y="1374224"/>
                </a:lnTo>
                <a:lnTo>
                  <a:pt x="1550877" y="1357823"/>
                </a:lnTo>
                <a:lnTo>
                  <a:pt x="1546337" y="1331078"/>
                </a:lnTo>
                <a:lnTo>
                  <a:pt x="1551018" y="1305504"/>
                </a:lnTo>
                <a:lnTo>
                  <a:pt x="1564051" y="1289703"/>
                </a:lnTo>
                <a:lnTo>
                  <a:pt x="1583916" y="1281685"/>
                </a:lnTo>
                <a:close/>
                <a:moveTo>
                  <a:pt x="4308476" y="1229360"/>
                </a:moveTo>
                <a:lnTo>
                  <a:pt x="4389455" y="1229360"/>
                </a:lnTo>
                <a:lnTo>
                  <a:pt x="4503836" y="1438891"/>
                </a:lnTo>
                <a:lnTo>
                  <a:pt x="4387430" y="1654496"/>
                </a:lnTo>
                <a:lnTo>
                  <a:pt x="4308476" y="1654496"/>
                </a:lnTo>
                <a:lnTo>
                  <a:pt x="4407674" y="1469259"/>
                </a:lnTo>
                <a:lnTo>
                  <a:pt x="4017966" y="1469259"/>
                </a:lnTo>
                <a:lnTo>
                  <a:pt x="4017966" y="1404475"/>
                </a:lnTo>
                <a:lnTo>
                  <a:pt x="4405650" y="1404475"/>
                </a:lnTo>
                <a:close/>
                <a:moveTo>
                  <a:pt x="3579243" y="854324"/>
                </a:moveTo>
                <a:lnTo>
                  <a:pt x="3604850" y="856427"/>
                </a:lnTo>
                <a:lnTo>
                  <a:pt x="3624668" y="864320"/>
                </a:lnTo>
                <a:lnTo>
                  <a:pt x="3637463" y="880373"/>
                </a:lnTo>
                <a:lnTo>
                  <a:pt x="3642002" y="906960"/>
                </a:lnTo>
                <a:lnTo>
                  <a:pt x="3637463" y="932693"/>
                </a:lnTo>
                <a:lnTo>
                  <a:pt x="3624668" y="948841"/>
                </a:lnTo>
                <a:lnTo>
                  <a:pt x="3604850" y="957207"/>
                </a:lnTo>
                <a:lnTo>
                  <a:pt x="3579243" y="959596"/>
                </a:lnTo>
                <a:lnTo>
                  <a:pt x="3554223" y="957207"/>
                </a:lnTo>
                <a:lnTo>
                  <a:pt x="3534706" y="948841"/>
                </a:lnTo>
                <a:lnTo>
                  <a:pt x="3522021" y="932693"/>
                </a:lnTo>
                <a:lnTo>
                  <a:pt x="3517498" y="906960"/>
                </a:lnTo>
                <a:lnTo>
                  <a:pt x="3522021" y="880373"/>
                </a:lnTo>
                <a:lnTo>
                  <a:pt x="3534706" y="864320"/>
                </a:lnTo>
                <a:lnTo>
                  <a:pt x="3554223" y="856427"/>
                </a:lnTo>
                <a:close/>
                <a:moveTo>
                  <a:pt x="1609095" y="854318"/>
                </a:moveTo>
                <a:lnTo>
                  <a:pt x="1634701" y="856421"/>
                </a:lnTo>
                <a:lnTo>
                  <a:pt x="1654519" y="864313"/>
                </a:lnTo>
                <a:lnTo>
                  <a:pt x="1667313" y="880366"/>
                </a:lnTo>
                <a:lnTo>
                  <a:pt x="1671852" y="906953"/>
                </a:lnTo>
                <a:lnTo>
                  <a:pt x="1667313" y="932686"/>
                </a:lnTo>
                <a:lnTo>
                  <a:pt x="1654519" y="948834"/>
                </a:lnTo>
                <a:lnTo>
                  <a:pt x="1634701" y="957201"/>
                </a:lnTo>
                <a:lnTo>
                  <a:pt x="1609095" y="959589"/>
                </a:lnTo>
                <a:lnTo>
                  <a:pt x="1584074" y="957201"/>
                </a:lnTo>
                <a:lnTo>
                  <a:pt x="1564557" y="948834"/>
                </a:lnTo>
                <a:lnTo>
                  <a:pt x="1551872" y="932686"/>
                </a:lnTo>
                <a:lnTo>
                  <a:pt x="1547349" y="906953"/>
                </a:lnTo>
                <a:lnTo>
                  <a:pt x="1551872" y="880366"/>
                </a:lnTo>
                <a:lnTo>
                  <a:pt x="1564557" y="864313"/>
                </a:lnTo>
                <a:lnTo>
                  <a:pt x="1584074" y="856421"/>
                </a:lnTo>
                <a:close/>
                <a:moveTo>
                  <a:pt x="2879125" y="659976"/>
                </a:moveTo>
                <a:lnTo>
                  <a:pt x="2911305" y="661113"/>
                </a:lnTo>
                <a:lnTo>
                  <a:pt x="2941090" y="664495"/>
                </a:lnTo>
                <a:lnTo>
                  <a:pt x="2968561" y="670071"/>
                </a:lnTo>
                <a:lnTo>
                  <a:pt x="2993799" y="677791"/>
                </a:lnTo>
                <a:lnTo>
                  <a:pt x="3016884" y="687607"/>
                </a:lnTo>
                <a:lnTo>
                  <a:pt x="3037896" y="699468"/>
                </a:lnTo>
                <a:lnTo>
                  <a:pt x="3056916" y="713326"/>
                </a:lnTo>
                <a:lnTo>
                  <a:pt x="3074024" y="729131"/>
                </a:lnTo>
                <a:lnTo>
                  <a:pt x="3089302" y="746834"/>
                </a:lnTo>
                <a:lnTo>
                  <a:pt x="3102829" y="766386"/>
                </a:lnTo>
                <a:lnTo>
                  <a:pt x="3114685" y="787738"/>
                </a:lnTo>
                <a:lnTo>
                  <a:pt x="3124952" y="810839"/>
                </a:lnTo>
                <a:lnTo>
                  <a:pt x="3133709" y="835640"/>
                </a:lnTo>
                <a:lnTo>
                  <a:pt x="3141039" y="862093"/>
                </a:lnTo>
                <a:lnTo>
                  <a:pt x="3147019" y="890147"/>
                </a:lnTo>
                <a:lnTo>
                  <a:pt x="3151732" y="919755"/>
                </a:lnTo>
                <a:lnTo>
                  <a:pt x="3155257" y="950865"/>
                </a:lnTo>
                <a:lnTo>
                  <a:pt x="3157675" y="983429"/>
                </a:lnTo>
                <a:lnTo>
                  <a:pt x="3159067" y="1017397"/>
                </a:lnTo>
                <a:lnTo>
                  <a:pt x="3159514" y="1052721"/>
                </a:lnTo>
                <a:lnTo>
                  <a:pt x="3159089" y="1088196"/>
                </a:lnTo>
                <a:lnTo>
                  <a:pt x="3157757" y="1122316"/>
                </a:lnTo>
                <a:lnTo>
                  <a:pt x="3155431" y="1155029"/>
                </a:lnTo>
                <a:lnTo>
                  <a:pt x="3152023" y="1186287"/>
                </a:lnTo>
                <a:lnTo>
                  <a:pt x="3147446" y="1216038"/>
                </a:lnTo>
                <a:lnTo>
                  <a:pt x="3141612" y="1244233"/>
                </a:lnTo>
                <a:lnTo>
                  <a:pt x="3134435" y="1270822"/>
                </a:lnTo>
                <a:lnTo>
                  <a:pt x="3125826" y="1295754"/>
                </a:lnTo>
                <a:lnTo>
                  <a:pt x="3115700" y="1318979"/>
                </a:lnTo>
                <a:lnTo>
                  <a:pt x="3103967" y="1340448"/>
                </a:lnTo>
                <a:lnTo>
                  <a:pt x="3090542" y="1360110"/>
                </a:lnTo>
                <a:lnTo>
                  <a:pt x="3075336" y="1377914"/>
                </a:lnTo>
                <a:lnTo>
                  <a:pt x="3058263" y="1393812"/>
                </a:lnTo>
                <a:lnTo>
                  <a:pt x="3039235" y="1407753"/>
                </a:lnTo>
                <a:lnTo>
                  <a:pt x="3018165" y="1419686"/>
                </a:lnTo>
                <a:lnTo>
                  <a:pt x="2994965" y="1429562"/>
                </a:lnTo>
                <a:lnTo>
                  <a:pt x="2969548" y="1437331"/>
                </a:lnTo>
                <a:lnTo>
                  <a:pt x="2941828" y="1442942"/>
                </a:lnTo>
                <a:lnTo>
                  <a:pt x="2911716" y="1446346"/>
                </a:lnTo>
                <a:lnTo>
                  <a:pt x="2879125" y="1447491"/>
                </a:lnTo>
                <a:lnTo>
                  <a:pt x="2879125" y="1388782"/>
                </a:lnTo>
                <a:lnTo>
                  <a:pt x="2909252" y="1387428"/>
                </a:lnTo>
                <a:lnTo>
                  <a:pt x="2936490" y="1383413"/>
                </a:lnTo>
                <a:lnTo>
                  <a:pt x="2960977" y="1376811"/>
                </a:lnTo>
                <a:lnTo>
                  <a:pt x="2982849" y="1367691"/>
                </a:lnTo>
                <a:lnTo>
                  <a:pt x="3019298" y="1342188"/>
                </a:lnTo>
                <a:lnTo>
                  <a:pt x="3046935" y="1307477"/>
                </a:lnTo>
                <a:lnTo>
                  <a:pt x="3057792" y="1286848"/>
                </a:lnTo>
                <a:lnTo>
                  <a:pt x="3066859" y="1264133"/>
                </a:lnTo>
                <a:lnTo>
                  <a:pt x="3074271" y="1239402"/>
                </a:lnTo>
                <a:lnTo>
                  <a:pt x="3080167" y="1212729"/>
                </a:lnTo>
                <a:lnTo>
                  <a:pt x="3084682" y="1184184"/>
                </a:lnTo>
                <a:lnTo>
                  <a:pt x="3087956" y="1153838"/>
                </a:lnTo>
                <a:lnTo>
                  <a:pt x="3090124" y="1121765"/>
                </a:lnTo>
                <a:lnTo>
                  <a:pt x="3091324" y="1088036"/>
                </a:lnTo>
                <a:lnTo>
                  <a:pt x="3091694" y="1052721"/>
                </a:lnTo>
                <a:lnTo>
                  <a:pt x="3091305" y="1017753"/>
                </a:lnTo>
                <a:lnTo>
                  <a:pt x="3090050" y="984350"/>
                </a:lnTo>
                <a:lnTo>
                  <a:pt x="3087800" y="952581"/>
                </a:lnTo>
                <a:lnTo>
                  <a:pt x="3084425" y="922520"/>
                </a:lnTo>
                <a:lnTo>
                  <a:pt x="3079795" y="894237"/>
                </a:lnTo>
                <a:lnTo>
                  <a:pt x="3073782" y="867805"/>
                </a:lnTo>
                <a:lnTo>
                  <a:pt x="3066253" y="843295"/>
                </a:lnTo>
                <a:lnTo>
                  <a:pt x="3057081" y="820780"/>
                </a:lnTo>
                <a:lnTo>
                  <a:pt x="3046134" y="800330"/>
                </a:lnTo>
                <a:lnTo>
                  <a:pt x="3018400" y="765914"/>
                </a:lnTo>
                <a:lnTo>
                  <a:pt x="2982013" y="740620"/>
                </a:lnTo>
                <a:lnTo>
                  <a:pt x="2960250" y="731574"/>
                </a:lnTo>
                <a:lnTo>
                  <a:pt x="2935934" y="725024"/>
                </a:lnTo>
                <a:lnTo>
                  <a:pt x="2908936" y="721041"/>
                </a:lnTo>
                <a:lnTo>
                  <a:pt x="2879125" y="719697"/>
                </a:lnTo>
                <a:close/>
                <a:moveTo>
                  <a:pt x="2565698" y="659976"/>
                </a:moveTo>
                <a:lnTo>
                  <a:pt x="2565698" y="719697"/>
                </a:lnTo>
                <a:lnTo>
                  <a:pt x="2536056" y="721041"/>
                </a:lnTo>
                <a:lnTo>
                  <a:pt x="2509206" y="725024"/>
                </a:lnTo>
                <a:lnTo>
                  <a:pt x="2485020" y="731574"/>
                </a:lnTo>
                <a:lnTo>
                  <a:pt x="2463369" y="740620"/>
                </a:lnTo>
                <a:lnTo>
                  <a:pt x="2427161" y="765914"/>
                </a:lnTo>
                <a:lnTo>
                  <a:pt x="2399551" y="800330"/>
                </a:lnTo>
                <a:lnTo>
                  <a:pt x="2388649" y="820780"/>
                </a:lnTo>
                <a:lnTo>
                  <a:pt x="2379511" y="843295"/>
                </a:lnTo>
                <a:lnTo>
                  <a:pt x="2372009" y="867805"/>
                </a:lnTo>
                <a:lnTo>
                  <a:pt x="2366014" y="894237"/>
                </a:lnTo>
                <a:lnTo>
                  <a:pt x="2361397" y="922520"/>
                </a:lnTo>
                <a:lnTo>
                  <a:pt x="2358029" y="952581"/>
                </a:lnTo>
                <a:lnTo>
                  <a:pt x="2355783" y="984350"/>
                </a:lnTo>
                <a:lnTo>
                  <a:pt x="2354530" y="1017753"/>
                </a:lnTo>
                <a:lnTo>
                  <a:pt x="2354141" y="1052721"/>
                </a:lnTo>
                <a:lnTo>
                  <a:pt x="2354520" y="1088036"/>
                </a:lnTo>
                <a:lnTo>
                  <a:pt x="2355746" y="1121765"/>
                </a:lnTo>
                <a:lnTo>
                  <a:pt x="2357952" y="1153838"/>
                </a:lnTo>
                <a:lnTo>
                  <a:pt x="2361268" y="1184184"/>
                </a:lnTo>
                <a:lnTo>
                  <a:pt x="2365828" y="1212729"/>
                </a:lnTo>
                <a:lnTo>
                  <a:pt x="2371764" y="1239402"/>
                </a:lnTo>
                <a:lnTo>
                  <a:pt x="2379208" y="1264133"/>
                </a:lnTo>
                <a:lnTo>
                  <a:pt x="2388293" y="1286848"/>
                </a:lnTo>
                <a:lnTo>
                  <a:pt x="2399150" y="1307477"/>
                </a:lnTo>
                <a:lnTo>
                  <a:pt x="2426712" y="1342188"/>
                </a:lnTo>
                <a:lnTo>
                  <a:pt x="2462952" y="1367691"/>
                </a:lnTo>
                <a:lnTo>
                  <a:pt x="2484656" y="1376811"/>
                </a:lnTo>
                <a:lnTo>
                  <a:pt x="2508928" y="1383413"/>
                </a:lnTo>
                <a:lnTo>
                  <a:pt x="2535898" y="1387428"/>
                </a:lnTo>
                <a:lnTo>
                  <a:pt x="2565698" y="1388782"/>
                </a:lnTo>
                <a:lnTo>
                  <a:pt x="2565698" y="1447491"/>
                </a:lnTo>
                <a:lnTo>
                  <a:pt x="2533244" y="1446346"/>
                </a:lnTo>
                <a:lnTo>
                  <a:pt x="2503241" y="1442942"/>
                </a:lnTo>
                <a:lnTo>
                  <a:pt x="2475603" y="1437331"/>
                </a:lnTo>
                <a:lnTo>
                  <a:pt x="2450247" y="1429562"/>
                </a:lnTo>
                <a:lnTo>
                  <a:pt x="2427085" y="1419686"/>
                </a:lnTo>
                <a:lnTo>
                  <a:pt x="2406034" y="1407753"/>
                </a:lnTo>
                <a:lnTo>
                  <a:pt x="2387009" y="1393812"/>
                </a:lnTo>
                <a:lnTo>
                  <a:pt x="2369924" y="1377914"/>
                </a:lnTo>
                <a:lnTo>
                  <a:pt x="2354694" y="1360110"/>
                </a:lnTo>
                <a:lnTo>
                  <a:pt x="2341235" y="1340448"/>
                </a:lnTo>
                <a:lnTo>
                  <a:pt x="2329461" y="1318979"/>
                </a:lnTo>
                <a:lnTo>
                  <a:pt x="2319288" y="1295754"/>
                </a:lnTo>
                <a:lnTo>
                  <a:pt x="2310630" y="1270822"/>
                </a:lnTo>
                <a:lnTo>
                  <a:pt x="2303402" y="1244233"/>
                </a:lnTo>
                <a:lnTo>
                  <a:pt x="2297519" y="1216038"/>
                </a:lnTo>
                <a:lnTo>
                  <a:pt x="2292897" y="1186287"/>
                </a:lnTo>
                <a:lnTo>
                  <a:pt x="2289449" y="1155029"/>
                </a:lnTo>
                <a:lnTo>
                  <a:pt x="2287092" y="1122316"/>
                </a:lnTo>
                <a:lnTo>
                  <a:pt x="2285740" y="1088196"/>
                </a:lnTo>
                <a:lnTo>
                  <a:pt x="2285309" y="1052721"/>
                </a:lnTo>
                <a:lnTo>
                  <a:pt x="2285755" y="1017397"/>
                </a:lnTo>
                <a:lnTo>
                  <a:pt x="2287147" y="983429"/>
                </a:lnTo>
                <a:lnTo>
                  <a:pt x="2289566" y="950865"/>
                </a:lnTo>
                <a:lnTo>
                  <a:pt x="2293091" y="919755"/>
                </a:lnTo>
                <a:lnTo>
                  <a:pt x="2297804" y="890147"/>
                </a:lnTo>
                <a:lnTo>
                  <a:pt x="2303784" y="862093"/>
                </a:lnTo>
                <a:lnTo>
                  <a:pt x="2311113" y="835640"/>
                </a:lnTo>
                <a:lnTo>
                  <a:pt x="2319870" y="810839"/>
                </a:lnTo>
                <a:lnTo>
                  <a:pt x="2330137" y="787738"/>
                </a:lnTo>
                <a:lnTo>
                  <a:pt x="2341994" y="766386"/>
                </a:lnTo>
                <a:lnTo>
                  <a:pt x="2355521" y="746834"/>
                </a:lnTo>
                <a:lnTo>
                  <a:pt x="2370798" y="729131"/>
                </a:lnTo>
                <a:lnTo>
                  <a:pt x="2387907" y="713326"/>
                </a:lnTo>
                <a:lnTo>
                  <a:pt x="2406927" y="699468"/>
                </a:lnTo>
                <a:lnTo>
                  <a:pt x="2427939" y="687607"/>
                </a:lnTo>
                <a:lnTo>
                  <a:pt x="2451024" y="677791"/>
                </a:lnTo>
                <a:lnTo>
                  <a:pt x="2476262" y="670071"/>
                </a:lnTo>
                <a:lnTo>
                  <a:pt x="2503733" y="664495"/>
                </a:lnTo>
                <a:lnTo>
                  <a:pt x="2533518" y="661113"/>
                </a:lnTo>
                <a:close/>
                <a:moveTo>
                  <a:pt x="1358847" y="0"/>
                </a:moveTo>
                <a:lnTo>
                  <a:pt x="1439826" y="0"/>
                </a:lnTo>
                <a:lnTo>
                  <a:pt x="1554207" y="209532"/>
                </a:lnTo>
                <a:lnTo>
                  <a:pt x="1437801" y="425136"/>
                </a:lnTo>
                <a:lnTo>
                  <a:pt x="1358847" y="425136"/>
                </a:lnTo>
                <a:lnTo>
                  <a:pt x="1458045" y="239899"/>
                </a:lnTo>
                <a:lnTo>
                  <a:pt x="1068337" y="239899"/>
                </a:lnTo>
                <a:lnTo>
                  <a:pt x="1068337" y="175116"/>
                </a:lnTo>
                <a:lnTo>
                  <a:pt x="1456021" y="175116"/>
                </a:lnTo>
                <a:close/>
              </a:path>
            </a:pathLst>
          </a:custGeom>
          <a:solidFill>
            <a:srgbClr val="A3BFFF"/>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dirty="0"/>
              <a:t>.</a:t>
            </a:r>
          </a:p>
        </p:txBody>
      </p:sp>
      <p:sp>
        <p:nvSpPr>
          <p:cNvPr id="4" name="TextBox 1">
            <a:extLst>
              <a:ext uri="{FF2B5EF4-FFF2-40B4-BE49-F238E27FC236}">
                <a16:creationId xmlns:a16="http://schemas.microsoft.com/office/drawing/2014/main" id="{F7BE11B0-71CE-9616-345B-F68B12EC96AA}"/>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ikro grafikken: Klik på Mikro grafikken, klik på Fyldfarve til figur, vælg farve fra Brugerdefinerede farvers anden række. </a:t>
            </a:r>
          </a:p>
        </p:txBody>
      </p:sp>
    </p:spTree>
    <p:extLst>
      <p:ext uri="{BB962C8B-B14F-4D97-AF65-F5344CB8AC3E}">
        <p14:creationId xmlns:p14="http://schemas.microsoft.com/office/powerpoint/2010/main" val="27908445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reaker D">
    <p:bg>
      <p:bgRef idx="1001">
        <a:schemeClr val="bg1"/>
      </p:bgRef>
    </p:bg>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Tx/>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dirty="0"/>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dirty="0"/>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7326C215-F3F2-4DB9-8B13-8FADB0ABB2EE}" type="datetime2">
              <a:rPr lang="da-DK" smtClean="0"/>
              <a:t>11. december 2025</a:t>
            </a:fld>
            <a:endParaRPr lang="da-DK" dirty="0"/>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dirty="0"/>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dirty="0"/>
          </a:p>
        </p:txBody>
      </p:sp>
      <p:sp>
        <p:nvSpPr>
          <p:cNvPr id="5" name="Mikro grafik 1">
            <a:extLst>
              <a:ext uri="{FF2B5EF4-FFF2-40B4-BE49-F238E27FC236}">
                <a16:creationId xmlns:a16="http://schemas.microsoft.com/office/drawing/2014/main" id="{4FBDF28A-5889-E8E4-DFBE-B3363A66E635}"/>
              </a:ext>
            </a:extLst>
          </p:cNvPr>
          <p:cNvSpPr>
            <a:spLocks noGrp="1" noChangeAspect="1"/>
          </p:cNvSpPr>
          <p:nvPr>
            <p:ph type="body" sz="quarter" idx="18" hasCustomPrompt="1"/>
          </p:nvPr>
        </p:nvSpPr>
        <p:spPr>
          <a:xfrm>
            <a:off x="346105" y="1028469"/>
            <a:ext cx="3864836" cy="3086563"/>
          </a:xfrm>
          <a:custGeom>
            <a:avLst/>
            <a:gdLst>
              <a:gd name="connsiteX0" fmla="*/ 5090346 w 5153115"/>
              <a:gd name="connsiteY0" fmla="*/ 3947359 h 4115417"/>
              <a:gd name="connsiteX1" fmla="*/ 5115957 w 5153115"/>
              <a:gd name="connsiteY1" fmla="*/ 3949589 h 4115417"/>
              <a:gd name="connsiteX2" fmla="*/ 5135778 w 5153115"/>
              <a:gd name="connsiteY2" fmla="*/ 3957609 h 4115417"/>
              <a:gd name="connsiteX3" fmla="*/ 5148575 w 5153115"/>
              <a:gd name="connsiteY3" fmla="*/ 3973412 h 4115417"/>
              <a:gd name="connsiteX4" fmla="*/ 5153115 w 5153115"/>
              <a:gd name="connsiteY4" fmla="*/ 3998991 h 4115417"/>
              <a:gd name="connsiteX5" fmla="*/ 5148575 w 5153115"/>
              <a:gd name="connsiteY5" fmla="*/ 4025740 h 4115417"/>
              <a:gd name="connsiteX6" fmla="*/ 5135778 w 5153115"/>
              <a:gd name="connsiteY6" fmla="*/ 4042144 h 4115417"/>
              <a:gd name="connsiteX7" fmla="*/ 5115957 w 5153115"/>
              <a:gd name="connsiteY7" fmla="*/ 4050386 h 4115417"/>
              <a:gd name="connsiteX8" fmla="*/ 5090346 w 5153115"/>
              <a:gd name="connsiteY8" fmla="*/ 4052648 h 4115417"/>
              <a:gd name="connsiteX9" fmla="*/ 5064736 w 5153115"/>
              <a:gd name="connsiteY9" fmla="*/ 4050386 h 4115417"/>
              <a:gd name="connsiteX10" fmla="*/ 5044915 w 5153115"/>
              <a:gd name="connsiteY10" fmla="*/ 4042144 h 4115417"/>
              <a:gd name="connsiteX11" fmla="*/ 5032117 w 5153115"/>
              <a:gd name="connsiteY11" fmla="*/ 4025740 h 4115417"/>
              <a:gd name="connsiteX12" fmla="*/ 5027578 w 5153115"/>
              <a:gd name="connsiteY12" fmla="*/ 3998991 h 4115417"/>
              <a:gd name="connsiteX13" fmla="*/ 5032260 w 5153115"/>
              <a:gd name="connsiteY13" fmla="*/ 3973412 h 4115417"/>
              <a:gd name="connsiteX14" fmla="*/ 5045294 w 5153115"/>
              <a:gd name="connsiteY14" fmla="*/ 3957609 h 4115417"/>
              <a:gd name="connsiteX15" fmla="*/ 5065163 w 5153115"/>
              <a:gd name="connsiteY15" fmla="*/ 3949589 h 4115417"/>
              <a:gd name="connsiteX16" fmla="*/ 3131033 w 5153115"/>
              <a:gd name="connsiteY16" fmla="*/ 3947359 h 4115417"/>
              <a:gd name="connsiteX17" fmla="*/ 3156644 w 5153115"/>
              <a:gd name="connsiteY17" fmla="*/ 3949589 h 4115417"/>
              <a:gd name="connsiteX18" fmla="*/ 3176464 w 5153115"/>
              <a:gd name="connsiteY18" fmla="*/ 3957609 h 4115417"/>
              <a:gd name="connsiteX19" fmla="*/ 3189262 w 5153115"/>
              <a:gd name="connsiteY19" fmla="*/ 3973412 h 4115417"/>
              <a:gd name="connsiteX20" fmla="*/ 3193801 w 5153115"/>
              <a:gd name="connsiteY20" fmla="*/ 3998991 h 4115417"/>
              <a:gd name="connsiteX21" fmla="*/ 3189262 w 5153115"/>
              <a:gd name="connsiteY21" fmla="*/ 4025740 h 4115417"/>
              <a:gd name="connsiteX22" fmla="*/ 3176464 w 5153115"/>
              <a:gd name="connsiteY22" fmla="*/ 4042144 h 4115417"/>
              <a:gd name="connsiteX23" fmla="*/ 3156644 w 5153115"/>
              <a:gd name="connsiteY23" fmla="*/ 4050386 h 4115417"/>
              <a:gd name="connsiteX24" fmla="*/ 3131033 w 5153115"/>
              <a:gd name="connsiteY24" fmla="*/ 4052648 h 4115417"/>
              <a:gd name="connsiteX25" fmla="*/ 3105422 w 5153115"/>
              <a:gd name="connsiteY25" fmla="*/ 4050386 h 4115417"/>
              <a:gd name="connsiteX26" fmla="*/ 3085601 w 5153115"/>
              <a:gd name="connsiteY26" fmla="*/ 4042144 h 4115417"/>
              <a:gd name="connsiteX27" fmla="*/ 3072804 w 5153115"/>
              <a:gd name="connsiteY27" fmla="*/ 4025740 h 4115417"/>
              <a:gd name="connsiteX28" fmla="*/ 3068264 w 5153115"/>
              <a:gd name="connsiteY28" fmla="*/ 3998991 h 4115417"/>
              <a:gd name="connsiteX29" fmla="*/ 3072946 w 5153115"/>
              <a:gd name="connsiteY29" fmla="*/ 3973412 h 4115417"/>
              <a:gd name="connsiteX30" fmla="*/ 3085981 w 5153115"/>
              <a:gd name="connsiteY30" fmla="*/ 3957609 h 4115417"/>
              <a:gd name="connsiteX31" fmla="*/ 3105849 w 5153115"/>
              <a:gd name="connsiteY31" fmla="*/ 3949589 h 4115417"/>
              <a:gd name="connsiteX32" fmla="*/ 4047912 w 5153115"/>
              <a:gd name="connsiteY32" fmla="*/ 3947356 h 4115417"/>
              <a:gd name="connsiteX33" fmla="*/ 4173450 w 5153115"/>
              <a:gd name="connsiteY33" fmla="*/ 3947356 h 4115417"/>
              <a:gd name="connsiteX34" fmla="*/ 4173450 w 5153115"/>
              <a:gd name="connsiteY34" fmla="*/ 4052645 h 4115417"/>
              <a:gd name="connsiteX35" fmla="*/ 4047912 w 5153115"/>
              <a:gd name="connsiteY35" fmla="*/ 4052645 h 4115417"/>
              <a:gd name="connsiteX36" fmla="*/ 916909 w 5153115"/>
              <a:gd name="connsiteY36" fmla="*/ 3856244 h 4115417"/>
              <a:gd name="connsiteX37" fmla="*/ 1465630 w 5153115"/>
              <a:gd name="connsiteY37" fmla="*/ 3856244 h 4115417"/>
              <a:gd name="connsiteX38" fmla="*/ 1465630 w 5153115"/>
              <a:gd name="connsiteY38" fmla="*/ 3921036 h 4115417"/>
              <a:gd name="connsiteX39" fmla="*/ 916909 w 5153115"/>
              <a:gd name="connsiteY39" fmla="*/ 3921036 h 4115417"/>
              <a:gd name="connsiteX40" fmla="*/ 0 w 5153115"/>
              <a:gd name="connsiteY40" fmla="*/ 3856244 h 4115417"/>
              <a:gd name="connsiteX41" fmla="*/ 548722 w 5153115"/>
              <a:gd name="connsiteY41" fmla="*/ 3856244 h 4115417"/>
              <a:gd name="connsiteX42" fmla="*/ 548722 w 5153115"/>
              <a:gd name="connsiteY42" fmla="*/ 3921036 h 4115417"/>
              <a:gd name="connsiteX43" fmla="*/ 0 w 5153115"/>
              <a:gd name="connsiteY43" fmla="*/ 3921036 h 4115417"/>
              <a:gd name="connsiteX44" fmla="*/ 916909 w 5153115"/>
              <a:gd name="connsiteY44" fmla="*/ 3644651 h 4115417"/>
              <a:gd name="connsiteX45" fmla="*/ 1465630 w 5153115"/>
              <a:gd name="connsiteY45" fmla="*/ 3644651 h 4115417"/>
              <a:gd name="connsiteX46" fmla="*/ 1465630 w 5153115"/>
              <a:gd name="connsiteY46" fmla="*/ 3709444 h 4115417"/>
              <a:gd name="connsiteX47" fmla="*/ 916909 w 5153115"/>
              <a:gd name="connsiteY47" fmla="*/ 3709444 h 4115417"/>
              <a:gd name="connsiteX48" fmla="*/ 0 w 5153115"/>
              <a:gd name="connsiteY48" fmla="*/ 3644651 h 4115417"/>
              <a:gd name="connsiteX49" fmla="*/ 548722 w 5153115"/>
              <a:gd name="connsiteY49" fmla="*/ 3644651 h 4115417"/>
              <a:gd name="connsiteX50" fmla="*/ 548722 w 5153115"/>
              <a:gd name="connsiteY50" fmla="*/ 3709444 h 4115417"/>
              <a:gd name="connsiteX51" fmla="*/ 0 w 5153115"/>
              <a:gd name="connsiteY51" fmla="*/ 3709444 h 4115417"/>
              <a:gd name="connsiteX52" fmla="*/ 5090346 w 5153115"/>
              <a:gd name="connsiteY52" fmla="*/ 3522149 h 4115417"/>
              <a:gd name="connsiteX53" fmla="*/ 5115957 w 5153115"/>
              <a:gd name="connsiteY53" fmla="*/ 3524253 h 4115417"/>
              <a:gd name="connsiteX54" fmla="*/ 5135778 w 5153115"/>
              <a:gd name="connsiteY54" fmla="*/ 3532146 h 4115417"/>
              <a:gd name="connsiteX55" fmla="*/ 5148575 w 5153115"/>
              <a:gd name="connsiteY55" fmla="*/ 3548202 h 4115417"/>
              <a:gd name="connsiteX56" fmla="*/ 5153115 w 5153115"/>
              <a:gd name="connsiteY56" fmla="*/ 3574793 h 4115417"/>
              <a:gd name="connsiteX57" fmla="*/ 5148575 w 5153115"/>
              <a:gd name="connsiteY57" fmla="*/ 3600531 h 4115417"/>
              <a:gd name="connsiteX58" fmla="*/ 5135778 w 5153115"/>
              <a:gd name="connsiteY58" fmla="*/ 3616682 h 4115417"/>
              <a:gd name="connsiteX59" fmla="*/ 5115957 w 5153115"/>
              <a:gd name="connsiteY59" fmla="*/ 3625050 h 4115417"/>
              <a:gd name="connsiteX60" fmla="*/ 5090346 w 5153115"/>
              <a:gd name="connsiteY60" fmla="*/ 3627438 h 4115417"/>
              <a:gd name="connsiteX61" fmla="*/ 5065321 w 5153115"/>
              <a:gd name="connsiteY61" fmla="*/ 3625050 h 4115417"/>
              <a:gd name="connsiteX62" fmla="*/ 5045800 w 5153115"/>
              <a:gd name="connsiteY62" fmla="*/ 3616682 h 4115417"/>
              <a:gd name="connsiteX63" fmla="*/ 5033113 w 5153115"/>
              <a:gd name="connsiteY63" fmla="*/ 3600531 h 4115417"/>
              <a:gd name="connsiteX64" fmla="*/ 5028589 w 5153115"/>
              <a:gd name="connsiteY64" fmla="*/ 3574793 h 4115417"/>
              <a:gd name="connsiteX65" fmla="*/ 5033113 w 5153115"/>
              <a:gd name="connsiteY65" fmla="*/ 3548202 h 4115417"/>
              <a:gd name="connsiteX66" fmla="*/ 5045800 w 5153115"/>
              <a:gd name="connsiteY66" fmla="*/ 3532146 h 4115417"/>
              <a:gd name="connsiteX67" fmla="*/ 5065321 w 5153115"/>
              <a:gd name="connsiteY67" fmla="*/ 3524253 h 4115417"/>
              <a:gd name="connsiteX68" fmla="*/ 3131033 w 5153115"/>
              <a:gd name="connsiteY68" fmla="*/ 3522149 h 4115417"/>
              <a:gd name="connsiteX69" fmla="*/ 3156644 w 5153115"/>
              <a:gd name="connsiteY69" fmla="*/ 3524253 h 4115417"/>
              <a:gd name="connsiteX70" fmla="*/ 3176464 w 5153115"/>
              <a:gd name="connsiteY70" fmla="*/ 3532146 h 4115417"/>
              <a:gd name="connsiteX71" fmla="*/ 3189262 w 5153115"/>
              <a:gd name="connsiteY71" fmla="*/ 3548202 h 4115417"/>
              <a:gd name="connsiteX72" fmla="*/ 3193801 w 5153115"/>
              <a:gd name="connsiteY72" fmla="*/ 3574793 h 4115417"/>
              <a:gd name="connsiteX73" fmla="*/ 3189262 w 5153115"/>
              <a:gd name="connsiteY73" fmla="*/ 3600531 h 4115417"/>
              <a:gd name="connsiteX74" fmla="*/ 3176464 w 5153115"/>
              <a:gd name="connsiteY74" fmla="*/ 3616682 h 4115417"/>
              <a:gd name="connsiteX75" fmla="*/ 3156644 w 5153115"/>
              <a:gd name="connsiteY75" fmla="*/ 3625050 h 4115417"/>
              <a:gd name="connsiteX76" fmla="*/ 3131033 w 5153115"/>
              <a:gd name="connsiteY76" fmla="*/ 3627438 h 4115417"/>
              <a:gd name="connsiteX77" fmla="*/ 3106008 w 5153115"/>
              <a:gd name="connsiteY77" fmla="*/ 3625050 h 4115417"/>
              <a:gd name="connsiteX78" fmla="*/ 3086488 w 5153115"/>
              <a:gd name="connsiteY78" fmla="*/ 3616682 h 4115417"/>
              <a:gd name="connsiteX79" fmla="*/ 3073801 w 5153115"/>
              <a:gd name="connsiteY79" fmla="*/ 3600531 h 4115417"/>
              <a:gd name="connsiteX80" fmla="*/ 3069277 w 5153115"/>
              <a:gd name="connsiteY80" fmla="*/ 3574793 h 4115417"/>
              <a:gd name="connsiteX81" fmla="*/ 3073801 w 5153115"/>
              <a:gd name="connsiteY81" fmla="*/ 3548202 h 4115417"/>
              <a:gd name="connsiteX82" fmla="*/ 3086488 w 5153115"/>
              <a:gd name="connsiteY82" fmla="*/ 3532146 h 4115417"/>
              <a:gd name="connsiteX83" fmla="*/ 3106008 w 5153115"/>
              <a:gd name="connsiteY83" fmla="*/ 3524253 h 4115417"/>
              <a:gd name="connsiteX84" fmla="*/ 2430814 w 5153115"/>
              <a:gd name="connsiteY84" fmla="*/ 3327768 h 4115417"/>
              <a:gd name="connsiteX85" fmla="*/ 2462999 w 5153115"/>
              <a:gd name="connsiteY85" fmla="*/ 3328906 h 4115417"/>
              <a:gd name="connsiteX86" fmla="*/ 2492789 w 5153115"/>
              <a:gd name="connsiteY86" fmla="*/ 3332288 h 4115417"/>
              <a:gd name="connsiteX87" fmla="*/ 2520265 w 5153115"/>
              <a:gd name="connsiteY87" fmla="*/ 3337864 h 4115417"/>
              <a:gd name="connsiteX88" fmla="*/ 2545507 w 5153115"/>
              <a:gd name="connsiteY88" fmla="*/ 3345586 h 4115417"/>
              <a:gd name="connsiteX89" fmla="*/ 2568596 w 5153115"/>
              <a:gd name="connsiteY89" fmla="*/ 3355403 h 4115417"/>
              <a:gd name="connsiteX90" fmla="*/ 2589611 w 5153115"/>
              <a:gd name="connsiteY90" fmla="*/ 3367266 h 4115417"/>
              <a:gd name="connsiteX91" fmla="*/ 2608634 w 5153115"/>
              <a:gd name="connsiteY91" fmla="*/ 3381127 h 4115417"/>
              <a:gd name="connsiteX92" fmla="*/ 2625746 w 5153115"/>
              <a:gd name="connsiteY92" fmla="*/ 3396935 h 4115417"/>
              <a:gd name="connsiteX93" fmla="*/ 2641027 w 5153115"/>
              <a:gd name="connsiteY93" fmla="*/ 3414641 h 4115417"/>
              <a:gd name="connsiteX94" fmla="*/ 2654556 w 5153115"/>
              <a:gd name="connsiteY94" fmla="*/ 3434197 h 4115417"/>
              <a:gd name="connsiteX95" fmla="*/ 2666414 w 5153115"/>
              <a:gd name="connsiteY95" fmla="*/ 3455551 h 4115417"/>
              <a:gd name="connsiteX96" fmla="*/ 2676682 w 5153115"/>
              <a:gd name="connsiteY96" fmla="*/ 3478656 h 4115417"/>
              <a:gd name="connsiteX97" fmla="*/ 2685441 w 5153115"/>
              <a:gd name="connsiteY97" fmla="*/ 3503462 h 4115417"/>
              <a:gd name="connsiteX98" fmla="*/ 2692772 w 5153115"/>
              <a:gd name="connsiteY98" fmla="*/ 3529919 h 4115417"/>
              <a:gd name="connsiteX99" fmla="*/ 2698753 w 5153115"/>
              <a:gd name="connsiteY99" fmla="*/ 3557979 h 4115417"/>
              <a:gd name="connsiteX100" fmla="*/ 2703467 w 5153115"/>
              <a:gd name="connsiteY100" fmla="*/ 3587592 h 4115417"/>
              <a:gd name="connsiteX101" fmla="*/ 2706993 w 5153115"/>
              <a:gd name="connsiteY101" fmla="*/ 3618707 h 4115417"/>
              <a:gd name="connsiteX102" fmla="*/ 2709411 w 5153115"/>
              <a:gd name="connsiteY102" fmla="*/ 3651277 h 4115417"/>
              <a:gd name="connsiteX103" fmla="*/ 2710804 w 5153115"/>
              <a:gd name="connsiteY103" fmla="*/ 3685251 h 4115417"/>
              <a:gd name="connsiteX104" fmla="*/ 2711250 w 5153115"/>
              <a:gd name="connsiteY104" fmla="*/ 3720581 h 4115417"/>
              <a:gd name="connsiteX105" fmla="*/ 2710826 w 5153115"/>
              <a:gd name="connsiteY105" fmla="*/ 3756062 h 4115417"/>
              <a:gd name="connsiteX106" fmla="*/ 2709493 w 5153115"/>
              <a:gd name="connsiteY106" fmla="*/ 3790187 h 4115417"/>
              <a:gd name="connsiteX107" fmla="*/ 2707167 w 5153115"/>
              <a:gd name="connsiteY107" fmla="*/ 3822906 h 4115417"/>
              <a:gd name="connsiteX108" fmla="*/ 2703758 w 5153115"/>
              <a:gd name="connsiteY108" fmla="*/ 3854169 h 4115417"/>
              <a:gd name="connsiteX109" fmla="*/ 2699180 w 5153115"/>
              <a:gd name="connsiteY109" fmla="*/ 3883925 h 4115417"/>
              <a:gd name="connsiteX110" fmla="*/ 2693346 w 5153115"/>
              <a:gd name="connsiteY110" fmla="*/ 3912125 h 4115417"/>
              <a:gd name="connsiteX111" fmla="*/ 2686167 w 5153115"/>
              <a:gd name="connsiteY111" fmla="*/ 3938718 h 4115417"/>
              <a:gd name="connsiteX112" fmla="*/ 2677557 w 5153115"/>
              <a:gd name="connsiteY112" fmla="*/ 3963654 h 4115417"/>
              <a:gd name="connsiteX113" fmla="*/ 2667429 w 5153115"/>
              <a:gd name="connsiteY113" fmla="*/ 3986884 h 4115417"/>
              <a:gd name="connsiteX114" fmla="*/ 2655695 w 5153115"/>
              <a:gd name="connsiteY114" fmla="*/ 4008356 h 4115417"/>
              <a:gd name="connsiteX115" fmla="*/ 2642267 w 5153115"/>
              <a:gd name="connsiteY115" fmla="*/ 4028021 h 4115417"/>
              <a:gd name="connsiteX116" fmla="*/ 2627058 w 5153115"/>
              <a:gd name="connsiteY116" fmla="*/ 4045829 h 4115417"/>
              <a:gd name="connsiteX117" fmla="*/ 2609982 w 5153115"/>
              <a:gd name="connsiteY117" fmla="*/ 4061729 h 4115417"/>
              <a:gd name="connsiteX118" fmla="*/ 2590950 w 5153115"/>
              <a:gd name="connsiteY118" fmla="*/ 4075672 h 4115417"/>
              <a:gd name="connsiteX119" fmla="*/ 2569877 w 5153115"/>
              <a:gd name="connsiteY119" fmla="*/ 4087608 h 4115417"/>
              <a:gd name="connsiteX120" fmla="*/ 2546673 w 5153115"/>
              <a:gd name="connsiteY120" fmla="*/ 4097485 h 4115417"/>
              <a:gd name="connsiteX121" fmla="*/ 2521252 w 5153115"/>
              <a:gd name="connsiteY121" fmla="*/ 4105255 h 4115417"/>
              <a:gd name="connsiteX122" fmla="*/ 2493527 w 5153115"/>
              <a:gd name="connsiteY122" fmla="*/ 4110867 h 4115417"/>
              <a:gd name="connsiteX123" fmla="*/ 2463410 w 5153115"/>
              <a:gd name="connsiteY123" fmla="*/ 4114272 h 4115417"/>
              <a:gd name="connsiteX124" fmla="*/ 2430814 w 5153115"/>
              <a:gd name="connsiteY124" fmla="*/ 4115417 h 4115417"/>
              <a:gd name="connsiteX125" fmla="*/ 2430814 w 5153115"/>
              <a:gd name="connsiteY125" fmla="*/ 4056698 h 4115417"/>
              <a:gd name="connsiteX126" fmla="*/ 2460946 w 5153115"/>
              <a:gd name="connsiteY126" fmla="*/ 4055344 h 4115417"/>
              <a:gd name="connsiteX127" fmla="*/ 2488189 w 5153115"/>
              <a:gd name="connsiteY127" fmla="*/ 4051329 h 4115417"/>
              <a:gd name="connsiteX128" fmla="*/ 2512679 w 5153115"/>
              <a:gd name="connsiteY128" fmla="*/ 4044725 h 4115417"/>
              <a:gd name="connsiteX129" fmla="*/ 2534555 w 5153115"/>
              <a:gd name="connsiteY129" fmla="*/ 4035604 h 4115417"/>
              <a:gd name="connsiteX130" fmla="*/ 2571010 w 5153115"/>
              <a:gd name="connsiteY130" fmla="*/ 4010096 h 4115417"/>
              <a:gd name="connsiteX131" fmla="*/ 2598653 w 5153115"/>
              <a:gd name="connsiteY131" fmla="*/ 3975380 h 4115417"/>
              <a:gd name="connsiteX132" fmla="*/ 2609511 w 5153115"/>
              <a:gd name="connsiteY132" fmla="*/ 3954747 h 4115417"/>
              <a:gd name="connsiteX133" fmla="*/ 2618579 w 5153115"/>
              <a:gd name="connsiteY133" fmla="*/ 3932029 h 4115417"/>
              <a:gd name="connsiteX134" fmla="*/ 2625992 w 5153115"/>
              <a:gd name="connsiteY134" fmla="*/ 3907294 h 4115417"/>
              <a:gd name="connsiteX135" fmla="*/ 2631889 w 5153115"/>
              <a:gd name="connsiteY135" fmla="*/ 3880616 h 4115417"/>
              <a:gd name="connsiteX136" fmla="*/ 2636405 w 5153115"/>
              <a:gd name="connsiteY136" fmla="*/ 3852065 h 4115417"/>
              <a:gd name="connsiteX137" fmla="*/ 2639680 w 5153115"/>
              <a:gd name="connsiteY137" fmla="*/ 3821716 h 4115417"/>
              <a:gd name="connsiteX138" fmla="*/ 2641849 w 5153115"/>
              <a:gd name="connsiteY138" fmla="*/ 3789637 h 4115417"/>
              <a:gd name="connsiteX139" fmla="*/ 2643049 w 5153115"/>
              <a:gd name="connsiteY139" fmla="*/ 3755901 h 4115417"/>
              <a:gd name="connsiteX140" fmla="*/ 2643419 w 5153115"/>
              <a:gd name="connsiteY140" fmla="*/ 3720581 h 4115417"/>
              <a:gd name="connsiteX141" fmla="*/ 2643030 w 5153115"/>
              <a:gd name="connsiteY141" fmla="*/ 3685607 h 4115417"/>
              <a:gd name="connsiteX142" fmla="*/ 2641774 w 5153115"/>
              <a:gd name="connsiteY142" fmla="*/ 3652197 h 4115417"/>
              <a:gd name="connsiteX143" fmla="*/ 2639524 w 5153115"/>
              <a:gd name="connsiteY143" fmla="*/ 3620423 h 4115417"/>
              <a:gd name="connsiteX144" fmla="*/ 2636148 w 5153115"/>
              <a:gd name="connsiteY144" fmla="*/ 3590357 h 4115417"/>
              <a:gd name="connsiteX145" fmla="*/ 2631518 w 5153115"/>
              <a:gd name="connsiteY145" fmla="*/ 3562069 h 4115417"/>
              <a:gd name="connsiteX146" fmla="*/ 2625503 w 5153115"/>
              <a:gd name="connsiteY146" fmla="*/ 3535632 h 4115417"/>
              <a:gd name="connsiteX147" fmla="*/ 2617973 w 5153115"/>
              <a:gd name="connsiteY147" fmla="*/ 3511118 h 4115417"/>
              <a:gd name="connsiteX148" fmla="*/ 2608799 w 5153115"/>
              <a:gd name="connsiteY148" fmla="*/ 3488599 h 4115417"/>
              <a:gd name="connsiteX149" fmla="*/ 2597851 w 5153115"/>
              <a:gd name="connsiteY149" fmla="*/ 3468146 h 4115417"/>
              <a:gd name="connsiteX150" fmla="*/ 2570112 w 5153115"/>
              <a:gd name="connsiteY150" fmla="*/ 3433724 h 4115417"/>
              <a:gd name="connsiteX151" fmla="*/ 2533719 w 5153115"/>
              <a:gd name="connsiteY151" fmla="*/ 3408426 h 4115417"/>
              <a:gd name="connsiteX152" fmla="*/ 2511952 w 5153115"/>
              <a:gd name="connsiteY152" fmla="*/ 3399378 h 4115417"/>
              <a:gd name="connsiteX153" fmla="*/ 2487632 w 5153115"/>
              <a:gd name="connsiteY153" fmla="*/ 3392827 h 4115417"/>
              <a:gd name="connsiteX154" fmla="*/ 2460630 w 5153115"/>
              <a:gd name="connsiteY154" fmla="*/ 3388844 h 4115417"/>
              <a:gd name="connsiteX155" fmla="*/ 2430814 w 5153115"/>
              <a:gd name="connsiteY155" fmla="*/ 3387500 h 4115417"/>
              <a:gd name="connsiteX156" fmla="*/ 2117321 w 5153115"/>
              <a:gd name="connsiteY156" fmla="*/ 3327768 h 4115417"/>
              <a:gd name="connsiteX157" fmla="*/ 2117321 w 5153115"/>
              <a:gd name="connsiteY157" fmla="*/ 3387500 h 4115417"/>
              <a:gd name="connsiteX158" fmla="*/ 2087673 w 5153115"/>
              <a:gd name="connsiteY158" fmla="*/ 3388844 h 4115417"/>
              <a:gd name="connsiteX159" fmla="*/ 2060820 w 5153115"/>
              <a:gd name="connsiteY159" fmla="*/ 3392827 h 4115417"/>
              <a:gd name="connsiteX160" fmla="*/ 2036631 w 5153115"/>
              <a:gd name="connsiteY160" fmla="*/ 3399378 h 4115417"/>
              <a:gd name="connsiteX161" fmla="*/ 2014976 w 5153115"/>
              <a:gd name="connsiteY161" fmla="*/ 3408426 h 4115417"/>
              <a:gd name="connsiteX162" fmla="*/ 1978761 w 5153115"/>
              <a:gd name="connsiteY162" fmla="*/ 3433724 h 4115417"/>
              <a:gd name="connsiteX163" fmla="*/ 1951147 w 5153115"/>
              <a:gd name="connsiteY163" fmla="*/ 3468146 h 4115417"/>
              <a:gd name="connsiteX164" fmla="*/ 1940243 w 5153115"/>
              <a:gd name="connsiteY164" fmla="*/ 3488599 h 4115417"/>
              <a:gd name="connsiteX165" fmla="*/ 1931104 w 5153115"/>
              <a:gd name="connsiteY165" fmla="*/ 3511118 h 4115417"/>
              <a:gd name="connsiteX166" fmla="*/ 1923600 w 5153115"/>
              <a:gd name="connsiteY166" fmla="*/ 3535632 h 4115417"/>
              <a:gd name="connsiteX167" fmla="*/ 1917604 w 5153115"/>
              <a:gd name="connsiteY167" fmla="*/ 3562069 h 4115417"/>
              <a:gd name="connsiteX168" fmla="*/ 1912986 w 5153115"/>
              <a:gd name="connsiteY168" fmla="*/ 3590357 h 4115417"/>
              <a:gd name="connsiteX169" fmla="*/ 1909618 w 5153115"/>
              <a:gd name="connsiteY169" fmla="*/ 3620423 h 4115417"/>
              <a:gd name="connsiteX170" fmla="*/ 1907372 w 5153115"/>
              <a:gd name="connsiteY170" fmla="*/ 3652197 h 4115417"/>
              <a:gd name="connsiteX171" fmla="*/ 1906119 w 5153115"/>
              <a:gd name="connsiteY171" fmla="*/ 3685607 h 4115417"/>
              <a:gd name="connsiteX172" fmla="*/ 1905729 w 5153115"/>
              <a:gd name="connsiteY172" fmla="*/ 3720581 h 4115417"/>
              <a:gd name="connsiteX173" fmla="*/ 1906108 w 5153115"/>
              <a:gd name="connsiteY173" fmla="*/ 3755901 h 4115417"/>
              <a:gd name="connsiteX174" fmla="*/ 1907335 w 5153115"/>
              <a:gd name="connsiteY174" fmla="*/ 3789637 h 4115417"/>
              <a:gd name="connsiteX175" fmla="*/ 1909541 w 5153115"/>
              <a:gd name="connsiteY175" fmla="*/ 3821716 h 4115417"/>
              <a:gd name="connsiteX176" fmla="*/ 1912858 w 5153115"/>
              <a:gd name="connsiteY176" fmla="*/ 3852065 h 4115417"/>
              <a:gd name="connsiteX177" fmla="*/ 1917419 w 5153115"/>
              <a:gd name="connsiteY177" fmla="*/ 3880616 h 4115417"/>
              <a:gd name="connsiteX178" fmla="*/ 1923356 w 5153115"/>
              <a:gd name="connsiteY178" fmla="*/ 3907294 h 4115417"/>
              <a:gd name="connsiteX179" fmla="*/ 1930801 w 5153115"/>
              <a:gd name="connsiteY179" fmla="*/ 3932029 h 4115417"/>
              <a:gd name="connsiteX180" fmla="*/ 1939887 w 5153115"/>
              <a:gd name="connsiteY180" fmla="*/ 3954747 h 4115417"/>
              <a:gd name="connsiteX181" fmla="*/ 1950747 w 5153115"/>
              <a:gd name="connsiteY181" fmla="*/ 3975380 h 4115417"/>
              <a:gd name="connsiteX182" fmla="*/ 1978312 w 5153115"/>
              <a:gd name="connsiteY182" fmla="*/ 4010096 h 4115417"/>
              <a:gd name="connsiteX183" fmla="*/ 2014558 w 5153115"/>
              <a:gd name="connsiteY183" fmla="*/ 4035604 h 4115417"/>
              <a:gd name="connsiteX184" fmla="*/ 2036267 w 5153115"/>
              <a:gd name="connsiteY184" fmla="*/ 4044725 h 4115417"/>
              <a:gd name="connsiteX185" fmla="*/ 2060542 w 5153115"/>
              <a:gd name="connsiteY185" fmla="*/ 4051329 h 4115417"/>
              <a:gd name="connsiteX186" fmla="*/ 2087515 w 5153115"/>
              <a:gd name="connsiteY186" fmla="*/ 4055344 h 4115417"/>
              <a:gd name="connsiteX187" fmla="*/ 2117321 w 5153115"/>
              <a:gd name="connsiteY187" fmla="*/ 4056698 h 4115417"/>
              <a:gd name="connsiteX188" fmla="*/ 2117321 w 5153115"/>
              <a:gd name="connsiteY188" fmla="*/ 4115417 h 4115417"/>
              <a:gd name="connsiteX189" fmla="*/ 2084861 w 5153115"/>
              <a:gd name="connsiteY189" fmla="*/ 4114272 h 4115417"/>
              <a:gd name="connsiteX190" fmla="*/ 2054855 w 5153115"/>
              <a:gd name="connsiteY190" fmla="*/ 4110867 h 4115417"/>
              <a:gd name="connsiteX191" fmla="*/ 2027213 w 5153115"/>
              <a:gd name="connsiteY191" fmla="*/ 4105255 h 4115417"/>
              <a:gd name="connsiteX192" fmla="*/ 2001851 w 5153115"/>
              <a:gd name="connsiteY192" fmla="*/ 4097485 h 4115417"/>
              <a:gd name="connsiteX193" fmla="*/ 1978687 w 5153115"/>
              <a:gd name="connsiteY193" fmla="*/ 4087608 h 4115417"/>
              <a:gd name="connsiteX194" fmla="*/ 1957631 w 5153115"/>
              <a:gd name="connsiteY194" fmla="*/ 4075672 h 4115417"/>
              <a:gd name="connsiteX195" fmla="*/ 1938602 w 5153115"/>
              <a:gd name="connsiteY195" fmla="*/ 4061729 h 4115417"/>
              <a:gd name="connsiteX196" fmla="*/ 1921515 w 5153115"/>
              <a:gd name="connsiteY196" fmla="*/ 4045829 h 4115417"/>
              <a:gd name="connsiteX197" fmla="*/ 1906284 w 5153115"/>
              <a:gd name="connsiteY197" fmla="*/ 4028021 h 4115417"/>
              <a:gd name="connsiteX198" fmla="*/ 1892821 w 5153115"/>
              <a:gd name="connsiteY198" fmla="*/ 4008356 h 4115417"/>
              <a:gd name="connsiteX199" fmla="*/ 1881046 w 5153115"/>
              <a:gd name="connsiteY199" fmla="*/ 3986884 h 4115417"/>
              <a:gd name="connsiteX200" fmla="*/ 1870870 w 5153115"/>
              <a:gd name="connsiteY200" fmla="*/ 3963654 h 4115417"/>
              <a:gd name="connsiteX201" fmla="*/ 1862211 w 5153115"/>
              <a:gd name="connsiteY201" fmla="*/ 3938718 h 4115417"/>
              <a:gd name="connsiteX202" fmla="*/ 1854982 w 5153115"/>
              <a:gd name="connsiteY202" fmla="*/ 3912125 h 4115417"/>
              <a:gd name="connsiteX203" fmla="*/ 1849098 w 5153115"/>
              <a:gd name="connsiteY203" fmla="*/ 3883925 h 4115417"/>
              <a:gd name="connsiteX204" fmla="*/ 1844475 w 5153115"/>
              <a:gd name="connsiteY204" fmla="*/ 3854169 h 4115417"/>
              <a:gd name="connsiteX205" fmla="*/ 1841028 w 5153115"/>
              <a:gd name="connsiteY205" fmla="*/ 3822906 h 4115417"/>
              <a:gd name="connsiteX206" fmla="*/ 1838670 w 5153115"/>
              <a:gd name="connsiteY206" fmla="*/ 3790187 h 4115417"/>
              <a:gd name="connsiteX207" fmla="*/ 1837318 w 5153115"/>
              <a:gd name="connsiteY207" fmla="*/ 3756062 h 4115417"/>
              <a:gd name="connsiteX208" fmla="*/ 1836887 w 5153115"/>
              <a:gd name="connsiteY208" fmla="*/ 3720581 h 4115417"/>
              <a:gd name="connsiteX209" fmla="*/ 1837332 w 5153115"/>
              <a:gd name="connsiteY209" fmla="*/ 3685251 h 4115417"/>
              <a:gd name="connsiteX210" fmla="*/ 1838725 w 5153115"/>
              <a:gd name="connsiteY210" fmla="*/ 3651277 h 4115417"/>
              <a:gd name="connsiteX211" fmla="*/ 1841144 w 5153115"/>
              <a:gd name="connsiteY211" fmla="*/ 3618707 h 4115417"/>
              <a:gd name="connsiteX212" fmla="*/ 1844669 w 5153115"/>
              <a:gd name="connsiteY212" fmla="*/ 3587592 h 4115417"/>
              <a:gd name="connsiteX213" fmla="*/ 1849383 w 5153115"/>
              <a:gd name="connsiteY213" fmla="*/ 3557979 h 4115417"/>
              <a:gd name="connsiteX214" fmla="*/ 1855365 w 5153115"/>
              <a:gd name="connsiteY214" fmla="*/ 3529919 h 4115417"/>
              <a:gd name="connsiteX215" fmla="*/ 1862695 w 5153115"/>
              <a:gd name="connsiteY215" fmla="*/ 3503462 h 4115417"/>
              <a:gd name="connsiteX216" fmla="*/ 1871454 w 5153115"/>
              <a:gd name="connsiteY216" fmla="*/ 3478656 h 4115417"/>
              <a:gd name="connsiteX217" fmla="*/ 1881722 w 5153115"/>
              <a:gd name="connsiteY217" fmla="*/ 3455551 h 4115417"/>
              <a:gd name="connsiteX218" fmla="*/ 1893581 w 5153115"/>
              <a:gd name="connsiteY218" fmla="*/ 3434197 h 4115417"/>
              <a:gd name="connsiteX219" fmla="*/ 1907110 w 5153115"/>
              <a:gd name="connsiteY219" fmla="*/ 3414641 h 4115417"/>
              <a:gd name="connsiteX220" fmla="*/ 1922390 w 5153115"/>
              <a:gd name="connsiteY220" fmla="*/ 3396935 h 4115417"/>
              <a:gd name="connsiteX221" fmla="*/ 1939502 w 5153115"/>
              <a:gd name="connsiteY221" fmla="*/ 3381127 h 4115417"/>
              <a:gd name="connsiteX222" fmla="*/ 1958525 w 5153115"/>
              <a:gd name="connsiteY222" fmla="*/ 3367266 h 4115417"/>
              <a:gd name="connsiteX223" fmla="*/ 1979540 w 5153115"/>
              <a:gd name="connsiteY223" fmla="*/ 3355403 h 4115417"/>
              <a:gd name="connsiteX224" fmla="*/ 2002629 w 5153115"/>
              <a:gd name="connsiteY224" fmla="*/ 3345586 h 4115417"/>
              <a:gd name="connsiteX225" fmla="*/ 2027871 w 5153115"/>
              <a:gd name="connsiteY225" fmla="*/ 3337864 h 4115417"/>
              <a:gd name="connsiteX226" fmla="*/ 2055347 w 5153115"/>
              <a:gd name="connsiteY226" fmla="*/ 3332288 h 4115417"/>
              <a:gd name="connsiteX227" fmla="*/ 2085135 w 5153115"/>
              <a:gd name="connsiteY227" fmla="*/ 3328906 h 4115417"/>
              <a:gd name="connsiteX228" fmla="*/ 3377636 w 5153115"/>
              <a:gd name="connsiteY228" fmla="*/ 3036193 h 4115417"/>
              <a:gd name="connsiteX229" fmla="*/ 3403246 w 5153115"/>
              <a:gd name="connsiteY229" fmla="*/ 3038423 h 4115417"/>
              <a:gd name="connsiteX230" fmla="*/ 3423067 w 5153115"/>
              <a:gd name="connsiteY230" fmla="*/ 3046443 h 4115417"/>
              <a:gd name="connsiteX231" fmla="*/ 3435864 w 5153115"/>
              <a:gd name="connsiteY231" fmla="*/ 3062246 h 4115417"/>
              <a:gd name="connsiteX232" fmla="*/ 3440404 w 5153115"/>
              <a:gd name="connsiteY232" fmla="*/ 3087826 h 4115417"/>
              <a:gd name="connsiteX233" fmla="*/ 3435864 w 5153115"/>
              <a:gd name="connsiteY233" fmla="*/ 3114575 h 4115417"/>
              <a:gd name="connsiteX234" fmla="*/ 3423067 w 5153115"/>
              <a:gd name="connsiteY234" fmla="*/ 3130979 h 4115417"/>
              <a:gd name="connsiteX235" fmla="*/ 3403246 w 5153115"/>
              <a:gd name="connsiteY235" fmla="*/ 3139221 h 4115417"/>
              <a:gd name="connsiteX236" fmla="*/ 3377636 w 5153115"/>
              <a:gd name="connsiteY236" fmla="*/ 3141483 h 4115417"/>
              <a:gd name="connsiteX237" fmla="*/ 3352025 w 5153115"/>
              <a:gd name="connsiteY237" fmla="*/ 3139221 h 4115417"/>
              <a:gd name="connsiteX238" fmla="*/ 3332204 w 5153115"/>
              <a:gd name="connsiteY238" fmla="*/ 3130979 h 4115417"/>
              <a:gd name="connsiteX239" fmla="*/ 3319407 w 5153115"/>
              <a:gd name="connsiteY239" fmla="*/ 3114575 h 4115417"/>
              <a:gd name="connsiteX240" fmla="*/ 3314867 w 5153115"/>
              <a:gd name="connsiteY240" fmla="*/ 3087826 h 4115417"/>
              <a:gd name="connsiteX241" fmla="*/ 3319549 w 5153115"/>
              <a:gd name="connsiteY241" fmla="*/ 3062246 h 4115417"/>
              <a:gd name="connsiteX242" fmla="*/ 3332584 w 5153115"/>
              <a:gd name="connsiteY242" fmla="*/ 3046443 h 4115417"/>
              <a:gd name="connsiteX243" fmla="*/ 3352453 w 5153115"/>
              <a:gd name="connsiteY243" fmla="*/ 3038423 h 4115417"/>
              <a:gd name="connsiteX244" fmla="*/ 2913514 w 5153115"/>
              <a:gd name="connsiteY244" fmla="*/ 3036193 h 4115417"/>
              <a:gd name="connsiteX245" fmla="*/ 2939125 w 5153115"/>
              <a:gd name="connsiteY245" fmla="*/ 3038423 h 4115417"/>
              <a:gd name="connsiteX246" fmla="*/ 2958945 w 5153115"/>
              <a:gd name="connsiteY246" fmla="*/ 3046443 h 4115417"/>
              <a:gd name="connsiteX247" fmla="*/ 2971742 w 5153115"/>
              <a:gd name="connsiteY247" fmla="*/ 3062246 h 4115417"/>
              <a:gd name="connsiteX248" fmla="*/ 2976282 w 5153115"/>
              <a:gd name="connsiteY248" fmla="*/ 3087826 h 4115417"/>
              <a:gd name="connsiteX249" fmla="*/ 2971742 w 5153115"/>
              <a:gd name="connsiteY249" fmla="*/ 3114575 h 4115417"/>
              <a:gd name="connsiteX250" fmla="*/ 2958945 w 5153115"/>
              <a:gd name="connsiteY250" fmla="*/ 3130979 h 4115417"/>
              <a:gd name="connsiteX251" fmla="*/ 2939125 w 5153115"/>
              <a:gd name="connsiteY251" fmla="*/ 3139221 h 4115417"/>
              <a:gd name="connsiteX252" fmla="*/ 2913514 w 5153115"/>
              <a:gd name="connsiteY252" fmla="*/ 3141483 h 4115417"/>
              <a:gd name="connsiteX253" fmla="*/ 2887903 w 5153115"/>
              <a:gd name="connsiteY253" fmla="*/ 3139221 h 4115417"/>
              <a:gd name="connsiteX254" fmla="*/ 2868082 w 5153115"/>
              <a:gd name="connsiteY254" fmla="*/ 3130979 h 4115417"/>
              <a:gd name="connsiteX255" fmla="*/ 2855285 w 5153115"/>
              <a:gd name="connsiteY255" fmla="*/ 3114575 h 4115417"/>
              <a:gd name="connsiteX256" fmla="*/ 2850745 w 5153115"/>
              <a:gd name="connsiteY256" fmla="*/ 3087826 h 4115417"/>
              <a:gd name="connsiteX257" fmla="*/ 2855427 w 5153115"/>
              <a:gd name="connsiteY257" fmla="*/ 3062246 h 4115417"/>
              <a:gd name="connsiteX258" fmla="*/ 2868462 w 5153115"/>
              <a:gd name="connsiteY258" fmla="*/ 3046443 h 4115417"/>
              <a:gd name="connsiteX259" fmla="*/ 2888330 w 5153115"/>
              <a:gd name="connsiteY259" fmla="*/ 3038423 h 4115417"/>
              <a:gd name="connsiteX260" fmla="*/ 1690212 w 5153115"/>
              <a:gd name="connsiteY260" fmla="*/ 2945084 h 4115417"/>
              <a:gd name="connsiteX261" fmla="*/ 2238932 w 5153115"/>
              <a:gd name="connsiteY261" fmla="*/ 2945084 h 4115417"/>
              <a:gd name="connsiteX262" fmla="*/ 2238932 w 5153115"/>
              <a:gd name="connsiteY262" fmla="*/ 3009877 h 4115417"/>
              <a:gd name="connsiteX263" fmla="*/ 1690212 w 5153115"/>
              <a:gd name="connsiteY263" fmla="*/ 3009877 h 4115417"/>
              <a:gd name="connsiteX264" fmla="*/ 773297 w 5153115"/>
              <a:gd name="connsiteY264" fmla="*/ 2945084 h 4115417"/>
              <a:gd name="connsiteX265" fmla="*/ 1322019 w 5153115"/>
              <a:gd name="connsiteY265" fmla="*/ 2945084 h 4115417"/>
              <a:gd name="connsiteX266" fmla="*/ 1322019 w 5153115"/>
              <a:gd name="connsiteY266" fmla="*/ 3009877 h 4115417"/>
              <a:gd name="connsiteX267" fmla="*/ 773297 w 5153115"/>
              <a:gd name="connsiteY267" fmla="*/ 3009877 h 4115417"/>
              <a:gd name="connsiteX268" fmla="*/ 1690212 w 5153115"/>
              <a:gd name="connsiteY268" fmla="*/ 2733491 h 4115417"/>
              <a:gd name="connsiteX269" fmla="*/ 2238932 w 5153115"/>
              <a:gd name="connsiteY269" fmla="*/ 2733491 h 4115417"/>
              <a:gd name="connsiteX270" fmla="*/ 2238932 w 5153115"/>
              <a:gd name="connsiteY270" fmla="*/ 2798284 h 4115417"/>
              <a:gd name="connsiteX271" fmla="*/ 1690212 w 5153115"/>
              <a:gd name="connsiteY271" fmla="*/ 2798284 h 4115417"/>
              <a:gd name="connsiteX272" fmla="*/ 773297 w 5153115"/>
              <a:gd name="connsiteY272" fmla="*/ 2733491 h 4115417"/>
              <a:gd name="connsiteX273" fmla="*/ 1322019 w 5153115"/>
              <a:gd name="connsiteY273" fmla="*/ 2733491 h 4115417"/>
              <a:gd name="connsiteX274" fmla="*/ 1322019 w 5153115"/>
              <a:gd name="connsiteY274" fmla="*/ 2798284 h 4115417"/>
              <a:gd name="connsiteX275" fmla="*/ 773297 w 5153115"/>
              <a:gd name="connsiteY275" fmla="*/ 2798284 h 4115417"/>
              <a:gd name="connsiteX276" fmla="*/ 3377636 w 5153115"/>
              <a:gd name="connsiteY276" fmla="*/ 2610983 h 4115417"/>
              <a:gd name="connsiteX277" fmla="*/ 3403246 w 5153115"/>
              <a:gd name="connsiteY277" fmla="*/ 2613087 h 4115417"/>
              <a:gd name="connsiteX278" fmla="*/ 3423067 w 5153115"/>
              <a:gd name="connsiteY278" fmla="*/ 2620981 h 4115417"/>
              <a:gd name="connsiteX279" fmla="*/ 3435864 w 5153115"/>
              <a:gd name="connsiteY279" fmla="*/ 2637037 h 4115417"/>
              <a:gd name="connsiteX280" fmla="*/ 3440404 w 5153115"/>
              <a:gd name="connsiteY280" fmla="*/ 2663628 h 4115417"/>
              <a:gd name="connsiteX281" fmla="*/ 3435864 w 5153115"/>
              <a:gd name="connsiteY281" fmla="*/ 2689366 h 4115417"/>
              <a:gd name="connsiteX282" fmla="*/ 3423067 w 5153115"/>
              <a:gd name="connsiteY282" fmla="*/ 2705516 h 4115417"/>
              <a:gd name="connsiteX283" fmla="*/ 3403246 w 5153115"/>
              <a:gd name="connsiteY283" fmla="*/ 2713884 h 4115417"/>
              <a:gd name="connsiteX284" fmla="*/ 3377636 w 5153115"/>
              <a:gd name="connsiteY284" fmla="*/ 2716273 h 4115417"/>
              <a:gd name="connsiteX285" fmla="*/ 3352611 w 5153115"/>
              <a:gd name="connsiteY285" fmla="*/ 2713884 h 4115417"/>
              <a:gd name="connsiteX286" fmla="*/ 3333090 w 5153115"/>
              <a:gd name="connsiteY286" fmla="*/ 2705516 h 4115417"/>
              <a:gd name="connsiteX287" fmla="*/ 3320404 w 5153115"/>
              <a:gd name="connsiteY287" fmla="*/ 2689366 h 4115417"/>
              <a:gd name="connsiteX288" fmla="*/ 3315879 w 5153115"/>
              <a:gd name="connsiteY288" fmla="*/ 2663628 h 4115417"/>
              <a:gd name="connsiteX289" fmla="*/ 3320404 w 5153115"/>
              <a:gd name="connsiteY289" fmla="*/ 2637037 h 4115417"/>
              <a:gd name="connsiteX290" fmla="*/ 3333090 w 5153115"/>
              <a:gd name="connsiteY290" fmla="*/ 2620981 h 4115417"/>
              <a:gd name="connsiteX291" fmla="*/ 3352611 w 5153115"/>
              <a:gd name="connsiteY291" fmla="*/ 2613087 h 4115417"/>
              <a:gd name="connsiteX292" fmla="*/ 2913514 w 5153115"/>
              <a:gd name="connsiteY292" fmla="*/ 2610983 h 4115417"/>
              <a:gd name="connsiteX293" fmla="*/ 2939125 w 5153115"/>
              <a:gd name="connsiteY293" fmla="*/ 2613087 h 4115417"/>
              <a:gd name="connsiteX294" fmla="*/ 2958945 w 5153115"/>
              <a:gd name="connsiteY294" fmla="*/ 2620981 h 4115417"/>
              <a:gd name="connsiteX295" fmla="*/ 2971742 w 5153115"/>
              <a:gd name="connsiteY295" fmla="*/ 2637037 h 4115417"/>
              <a:gd name="connsiteX296" fmla="*/ 2976282 w 5153115"/>
              <a:gd name="connsiteY296" fmla="*/ 2663628 h 4115417"/>
              <a:gd name="connsiteX297" fmla="*/ 2971742 w 5153115"/>
              <a:gd name="connsiteY297" fmla="*/ 2689366 h 4115417"/>
              <a:gd name="connsiteX298" fmla="*/ 2958945 w 5153115"/>
              <a:gd name="connsiteY298" fmla="*/ 2705516 h 4115417"/>
              <a:gd name="connsiteX299" fmla="*/ 2939125 w 5153115"/>
              <a:gd name="connsiteY299" fmla="*/ 2713884 h 4115417"/>
              <a:gd name="connsiteX300" fmla="*/ 2913514 w 5153115"/>
              <a:gd name="connsiteY300" fmla="*/ 2716273 h 4115417"/>
              <a:gd name="connsiteX301" fmla="*/ 2888489 w 5153115"/>
              <a:gd name="connsiteY301" fmla="*/ 2713884 h 4115417"/>
              <a:gd name="connsiteX302" fmla="*/ 2868968 w 5153115"/>
              <a:gd name="connsiteY302" fmla="*/ 2705516 h 4115417"/>
              <a:gd name="connsiteX303" fmla="*/ 2856281 w 5153115"/>
              <a:gd name="connsiteY303" fmla="*/ 2689366 h 4115417"/>
              <a:gd name="connsiteX304" fmla="*/ 2851757 w 5153115"/>
              <a:gd name="connsiteY304" fmla="*/ 2663628 h 4115417"/>
              <a:gd name="connsiteX305" fmla="*/ 2856281 w 5153115"/>
              <a:gd name="connsiteY305" fmla="*/ 2637037 h 4115417"/>
              <a:gd name="connsiteX306" fmla="*/ 2868968 w 5153115"/>
              <a:gd name="connsiteY306" fmla="*/ 2620981 h 4115417"/>
              <a:gd name="connsiteX307" fmla="*/ 2888489 w 5153115"/>
              <a:gd name="connsiteY307" fmla="*/ 2613087 h 4115417"/>
              <a:gd name="connsiteX308" fmla="*/ 4677633 w 5153115"/>
              <a:gd name="connsiteY308" fmla="*/ 2125034 h 4115417"/>
              <a:gd name="connsiteX309" fmla="*/ 4708038 w 5153115"/>
              <a:gd name="connsiteY309" fmla="*/ 2128419 h 4115417"/>
              <a:gd name="connsiteX310" fmla="*/ 4727460 w 5153115"/>
              <a:gd name="connsiteY310" fmla="*/ 2138511 h 4115417"/>
              <a:gd name="connsiteX311" fmla="*/ 4737552 w 5153115"/>
              <a:gd name="connsiteY311" fmla="*/ 2155212 h 4115417"/>
              <a:gd name="connsiteX312" fmla="*/ 4739965 w 5153115"/>
              <a:gd name="connsiteY312" fmla="*/ 2178424 h 4115417"/>
              <a:gd name="connsiteX313" fmla="*/ 4736353 w 5153115"/>
              <a:gd name="connsiteY313" fmla="*/ 2208051 h 4115417"/>
              <a:gd name="connsiteX314" fmla="*/ 4708006 w 5153115"/>
              <a:gd name="connsiteY314" fmla="*/ 2357887 h 4115417"/>
              <a:gd name="connsiteX315" fmla="*/ 4659410 w 5153115"/>
              <a:gd name="connsiteY315" fmla="*/ 2357887 h 4115417"/>
              <a:gd name="connsiteX316" fmla="*/ 4675608 w 5153115"/>
              <a:gd name="connsiteY316" fmla="*/ 2230324 h 4115417"/>
              <a:gd name="connsiteX317" fmla="*/ 4650741 w 5153115"/>
              <a:gd name="connsiteY317" fmla="*/ 2227920 h 4115417"/>
              <a:gd name="connsiteX318" fmla="*/ 4631569 w 5153115"/>
              <a:gd name="connsiteY318" fmla="*/ 2219441 h 4115417"/>
              <a:gd name="connsiteX319" fmla="*/ 4619230 w 5153115"/>
              <a:gd name="connsiteY319" fmla="*/ 2202989 h 4115417"/>
              <a:gd name="connsiteX320" fmla="*/ 4614865 w 5153115"/>
              <a:gd name="connsiteY320" fmla="*/ 2176667 h 4115417"/>
              <a:gd name="connsiteX321" fmla="*/ 4619546 w 5153115"/>
              <a:gd name="connsiteY321" fmla="*/ 2151088 h 4115417"/>
              <a:gd name="connsiteX322" fmla="*/ 4632581 w 5153115"/>
              <a:gd name="connsiteY322" fmla="*/ 2135285 h 4115417"/>
              <a:gd name="connsiteX323" fmla="*/ 4652449 w 5153115"/>
              <a:gd name="connsiteY323" fmla="*/ 2127265 h 4115417"/>
              <a:gd name="connsiteX324" fmla="*/ 2463507 w 5153115"/>
              <a:gd name="connsiteY324" fmla="*/ 2033918 h 4115417"/>
              <a:gd name="connsiteX325" fmla="*/ 3012229 w 5153115"/>
              <a:gd name="connsiteY325" fmla="*/ 2033918 h 4115417"/>
              <a:gd name="connsiteX326" fmla="*/ 3012229 w 5153115"/>
              <a:gd name="connsiteY326" fmla="*/ 2098711 h 4115417"/>
              <a:gd name="connsiteX327" fmla="*/ 2463507 w 5153115"/>
              <a:gd name="connsiteY327" fmla="*/ 2098711 h 4115417"/>
              <a:gd name="connsiteX328" fmla="*/ 1546600 w 5153115"/>
              <a:gd name="connsiteY328" fmla="*/ 2033918 h 4115417"/>
              <a:gd name="connsiteX329" fmla="*/ 2095321 w 5153115"/>
              <a:gd name="connsiteY329" fmla="*/ 2033918 h 4115417"/>
              <a:gd name="connsiteX330" fmla="*/ 2095321 w 5153115"/>
              <a:gd name="connsiteY330" fmla="*/ 2098711 h 4115417"/>
              <a:gd name="connsiteX331" fmla="*/ 1546600 w 5153115"/>
              <a:gd name="connsiteY331" fmla="*/ 2098711 h 4115417"/>
              <a:gd name="connsiteX332" fmla="*/ 2463507 w 5153115"/>
              <a:gd name="connsiteY332" fmla="*/ 1822326 h 4115417"/>
              <a:gd name="connsiteX333" fmla="*/ 3012229 w 5153115"/>
              <a:gd name="connsiteY333" fmla="*/ 1822326 h 4115417"/>
              <a:gd name="connsiteX334" fmla="*/ 3012229 w 5153115"/>
              <a:gd name="connsiteY334" fmla="*/ 1887119 h 4115417"/>
              <a:gd name="connsiteX335" fmla="*/ 2463507 w 5153115"/>
              <a:gd name="connsiteY335" fmla="*/ 1887119 h 4115417"/>
              <a:gd name="connsiteX336" fmla="*/ 1546600 w 5153115"/>
              <a:gd name="connsiteY336" fmla="*/ 1822326 h 4115417"/>
              <a:gd name="connsiteX337" fmla="*/ 2095321 w 5153115"/>
              <a:gd name="connsiteY337" fmla="*/ 1822326 h 4115417"/>
              <a:gd name="connsiteX338" fmla="*/ 2095321 w 5153115"/>
              <a:gd name="connsiteY338" fmla="*/ 1887119 h 4115417"/>
              <a:gd name="connsiteX339" fmla="*/ 1546600 w 5153115"/>
              <a:gd name="connsiteY339" fmla="*/ 1887119 h 4115417"/>
              <a:gd name="connsiteX340" fmla="*/ 4677633 w 5153115"/>
              <a:gd name="connsiteY340" fmla="*/ 1699825 h 4115417"/>
              <a:gd name="connsiteX341" fmla="*/ 4703244 w 5153115"/>
              <a:gd name="connsiteY341" fmla="*/ 1701929 h 4115417"/>
              <a:gd name="connsiteX342" fmla="*/ 4723065 w 5153115"/>
              <a:gd name="connsiteY342" fmla="*/ 1709822 h 4115417"/>
              <a:gd name="connsiteX343" fmla="*/ 4735863 w 5153115"/>
              <a:gd name="connsiteY343" fmla="*/ 1725878 h 4115417"/>
              <a:gd name="connsiteX344" fmla="*/ 4740403 w 5153115"/>
              <a:gd name="connsiteY344" fmla="*/ 1752469 h 4115417"/>
              <a:gd name="connsiteX345" fmla="*/ 4735863 w 5153115"/>
              <a:gd name="connsiteY345" fmla="*/ 1778206 h 4115417"/>
              <a:gd name="connsiteX346" fmla="*/ 4723065 w 5153115"/>
              <a:gd name="connsiteY346" fmla="*/ 1794358 h 4115417"/>
              <a:gd name="connsiteX347" fmla="*/ 4703244 w 5153115"/>
              <a:gd name="connsiteY347" fmla="*/ 1802726 h 4115417"/>
              <a:gd name="connsiteX348" fmla="*/ 4677633 w 5153115"/>
              <a:gd name="connsiteY348" fmla="*/ 1805115 h 4115417"/>
              <a:gd name="connsiteX349" fmla="*/ 4652608 w 5153115"/>
              <a:gd name="connsiteY349" fmla="*/ 1802726 h 4115417"/>
              <a:gd name="connsiteX350" fmla="*/ 4633087 w 5153115"/>
              <a:gd name="connsiteY350" fmla="*/ 1794358 h 4115417"/>
              <a:gd name="connsiteX351" fmla="*/ 4620400 w 5153115"/>
              <a:gd name="connsiteY351" fmla="*/ 1778206 h 4115417"/>
              <a:gd name="connsiteX352" fmla="*/ 4615877 w 5153115"/>
              <a:gd name="connsiteY352" fmla="*/ 1752469 h 4115417"/>
              <a:gd name="connsiteX353" fmla="*/ 4620400 w 5153115"/>
              <a:gd name="connsiteY353" fmla="*/ 1725878 h 4115417"/>
              <a:gd name="connsiteX354" fmla="*/ 4633087 w 5153115"/>
              <a:gd name="connsiteY354" fmla="*/ 1709822 h 4115417"/>
              <a:gd name="connsiteX355" fmla="*/ 4652608 w 5153115"/>
              <a:gd name="connsiteY355" fmla="*/ 1701929 h 4115417"/>
              <a:gd name="connsiteX356" fmla="*/ 3977409 w 5153115"/>
              <a:gd name="connsiteY356" fmla="*/ 1505448 h 4115417"/>
              <a:gd name="connsiteX357" fmla="*/ 4009594 w 5153115"/>
              <a:gd name="connsiteY357" fmla="*/ 1506586 h 4115417"/>
              <a:gd name="connsiteX358" fmla="*/ 4039384 w 5153115"/>
              <a:gd name="connsiteY358" fmla="*/ 1509968 h 4115417"/>
              <a:gd name="connsiteX359" fmla="*/ 4066859 w 5153115"/>
              <a:gd name="connsiteY359" fmla="*/ 1515545 h 4115417"/>
              <a:gd name="connsiteX360" fmla="*/ 4092101 w 5153115"/>
              <a:gd name="connsiteY360" fmla="*/ 1523266 h 4115417"/>
              <a:gd name="connsiteX361" fmla="*/ 4115190 w 5153115"/>
              <a:gd name="connsiteY361" fmla="*/ 1533084 h 4115417"/>
              <a:gd name="connsiteX362" fmla="*/ 4136206 w 5153115"/>
              <a:gd name="connsiteY362" fmla="*/ 1544947 h 4115417"/>
              <a:gd name="connsiteX363" fmla="*/ 4155229 w 5153115"/>
              <a:gd name="connsiteY363" fmla="*/ 1558807 h 4115417"/>
              <a:gd name="connsiteX364" fmla="*/ 4172340 w 5153115"/>
              <a:gd name="connsiteY364" fmla="*/ 1574615 h 4115417"/>
              <a:gd name="connsiteX365" fmla="*/ 4187620 w 5153115"/>
              <a:gd name="connsiteY365" fmla="*/ 1592322 h 4115417"/>
              <a:gd name="connsiteX366" fmla="*/ 4201150 w 5153115"/>
              <a:gd name="connsiteY366" fmla="*/ 1611877 h 4115417"/>
              <a:gd name="connsiteX367" fmla="*/ 4213008 w 5153115"/>
              <a:gd name="connsiteY367" fmla="*/ 1633232 h 4115417"/>
              <a:gd name="connsiteX368" fmla="*/ 4223276 w 5153115"/>
              <a:gd name="connsiteY368" fmla="*/ 1656337 h 4115417"/>
              <a:gd name="connsiteX369" fmla="*/ 4232035 w 5153115"/>
              <a:gd name="connsiteY369" fmla="*/ 1681142 h 4115417"/>
              <a:gd name="connsiteX370" fmla="*/ 4239366 w 5153115"/>
              <a:gd name="connsiteY370" fmla="*/ 1707600 h 4115417"/>
              <a:gd name="connsiteX371" fmla="*/ 4245347 w 5153115"/>
              <a:gd name="connsiteY371" fmla="*/ 1735659 h 4115417"/>
              <a:gd name="connsiteX372" fmla="*/ 4250061 w 5153115"/>
              <a:gd name="connsiteY372" fmla="*/ 1765271 h 4115417"/>
              <a:gd name="connsiteX373" fmla="*/ 4253587 w 5153115"/>
              <a:gd name="connsiteY373" fmla="*/ 1796386 h 4115417"/>
              <a:gd name="connsiteX374" fmla="*/ 4256005 w 5153115"/>
              <a:gd name="connsiteY374" fmla="*/ 1828956 h 4115417"/>
              <a:gd name="connsiteX375" fmla="*/ 4257398 w 5153115"/>
              <a:gd name="connsiteY375" fmla="*/ 1862930 h 4115417"/>
              <a:gd name="connsiteX376" fmla="*/ 4257844 w 5153115"/>
              <a:gd name="connsiteY376" fmla="*/ 1898260 h 4115417"/>
              <a:gd name="connsiteX377" fmla="*/ 4257419 w 5153115"/>
              <a:gd name="connsiteY377" fmla="*/ 1933742 h 4115417"/>
              <a:gd name="connsiteX378" fmla="*/ 4256087 w 5153115"/>
              <a:gd name="connsiteY378" fmla="*/ 1967867 h 4115417"/>
              <a:gd name="connsiteX379" fmla="*/ 4253761 w 5153115"/>
              <a:gd name="connsiteY379" fmla="*/ 2000586 h 4115417"/>
              <a:gd name="connsiteX380" fmla="*/ 4250352 w 5153115"/>
              <a:gd name="connsiteY380" fmla="*/ 2031849 h 4115417"/>
              <a:gd name="connsiteX381" fmla="*/ 4245774 w 5153115"/>
              <a:gd name="connsiteY381" fmla="*/ 2061605 h 4115417"/>
              <a:gd name="connsiteX382" fmla="*/ 4239939 w 5153115"/>
              <a:gd name="connsiteY382" fmla="*/ 2089805 h 4115417"/>
              <a:gd name="connsiteX383" fmla="*/ 4232761 w 5153115"/>
              <a:gd name="connsiteY383" fmla="*/ 2116397 h 4115417"/>
              <a:gd name="connsiteX384" fmla="*/ 4224151 w 5153115"/>
              <a:gd name="connsiteY384" fmla="*/ 2141334 h 4115417"/>
              <a:gd name="connsiteX385" fmla="*/ 4214023 w 5153115"/>
              <a:gd name="connsiteY385" fmla="*/ 2164563 h 4115417"/>
              <a:gd name="connsiteX386" fmla="*/ 4202288 w 5153115"/>
              <a:gd name="connsiteY386" fmla="*/ 2186036 h 4115417"/>
              <a:gd name="connsiteX387" fmla="*/ 4188861 w 5153115"/>
              <a:gd name="connsiteY387" fmla="*/ 2205701 h 4115417"/>
              <a:gd name="connsiteX388" fmla="*/ 4173652 w 5153115"/>
              <a:gd name="connsiteY388" fmla="*/ 2223508 h 4115417"/>
              <a:gd name="connsiteX389" fmla="*/ 4156576 w 5153115"/>
              <a:gd name="connsiteY389" fmla="*/ 2239409 h 4115417"/>
              <a:gd name="connsiteX390" fmla="*/ 4137545 w 5153115"/>
              <a:gd name="connsiteY390" fmla="*/ 2253352 h 4115417"/>
              <a:gd name="connsiteX391" fmla="*/ 4116472 w 5153115"/>
              <a:gd name="connsiteY391" fmla="*/ 2265287 h 4115417"/>
              <a:gd name="connsiteX392" fmla="*/ 4093268 w 5153115"/>
              <a:gd name="connsiteY392" fmla="*/ 2275165 h 4115417"/>
              <a:gd name="connsiteX393" fmla="*/ 4067847 w 5153115"/>
              <a:gd name="connsiteY393" fmla="*/ 2282935 h 4115417"/>
              <a:gd name="connsiteX394" fmla="*/ 4040122 w 5153115"/>
              <a:gd name="connsiteY394" fmla="*/ 2288547 h 4115417"/>
              <a:gd name="connsiteX395" fmla="*/ 4010005 w 5153115"/>
              <a:gd name="connsiteY395" fmla="*/ 2291951 h 4115417"/>
              <a:gd name="connsiteX396" fmla="*/ 3977409 w 5153115"/>
              <a:gd name="connsiteY396" fmla="*/ 2293097 h 4115417"/>
              <a:gd name="connsiteX397" fmla="*/ 3977409 w 5153115"/>
              <a:gd name="connsiteY397" fmla="*/ 2234378 h 4115417"/>
              <a:gd name="connsiteX398" fmla="*/ 4007541 w 5153115"/>
              <a:gd name="connsiteY398" fmla="*/ 2233024 h 4115417"/>
              <a:gd name="connsiteX399" fmla="*/ 4034783 w 5153115"/>
              <a:gd name="connsiteY399" fmla="*/ 2229008 h 4115417"/>
              <a:gd name="connsiteX400" fmla="*/ 4059274 w 5153115"/>
              <a:gd name="connsiteY400" fmla="*/ 2222405 h 4115417"/>
              <a:gd name="connsiteX401" fmla="*/ 4081149 w 5153115"/>
              <a:gd name="connsiteY401" fmla="*/ 2213283 h 4115417"/>
              <a:gd name="connsiteX402" fmla="*/ 4117604 w 5153115"/>
              <a:gd name="connsiteY402" fmla="*/ 2187776 h 4115417"/>
              <a:gd name="connsiteX403" fmla="*/ 4145246 w 5153115"/>
              <a:gd name="connsiteY403" fmla="*/ 2153059 h 4115417"/>
              <a:gd name="connsiteX404" fmla="*/ 4156106 w 5153115"/>
              <a:gd name="connsiteY404" fmla="*/ 2132427 h 4115417"/>
              <a:gd name="connsiteX405" fmla="*/ 4165173 w 5153115"/>
              <a:gd name="connsiteY405" fmla="*/ 2109708 h 4115417"/>
              <a:gd name="connsiteX406" fmla="*/ 4172587 w 5153115"/>
              <a:gd name="connsiteY406" fmla="*/ 2084974 h 4115417"/>
              <a:gd name="connsiteX407" fmla="*/ 4178483 w 5153115"/>
              <a:gd name="connsiteY407" fmla="*/ 2058295 h 4115417"/>
              <a:gd name="connsiteX408" fmla="*/ 4183000 w 5153115"/>
              <a:gd name="connsiteY408" fmla="*/ 2029745 h 4115417"/>
              <a:gd name="connsiteX409" fmla="*/ 4186274 w 5153115"/>
              <a:gd name="connsiteY409" fmla="*/ 1999395 h 4115417"/>
              <a:gd name="connsiteX410" fmla="*/ 4188443 w 5153115"/>
              <a:gd name="connsiteY410" fmla="*/ 1967316 h 4115417"/>
              <a:gd name="connsiteX411" fmla="*/ 4189643 w 5153115"/>
              <a:gd name="connsiteY411" fmla="*/ 1933581 h 4115417"/>
              <a:gd name="connsiteX412" fmla="*/ 4190013 w 5153115"/>
              <a:gd name="connsiteY412" fmla="*/ 1898260 h 4115417"/>
              <a:gd name="connsiteX413" fmla="*/ 4189624 w 5153115"/>
              <a:gd name="connsiteY413" fmla="*/ 1863286 h 4115417"/>
              <a:gd name="connsiteX414" fmla="*/ 4188368 w 5153115"/>
              <a:gd name="connsiteY414" fmla="*/ 1829877 h 4115417"/>
              <a:gd name="connsiteX415" fmla="*/ 4186118 w 5153115"/>
              <a:gd name="connsiteY415" fmla="*/ 1798103 h 4115417"/>
              <a:gd name="connsiteX416" fmla="*/ 4182743 w 5153115"/>
              <a:gd name="connsiteY416" fmla="*/ 1768037 h 4115417"/>
              <a:gd name="connsiteX417" fmla="*/ 4178112 w 5153115"/>
              <a:gd name="connsiteY417" fmla="*/ 1739749 h 4115417"/>
              <a:gd name="connsiteX418" fmla="*/ 4172097 w 5153115"/>
              <a:gd name="connsiteY418" fmla="*/ 1713313 h 4115417"/>
              <a:gd name="connsiteX419" fmla="*/ 4164568 w 5153115"/>
              <a:gd name="connsiteY419" fmla="*/ 1688799 h 4115417"/>
              <a:gd name="connsiteX420" fmla="*/ 4155394 w 5153115"/>
              <a:gd name="connsiteY420" fmla="*/ 1666280 h 4115417"/>
              <a:gd name="connsiteX421" fmla="*/ 4144445 w 5153115"/>
              <a:gd name="connsiteY421" fmla="*/ 1645826 h 4115417"/>
              <a:gd name="connsiteX422" fmla="*/ 4116707 w 5153115"/>
              <a:gd name="connsiteY422" fmla="*/ 1611404 h 4115417"/>
              <a:gd name="connsiteX423" fmla="*/ 4080314 w 5153115"/>
              <a:gd name="connsiteY423" fmla="*/ 1586107 h 4115417"/>
              <a:gd name="connsiteX424" fmla="*/ 4058547 w 5153115"/>
              <a:gd name="connsiteY424" fmla="*/ 1577059 h 4115417"/>
              <a:gd name="connsiteX425" fmla="*/ 4034227 w 5153115"/>
              <a:gd name="connsiteY425" fmla="*/ 1570507 h 4115417"/>
              <a:gd name="connsiteX426" fmla="*/ 4007224 w 5153115"/>
              <a:gd name="connsiteY426" fmla="*/ 1566524 h 4115417"/>
              <a:gd name="connsiteX427" fmla="*/ 3977409 w 5153115"/>
              <a:gd name="connsiteY427" fmla="*/ 1565180 h 4115417"/>
              <a:gd name="connsiteX428" fmla="*/ 3663946 w 5153115"/>
              <a:gd name="connsiteY428" fmla="*/ 1505448 h 4115417"/>
              <a:gd name="connsiteX429" fmla="*/ 3663946 w 5153115"/>
              <a:gd name="connsiteY429" fmla="*/ 1565180 h 4115417"/>
              <a:gd name="connsiteX430" fmla="*/ 3634299 w 5153115"/>
              <a:gd name="connsiteY430" fmla="*/ 1566524 h 4115417"/>
              <a:gd name="connsiteX431" fmla="*/ 3607444 w 5153115"/>
              <a:gd name="connsiteY431" fmla="*/ 1570507 h 4115417"/>
              <a:gd name="connsiteX432" fmla="*/ 3583254 w 5153115"/>
              <a:gd name="connsiteY432" fmla="*/ 1577059 h 4115417"/>
              <a:gd name="connsiteX433" fmla="*/ 3561600 w 5153115"/>
              <a:gd name="connsiteY433" fmla="*/ 1586107 h 4115417"/>
              <a:gd name="connsiteX434" fmla="*/ 3525385 w 5153115"/>
              <a:gd name="connsiteY434" fmla="*/ 1611404 h 4115417"/>
              <a:gd name="connsiteX435" fmla="*/ 3497771 w 5153115"/>
              <a:gd name="connsiteY435" fmla="*/ 1645826 h 4115417"/>
              <a:gd name="connsiteX436" fmla="*/ 3486867 w 5153115"/>
              <a:gd name="connsiteY436" fmla="*/ 1666280 h 4115417"/>
              <a:gd name="connsiteX437" fmla="*/ 3477728 w 5153115"/>
              <a:gd name="connsiteY437" fmla="*/ 1688799 h 4115417"/>
              <a:gd name="connsiteX438" fmla="*/ 3470224 w 5153115"/>
              <a:gd name="connsiteY438" fmla="*/ 1713313 h 4115417"/>
              <a:gd name="connsiteX439" fmla="*/ 3464228 w 5153115"/>
              <a:gd name="connsiteY439" fmla="*/ 1739749 h 4115417"/>
              <a:gd name="connsiteX440" fmla="*/ 3459610 w 5153115"/>
              <a:gd name="connsiteY440" fmla="*/ 1768037 h 4115417"/>
              <a:gd name="connsiteX441" fmla="*/ 3456242 w 5153115"/>
              <a:gd name="connsiteY441" fmla="*/ 1798103 h 4115417"/>
              <a:gd name="connsiteX442" fmla="*/ 3453996 w 5153115"/>
              <a:gd name="connsiteY442" fmla="*/ 1829877 h 4115417"/>
              <a:gd name="connsiteX443" fmla="*/ 3452743 w 5153115"/>
              <a:gd name="connsiteY443" fmla="*/ 1863286 h 4115417"/>
              <a:gd name="connsiteX444" fmla="*/ 3452353 w 5153115"/>
              <a:gd name="connsiteY444" fmla="*/ 1898260 h 4115417"/>
              <a:gd name="connsiteX445" fmla="*/ 3452733 w 5153115"/>
              <a:gd name="connsiteY445" fmla="*/ 1933581 h 4115417"/>
              <a:gd name="connsiteX446" fmla="*/ 3453959 w 5153115"/>
              <a:gd name="connsiteY446" fmla="*/ 1967316 h 4115417"/>
              <a:gd name="connsiteX447" fmla="*/ 3456165 w 5153115"/>
              <a:gd name="connsiteY447" fmla="*/ 1999395 h 4115417"/>
              <a:gd name="connsiteX448" fmla="*/ 3459482 w 5153115"/>
              <a:gd name="connsiteY448" fmla="*/ 2029745 h 4115417"/>
              <a:gd name="connsiteX449" fmla="*/ 3464043 w 5153115"/>
              <a:gd name="connsiteY449" fmla="*/ 2058295 h 4115417"/>
              <a:gd name="connsiteX450" fmla="*/ 3469979 w 5153115"/>
              <a:gd name="connsiteY450" fmla="*/ 2084974 h 4115417"/>
              <a:gd name="connsiteX451" fmla="*/ 3477425 w 5153115"/>
              <a:gd name="connsiteY451" fmla="*/ 2109708 h 4115417"/>
              <a:gd name="connsiteX452" fmla="*/ 3486511 w 5153115"/>
              <a:gd name="connsiteY452" fmla="*/ 2132427 h 4115417"/>
              <a:gd name="connsiteX453" fmla="*/ 3497370 w 5153115"/>
              <a:gd name="connsiteY453" fmla="*/ 2153059 h 4115417"/>
              <a:gd name="connsiteX454" fmla="*/ 3524936 w 5153115"/>
              <a:gd name="connsiteY454" fmla="*/ 2187776 h 4115417"/>
              <a:gd name="connsiteX455" fmla="*/ 3561182 w 5153115"/>
              <a:gd name="connsiteY455" fmla="*/ 2213283 h 4115417"/>
              <a:gd name="connsiteX456" fmla="*/ 3582891 w 5153115"/>
              <a:gd name="connsiteY456" fmla="*/ 2222405 h 4115417"/>
              <a:gd name="connsiteX457" fmla="*/ 3607166 w 5153115"/>
              <a:gd name="connsiteY457" fmla="*/ 2229008 h 4115417"/>
              <a:gd name="connsiteX458" fmla="*/ 3634140 w 5153115"/>
              <a:gd name="connsiteY458" fmla="*/ 2233024 h 4115417"/>
              <a:gd name="connsiteX459" fmla="*/ 3663946 w 5153115"/>
              <a:gd name="connsiteY459" fmla="*/ 2234378 h 4115417"/>
              <a:gd name="connsiteX460" fmla="*/ 3663946 w 5153115"/>
              <a:gd name="connsiteY460" fmla="*/ 2293097 h 4115417"/>
              <a:gd name="connsiteX461" fmla="*/ 3631486 w 5153115"/>
              <a:gd name="connsiteY461" fmla="*/ 2291951 h 4115417"/>
              <a:gd name="connsiteX462" fmla="*/ 3601479 w 5153115"/>
              <a:gd name="connsiteY462" fmla="*/ 2288547 h 4115417"/>
              <a:gd name="connsiteX463" fmla="*/ 3573836 w 5153115"/>
              <a:gd name="connsiteY463" fmla="*/ 2282935 h 4115417"/>
              <a:gd name="connsiteX464" fmla="*/ 3548475 w 5153115"/>
              <a:gd name="connsiteY464" fmla="*/ 2275165 h 4115417"/>
              <a:gd name="connsiteX465" fmla="*/ 3525310 w 5153115"/>
              <a:gd name="connsiteY465" fmla="*/ 2265287 h 4115417"/>
              <a:gd name="connsiteX466" fmla="*/ 3504255 w 5153115"/>
              <a:gd name="connsiteY466" fmla="*/ 2253352 h 4115417"/>
              <a:gd name="connsiteX467" fmla="*/ 3485227 w 5153115"/>
              <a:gd name="connsiteY467" fmla="*/ 2239409 h 4115417"/>
              <a:gd name="connsiteX468" fmla="*/ 3468139 w 5153115"/>
              <a:gd name="connsiteY468" fmla="*/ 2223508 h 4115417"/>
              <a:gd name="connsiteX469" fmla="*/ 3452907 w 5153115"/>
              <a:gd name="connsiteY469" fmla="*/ 2205701 h 4115417"/>
              <a:gd name="connsiteX470" fmla="*/ 3439445 w 5153115"/>
              <a:gd name="connsiteY470" fmla="*/ 2186036 h 4115417"/>
              <a:gd name="connsiteX471" fmla="*/ 3427670 w 5153115"/>
              <a:gd name="connsiteY471" fmla="*/ 2164563 h 4115417"/>
              <a:gd name="connsiteX472" fmla="*/ 3417494 w 5153115"/>
              <a:gd name="connsiteY472" fmla="*/ 2141334 h 4115417"/>
              <a:gd name="connsiteX473" fmla="*/ 3408835 w 5153115"/>
              <a:gd name="connsiteY473" fmla="*/ 2116397 h 4115417"/>
              <a:gd name="connsiteX474" fmla="*/ 3401606 w 5153115"/>
              <a:gd name="connsiteY474" fmla="*/ 2089805 h 4115417"/>
              <a:gd name="connsiteX475" fmla="*/ 3395722 w 5153115"/>
              <a:gd name="connsiteY475" fmla="*/ 2061605 h 4115417"/>
              <a:gd name="connsiteX476" fmla="*/ 3391099 w 5153115"/>
              <a:gd name="connsiteY476" fmla="*/ 2031849 h 4115417"/>
              <a:gd name="connsiteX477" fmla="*/ 3387652 w 5153115"/>
              <a:gd name="connsiteY477" fmla="*/ 2000586 h 4115417"/>
              <a:gd name="connsiteX478" fmla="*/ 3385294 w 5153115"/>
              <a:gd name="connsiteY478" fmla="*/ 1967867 h 4115417"/>
              <a:gd name="connsiteX479" fmla="*/ 3383942 w 5153115"/>
              <a:gd name="connsiteY479" fmla="*/ 1933742 h 4115417"/>
              <a:gd name="connsiteX480" fmla="*/ 3383511 w 5153115"/>
              <a:gd name="connsiteY480" fmla="*/ 1898260 h 4115417"/>
              <a:gd name="connsiteX481" fmla="*/ 3383956 w 5153115"/>
              <a:gd name="connsiteY481" fmla="*/ 1862930 h 4115417"/>
              <a:gd name="connsiteX482" fmla="*/ 3385349 w 5153115"/>
              <a:gd name="connsiteY482" fmla="*/ 1828956 h 4115417"/>
              <a:gd name="connsiteX483" fmla="*/ 3387768 w 5153115"/>
              <a:gd name="connsiteY483" fmla="*/ 1796386 h 4115417"/>
              <a:gd name="connsiteX484" fmla="*/ 3391293 w 5153115"/>
              <a:gd name="connsiteY484" fmla="*/ 1765271 h 4115417"/>
              <a:gd name="connsiteX485" fmla="*/ 3396007 w 5153115"/>
              <a:gd name="connsiteY485" fmla="*/ 1735659 h 4115417"/>
              <a:gd name="connsiteX486" fmla="*/ 3401989 w 5153115"/>
              <a:gd name="connsiteY486" fmla="*/ 1707600 h 4115417"/>
              <a:gd name="connsiteX487" fmla="*/ 3409319 w 5153115"/>
              <a:gd name="connsiteY487" fmla="*/ 1681142 h 4115417"/>
              <a:gd name="connsiteX488" fmla="*/ 3418078 w 5153115"/>
              <a:gd name="connsiteY488" fmla="*/ 1656337 h 4115417"/>
              <a:gd name="connsiteX489" fmla="*/ 3428346 w 5153115"/>
              <a:gd name="connsiteY489" fmla="*/ 1633232 h 4115417"/>
              <a:gd name="connsiteX490" fmla="*/ 3440205 w 5153115"/>
              <a:gd name="connsiteY490" fmla="*/ 1611877 h 4115417"/>
              <a:gd name="connsiteX491" fmla="*/ 3453734 w 5153115"/>
              <a:gd name="connsiteY491" fmla="*/ 1592322 h 4115417"/>
              <a:gd name="connsiteX492" fmla="*/ 3469014 w 5153115"/>
              <a:gd name="connsiteY492" fmla="*/ 1574615 h 4115417"/>
              <a:gd name="connsiteX493" fmla="*/ 3486125 w 5153115"/>
              <a:gd name="connsiteY493" fmla="*/ 1558807 h 4115417"/>
              <a:gd name="connsiteX494" fmla="*/ 3505148 w 5153115"/>
              <a:gd name="connsiteY494" fmla="*/ 1544947 h 4115417"/>
              <a:gd name="connsiteX495" fmla="*/ 3526164 w 5153115"/>
              <a:gd name="connsiteY495" fmla="*/ 1533084 h 4115417"/>
              <a:gd name="connsiteX496" fmla="*/ 3549253 w 5153115"/>
              <a:gd name="connsiteY496" fmla="*/ 1523266 h 4115417"/>
              <a:gd name="connsiteX497" fmla="*/ 3574495 w 5153115"/>
              <a:gd name="connsiteY497" fmla="*/ 1515545 h 4115417"/>
              <a:gd name="connsiteX498" fmla="*/ 3601970 w 5153115"/>
              <a:gd name="connsiteY498" fmla="*/ 1509968 h 4115417"/>
              <a:gd name="connsiteX499" fmla="*/ 3631760 w 5153115"/>
              <a:gd name="connsiteY499" fmla="*/ 1506586 h 4115417"/>
              <a:gd name="connsiteX500" fmla="*/ 3236836 w 5153115"/>
              <a:gd name="connsiteY500" fmla="*/ 1122758 h 4115417"/>
              <a:gd name="connsiteX501" fmla="*/ 3785558 w 5153115"/>
              <a:gd name="connsiteY501" fmla="*/ 1122758 h 4115417"/>
              <a:gd name="connsiteX502" fmla="*/ 3785558 w 5153115"/>
              <a:gd name="connsiteY502" fmla="*/ 1187552 h 4115417"/>
              <a:gd name="connsiteX503" fmla="*/ 3236836 w 5153115"/>
              <a:gd name="connsiteY503" fmla="*/ 1187552 h 4115417"/>
              <a:gd name="connsiteX504" fmla="*/ 2319897 w 5153115"/>
              <a:gd name="connsiteY504" fmla="*/ 1122758 h 4115417"/>
              <a:gd name="connsiteX505" fmla="*/ 2868618 w 5153115"/>
              <a:gd name="connsiteY505" fmla="*/ 1122758 h 4115417"/>
              <a:gd name="connsiteX506" fmla="*/ 2868618 w 5153115"/>
              <a:gd name="connsiteY506" fmla="*/ 1187552 h 4115417"/>
              <a:gd name="connsiteX507" fmla="*/ 2319897 w 5153115"/>
              <a:gd name="connsiteY507" fmla="*/ 1187552 h 4115417"/>
              <a:gd name="connsiteX508" fmla="*/ 4153762 w 5153115"/>
              <a:gd name="connsiteY508" fmla="*/ 1019489 h 4115417"/>
              <a:gd name="connsiteX509" fmla="*/ 4443309 w 5153115"/>
              <a:gd name="connsiteY509" fmla="*/ 1019489 h 4115417"/>
              <a:gd name="connsiteX510" fmla="*/ 4443309 w 5153115"/>
              <a:gd name="connsiteY510" fmla="*/ 1083270 h 4115417"/>
              <a:gd name="connsiteX511" fmla="*/ 4153762 w 5153115"/>
              <a:gd name="connsiteY511" fmla="*/ 1083270 h 4115417"/>
              <a:gd name="connsiteX512" fmla="*/ 3236836 w 5153115"/>
              <a:gd name="connsiteY512" fmla="*/ 911166 h 4115417"/>
              <a:gd name="connsiteX513" fmla="*/ 3785558 w 5153115"/>
              <a:gd name="connsiteY513" fmla="*/ 911166 h 4115417"/>
              <a:gd name="connsiteX514" fmla="*/ 3785558 w 5153115"/>
              <a:gd name="connsiteY514" fmla="*/ 975959 h 4115417"/>
              <a:gd name="connsiteX515" fmla="*/ 3236836 w 5153115"/>
              <a:gd name="connsiteY515" fmla="*/ 975959 h 4115417"/>
              <a:gd name="connsiteX516" fmla="*/ 2319897 w 5153115"/>
              <a:gd name="connsiteY516" fmla="*/ 911166 h 4115417"/>
              <a:gd name="connsiteX517" fmla="*/ 2868618 w 5153115"/>
              <a:gd name="connsiteY517" fmla="*/ 911166 h 4115417"/>
              <a:gd name="connsiteX518" fmla="*/ 2868618 w 5153115"/>
              <a:gd name="connsiteY518" fmla="*/ 975959 h 4115417"/>
              <a:gd name="connsiteX519" fmla="*/ 2319897 w 5153115"/>
              <a:gd name="connsiteY519" fmla="*/ 975959 h 4115417"/>
              <a:gd name="connsiteX520" fmla="*/ 4267899 w 5153115"/>
              <a:gd name="connsiteY520" fmla="*/ 211592 h 4115417"/>
              <a:gd name="connsiteX521" fmla="*/ 4816621 w 5153115"/>
              <a:gd name="connsiteY521" fmla="*/ 211592 h 4115417"/>
              <a:gd name="connsiteX522" fmla="*/ 4816621 w 5153115"/>
              <a:gd name="connsiteY522" fmla="*/ 276385 h 4115417"/>
              <a:gd name="connsiteX523" fmla="*/ 4267899 w 5153115"/>
              <a:gd name="connsiteY523" fmla="*/ 276385 h 4115417"/>
              <a:gd name="connsiteX524" fmla="*/ 3350947 w 5153115"/>
              <a:gd name="connsiteY524" fmla="*/ 211592 h 4115417"/>
              <a:gd name="connsiteX525" fmla="*/ 3899669 w 5153115"/>
              <a:gd name="connsiteY525" fmla="*/ 211592 h 4115417"/>
              <a:gd name="connsiteX526" fmla="*/ 3899669 w 5153115"/>
              <a:gd name="connsiteY526" fmla="*/ 276385 h 4115417"/>
              <a:gd name="connsiteX527" fmla="*/ 3350947 w 5153115"/>
              <a:gd name="connsiteY527" fmla="*/ 276385 h 4115417"/>
              <a:gd name="connsiteX528" fmla="*/ 4267899 w 5153115"/>
              <a:gd name="connsiteY528" fmla="*/ 0 h 4115417"/>
              <a:gd name="connsiteX529" fmla="*/ 4816621 w 5153115"/>
              <a:gd name="connsiteY529" fmla="*/ 0 h 4115417"/>
              <a:gd name="connsiteX530" fmla="*/ 4816621 w 5153115"/>
              <a:gd name="connsiteY530" fmla="*/ 64794 h 4115417"/>
              <a:gd name="connsiteX531" fmla="*/ 4267899 w 5153115"/>
              <a:gd name="connsiteY531" fmla="*/ 64794 h 4115417"/>
              <a:gd name="connsiteX532" fmla="*/ 3350947 w 5153115"/>
              <a:gd name="connsiteY532" fmla="*/ 0 h 4115417"/>
              <a:gd name="connsiteX533" fmla="*/ 3899669 w 5153115"/>
              <a:gd name="connsiteY533" fmla="*/ 0 h 4115417"/>
              <a:gd name="connsiteX534" fmla="*/ 3899669 w 5153115"/>
              <a:gd name="connsiteY534" fmla="*/ 64794 h 4115417"/>
              <a:gd name="connsiteX535" fmla="*/ 3350947 w 5153115"/>
              <a:gd name="connsiteY535" fmla="*/ 64794 h 411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Lst>
            <a:rect l="l" t="t" r="r" b="b"/>
            <a:pathLst>
              <a:path w="5153115" h="4115417">
                <a:moveTo>
                  <a:pt x="5090346" y="3947359"/>
                </a:moveTo>
                <a:lnTo>
                  <a:pt x="5115957" y="3949589"/>
                </a:lnTo>
                <a:lnTo>
                  <a:pt x="5135778" y="3957609"/>
                </a:lnTo>
                <a:lnTo>
                  <a:pt x="5148575" y="3973412"/>
                </a:lnTo>
                <a:lnTo>
                  <a:pt x="5153115" y="3998991"/>
                </a:lnTo>
                <a:lnTo>
                  <a:pt x="5148575" y="4025740"/>
                </a:lnTo>
                <a:lnTo>
                  <a:pt x="5135778" y="4042144"/>
                </a:lnTo>
                <a:lnTo>
                  <a:pt x="5115957" y="4050386"/>
                </a:lnTo>
                <a:lnTo>
                  <a:pt x="5090346" y="4052648"/>
                </a:lnTo>
                <a:lnTo>
                  <a:pt x="5064736" y="4050386"/>
                </a:lnTo>
                <a:lnTo>
                  <a:pt x="5044915" y="4042144"/>
                </a:lnTo>
                <a:lnTo>
                  <a:pt x="5032117" y="4025740"/>
                </a:lnTo>
                <a:lnTo>
                  <a:pt x="5027578" y="3998991"/>
                </a:lnTo>
                <a:lnTo>
                  <a:pt x="5032260" y="3973412"/>
                </a:lnTo>
                <a:lnTo>
                  <a:pt x="5045294" y="3957609"/>
                </a:lnTo>
                <a:lnTo>
                  <a:pt x="5065163" y="3949589"/>
                </a:lnTo>
                <a:close/>
                <a:moveTo>
                  <a:pt x="3131033" y="3947359"/>
                </a:moveTo>
                <a:lnTo>
                  <a:pt x="3156644" y="3949589"/>
                </a:lnTo>
                <a:lnTo>
                  <a:pt x="3176464" y="3957609"/>
                </a:lnTo>
                <a:lnTo>
                  <a:pt x="3189262" y="3973412"/>
                </a:lnTo>
                <a:lnTo>
                  <a:pt x="3193801" y="3998991"/>
                </a:lnTo>
                <a:lnTo>
                  <a:pt x="3189262" y="4025740"/>
                </a:lnTo>
                <a:lnTo>
                  <a:pt x="3176464" y="4042144"/>
                </a:lnTo>
                <a:lnTo>
                  <a:pt x="3156644" y="4050386"/>
                </a:lnTo>
                <a:lnTo>
                  <a:pt x="3131033" y="4052648"/>
                </a:lnTo>
                <a:lnTo>
                  <a:pt x="3105422" y="4050386"/>
                </a:lnTo>
                <a:lnTo>
                  <a:pt x="3085601" y="4042144"/>
                </a:lnTo>
                <a:lnTo>
                  <a:pt x="3072804" y="4025740"/>
                </a:lnTo>
                <a:lnTo>
                  <a:pt x="3068264" y="3998991"/>
                </a:lnTo>
                <a:lnTo>
                  <a:pt x="3072946" y="3973412"/>
                </a:lnTo>
                <a:lnTo>
                  <a:pt x="3085981" y="3957609"/>
                </a:lnTo>
                <a:lnTo>
                  <a:pt x="3105849" y="3949589"/>
                </a:lnTo>
                <a:close/>
                <a:moveTo>
                  <a:pt x="4047912" y="3947356"/>
                </a:moveTo>
                <a:lnTo>
                  <a:pt x="4173450" y="3947356"/>
                </a:lnTo>
                <a:lnTo>
                  <a:pt x="4173450" y="4052645"/>
                </a:lnTo>
                <a:lnTo>
                  <a:pt x="4047912" y="4052645"/>
                </a:lnTo>
                <a:close/>
                <a:moveTo>
                  <a:pt x="916909" y="3856244"/>
                </a:moveTo>
                <a:lnTo>
                  <a:pt x="1465630" y="3856244"/>
                </a:lnTo>
                <a:lnTo>
                  <a:pt x="1465630" y="3921036"/>
                </a:lnTo>
                <a:lnTo>
                  <a:pt x="916909" y="3921036"/>
                </a:lnTo>
                <a:close/>
                <a:moveTo>
                  <a:pt x="0" y="3856244"/>
                </a:moveTo>
                <a:lnTo>
                  <a:pt x="548722" y="3856244"/>
                </a:lnTo>
                <a:lnTo>
                  <a:pt x="548722" y="3921036"/>
                </a:lnTo>
                <a:lnTo>
                  <a:pt x="0" y="3921036"/>
                </a:lnTo>
                <a:close/>
                <a:moveTo>
                  <a:pt x="916909" y="3644651"/>
                </a:moveTo>
                <a:lnTo>
                  <a:pt x="1465630" y="3644651"/>
                </a:lnTo>
                <a:lnTo>
                  <a:pt x="1465630" y="3709444"/>
                </a:lnTo>
                <a:lnTo>
                  <a:pt x="916909" y="3709444"/>
                </a:lnTo>
                <a:close/>
                <a:moveTo>
                  <a:pt x="0" y="3644651"/>
                </a:moveTo>
                <a:lnTo>
                  <a:pt x="548722" y="3644651"/>
                </a:lnTo>
                <a:lnTo>
                  <a:pt x="548722" y="3709444"/>
                </a:lnTo>
                <a:lnTo>
                  <a:pt x="0" y="3709444"/>
                </a:lnTo>
                <a:close/>
                <a:moveTo>
                  <a:pt x="5090346" y="3522149"/>
                </a:moveTo>
                <a:lnTo>
                  <a:pt x="5115957" y="3524253"/>
                </a:lnTo>
                <a:lnTo>
                  <a:pt x="5135778" y="3532146"/>
                </a:lnTo>
                <a:lnTo>
                  <a:pt x="5148575" y="3548202"/>
                </a:lnTo>
                <a:lnTo>
                  <a:pt x="5153115" y="3574793"/>
                </a:lnTo>
                <a:lnTo>
                  <a:pt x="5148575" y="3600531"/>
                </a:lnTo>
                <a:lnTo>
                  <a:pt x="5135778" y="3616682"/>
                </a:lnTo>
                <a:lnTo>
                  <a:pt x="5115957" y="3625050"/>
                </a:lnTo>
                <a:lnTo>
                  <a:pt x="5090346" y="3627438"/>
                </a:lnTo>
                <a:lnTo>
                  <a:pt x="5065321" y="3625050"/>
                </a:lnTo>
                <a:lnTo>
                  <a:pt x="5045800" y="3616682"/>
                </a:lnTo>
                <a:lnTo>
                  <a:pt x="5033113" y="3600531"/>
                </a:lnTo>
                <a:lnTo>
                  <a:pt x="5028589" y="3574793"/>
                </a:lnTo>
                <a:lnTo>
                  <a:pt x="5033113" y="3548202"/>
                </a:lnTo>
                <a:lnTo>
                  <a:pt x="5045800" y="3532146"/>
                </a:lnTo>
                <a:lnTo>
                  <a:pt x="5065321" y="3524253"/>
                </a:lnTo>
                <a:close/>
                <a:moveTo>
                  <a:pt x="3131033" y="3522149"/>
                </a:moveTo>
                <a:lnTo>
                  <a:pt x="3156644" y="3524253"/>
                </a:lnTo>
                <a:lnTo>
                  <a:pt x="3176464" y="3532146"/>
                </a:lnTo>
                <a:lnTo>
                  <a:pt x="3189262" y="3548202"/>
                </a:lnTo>
                <a:lnTo>
                  <a:pt x="3193801" y="3574793"/>
                </a:lnTo>
                <a:lnTo>
                  <a:pt x="3189262" y="3600531"/>
                </a:lnTo>
                <a:lnTo>
                  <a:pt x="3176464" y="3616682"/>
                </a:lnTo>
                <a:lnTo>
                  <a:pt x="3156644" y="3625050"/>
                </a:lnTo>
                <a:lnTo>
                  <a:pt x="3131033" y="3627438"/>
                </a:lnTo>
                <a:lnTo>
                  <a:pt x="3106008" y="3625050"/>
                </a:lnTo>
                <a:lnTo>
                  <a:pt x="3086488" y="3616682"/>
                </a:lnTo>
                <a:lnTo>
                  <a:pt x="3073801" y="3600531"/>
                </a:lnTo>
                <a:lnTo>
                  <a:pt x="3069277" y="3574793"/>
                </a:lnTo>
                <a:lnTo>
                  <a:pt x="3073801" y="3548202"/>
                </a:lnTo>
                <a:lnTo>
                  <a:pt x="3086488" y="3532146"/>
                </a:lnTo>
                <a:lnTo>
                  <a:pt x="3106008" y="3524253"/>
                </a:lnTo>
                <a:close/>
                <a:moveTo>
                  <a:pt x="2430814" y="3327768"/>
                </a:moveTo>
                <a:lnTo>
                  <a:pt x="2462999" y="3328906"/>
                </a:lnTo>
                <a:lnTo>
                  <a:pt x="2492789" y="3332288"/>
                </a:lnTo>
                <a:lnTo>
                  <a:pt x="2520265" y="3337864"/>
                </a:lnTo>
                <a:lnTo>
                  <a:pt x="2545507" y="3345586"/>
                </a:lnTo>
                <a:lnTo>
                  <a:pt x="2568596" y="3355403"/>
                </a:lnTo>
                <a:lnTo>
                  <a:pt x="2589611" y="3367266"/>
                </a:lnTo>
                <a:lnTo>
                  <a:pt x="2608634" y="3381127"/>
                </a:lnTo>
                <a:lnTo>
                  <a:pt x="2625746" y="3396935"/>
                </a:lnTo>
                <a:lnTo>
                  <a:pt x="2641027" y="3414641"/>
                </a:lnTo>
                <a:lnTo>
                  <a:pt x="2654556" y="3434197"/>
                </a:lnTo>
                <a:lnTo>
                  <a:pt x="2666414" y="3455551"/>
                </a:lnTo>
                <a:lnTo>
                  <a:pt x="2676682" y="3478656"/>
                </a:lnTo>
                <a:lnTo>
                  <a:pt x="2685441" y="3503462"/>
                </a:lnTo>
                <a:lnTo>
                  <a:pt x="2692772" y="3529919"/>
                </a:lnTo>
                <a:lnTo>
                  <a:pt x="2698753" y="3557979"/>
                </a:lnTo>
                <a:lnTo>
                  <a:pt x="2703467" y="3587592"/>
                </a:lnTo>
                <a:lnTo>
                  <a:pt x="2706993" y="3618707"/>
                </a:lnTo>
                <a:lnTo>
                  <a:pt x="2709411" y="3651277"/>
                </a:lnTo>
                <a:lnTo>
                  <a:pt x="2710804" y="3685251"/>
                </a:lnTo>
                <a:lnTo>
                  <a:pt x="2711250" y="3720581"/>
                </a:lnTo>
                <a:lnTo>
                  <a:pt x="2710826" y="3756062"/>
                </a:lnTo>
                <a:lnTo>
                  <a:pt x="2709493" y="3790187"/>
                </a:lnTo>
                <a:lnTo>
                  <a:pt x="2707167" y="3822906"/>
                </a:lnTo>
                <a:lnTo>
                  <a:pt x="2703758" y="3854169"/>
                </a:lnTo>
                <a:lnTo>
                  <a:pt x="2699180" y="3883925"/>
                </a:lnTo>
                <a:lnTo>
                  <a:pt x="2693346" y="3912125"/>
                </a:lnTo>
                <a:lnTo>
                  <a:pt x="2686167" y="3938718"/>
                </a:lnTo>
                <a:lnTo>
                  <a:pt x="2677557" y="3963654"/>
                </a:lnTo>
                <a:lnTo>
                  <a:pt x="2667429" y="3986884"/>
                </a:lnTo>
                <a:lnTo>
                  <a:pt x="2655695" y="4008356"/>
                </a:lnTo>
                <a:lnTo>
                  <a:pt x="2642267" y="4028021"/>
                </a:lnTo>
                <a:lnTo>
                  <a:pt x="2627058" y="4045829"/>
                </a:lnTo>
                <a:lnTo>
                  <a:pt x="2609982" y="4061729"/>
                </a:lnTo>
                <a:lnTo>
                  <a:pt x="2590950" y="4075672"/>
                </a:lnTo>
                <a:lnTo>
                  <a:pt x="2569877" y="4087608"/>
                </a:lnTo>
                <a:lnTo>
                  <a:pt x="2546673" y="4097485"/>
                </a:lnTo>
                <a:lnTo>
                  <a:pt x="2521252" y="4105255"/>
                </a:lnTo>
                <a:lnTo>
                  <a:pt x="2493527" y="4110867"/>
                </a:lnTo>
                <a:lnTo>
                  <a:pt x="2463410" y="4114272"/>
                </a:lnTo>
                <a:lnTo>
                  <a:pt x="2430814" y="4115417"/>
                </a:lnTo>
                <a:lnTo>
                  <a:pt x="2430814" y="4056698"/>
                </a:lnTo>
                <a:lnTo>
                  <a:pt x="2460946" y="4055344"/>
                </a:lnTo>
                <a:lnTo>
                  <a:pt x="2488189" y="4051329"/>
                </a:lnTo>
                <a:lnTo>
                  <a:pt x="2512679" y="4044725"/>
                </a:lnTo>
                <a:lnTo>
                  <a:pt x="2534555" y="4035604"/>
                </a:lnTo>
                <a:lnTo>
                  <a:pt x="2571010" y="4010096"/>
                </a:lnTo>
                <a:lnTo>
                  <a:pt x="2598653" y="3975380"/>
                </a:lnTo>
                <a:lnTo>
                  <a:pt x="2609511" y="3954747"/>
                </a:lnTo>
                <a:lnTo>
                  <a:pt x="2618579" y="3932029"/>
                </a:lnTo>
                <a:lnTo>
                  <a:pt x="2625992" y="3907294"/>
                </a:lnTo>
                <a:lnTo>
                  <a:pt x="2631889" y="3880616"/>
                </a:lnTo>
                <a:lnTo>
                  <a:pt x="2636405" y="3852065"/>
                </a:lnTo>
                <a:lnTo>
                  <a:pt x="2639680" y="3821716"/>
                </a:lnTo>
                <a:lnTo>
                  <a:pt x="2641849" y="3789637"/>
                </a:lnTo>
                <a:lnTo>
                  <a:pt x="2643049" y="3755901"/>
                </a:lnTo>
                <a:lnTo>
                  <a:pt x="2643419" y="3720581"/>
                </a:lnTo>
                <a:lnTo>
                  <a:pt x="2643030" y="3685607"/>
                </a:lnTo>
                <a:lnTo>
                  <a:pt x="2641774" y="3652197"/>
                </a:lnTo>
                <a:lnTo>
                  <a:pt x="2639524" y="3620423"/>
                </a:lnTo>
                <a:lnTo>
                  <a:pt x="2636148" y="3590357"/>
                </a:lnTo>
                <a:lnTo>
                  <a:pt x="2631518" y="3562069"/>
                </a:lnTo>
                <a:lnTo>
                  <a:pt x="2625503" y="3535632"/>
                </a:lnTo>
                <a:lnTo>
                  <a:pt x="2617973" y="3511118"/>
                </a:lnTo>
                <a:lnTo>
                  <a:pt x="2608799" y="3488599"/>
                </a:lnTo>
                <a:lnTo>
                  <a:pt x="2597851" y="3468146"/>
                </a:lnTo>
                <a:lnTo>
                  <a:pt x="2570112" y="3433724"/>
                </a:lnTo>
                <a:lnTo>
                  <a:pt x="2533719" y="3408426"/>
                </a:lnTo>
                <a:lnTo>
                  <a:pt x="2511952" y="3399378"/>
                </a:lnTo>
                <a:lnTo>
                  <a:pt x="2487632" y="3392827"/>
                </a:lnTo>
                <a:lnTo>
                  <a:pt x="2460630" y="3388844"/>
                </a:lnTo>
                <a:lnTo>
                  <a:pt x="2430814" y="3387500"/>
                </a:lnTo>
                <a:close/>
                <a:moveTo>
                  <a:pt x="2117321" y="3327768"/>
                </a:moveTo>
                <a:lnTo>
                  <a:pt x="2117321" y="3387500"/>
                </a:lnTo>
                <a:lnTo>
                  <a:pt x="2087673" y="3388844"/>
                </a:lnTo>
                <a:lnTo>
                  <a:pt x="2060820" y="3392827"/>
                </a:lnTo>
                <a:lnTo>
                  <a:pt x="2036631" y="3399378"/>
                </a:lnTo>
                <a:lnTo>
                  <a:pt x="2014976" y="3408426"/>
                </a:lnTo>
                <a:lnTo>
                  <a:pt x="1978761" y="3433724"/>
                </a:lnTo>
                <a:lnTo>
                  <a:pt x="1951147" y="3468146"/>
                </a:lnTo>
                <a:lnTo>
                  <a:pt x="1940243" y="3488599"/>
                </a:lnTo>
                <a:lnTo>
                  <a:pt x="1931104" y="3511118"/>
                </a:lnTo>
                <a:lnTo>
                  <a:pt x="1923600" y="3535632"/>
                </a:lnTo>
                <a:lnTo>
                  <a:pt x="1917604" y="3562069"/>
                </a:lnTo>
                <a:lnTo>
                  <a:pt x="1912986" y="3590357"/>
                </a:lnTo>
                <a:lnTo>
                  <a:pt x="1909618" y="3620423"/>
                </a:lnTo>
                <a:lnTo>
                  <a:pt x="1907372" y="3652197"/>
                </a:lnTo>
                <a:lnTo>
                  <a:pt x="1906119" y="3685607"/>
                </a:lnTo>
                <a:lnTo>
                  <a:pt x="1905729" y="3720581"/>
                </a:lnTo>
                <a:lnTo>
                  <a:pt x="1906108" y="3755901"/>
                </a:lnTo>
                <a:lnTo>
                  <a:pt x="1907335" y="3789637"/>
                </a:lnTo>
                <a:lnTo>
                  <a:pt x="1909541" y="3821716"/>
                </a:lnTo>
                <a:lnTo>
                  <a:pt x="1912858" y="3852065"/>
                </a:lnTo>
                <a:lnTo>
                  <a:pt x="1917419" y="3880616"/>
                </a:lnTo>
                <a:lnTo>
                  <a:pt x="1923356" y="3907294"/>
                </a:lnTo>
                <a:lnTo>
                  <a:pt x="1930801" y="3932029"/>
                </a:lnTo>
                <a:lnTo>
                  <a:pt x="1939887" y="3954747"/>
                </a:lnTo>
                <a:lnTo>
                  <a:pt x="1950747" y="3975380"/>
                </a:lnTo>
                <a:lnTo>
                  <a:pt x="1978312" y="4010096"/>
                </a:lnTo>
                <a:lnTo>
                  <a:pt x="2014558" y="4035604"/>
                </a:lnTo>
                <a:lnTo>
                  <a:pt x="2036267" y="4044725"/>
                </a:lnTo>
                <a:lnTo>
                  <a:pt x="2060542" y="4051329"/>
                </a:lnTo>
                <a:lnTo>
                  <a:pt x="2087515" y="4055344"/>
                </a:lnTo>
                <a:lnTo>
                  <a:pt x="2117321" y="4056698"/>
                </a:lnTo>
                <a:lnTo>
                  <a:pt x="2117321" y="4115417"/>
                </a:lnTo>
                <a:lnTo>
                  <a:pt x="2084861" y="4114272"/>
                </a:lnTo>
                <a:lnTo>
                  <a:pt x="2054855" y="4110867"/>
                </a:lnTo>
                <a:lnTo>
                  <a:pt x="2027213" y="4105255"/>
                </a:lnTo>
                <a:lnTo>
                  <a:pt x="2001851" y="4097485"/>
                </a:lnTo>
                <a:lnTo>
                  <a:pt x="1978687" y="4087608"/>
                </a:lnTo>
                <a:lnTo>
                  <a:pt x="1957631" y="4075672"/>
                </a:lnTo>
                <a:lnTo>
                  <a:pt x="1938602" y="4061729"/>
                </a:lnTo>
                <a:lnTo>
                  <a:pt x="1921515" y="4045829"/>
                </a:lnTo>
                <a:lnTo>
                  <a:pt x="1906284" y="4028021"/>
                </a:lnTo>
                <a:lnTo>
                  <a:pt x="1892821" y="4008356"/>
                </a:lnTo>
                <a:lnTo>
                  <a:pt x="1881046" y="3986884"/>
                </a:lnTo>
                <a:lnTo>
                  <a:pt x="1870870" y="3963654"/>
                </a:lnTo>
                <a:lnTo>
                  <a:pt x="1862211" y="3938718"/>
                </a:lnTo>
                <a:lnTo>
                  <a:pt x="1854982" y="3912125"/>
                </a:lnTo>
                <a:lnTo>
                  <a:pt x="1849098" y="3883925"/>
                </a:lnTo>
                <a:lnTo>
                  <a:pt x="1844475" y="3854169"/>
                </a:lnTo>
                <a:lnTo>
                  <a:pt x="1841028" y="3822906"/>
                </a:lnTo>
                <a:lnTo>
                  <a:pt x="1838670" y="3790187"/>
                </a:lnTo>
                <a:lnTo>
                  <a:pt x="1837318" y="3756062"/>
                </a:lnTo>
                <a:lnTo>
                  <a:pt x="1836887" y="3720581"/>
                </a:lnTo>
                <a:lnTo>
                  <a:pt x="1837332" y="3685251"/>
                </a:lnTo>
                <a:lnTo>
                  <a:pt x="1838725" y="3651277"/>
                </a:lnTo>
                <a:lnTo>
                  <a:pt x="1841144" y="3618707"/>
                </a:lnTo>
                <a:lnTo>
                  <a:pt x="1844669" y="3587592"/>
                </a:lnTo>
                <a:lnTo>
                  <a:pt x="1849383" y="3557979"/>
                </a:lnTo>
                <a:lnTo>
                  <a:pt x="1855365" y="3529919"/>
                </a:lnTo>
                <a:lnTo>
                  <a:pt x="1862695" y="3503462"/>
                </a:lnTo>
                <a:lnTo>
                  <a:pt x="1871454" y="3478656"/>
                </a:lnTo>
                <a:lnTo>
                  <a:pt x="1881722" y="3455551"/>
                </a:lnTo>
                <a:lnTo>
                  <a:pt x="1893581" y="3434197"/>
                </a:lnTo>
                <a:lnTo>
                  <a:pt x="1907110" y="3414641"/>
                </a:lnTo>
                <a:lnTo>
                  <a:pt x="1922390" y="3396935"/>
                </a:lnTo>
                <a:lnTo>
                  <a:pt x="1939502" y="3381127"/>
                </a:lnTo>
                <a:lnTo>
                  <a:pt x="1958525" y="3367266"/>
                </a:lnTo>
                <a:lnTo>
                  <a:pt x="1979540" y="3355403"/>
                </a:lnTo>
                <a:lnTo>
                  <a:pt x="2002629" y="3345586"/>
                </a:lnTo>
                <a:lnTo>
                  <a:pt x="2027871" y="3337864"/>
                </a:lnTo>
                <a:lnTo>
                  <a:pt x="2055347" y="3332288"/>
                </a:lnTo>
                <a:lnTo>
                  <a:pt x="2085135" y="3328906"/>
                </a:lnTo>
                <a:close/>
                <a:moveTo>
                  <a:pt x="3377636" y="3036193"/>
                </a:moveTo>
                <a:lnTo>
                  <a:pt x="3403246" y="3038423"/>
                </a:lnTo>
                <a:lnTo>
                  <a:pt x="3423067" y="3046443"/>
                </a:lnTo>
                <a:lnTo>
                  <a:pt x="3435864" y="3062246"/>
                </a:lnTo>
                <a:lnTo>
                  <a:pt x="3440404" y="3087826"/>
                </a:lnTo>
                <a:lnTo>
                  <a:pt x="3435864" y="3114575"/>
                </a:lnTo>
                <a:lnTo>
                  <a:pt x="3423067" y="3130979"/>
                </a:lnTo>
                <a:lnTo>
                  <a:pt x="3403246" y="3139221"/>
                </a:lnTo>
                <a:lnTo>
                  <a:pt x="3377636" y="3141483"/>
                </a:lnTo>
                <a:lnTo>
                  <a:pt x="3352025" y="3139221"/>
                </a:lnTo>
                <a:lnTo>
                  <a:pt x="3332204" y="3130979"/>
                </a:lnTo>
                <a:lnTo>
                  <a:pt x="3319407" y="3114575"/>
                </a:lnTo>
                <a:lnTo>
                  <a:pt x="3314867" y="3087826"/>
                </a:lnTo>
                <a:lnTo>
                  <a:pt x="3319549" y="3062246"/>
                </a:lnTo>
                <a:lnTo>
                  <a:pt x="3332584" y="3046443"/>
                </a:lnTo>
                <a:lnTo>
                  <a:pt x="3352453" y="3038423"/>
                </a:lnTo>
                <a:close/>
                <a:moveTo>
                  <a:pt x="2913514" y="3036193"/>
                </a:moveTo>
                <a:lnTo>
                  <a:pt x="2939125" y="3038423"/>
                </a:lnTo>
                <a:lnTo>
                  <a:pt x="2958945" y="3046443"/>
                </a:lnTo>
                <a:lnTo>
                  <a:pt x="2971742" y="3062246"/>
                </a:lnTo>
                <a:lnTo>
                  <a:pt x="2976282" y="3087826"/>
                </a:lnTo>
                <a:lnTo>
                  <a:pt x="2971742" y="3114575"/>
                </a:lnTo>
                <a:lnTo>
                  <a:pt x="2958945" y="3130979"/>
                </a:lnTo>
                <a:lnTo>
                  <a:pt x="2939125" y="3139221"/>
                </a:lnTo>
                <a:lnTo>
                  <a:pt x="2913514" y="3141483"/>
                </a:lnTo>
                <a:lnTo>
                  <a:pt x="2887903" y="3139221"/>
                </a:lnTo>
                <a:lnTo>
                  <a:pt x="2868082" y="3130979"/>
                </a:lnTo>
                <a:lnTo>
                  <a:pt x="2855285" y="3114575"/>
                </a:lnTo>
                <a:lnTo>
                  <a:pt x="2850745" y="3087826"/>
                </a:lnTo>
                <a:lnTo>
                  <a:pt x="2855427" y="3062246"/>
                </a:lnTo>
                <a:lnTo>
                  <a:pt x="2868462" y="3046443"/>
                </a:lnTo>
                <a:lnTo>
                  <a:pt x="2888330" y="3038423"/>
                </a:lnTo>
                <a:close/>
                <a:moveTo>
                  <a:pt x="1690212" y="2945084"/>
                </a:moveTo>
                <a:lnTo>
                  <a:pt x="2238932" y="2945084"/>
                </a:lnTo>
                <a:lnTo>
                  <a:pt x="2238932" y="3009877"/>
                </a:lnTo>
                <a:lnTo>
                  <a:pt x="1690212" y="3009877"/>
                </a:lnTo>
                <a:close/>
                <a:moveTo>
                  <a:pt x="773297" y="2945084"/>
                </a:moveTo>
                <a:lnTo>
                  <a:pt x="1322019" y="2945084"/>
                </a:lnTo>
                <a:lnTo>
                  <a:pt x="1322019" y="3009877"/>
                </a:lnTo>
                <a:lnTo>
                  <a:pt x="773297" y="3009877"/>
                </a:lnTo>
                <a:close/>
                <a:moveTo>
                  <a:pt x="1690212" y="2733491"/>
                </a:moveTo>
                <a:lnTo>
                  <a:pt x="2238932" y="2733491"/>
                </a:lnTo>
                <a:lnTo>
                  <a:pt x="2238932" y="2798284"/>
                </a:lnTo>
                <a:lnTo>
                  <a:pt x="1690212" y="2798284"/>
                </a:lnTo>
                <a:close/>
                <a:moveTo>
                  <a:pt x="773297" y="2733491"/>
                </a:moveTo>
                <a:lnTo>
                  <a:pt x="1322019" y="2733491"/>
                </a:lnTo>
                <a:lnTo>
                  <a:pt x="1322019" y="2798284"/>
                </a:lnTo>
                <a:lnTo>
                  <a:pt x="773297" y="2798284"/>
                </a:lnTo>
                <a:close/>
                <a:moveTo>
                  <a:pt x="3377636" y="2610983"/>
                </a:moveTo>
                <a:lnTo>
                  <a:pt x="3403246" y="2613087"/>
                </a:lnTo>
                <a:lnTo>
                  <a:pt x="3423067" y="2620981"/>
                </a:lnTo>
                <a:lnTo>
                  <a:pt x="3435864" y="2637037"/>
                </a:lnTo>
                <a:lnTo>
                  <a:pt x="3440404" y="2663628"/>
                </a:lnTo>
                <a:lnTo>
                  <a:pt x="3435864" y="2689366"/>
                </a:lnTo>
                <a:lnTo>
                  <a:pt x="3423067" y="2705516"/>
                </a:lnTo>
                <a:lnTo>
                  <a:pt x="3403246" y="2713884"/>
                </a:lnTo>
                <a:lnTo>
                  <a:pt x="3377636" y="2716273"/>
                </a:lnTo>
                <a:lnTo>
                  <a:pt x="3352611" y="2713884"/>
                </a:lnTo>
                <a:lnTo>
                  <a:pt x="3333090" y="2705516"/>
                </a:lnTo>
                <a:lnTo>
                  <a:pt x="3320404" y="2689366"/>
                </a:lnTo>
                <a:lnTo>
                  <a:pt x="3315879" y="2663628"/>
                </a:lnTo>
                <a:lnTo>
                  <a:pt x="3320404" y="2637037"/>
                </a:lnTo>
                <a:lnTo>
                  <a:pt x="3333090" y="2620981"/>
                </a:lnTo>
                <a:lnTo>
                  <a:pt x="3352611" y="2613087"/>
                </a:lnTo>
                <a:close/>
                <a:moveTo>
                  <a:pt x="2913514" y="2610983"/>
                </a:moveTo>
                <a:lnTo>
                  <a:pt x="2939125" y="2613087"/>
                </a:lnTo>
                <a:lnTo>
                  <a:pt x="2958945" y="2620981"/>
                </a:lnTo>
                <a:lnTo>
                  <a:pt x="2971742" y="2637037"/>
                </a:lnTo>
                <a:lnTo>
                  <a:pt x="2976282" y="2663628"/>
                </a:lnTo>
                <a:lnTo>
                  <a:pt x="2971742" y="2689366"/>
                </a:lnTo>
                <a:lnTo>
                  <a:pt x="2958945" y="2705516"/>
                </a:lnTo>
                <a:lnTo>
                  <a:pt x="2939125" y="2713884"/>
                </a:lnTo>
                <a:lnTo>
                  <a:pt x="2913514" y="2716273"/>
                </a:lnTo>
                <a:lnTo>
                  <a:pt x="2888489" y="2713884"/>
                </a:lnTo>
                <a:lnTo>
                  <a:pt x="2868968" y="2705516"/>
                </a:lnTo>
                <a:lnTo>
                  <a:pt x="2856281" y="2689366"/>
                </a:lnTo>
                <a:lnTo>
                  <a:pt x="2851757" y="2663628"/>
                </a:lnTo>
                <a:lnTo>
                  <a:pt x="2856281" y="2637037"/>
                </a:lnTo>
                <a:lnTo>
                  <a:pt x="2868968" y="2620981"/>
                </a:lnTo>
                <a:lnTo>
                  <a:pt x="2888489" y="2613087"/>
                </a:lnTo>
                <a:close/>
                <a:moveTo>
                  <a:pt x="4677633" y="2125034"/>
                </a:moveTo>
                <a:lnTo>
                  <a:pt x="4708038" y="2128419"/>
                </a:lnTo>
                <a:lnTo>
                  <a:pt x="4727460" y="2138511"/>
                </a:lnTo>
                <a:lnTo>
                  <a:pt x="4737552" y="2155212"/>
                </a:lnTo>
                <a:lnTo>
                  <a:pt x="4739965" y="2178424"/>
                </a:lnTo>
                <a:lnTo>
                  <a:pt x="4736353" y="2208051"/>
                </a:lnTo>
                <a:lnTo>
                  <a:pt x="4708006" y="2357887"/>
                </a:lnTo>
                <a:lnTo>
                  <a:pt x="4659410" y="2357887"/>
                </a:lnTo>
                <a:lnTo>
                  <a:pt x="4675608" y="2230324"/>
                </a:lnTo>
                <a:lnTo>
                  <a:pt x="4650741" y="2227920"/>
                </a:lnTo>
                <a:lnTo>
                  <a:pt x="4631569" y="2219441"/>
                </a:lnTo>
                <a:lnTo>
                  <a:pt x="4619230" y="2202989"/>
                </a:lnTo>
                <a:lnTo>
                  <a:pt x="4614865" y="2176667"/>
                </a:lnTo>
                <a:lnTo>
                  <a:pt x="4619546" y="2151088"/>
                </a:lnTo>
                <a:lnTo>
                  <a:pt x="4632581" y="2135285"/>
                </a:lnTo>
                <a:lnTo>
                  <a:pt x="4652449" y="2127265"/>
                </a:lnTo>
                <a:close/>
                <a:moveTo>
                  <a:pt x="2463507" y="2033918"/>
                </a:moveTo>
                <a:lnTo>
                  <a:pt x="3012229" y="2033918"/>
                </a:lnTo>
                <a:lnTo>
                  <a:pt x="3012229" y="2098711"/>
                </a:lnTo>
                <a:lnTo>
                  <a:pt x="2463507" y="2098711"/>
                </a:lnTo>
                <a:close/>
                <a:moveTo>
                  <a:pt x="1546600" y="2033918"/>
                </a:moveTo>
                <a:lnTo>
                  <a:pt x="2095321" y="2033918"/>
                </a:lnTo>
                <a:lnTo>
                  <a:pt x="2095321" y="2098711"/>
                </a:lnTo>
                <a:lnTo>
                  <a:pt x="1546600" y="2098711"/>
                </a:lnTo>
                <a:close/>
                <a:moveTo>
                  <a:pt x="2463507" y="1822326"/>
                </a:moveTo>
                <a:lnTo>
                  <a:pt x="3012229" y="1822326"/>
                </a:lnTo>
                <a:lnTo>
                  <a:pt x="3012229" y="1887119"/>
                </a:lnTo>
                <a:lnTo>
                  <a:pt x="2463507" y="1887119"/>
                </a:lnTo>
                <a:close/>
                <a:moveTo>
                  <a:pt x="1546600" y="1822326"/>
                </a:moveTo>
                <a:lnTo>
                  <a:pt x="2095321" y="1822326"/>
                </a:lnTo>
                <a:lnTo>
                  <a:pt x="2095321" y="1887119"/>
                </a:lnTo>
                <a:lnTo>
                  <a:pt x="1546600" y="1887119"/>
                </a:lnTo>
                <a:close/>
                <a:moveTo>
                  <a:pt x="4677633" y="1699825"/>
                </a:moveTo>
                <a:lnTo>
                  <a:pt x="4703244" y="1701929"/>
                </a:lnTo>
                <a:lnTo>
                  <a:pt x="4723065" y="1709822"/>
                </a:lnTo>
                <a:lnTo>
                  <a:pt x="4735863" y="1725878"/>
                </a:lnTo>
                <a:lnTo>
                  <a:pt x="4740403" y="1752469"/>
                </a:lnTo>
                <a:lnTo>
                  <a:pt x="4735863" y="1778206"/>
                </a:lnTo>
                <a:lnTo>
                  <a:pt x="4723065" y="1794358"/>
                </a:lnTo>
                <a:lnTo>
                  <a:pt x="4703244" y="1802726"/>
                </a:lnTo>
                <a:lnTo>
                  <a:pt x="4677633" y="1805115"/>
                </a:lnTo>
                <a:lnTo>
                  <a:pt x="4652608" y="1802726"/>
                </a:lnTo>
                <a:lnTo>
                  <a:pt x="4633087" y="1794358"/>
                </a:lnTo>
                <a:lnTo>
                  <a:pt x="4620400" y="1778206"/>
                </a:lnTo>
                <a:lnTo>
                  <a:pt x="4615877" y="1752469"/>
                </a:lnTo>
                <a:lnTo>
                  <a:pt x="4620400" y="1725878"/>
                </a:lnTo>
                <a:lnTo>
                  <a:pt x="4633087" y="1709822"/>
                </a:lnTo>
                <a:lnTo>
                  <a:pt x="4652608" y="1701929"/>
                </a:lnTo>
                <a:close/>
                <a:moveTo>
                  <a:pt x="3977409" y="1505448"/>
                </a:moveTo>
                <a:lnTo>
                  <a:pt x="4009594" y="1506586"/>
                </a:lnTo>
                <a:lnTo>
                  <a:pt x="4039384" y="1509968"/>
                </a:lnTo>
                <a:lnTo>
                  <a:pt x="4066859" y="1515545"/>
                </a:lnTo>
                <a:lnTo>
                  <a:pt x="4092101" y="1523266"/>
                </a:lnTo>
                <a:lnTo>
                  <a:pt x="4115190" y="1533084"/>
                </a:lnTo>
                <a:lnTo>
                  <a:pt x="4136206" y="1544947"/>
                </a:lnTo>
                <a:lnTo>
                  <a:pt x="4155229" y="1558807"/>
                </a:lnTo>
                <a:lnTo>
                  <a:pt x="4172340" y="1574615"/>
                </a:lnTo>
                <a:lnTo>
                  <a:pt x="4187620" y="1592322"/>
                </a:lnTo>
                <a:lnTo>
                  <a:pt x="4201150" y="1611877"/>
                </a:lnTo>
                <a:lnTo>
                  <a:pt x="4213008" y="1633232"/>
                </a:lnTo>
                <a:lnTo>
                  <a:pt x="4223276" y="1656337"/>
                </a:lnTo>
                <a:lnTo>
                  <a:pt x="4232035" y="1681142"/>
                </a:lnTo>
                <a:lnTo>
                  <a:pt x="4239366" y="1707600"/>
                </a:lnTo>
                <a:lnTo>
                  <a:pt x="4245347" y="1735659"/>
                </a:lnTo>
                <a:lnTo>
                  <a:pt x="4250061" y="1765271"/>
                </a:lnTo>
                <a:lnTo>
                  <a:pt x="4253587" y="1796386"/>
                </a:lnTo>
                <a:lnTo>
                  <a:pt x="4256005" y="1828956"/>
                </a:lnTo>
                <a:lnTo>
                  <a:pt x="4257398" y="1862930"/>
                </a:lnTo>
                <a:lnTo>
                  <a:pt x="4257844" y="1898260"/>
                </a:lnTo>
                <a:lnTo>
                  <a:pt x="4257419" y="1933742"/>
                </a:lnTo>
                <a:lnTo>
                  <a:pt x="4256087" y="1967867"/>
                </a:lnTo>
                <a:lnTo>
                  <a:pt x="4253761" y="2000586"/>
                </a:lnTo>
                <a:lnTo>
                  <a:pt x="4250352" y="2031849"/>
                </a:lnTo>
                <a:lnTo>
                  <a:pt x="4245774" y="2061605"/>
                </a:lnTo>
                <a:lnTo>
                  <a:pt x="4239939" y="2089805"/>
                </a:lnTo>
                <a:lnTo>
                  <a:pt x="4232761" y="2116397"/>
                </a:lnTo>
                <a:lnTo>
                  <a:pt x="4224151" y="2141334"/>
                </a:lnTo>
                <a:lnTo>
                  <a:pt x="4214023" y="2164563"/>
                </a:lnTo>
                <a:lnTo>
                  <a:pt x="4202288" y="2186036"/>
                </a:lnTo>
                <a:lnTo>
                  <a:pt x="4188861" y="2205701"/>
                </a:lnTo>
                <a:lnTo>
                  <a:pt x="4173652" y="2223508"/>
                </a:lnTo>
                <a:lnTo>
                  <a:pt x="4156576" y="2239409"/>
                </a:lnTo>
                <a:lnTo>
                  <a:pt x="4137545" y="2253352"/>
                </a:lnTo>
                <a:lnTo>
                  <a:pt x="4116472" y="2265287"/>
                </a:lnTo>
                <a:lnTo>
                  <a:pt x="4093268" y="2275165"/>
                </a:lnTo>
                <a:lnTo>
                  <a:pt x="4067847" y="2282935"/>
                </a:lnTo>
                <a:lnTo>
                  <a:pt x="4040122" y="2288547"/>
                </a:lnTo>
                <a:lnTo>
                  <a:pt x="4010005" y="2291951"/>
                </a:lnTo>
                <a:lnTo>
                  <a:pt x="3977409" y="2293097"/>
                </a:lnTo>
                <a:lnTo>
                  <a:pt x="3977409" y="2234378"/>
                </a:lnTo>
                <a:lnTo>
                  <a:pt x="4007541" y="2233024"/>
                </a:lnTo>
                <a:lnTo>
                  <a:pt x="4034783" y="2229008"/>
                </a:lnTo>
                <a:lnTo>
                  <a:pt x="4059274" y="2222405"/>
                </a:lnTo>
                <a:lnTo>
                  <a:pt x="4081149" y="2213283"/>
                </a:lnTo>
                <a:lnTo>
                  <a:pt x="4117604" y="2187776"/>
                </a:lnTo>
                <a:lnTo>
                  <a:pt x="4145246" y="2153059"/>
                </a:lnTo>
                <a:lnTo>
                  <a:pt x="4156106" y="2132427"/>
                </a:lnTo>
                <a:lnTo>
                  <a:pt x="4165173" y="2109708"/>
                </a:lnTo>
                <a:lnTo>
                  <a:pt x="4172587" y="2084974"/>
                </a:lnTo>
                <a:lnTo>
                  <a:pt x="4178483" y="2058295"/>
                </a:lnTo>
                <a:lnTo>
                  <a:pt x="4183000" y="2029745"/>
                </a:lnTo>
                <a:lnTo>
                  <a:pt x="4186274" y="1999395"/>
                </a:lnTo>
                <a:lnTo>
                  <a:pt x="4188443" y="1967316"/>
                </a:lnTo>
                <a:lnTo>
                  <a:pt x="4189643" y="1933581"/>
                </a:lnTo>
                <a:lnTo>
                  <a:pt x="4190013" y="1898260"/>
                </a:lnTo>
                <a:lnTo>
                  <a:pt x="4189624" y="1863286"/>
                </a:lnTo>
                <a:lnTo>
                  <a:pt x="4188368" y="1829877"/>
                </a:lnTo>
                <a:lnTo>
                  <a:pt x="4186118" y="1798103"/>
                </a:lnTo>
                <a:lnTo>
                  <a:pt x="4182743" y="1768037"/>
                </a:lnTo>
                <a:lnTo>
                  <a:pt x="4178112" y="1739749"/>
                </a:lnTo>
                <a:lnTo>
                  <a:pt x="4172097" y="1713313"/>
                </a:lnTo>
                <a:lnTo>
                  <a:pt x="4164568" y="1688799"/>
                </a:lnTo>
                <a:lnTo>
                  <a:pt x="4155394" y="1666280"/>
                </a:lnTo>
                <a:lnTo>
                  <a:pt x="4144445" y="1645826"/>
                </a:lnTo>
                <a:lnTo>
                  <a:pt x="4116707" y="1611404"/>
                </a:lnTo>
                <a:lnTo>
                  <a:pt x="4080314" y="1586107"/>
                </a:lnTo>
                <a:lnTo>
                  <a:pt x="4058547" y="1577059"/>
                </a:lnTo>
                <a:lnTo>
                  <a:pt x="4034227" y="1570507"/>
                </a:lnTo>
                <a:lnTo>
                  <a:pt x="4007224" y="1566524"/>
                </a:lnTo>
                <a:lnTo>
                  <a:pt x="3977409" y="1565180"/>
                </a:lnTo>
                <a:close/>
                <a:moveTo>
                  <a:pt x="3663946" y="1505448"/>
                </a:moveTo>
                <a:lnTo>
                  <a:pt x="3663946" y="1565180"/>
                </a:lnTo>
                <a:lnTo>
                  <a:pt x="3634299" y="1566524"/>
                </a:lnTo>
                <a:lnTo>
                  <a:pt x="3607444" y="1570507"/>
                </a:lnTo>
                <a:lnTo>
                  <a:pt x="3583254" y="1577059"/>
                </a:lnTo>
                <a:lnTo>
                  <a:pt x="3561600" y="1586107"/>
                </a:lnTo>
                <a:lnTo>
                  <a:pt x="3525385" y="1611404"/>
                </a:lnTo>
                <a:lnTo>
                  <a:pt x="3497771" y="1645826"/>
                </a:lnTo>
                <a:lnTo>
                  <a:pt x="3486867" y="1666280"/>
                </a:lnTo>
                <a:lnTo>
                  <a:pt x="3477728" y="1688799"/>
                </a:lnTo>
                <a:lnTo>
                  <a:pt x="3470224" y="1713313"/>
                </a:lnTo>
                <a:lnTo>
                  <a:pt x="3464228" y="1739749"/>
                </a:lnTo>
                <a:lnTo>
                  <a:pt x="3459610" y="1768037"/>
                </a:lnTo>
                <a:lnTo>
                  <a:pt x="3456242" y="1798103"/>
                </a:lnTo>
                <a:lnTo>
                  <a:pt x="3453996" y="1829877"/>
                </a:lnTo>
                <a:lnTo>
                  <a:pt x="3452743" y="1863286"/>
                </a:lnTo>
                <a:lnTo>
                  <a:pt x="3452353" y="1898260"/>
                </a:lnTo>
                <a:lnTo>
                  <a:pt x="3452733" y="1933581"/>
                </a:lnTo>
                <a:lnTo>
                  <a:pt x="3453959" y="1967316"/>
                </a:lnTo>
                <a:lnTo>
                  <a:pt x="3456165" y="1999395"/>
                </a:lnTo>
                <a:lnTo>
                  <a:pt x="3459482" y="2029745"/>
                </a:lnTo>
                <a:lnTo>
                  <a:pt x="3464043" y="2058295"/>
                </a:lnTo>
                <a:lnTo>
                  <a:pt x="3469979" y="2084974"/>
                </a:lnTo>
                <a:lnTo>
                  <a:pt x="3477425" y="2109708"/>
                </a:lnTo>
                <a:lnTo>
                  <a:pt x="3486511" y="2132427"/>
                </a:lnTo>
                <a:lnTo>
                  <a:pt x="3497370" y="2153059"/>
                </a:lnTo>
                <a:lnTo>
                  <a:pt x="3524936" y="2187776"/>
                </a:lnTo>
                <a:lnTo>
                  <a:pt x="3561182" y="2213283"/>
                </a:lnTo>
                <a:lnTo>
                  <a:pt x="3582891" y="2222405"/>
                </a:lnTo>
                <a:lnTo>
                  <a:pt x="3607166" y="2229008"/>
                </a:lnTo>
                <a:lnTo>
                  <a:pt x="3634140" y="2233024"/>
                </a:lnTo>
                <a:lnTo>
                  <a:pt x="3663946" y="2234378"/>
                </a:lnTo>
                <a:lnTo>
                  <a:pt x="3663946" y="2293097"/>
                </a:lnTo>
                <a:lnTo>
                  <a:pt x="3631486" y="2291951"/>
                </a:lnTo>
                <a:lnTo>
                  <a:pt x="3601479" y="2288547"/>
                </a:lnTo>
                <a:lnTo>
                  <a:pt x="3573836" y="2282935"/>
                </a:lnTo>
                <a:lnTo>
                  <a:pt x="3548475" y="2275165"/>
                </a:lnTo>
                <a:lnTo>
                  <a:pt x="3525310" y="2265287"/>
                </a:lnTo>
                <a:lnTo>
                  <a:pt x="3504255" y="2253352"/>
                </a:lnTo>
                <a:lnTo>
                  <a:pt x="3485227" y="2239409"/>
                </a:lnTo>
                <a:lnTo>
                  <a:pt x="3468139" y="2223508"/>
                </a:lnTo>
                <a:lnTo>
                  <a:pt x="3452907" y="2205701"/>
                </a:lnTo>
                <a:lnTo>
                  <a:pt x="3439445" y="2186036"/>
                </a:lnTo>
                <a:lnTo>
                  <a:pt x="3427670" y="2164563"/>
                </a:lnTo>
                <a:lnTo>
                  <a:pt x="3417494" y="2141334"/>
                </a:lnTo>
                <a:lnTo>
                  <a:pt x="3408835" y="2116397"/>
                </a:lnTo>
                <a:lnTo>
                  <a:pt x="3401606" y="2089805"/>
                </a:lnTo>
                <a:lnTo>
                  <a:pt x="3395722" y="2061605"/>
                </a:lnTo>
                <a:lnTo>
                  <a:pt x="3391099" y="2031849"/>
                </a:lnTo>
                <a:lnTo>
                  <a:pt x="3387652" y="2000586"/>
                </a:lnTo>
                <a:lnTo>
                  <a:pt x="3385294" y="1967867"/>
                </a:lnTo>
                <a:lnTo>
                  <a:pt x="3383942" y="1933742"/>
                </a:lnTo>
                <a:lnTo>
                  <a:pt x="3383511" y="1898260"/>
                </a:lnTo>
                <a:lnTo>
                  <a:pt x="3383956" y="1862930"/>
                </a:lnTo>
                <a:lnTo>
                  <a:pt x="3385349" y="1828956"/>
                </a:lnTo>
                <a:lnTo>
                  <a:pt x="3387768" y="1796386"/>
                </a:lnTo>
                <a:lnTo>
                  <a:pt x="3391293" y="1765271"/>
                </a:lnTo>
                <a:lnTo>
                  <a:pt x="3396007" y="1735659"/>
                </a:lnTo>
                <a:lnTo>
                  <a:pt x="3401989" y="1707600"/>
                </a:lnTo>
                <a:lnTo>
                  <a:pt x="3409319" y="1681142"/>
                </a:lnTo>
                <a:lnTo>
                  <a:pt x="3418078" y="1656337"/>
                </a:lnTo>
                <a:lnTo>
                  <a:pt x="3428346" y="1633232"/>
                </a:lnTo>
                <a:lnTo>
                  <a:pt x="3440205" y="1611877"/>
                </a:lnTo>
                <a:lnTo>
                  <a:pt x="3453734" y="1592322"/>
                </a:lnTo>
                <a:lnTo>
                  <a:pt x="3469014" y="1574615"/>
                </a:lnTo>
                <a:lnTo>
                  <a:pt x="3486125" y="1558807"/>
                </a:lnTo>
                <a:lnTo>
                  <a:pt x="3505148" y="1544947"/>
                </a:lnTo>
                <a:lnTo>
                  <a:pt x="3526164" y="1533084"/>
                </a:lnTo>
                <a:lnTo>
                  <a:pt x="3549253" y="1523266"/>
                </a:lnTo>
                <a:lnTo>
                  <a:pt x="3574495" y="1515545"/>
                </a:lnTo>
                <a:lnTo>
                  <a:pt x="3601970" y="1509968"/>
                </a:lnTo>
                <a:lnTo>
                  <a:pt x="3631760" y="1506586"/>
                </a:lnTo>
                <a:close/>
                <a:moveTo>
                  <a:pt x="3236836" y="1122758"/>
                </a:moveTo>
                <a:lnTo>
                  <a:pt x="3785558" y="1122758"/>
                </a:lnTo>
                <a:lnTo>
                  <a:pt x="3785558" y="1187552"/>
                </a:lnTo>
                <a:lnTo>
                  <a:pt x="3236836" y="1187552"/>
                </a:lnTo>
                <a:close/>
                <a:moveTo>
                  <a:pt x="2319897" y="1122758"/>
                </a:moveTo>
                <a:lnTo>
                  <a:pt x="2868618" y="1122758"/>
                </a:lnTo>
                <a:lnTo>
                  <a:pt x="2868618" y="1187552"/>
                </a:lnTo>
                <a:lnTo>
                  <a:pt x="2319897" y="1187552"/>
                </a:lnTo>
                <a:close/>
                <a:moveTo>
                  <a:pt x="4153762" y="1019489"/>
                </a:moveTo>
                <a:lnTo>
                  <a:pt x="4443309" y="1019489"/>
                </a:lnTo>
                <a:lnTo>
                  <a:pt x="4443309" y="1083270"/>
                </a:lnTo>
                <a:lnTo>
                  <a:pt x="4153762" y="1083270"/>
                </a:lnTo>
                <a:close/>
                <a:moveTo>
                  <a:pt x="3236836" y="911166"/>
                </a:moveTo>
                <a:lnTo>
                  <a:pt x="3785558" y="911166"/>
                </a:lnTo>
                <a:lnTo>
                  <a:pt x="3785558" y="975959"/>
                </a:lnTo>
                <a:lnTo>
                  <a:pt x="3236836" y="975959"/>
                </a:lnTo>
                <a:close/>
                <a:moveTo>
                  <a:pt x="2319897" y="911166"/>
                </a:moveTo>
                <a:lnTo>
                  <a:pt x="2868618" y="911166"/>
                </a:lnTo>
                <a:lnTo>
                  <a:pt x="2868618" y="975959"/>
                </a:lnTo>
                <a:lnTo>
                  <a:pt x="2319897" y="975959"/>
                </a:lnTo>
                <a:close/>
                <a:moveTo>
                  <a:pt x="4267899" y="211592"/>
                </a:moveTo>
                <a:lnTo>
                  <a:pt x="4816621" y="211592"/>
                </a:lnTo>
                <a:lnTo>
                  <a:pt x="4816621" y="276385"/>
                </a:lnTo>
                <a:lnTo>
                  <a:pt x="4267899" y="276385"/>
                </a:lnTo>
                <a:close/>
                <a:moveTo>
                  <a:pt x="3350947" y="211592"/>
                </a:moveTo>
                <a:lnTo>
                  <a:pt x="3899669" y="211592"/>
                </a:lnTo>
                <a:lnTo>
                  <a:pt x="3899669" y="276385"/>
                </a:lnTo>
                <a:lnTo>
                  <a:pt x="3350947" y="276385"/>
                </a:lnTo>
                <a:close/>
                <a:moveTo>
                  <a:pt x="4267899" y="0"/>
                </a:moveTo>
                <a:lnTo>
                  <a:pt x="4816621" y="0"/>
                </a:lnTo>
                <a:lnTo>
                  <a:pt x="4816621" y="64794"/>
                </a:lnTo>
                <a:lnTo>
                  <a:pt x="4267899" y="64794"/>
                </a:lnTo>
                <a:close/>
                <a:moveTo>
                  <a:pt x="3350947" y="0"/>
                </a:moveTo>
                <a:lnTo>
                  <a:pt x="3899669" y="0"/>
                </a:lnTo>
                <a:lnTo>
                  <a:pt x="3899669" y="64794"/>
                </a:lnTo>
                <a:lnTo>
                  <a:pt x="3350947" y="64794"/>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dirty="0"/>
              <a:t>.</a:t>
            </a:r>
          </a:p>
        </p:txBody>
      </p:sp>
      <p:sp>
        <p:nvSpPr>
          <p:cNvPr id="4" name="TextBox 1">
            <a:extLst>
              <a:ext uri="{FF2B5EF4-FFF2-40B4-BE49-F238E27FC236}">
                <a16:creationId xmlns:a16="http://schemas.microsoft.com/office/drawing/2014/main" id="{B12345E1-678A-81DE-C3CB-1BE33D2F6BFA}"/>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ikro grafikken: Klik på Mikro grafikken, klik på Fyldfarve til figur, vælg farve fra Brugerdefinerede farvers anden række. </a:t>
            </a:r>
          </a:p>
        </p:txBody>
      </p:sp>
    </p:spTree>
    <p:extLst>
      <p:ext uri="{BB962C8B-B14F-4D97-AF65-F5344CB8AC3E}">
        <p14:creationId xmlns:p14="http://schemas.microsoft.com/office/powerpoint/2010/main" val="16064249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reaker E">
    <p:bg>
      <p:bgRef idx="1001">
        <a:schemeClr val="bg1"/>
      </p:bgRef>
    </p:bg>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Tx/>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dirty="0"/>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dirty="0"/>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C478D43B-6DB1-49ED-A3EC-43DFBB246817}" type="datetime2">
              <a:rPr lang="da-DK" smtClean="0"/>
              <a:t>11. december 2025</a:t>
            </a:fld>
            <a:endParaRPr lang="da-DK" dirty="0"/>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dirty="0"/>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dirty="0"/>
          </a:p>
        </p:txBody>
      </p:sp>
      <p:sp>
        <p:nvSpPr>
          <p:cNvPr id="6" name="Mikro grafik 1">
            <a:extLst>
              <a:ext uri="{FF2B5EF4-FFF2-40B4-BE49-F238E27FC236}">
                <a16:creationId xmlns:a16="http://schemas.microsoft.com/office/drawing/2014/main" id="{36B6155E-5DDD-DB5E-8D22-F3EDEFE294D3}"/>
              </a:ext>
            </a:extLst>
          </p:cNvPr>
          <p:cNvSpPr>
            <a:spLocks noGrp="1" noChangeAspect="1"/>
          </p:cNvSpPr>
          <p:nvPr>
            <p:ph type="body" sz="quarter" idx="18" hasCustomPrompt="1"/>
          </p:nvPr>
        </p:nvSpPr>
        <p:spPr>
          <a:xfrm>
            <a:off x="405001" y="915672"/>
            <a:ext cx="3748256" cy="3312156"/>
          </a:xfrm>
          <a:custGeom>
            <a:avLst/>
            <a:gdLst>
              <a:gd name="connsiteX0" fmla="*/ 3168743 w 4997675"/>
              <a:gd name="connsiteY0" fmla="*/ 4250720 h 4416208"/>
              <a:gd name="connsiteX1" fmla="*/ 3293882 w 4997675"/>
              <a:gd name="connsiteY1" fmla="*/ 4250720 h 4416208"/>
              <a:gd name="connsiteX2" fmla="*/ 3293882 w 4997675"/>
              <a:gd name="connsiteY2" fmla="*/ 4355676 h 4416208"/>
              <a:gd name="connsiteX3" fmla="*/ 3168743 w 4997675"/>
              <a:gd name="connsiteY3" fmla="*/ 4355676 h 4416208"/>
              <a:gd name="connsiteX4" fmla="*/ 1781493 w 4997675"/>
              <a:gd name="connsiteY4" fmla="*/ 4250720 h 4416208"/>
              <a:gd name="connsiteX5" fmla="*/ 1906631 w 4997675"/>
              <a:gd name="connsiteY5" fmla="*/ 4250720 h 4416208"/>
              <a:gd name="connsiteX6" fmla="*/ 1906631 w 4997675"/>
              <a:gd name="connsiteY6" fmla="*/ 4355676 h 4416208"/>
              <a:gd name="connsiteX7" fmla="*/ 1781493 w 4997675"/>
              <a:gd name="connsiteY7" fmla="*/ 4355676 h 4416208"/>
              <a:gd name="connsiteX8" fmla="*/ 2567865 w 4997675"/>
              <a:gd name="connsiteY8" fmla="*/ 3636927 h 4416208"/>
              <a:gd name="connsiteX9" fmla="*/ 2793926 w 4997675"/>
              <a:gd name="connsiteY9" fmla="*/ 3636927 h 4416208"/>
              <a:gd name="connsiteX10" fmla="*/ 2793926 w 4997675"/>
              <a:gd name="connsiteY10" fmla="*/ 3694510 h 4416208"/>
              <a:gd name="connsiteX11" fmla="*/ 2793926 w 4997675"/>
              <a:gd name="connsiteY11" fmla="*/ 4358626 h 4416208"/>
              <a:gd name="connsiteX12" fmla="*/ 2793926 w 4997675"/>
              <a:gd name="connsiteY12" fmla="*/ 4416208 h 4416208"/>
              <a:gd name="connsiteX13" fmla="*/ 2567865 w 4997675"/>
              <a:gd name="connsiteY13" fmla="*/ 4416208 h 4416208"/>
              <a:gd name="connsiteX14" fmla="*/ 2567865 w 4997675"/>
              <a:gd name="connsiteY14" fmla="*/ 4358626 h 4416208"/>
              <a:gd name="connsiteX15" fmla="*/ 2724289 w 4997675"/>
              <a:gd name="connsiteY15" fmla="*/ 4358626 h 4416208"/>
              <a:gd name="connsiteX16" fmla="*/ 2724289 w 4997675"/>
              <a:gd name="connsiteY16" fmla="*/ 3694510 h 4416208"/>
              <a:gd name="connsiteX17" fmla="*/ 2567865 w 4997675"/>
              <a:gd name="connsiteY17" fmla="*/ 3694510 h 4416208"/>
              <a:gd name="connsiteX18" fmla="*/ 2281482 w 4997675"/>
              <a:gd name="connsiteY18" fmla="*/ 3636927 h 4416208"/>
              <a:gd name="connsiteX19" fmla="*/ 2507542 w 4997675"/>
              <a:gd name="connsiteY19" fmla="*/ 3636927 h 4416208"/>
              <a:gd name="connsiteX20" fmla="*/ 2507542 w 4997675"/>
              <a:gd name="connsiteY20" fmla="*/ 3694510 h 4416208"/>
              <a:gd name="connsiteX21" fmla="*/ 2351119 w 4997675"/>
              <a:gd name="connsiteY21" fmla="*/ 3694510 h 4416208"/>
              <a:gd name="connsiteX22" fmla="*/ 2351119 w 4997675"/>
              <a:gd name="connsiteY22" fmla="*/ 4358626 h 4416208"/>
              <a:gd name="connsiteX23" fmla="*/ 2507542 w 4997675"/>
              <a:gd name="connsiteY23" fmla="*/ 4358626 h 4416208"/>
              <a:gd name="connsiteX24" fmla="*/ 2507542 w 4997675"/>
              <a:gd name="connsiteY24" fmla="*/ 4416208 h 4416208"/>
              <a:gd name="connsiteX25" fmla="*/ 2281482 w 4997675"/>
              <a:gd name="connsiteY25" fmla="*/ 4416208 h 4416208"/>
              <a:gd name="connsiteX26" fmla="*/ 2281482 w 4997675"/>
              <a:gd name="connsiteY26" fmla="*/ 4358626 h 4416208"/>
              <a:gd name="connsiteX27" fmla="*/ 2281482 w 4997675"/>
              <a:gd name="connsiteY27" fmla="*/ 3694510 h 4416208"/>
              <a:gd name="connsiteX28" fmla="*/ 4043181 w 4997675"/>
              <a:gd name="connsiteY28" fmla="*/ 3342449 h 4416208"/>
              <a:gd name="connsiteX29" fmla="*/ 4168321 w 4997675"/>
              <a:gd name="connsiteY29" fmla="*/ 3342449 h 4416208"/>
              <a:gd name="connsiteX30" fmla="*/ 4168321 w 4997675"/>
              <a:gd name="connsiteY30" fmla="*/ 3447404 h 4416208"/>
              <a:gd name="connsiteX31" fmla="*/ 4043181 w 4997675"/>
              <a:gd name="connsiteY31" fmla="*/ 3447404 h 4416208"/>
              <a:gd name="connsiteX32" fmla="*/ 2412561 w 4997675"/>
              <a:gd name="connsiteY32" fmla="*/ 3251617 h 4416208"/>
              <a:gd name="connsiteX33" fmla="*/ 2959543 w 4997675"/>
              <a:gd name="connsiteY33" fmla="*/ 3251617 h 4416208"/>
              <a:gd name="connsiteX34" fmla="*/ 2959543 w 4997675"/>
              <a:gd name="connsiteY34" fmla="*/ 3316205 h 4416208"/>
              <a:gd name="connsiteX35" fmla="*/ 2412561 w 4997675"/>
              <a:gd name="connsiteY35" fmla="*/ 3316205 h 4416208"/>
              <a:gd name="connsiteX36" fmla="*/ 767823 w 4997675"/>
              <a:gd name="connsiteY36" fmla="*/ 3251617 h 4416208"/>
              <a:gd name="connsiteX37" fmla="*/ 1314806 w 4997675"/>
              <a:gd name="connsiteY37" fmla="*/ 3251617 h 4416208"/>
              <a:gd name="connsiteX38" fmla="*/ 1314806 w 4997675"/>
              <a:gd name="connsiteY38" fmla="*/ 3316205 h 4416208"/>
              <a:gd name="connsiteX39" fmla="*/ 767823 w 4997675"/>
              <a:gd name="connsiteY39" fmla="*/ 3316205 h 4416208"/>
              <a:gd name="connsiteX40" fmla="*/ 2412561 w 4997675"/>
              <a:gd name="connsiteY40" fmla="*/ 3040695 h 4416208"/>
              <a:gd name="connsiteX41" fmla="*/ 2959543 w 4997675"/>
              <a:gd name="connsiteY41" fmla="*/ 3040695 h 4416208"/>
              <a:gd name="connsiteX42" fmla="*/ 2959543 w 4997675"/>
              <a:gd name="connsiteY42" fmla="*/ 3105283 h 4416208"/>
              <a:gd name="connsiteX43" fmla="*/ 2412561 w 4997675"/>
              <a:gd name="connsiteY43" fmla="*/ 3105283 h 4416208"/>
              <a:gd name="connsiteX44" fmla="*/ 767823 w 4997675"/>
              <a:gd name="connsiteY44" fmla="*/ 3040695 h 4416208"/>
              <a:gd name="connsiteX45" fmla="*/ 1314806 w 4997675"/>
              <a:gd name="connsiteY45" fmla="*/ 3040695 h 4416208"/>
              <a:gd name="connsiteX46" fmla="*/ 1314806 w 4997675"/>
              <a:gd name="connsiteY46" fmla="*/ 3105283 h 4416208"/>
              <a:gd name="connsiteX47" fmla="*/ 767823 w 4997675"/>
              <a:gd name="connsiteY47" fmla="*/ 3105283 h 4416208"/>
              <a:gd name="connsiteX48" fmla="*/ 3664718 w 4997675"/>
              <a:gd name="connsiteY48" fmla="*/ 2724824 h 4416208"/>
              <a:gd name="connsiteX49" fmla="*/ 3696801 w 4997675"/>
              <a:gd name="connsiteY49" fmla="*/ 2725958 h 4416208"/>
              <a:gd name="connsiteX50" fmla="*/ 3726497 w 4997675"/>
              <a:gd name="connsiteY50" fmla="*/ 2729329 h 4416208"/>
              <a:gd name="connsiteX51" fmla="*/ 3753886 w 4997675"/>
              <a:gd name="connsiteY51" fmla="*/ 2734888 h 4416208"/>
              <a:gd name="connsiteX52" fmla="*/ 3779048 w 4997675"/>
              <a:gd name="connsiteY52" fmla="*/ 2742585 h 4416208"/>
              <a:gd name="connsiteX53" fmla="*/ 3802063 w 4997675"/>
              <a:gd name="connsiteY53" fmla="*/ 2752371 h 4416208"/>
              <a:gd name="connsiteX54" fmla="*/ 3823012 w 4997675"/>
              <a:gd name="connsiteY54" fmla="*/ 2764197 h 4416208"/>
              <a:gd name="connsiteX55" fmla="*/ 3841975 w 4997675"/>
              <a:gd name="connsiteY55" fmla="*/ 2778013 h 4416208"/>
              <a:gd name="connsiteX56" fmla="*/ 3859032 w 4997675"/>
              <a:gd name="connsiteY56" fmla="*/ 2793771 h 4416208"/>
              <a:gd name="connsiteX57" fmla="*/ 3874264 w 4997675"/>
              <a:gd name="connsiteY57" fmla="*/ 2811421 h 4416208"/>
              <a:gd name="connsiteX58" fmla="*/ 3887750 w 4997675"/>
              <a:gd name="connsiteY58" fmla="*/ 2830915 h 4416208"/>
              <a:gd name="connsiteX59" fmla="*/ 3899570 w 4997675"/>
              <a:gd name="connsiteY59" fmla="*/ 2852202 h 4416208"/>
              <a:gd name="connsiteX60" fmla="*/ 3909806 w 4997675"/>
              <a:gd name="connsiteY60" fmla="*/ 2875233 h 4416208"/>
              <a:gd name="connsiteX61" fmla="*/ 3918538 w 4997675"/>
              <a:gd name="connsiteY61" fmla="*/ 2899960 h 4416208"/>
              <a:gd name="connsiteX62" fmla="*/ 3925845 w 4997675"/>
              <a:gd name="connsiteY62" fmla="*/ 2926333 h 4416208"/>
              <a:gd name="connsiteX63" fmla="*/ 3931807 w 4997675"/>
              <a:gd name="connsiteY63" fmla="*/ 2954304 h 4416208"/>
              <a:gd name="connsiteX64" fmla="*/ 3936506 w 4997675"/>
              <a:gd name="connsiteY64" fmla="*/ 2983823 h 4416208"/>
              <a:gd name="connsiteX65" fmla="*/ 3940021 w 4997675"/>
              <a:gd name="connsiteY65" fmla="*/ 3014840 h 4416208"/>
              <a:gd name="connsiteX66" fmla="*/ 3942432 w 4997675"/>
              <a:gd name="connsiteY66" fmla="*/ 3047306 h 4416208"/>
              <a:gd name="connsiteX67" fmla="*/ 3943820 w 4997675"/>
              <a:gd name="connsiteY67" fmla="*/ 3081172 h 4416208"/>
              <a:gd name="connsiteX68" fmla="*/ 3944264 w 4997675"/>
              <a:gd name="connsiteY68" fmla="*/ 3116390 h 4416208"/>
              <a:gd name="connsiteX69" fmla="*/ 3943841 w 4997675"/>
              <a:gd name="connsiteY69" fmla="*/ 3151759 h 4416208"/>
              <a:gd name="connsiteX70" fmla="*/ 3942513 w 4997675"/>
              <a:gd name="connsiteY70" fmla="*/ 3185776 h 4416208"/>
              <a:gd name="connsiteX71" fmla="*/ 3940194 w 4997675"/>
              <a:gd name="connsiteY71" fmla="*/ 3218391 h 4416208"/>
              <a:gd name="connsiteX72" fmla="*/ 3936796 w 4997675"/>
              <a:gd name="connsiteY72" fmla="*/ 3249555 h 4416208"/>
              <a:gd name="connsiteX73" fmla="*/ 3932233 w 4997675"/>
              <a:gd name="connsiteY73" fmla="*/ 3279216 h 4416208"/>
              <a:gd name="connsiteX74" fmla="*/ 3926417 w 4997675"/>
              <a:gd name="connsiteY74" fmla="*/ 3307327 h 4416208"/>
              <a:gd name="connsiteX75" fmla="*/ 3919261 w 4997675"/>
              <a:gd name="connsiteY75" fmla="*/ 3333835 h 4416208"/>
              <a:gd name="connsiteX76" fmla="*/ 3910678 w 4997675"/>
              <a:gd name="connsiteY76" fmla="*/ 3358693 h 4416208"/>
              <a:gd name="connsiteX77" fmla="*/ 3900582 w 4997675"/>
              <a:gd name="connsiteY77" fmla="*/ 3381848 h 4416208"/>
              <a:gd name="connsiteX78" fmla="*/ 3888885 w 4997675"/>
              <a:gd name="connsiteY78" fmla="*/ 3403253 h 4416208"/>
              <a:gd name="connsiteX79" fmla="*/ 3875500 w 4997675"/>
              <a:gd name="connsiteY79" fmla="*/ 3422855 h 4416208"/>
              <a:gd name="connsiteX80" fmla="*/ 3860340 w 4997675"/>
              <a:gd name="connsiteY80" fmla="*/ 3440607 h 4416208"/>
              <a:gd name="connsiteX81" fmla="*/ 3843318 w 4997675"/>
              <a:gd name="connsiteY81" fmla="*/ 3456457 h 4416208"/>
              <a:gd name="connsiteX82" fmla="*/ 3824347 w 4997675"/>
              <a:gd name="connsiteY82" fmla="*/ 3470356 h 4416208"/>
              <a:gd name="connsiteX83" fmla="*/ 3803340 w 4997675"/>
              <a:gd name="connsiteY83" fmla="*/ 3482254 h 4416208"/>
              <a:gd name="connsiteX84" fmla="*/ 3780210 w 4997675"/>
              <a:gd name="connsiteY84" fmla="*/ 3492100 h 4416208"/>
              <a:gd name="connsiteX85" fmla="*/ 3754870 w 4997675"/>
              <a:gd name="connsiteY85" fmla="*/ 3499845 h 4416208"/>
              <a:gd name="connsiteX86" fmla="*/ 3727233 w 4997675"/>
              <a:gd name="connsiteY86" fmla="*/ 3505440 h 4416208"/>
              <a:gd name="connsiteX87" fmla="*/ 3697211 w 4997675"/>
              <a:gd name="connsiteY87" fmla="*/ 3508833 h 4416208"/>
              <a:gd name="connsiteX88" fmla="*/ 3664718 w 4997675"/>
              <a:gd name="connsiteY88" fmla="*/ 3509975 h 4416208"/>
              <a:gd name="connsiteX89" fmla="*/ 3664718 w 4997675"/>
              <a:gd name="connsiteY89" fmla="*/ 3451442 h 4416208"/>
              <a:gd name="connsiteX90" fmla="*/ 3694755 w 4997675"/>
              <a:gd name="connsiteY90" fmla="*/ 3450092 h 4416208"/>
              <a:gd name="connsiteX91" fmla="*/ 3721911 w 4997675"/>
              <a:gd name="connsiteY91" fmla="*/ 3446089 h 4416208"/>
              <a:gd name="connsiteX92" fmla="*/ 3746324 w 4997675"/>
              <a:gd name="connsiteY92" fmla="*/ 3439506 h 4416208"/>
              <a:gd name="connsiteX93" fmla="*/ 3768130 w 4997675"/>
              <a:gd name="connsiteY93" fmla="*/ 3430414 h 4416208"/>
              <a:gd name="connsiteX94" fmla="*/ 3804470 w 4997675"/>
              <a:gd name="connsiteY94" fmla="*/ 3404987 h 4416208"/>
              <a:gd name="connsiteX95" fmla="*/ 3832025 w 4997675"/>
              <a:gd name="connsiteY95" fmla="*/ 3370381 h 4416208"/>
              <a:gd name="connsiteX96" fmla="*/ 3842849 w 4997675"/>
              <a:gd name="connsiteY96" fmla="*/ 3349814 h 4416208"/>
              <a:gd name="connsiteX97" fmla="*/ 3851888 w 4997675"/>
              <a:gd name="connsiteY97" fmla="*/ 3327167 h 4416208"/>
              <a:gd name="connsiteX98" fmla="*/ 3859278 w 4997675"/>
              <a:gd name="connsiteY98" fmla="*/ 3302511 h 4416208"/>
              <a:gd name="connsiteX99" fmla="*/ 3865156 w 4997675"/>
              <a:gd name="connsiteY99" fmla="*/ 3275918 h 4416208"/>
              <a:gd name="connsiteX100" fmla="*/ 3869658 w 4997675"/>
              <a:gd name="connsiteY100" fmla="*/ 3247458 h 4416208"/>
              <a:gd name="connsiteX101" fmla="*/ 3872922 w 4997675"/>
              <a:gd name="connsiteY101" fmla="*/ 3217204 h 4416208"/>
              <a:gd name="connsiteX102" fmla="*/ 3875083 w 4997675"/>
              <a:gd name="connsiteY102" fmla="*/ 3185227 h 4416208"/>
              <a:gd name="connsiteX103" fmla="*/ 3876280 w 4997675"/>
              <a:gd name="connsiteY103" fmla="*/ 3151598 h 4416208"/>
              <a:gd name="connsiteX104" fmla="*/ 3876649 w 4997675"/>
              <a:gd name="connsiteY104" fmla="*/ 3116390 h 4416208"/>
              <a:gd name="connsiteX105" fmla="*/ 3876261 w 4997675"/>
              <a:gd name="connsiteY105" fmla="*/ 3081527 h 4416208"/>
              <a:gd name="connsiteX106" fmla="*/ 3875009 w 4997675"/>
              <a:gd name="connsiteY106" fmla="*/ 3048223 h 4416208"/>
              <a:gd name="connsiteX107" fmla="*/ 3872766 w 4997675"/>
              <a:gd name="connsiteY107" fmla="*/ 3016550 h 4416208"/>
              <a:gd name="connsiteX108" fmla="*/ 3869401 w 4997675"/>
              <a:gd name="connsiteY108" fmla="*/ 2986579 h 4416208"/>
              <a:gd name="connsiteX109" fmla="*/ 3864786 w 4997675"/>
              <a:gd name="connsiteY109" fmla="*/ 2958381 h 4416208"/>
              <a:gd name="connsiteX110" fmla="*/ 3858790 w 4997675"/>
              <a:gd name="connsiteY110" fmla="*/ 2932028 h 4416208"/>
              <a:gd name="connsiteX111" fmla="*/ 3851284 w 4997675"/>
              <a:gd name="connsiteY111" fmla="*/ 2907592 h 4416208"/>
              <a:gd name="connsiteX112" fmla="*/ 3842139 w 4997675"/>
              <a:gd name="connsiteY112" fmla="*/ 2885144 h 4416208"/>
              <a:gd name="connsiteX113" fmla="*/ 3831225 w 4997675"/>
              <a:gd name="connsiteY113" fmla="*/ 2864756 h 4416208"/>
              <a:gd name="connsiteX114" fmla="*/ 3803575 w 4997675"/>
              <a:gd name="connsiteY114" fmla="*/ 2830443 h 4416208"/>
              <a:gd name="connsiteX115" fmla="*/ 3767297 w 4997675"/>
              <a:gd name="connsiteY115" fmla="*/ 2805225 h 4416208"/>
              <a:gd name="connsiteX116" fmla="*/ 3745599 w 4997675"/>
              <a:gd name="connsiteY116" fmla="*/ 2796206 h 4416208"/>
              <a:gd name="connsiteX117" fmla="*/ 3721357 w 4997675"/>
              <a:gd name="connsiteY117" fmla="*/ 2789676 h 4416208"/>
              <a:gd name="connsiteX118" fmla="*/ 3694439 w 4997675"/>
              <a:gd name="connsiteY118" fmla="*/ 2785704 h 4416208"/>
              <a:gd name="connsiteX119" fmla="*/ 3664718 w 4997675"/>
              <a:gd name="connsiteY119" fmla="*/ 2784365 h 4416208"/>
              <a:gd name="connsiteX120" fmla="*/ 3609180 w 4997675"/>
              <a:gd name="connsiteY120" fmla="*/ 2724824 h 4416208"/>
              <a:gd name="connsiteX121" fmla="*/ 3609180 w 4997675"/>
              <a:gd name="connsiteY121" fmla="*/ 2784365 h 4416208"/>
              <a:gd name="connsiteX122" fmla="*/ 3579627 w 4997675"/>
              <a:gd name="connsiteY122" fmla="*/ 2785704 h 4416208"/>
              <a:gd name="connsiteX123" fmla="*/ 3552857 w 4997675"/>
              <a:gd name="connsiteY123" fmla="*/ 2789676 h 4416208"/>
              <a:gd name="connsiteX124" fmla="*/ 3528744 w 4997675"/>
              <a:gd name="connsiteY124" fmla="*/ 2796206 h 4416208"/>
              <a:gd name="connsiteX125" fmla="*/ 3507159 w 4997675"/>
              <a:gd name="connsiteY125" fmla="*/ 2805225 h 4416208"/>
              <a:gd name="connsiteX126" fmla="*/ 3471059 w 4997675"/>
              <a:gd name="connsiteY126" fmla="*/ 2830443 h 4416208"/>
              <a:gd name="connsiteX127" fmla="*/ 3443532 w 4997675"/>
              <a:gd name="connsiteY127" fmla="*/ 2864756 h 4416208"/>
              <a:gd name="connsiteX128" fmla="*/ 3432663 w 4997675"/>
              <a:gd name="connsiteY128" fmla="*/ 2885144 h 4416208"/>
              <a:gd name="connsiteX129" fmla="*/ 3423552 w 4997675"/>
              <a:gd name="connsiteY129" fmla="*/ 2907592 h 4416208"/>
              <a:gd name="connsiteX130" fmla="*/ 3416073 w 4997675"/>
              <a:gd name="connsiteY130" fmla="*/ 2932028 h 4416208"/>
              <a:gd name="connsiteX131" fmla="*/ 3410095 w 4997675"/>
              <a:gd name="connsiteY131" fmla="*/ 2958381 h 4416208"/>
              <a:gd name="connsiteX132" fmla="*/ 3405492 w 4997675"/>
              <a:gd name="connsiteY132" fmla="*/ 2986579 h 4416208"/>
              <a:gd name="connsiteX133" fmla="*/ 3402135 w 4997675"/>
              <a:gd name="connsiteY133" fmla="*/ 3016550 h 4416208"/>
              <a:gd name="connsiteX134" fmla="*/ 3399896 w 4997675"/>
              <a:gd name="connsiteY134" fmla="*/ 3048223 h 4416208"/>
              <a:gd name="connsiteX135" fmla="*/ 3398646 w 4997675"/>
              <a:gd name="connsiteY135" fmla="*/ 3081527 h 4416208"/>
              <a:gd name="connsiteX136" fmla="*/ 3398258 w 4997675"/>
              <a:gd name="connsiteY136" fmla="*/ 3116390 h 4416208"/>
              <a:gd name="connsiteX137" fmla="*/ 3398637 w 4997675"/>
              <a:gd name="connsiteY137" fmla="*/ 3151598 h 4416208"/>
              <a:gd name="connsiteX138" fmla="*/ 3399859 w 4997675"/>
              <a:gd name="connsiteY138" fmla="*/ 3185227 h 4416208"/>
              <a:gd name="connsiteX139" fmla="*/ 3402058 w 4997675"/>
              <a:gd name="connsiteY139" fmla="*/ 3217204 h 4416208"/>
              <a:gd name="connsiteX140" fmla="*/ 3405364 w 4997675"/>
              <a:gd name="connsiteY140" fmla="*/ 3247458 h 4416208"/>
              <a:gd name="connsiteX141" fmla="*/ 3409911 w 4997675"/>
              <a:gd name="connsiteY141" fmla="*/ 3275918 h 4416208"/>
              <a:gd name="connsiteX142" fmla="*/ 3415829 w 4997675"/>
              <a:gd name="connsiteY142" fmla="*/ 3302511 h 4416208"/>
              <a:gd name="connsiteX143" fmla="*/ 3423251 w 4997675"/>
              <a:gd name="connsiteY143" fmla="*/ 3327167 h 4416208"/>
              <a:gd name="connsiteX144" fmla="*/ 3432308 w 4997675"/>
              <a:gd name="connsiteY144" fmla="*/ 3349814 h 4416208"/>
              <a:gd name="connsiteX145" fmla="*/ 3443133 w 4997675"/>
              <a:gd name="connsiteY145" fmla="*/ 3370381 h 4416208"/>
              <a:gd name="connsiteX146" fmla="*/ 3470611 w 4997675"/>
              <a:gd name="connsiteY146" fmla="*/ 3404987 h 4416208"/>
              <a:gd name="connsiteX147" fmla="*/ 3506742 w 4997675"/>
              <a:gd name="connsiteY147" fmla="*/ 3430414 h 4416208"/>
              <a:gd name="connsiteX148" fmla="*/ 3528382 w 4997675"/>
              <a:gd name="connsiteY148" fmla="*/ 3439506 h 4416208"/>
              <a:gd name="connsiteX149" fmla="*/ 3552580 w 4997675"/>
              <a:gd name="connsiteY149" fmla="*/ 3446089 h 4416208"/>
              <a:gd name="connsiteX150" fmla="*/ 3579469 w 4997675"/>
              <a:gd name="connsiteY150" fmla="*/ 3450092 h 4416208"/>
              <a:gd name="connsiteX151" fmla="*/ 3609180 w 4997675"/>
              <a:gd name="connsiteY151" fmla="*/ 3451442 h 4416208"/>
              <a:gd name="connsiteX152" fmla="*/ 3609180 w 4997675"/>
              <a:gd name="connsiteY152" fmla="*/ 3509975 h 4416208"/>
              <a:gd name="connsiteX153" fmla="*/ 3576823 w 4997675"/>
              <a:gd name="connsiteY153" fmla="*/ 3508833 h 4416208"/>
              <a:gd name="connsiteX154" fmla="*/ 3546911 w 4997675"/>
              <a:gd name="connsiteY154" fmla="*/ 3505440 h 4416208"/>
              <a:gd name="connsiteX155" fmla="*/ 3519356 w 4997675"/>
              <a:gd name="connsiteY155" fmla="*/ 3499845 h 4416208"/>
              <a:gd name="connsiteX156" fmla="*/ 3494075 w 4997675"/>
              <a:gd name="connsiteY156" fmla="*/ 3492100 h 4416208"/>
              <a:gd name="connsiteX157" fmla="*/ 3470984 w 4997675"/>
              <a:gd name="connsiteY157" fmla="*/ 3482254 h 4416208"/>
              <a:gd name="connsiteX158" fmla="*/ 3449996 w 4997675"/>
              <a:gd name="connsiteY158" fmla="*/ 3470356 h 4416208"/>
              <a:gd name="connsiteX159" fmla="*/ 3431027 w 4997675"/>
              <a:gd name="connsiteY159" fmla="*/ 3456457 h 4416208"/>
              <a:gd name="connsiteX160" fmla="*/ 3413994 w 4997675"/>
              <a:gd name="connsiteY160" fmla="*/ 3440607 h 4416208"/>
              <a:gd name="connsiteX161" fmla="*/ 3398810 w 4997675"/>
              <a:gd name="connsiteY161" fmla="*/ 3422855 h 4416208"/>
              <a:gd name="connsiteX162" fmla="*/ 3385391 w 4997675"/>
              <a:gd name="connsiteY162" fmla="*/ 3403253 h 4416208"/>
              <a:gd name="connsiteX163" fmla="*/ 3373653 w 4997675"/>
              <a:gd name="connsiteY163" fmla="*/ 3381848 h 4416208"/>
              <a:gd name="connsiteX164" fmla="*/ 3363510 w 4997675"/>
              <a:gd name="connsiteY164" fmla="*/ 3358693 h 4416208"/>
              <a:gd name="connsiteX165" fmla="*/ 3354878 w 4997675"/>
              <a:gd name="connsiteY165" fmla="*/ 3333835 h 4416208"/>
              <a:gd name="connsiteX166" fmla="*/ 3347672 w 4997675"/>
              <a:gd name="connsiteY166" fmla="*/ 3307327 h 4416208"/>
              <a:gd name="connsiteX167" fmla="*/ 3341807 w 4997675"/>
              <a:gd name="connsiteY167" fmla="*/ 3279216 h 4416208"/>
              <a:gd name="connsiteX168" fmla="*/ 3337199 w 4997675"/>
              <a:gd name="connsiteY168" fmla="*/ 3249555 h 4416208"/>
              <a:gd name="connsiteX169" fmla="*/ 3333762 w 4997675"/>
              <a:gd name="connsiteY169" fmla="*/ 3218391 h 4416208"/>
              <a:gd name="connsiteX170" fmla="*/ 3331412 w 4997675"/>
              <a:gd name="connsiteY170" fmla="*/ 3185776 h 4416208"/>
              <a:gd name="connsiteX171" fmla="*/ 3330064 w 4997675"/>
              <a:gd name="connsiteY171" fmla="*/ 3151759 h 4416208"/>
              <a:gd name="connsiteX172" fmla="*/ 3329634 w 4997675"/>
              <a:gd name="connsiteY172" fmla="*/ 3116390 h 4416208"/>
              <a:gd name="connsiteX173" fmla="*/ 3330078 w 4997675"/>
              <a:gd name="connsiteY173" fmla="*/ 3081172 h 4416208"/>
              <a:gd name="connsiteX174" fmla="*/ 3331466 w 4997675"/>
              <a:gd name="connsiteY174" fmla="*/ 3047306 h 4416208"/>
              <a:gd name="connsiteX175" fmla="*/ 3333878 w 4997675"/>
              <a:gd name="connsiteY175" fmla="*/ 3014840 h 4416208"/>
              <a:gd name="connsiteX176" fmla="*/ 3337392 w 4997675"/>
              <a:gd name="connsiteY176" fmla="*/ 2983823 h 4416208"/>
              <a:gd name="connsiteX177" fmla="*/ 3342091 w 4997675"/>
              <a:gd name="connsiteY177" fmla="*/ 2954304 h 4416208"/>
              <a:gd name="connsiteX178" fmla="*/ 3348054 w 4997675"/>
              <a:gd name="connsiteY178" fmla="*/ 2926333 h 4416208"/>
              <a:gd name="connsiteX179" fmla="*/ 3355360 w 4997675"/>
              <a:gd name="connsiteY179" fmla="*/ 2899960 h 4416208"/>
              <a:gd name="connsiteX180" fmla="*/ 3364092 w 4997675"/>
              <a:gd name="connsiteY180" fmla="*/ 2875233 h 4416208"/>
              <a:gd name="connsiteX181" fmla="*/ 3374328 w 4997675"/>
              <a:gd name="connsiteY181" fmla="*/ 2852202 h 4416208"/>
              <a:gd name="connsiteX182" fmla="*/ 3386148 w 4997675"/>
              <a:gd name="connsiteY182" fmla="*/ 2830915 h 4416208"/>
              <a:gd name="connsiteX183" fmla="*/ 3399634 w 4997675"/>
              <a:gd name="connsiteY183" fmla="*/ 2811421 h 4416208"/>
              <a:gd name="connsiteX184" fmla="*/ 3414866 w 4997675"/>
              <a:gd name="connsiteY184" fmla="*/ 2793771 h 4416208"/>
              <a:gd name="connsiteX185" fmla="*/ 3431923 w 4997675"/>
              <a:gd name="connsiteY185" fmla="*/ 2778013 h 4416208"/>
              <a:gd name="connsiteX186" fmla="*/ 3450886 w 4997675"/>
              <a:gd name="connsiteY186" fmla="*/ 2764197 h 4416208"/>
              <a:gd name="connsiteX187" fmla="*/ 3471835 w 4997675"/>
              <a:gd name="connsiteY187" fmla="*/ 2752371 h 4416208"/>
              <a:gd name="connsiteX188" fmla="*/ 3494850 w 4997675"/>
              <a:gd name="connsiteY188" fmla="*/ 2742585 h 4416208"/>
              <a:gd name="connsiteX189" fmla="*/ 3520012 w 4997675"/>
              <a:gd name="connsiteY189" fmla="*/ 2734888 h 4416208"/>
              <a:gd name="connsiteX190" fmla="*/ 3547401 w 4997675"/>
              <a:gd name="connsiteY190" fmla="*/ 2729329 h 4416208"/>
              <a:gd name="connsiteX191" fmla="*/ 3577097 w 4997675"/>
              <a:gd name="connsiteY191" fmla="*/ 2725958 h 4416208"/>
              <a:gd name="connsiteX192" fmla="*/ 1763020 w 4997675"/>
              <a:gd name="connsiteY192" fmla="*/ 2724824 h 4416208"/>
              <a:gd name="connsiteX193" fmla="*/ 1795103 w 4997675"/>
              <a:gd name="connsiteY193" fmla="*/ 2725958 h 4416208"/>
              <a:gd name="connsiteX194" fmla="*/ 1824799 w 4997675"/>
              <a:gd name="connsiteY194" fmla="*/ 2729329 h 4416208"/>
              <a:gd name="connsiteX195" fmla="*/ 1852188 w 4997675"/>
              <a:gd name="connsiteY195" fmla="*/ 2734888 h 4416208"/>
              <a:gd name="connsiteX196" fmla="*/ 1877351 w 4997675"/>
              <a:gd name="connsiteY196" fmla="*/ 2742585 h 4416208"/>
              <a:gd name="connsiteX197" fmla="*/ 1900366 w 4997675"/>
              <a:gd name="connsiteY197" fmla="*/ 2752371 h 4416208"/>
              <a:gd name="connsiteX198" fmla="*/ 1921315 w 4997675"/>
              <a:gd name="connsiteY198" fmla="*/ 2764197 h 4416208"/>
              <a:gd name="connsiteX199" fmla="*/ 1940277 w 4997675"/>
              <a:gd name="connsiteY199" fmla="*/ 2778013 h 4416208"/>
              <a:gd name="connsiteX200" fmla="*/ 1957335 w 4997675"/>
              <a:gd name="connsiteY200" fmla="*/ 2793771 h 4416208"/>
              <a:gd name="connsiteX201" fmla="*/ 1972567 w 4997675"/>
              <a:gd name="connsiteY201" fmla="*/ 2811421 h 4416208"/>
              <a:gd name="connsiteX202" fmla="*/ 1986053 w 4997675"/>
              <a:gd name="connsiteY202" fmla="*/ 2830915 h 4416208"/>
              <a:gd name="connsiteX203" fmla="*/ 1997873 w 4997675"/>
              <a:gd name="connsiteY203" fmla="*/ 2852202 h 4416208"/>
              <a:gd name="connsiteX204" fmla="*/ 2008108 w 4997675"/>
              <a:gd name="connsiteY204" fmla="*/ 2875233 h 4416208"/>
              <a:gd name="connsiteX205" fmla="*/ 2016839 w 4997675"/>
              <a:gd name="connsiteY205" fmla="*/ 2899960 h 4416208"/>
              <a:gd name="connsiteX206" fmla="*/ 2024146 w 4997675"/>
              <a:gd name="connsiteY206" fmla="*/ 2926333 h 4416208"/>
              <a:gd name="connsiteX207" fmla="*/ 2030109 w 4997675"/>
              <a:gd name="connsiteY207" fmla="*/ 2954304 h 4416208"/>
              <a:gd name="connsiteX208" fmla="*/ 2034807 w 4997675"/>
              <a:gd name="connsiteY208" fmla="*/ 2983823 h 4416208"/>
              <a:gd name="connsiteX209" fmla="*/ 2038322 w 4997675"/>
              <a:gd name="connsiteY209" fmla="*/ 3014840 h 4416208"/>
              <a:gd name="connsiteX210" fmla="*/ 2040733 w 4997675"/>
              <a:gd name="connsiteY210" fmla="*/ 3047306 h 4416208"/>
              <a:gd name="connsiteX211" fmla="*/ 2042121 w 4997675"/>
              <a:gd name="connsiteY211" fmla="*/ 3081172 h 4416208"/>
              <a:gd name="connsiteX212" fmla="*/ 2042566 w 4997675"/>
              <a:gd name="connsiteY212" fmla="*/ 3116390 h 4416208"/>
              <a:gd name="connsiteX213" fmla="*/ 2042142 w 4997675"/>
              <a:gd name="connsiteY213" fmla="*/ 3151759 h 4416208"/>
              <a:gd name="connsiteX214" fmla="*/ 2040814 w 4997675"/>
              <a:gd name="connsiteY214" fmla="*/ 3185776 h 4416208"/>
              <a:gd name="connsiteX215" fmla="*/ 2038495 w 4997675"/>
              <a:gd name="connsiteY215" fmla="*/ 3218391 h 4416208"/>
              <a:gd name="connsiteX216" fmla="*/ 2035097 w 4997675"/>
              <a:gd name="connsiteY216" fmla="*/ 3249555 h 4416208"/>
              <a:gd name="connsiteX217" fmla="*/ 2030534 w 4997675"/>
              <a:gd name="connsiteY217" fmla="*/ 3279216 h 4416208"/>
              <a:gd name="connsiteX218" fmla="*/ 2024718 w 4997675"/>
              <a:gd name="connsiteY218" fmla="*/ 3307327 h 4416208"/>
              <a:gd name="connsiteX219" fmla="*/ 2017562 w 4997675"/>
              <a:gd name="connsiteY219" fmla="*/ 3333835 h 4416208"/>
              <a:gd name="connsiteX220" fmla="*/ 2008979 w 4997675"/>
              <a:gd name="connsiteY220" fmla="*/ 3358693 h 4416208"/>
              <a:gd name="connsiteX221" fmla="*/ 1998885 w 4997675"/>
              <a:gd name="connsiteY221" fmla="*/ 3381848 h 4416208"/>
              <a:gd name="connsiteX222" fmla="*/ 1987188 w 4997675"/>
              <a:gd name="connsiteY222" fmla="*/ 3403253 h 4416208"/>
              <a:gd name="connsiteX223" fmla="*/ 1973803 w 4997675"/>
              <a:gd name="connsiteY223" fmla="*/ 3422855 h 4416208"/>
              <a:gd name="connsiteX224" fmla="*/ 1958642 w 4997675"/>
              <a:gd name="connsiteY224" fmla="*/ 3440607 h 4416208"/>
              <a:gd name="connsiteX225" fmla="*/ 1941620 w 4997675"/>
              <a:gd name="connsiteY225" fmla="*/ 3456457 h 4416208"/>
              <a:gd name="connsiteX226" fmla="*/ 1922649 w 4997675"/>
              <a:gd name="connsiteY226" fmla="*/ 3470356 h 4416208"/>
              <a:gd name="connsiteX227" fmla="*/ 1901643 w 4997675"/>
              <a:gd name="connsiteY227" fmla="*/ 3482254 h 4416208"/>
              <a:gd name="connsiteX228" fmla="*/ 1878513 w 4997675"/>
              <a:gd name="connsiteY228" fmla="*/ 3492100 h 4416208"/>
              <a:gd name="connsiteX229" fmla="*/ 1853172 w 4997675"/>
              <a:gd name="connsiteY229" fmla="*/ 3499845 h 4416208"/>
              <a:gd name="connsiteX230" fmla="*/ 1825536 w 4997675"/>
              <a:gd name="connsiteY230" fmla="*/ 3505440 h 4416208"/>
              <a:gd name="connsiteX231" fmla="*/ 1795513 w 4997675"/>
              <a:gd name="connsiteY231" fmla="*/ 3508833 h 4416208"/>
              <a:gd name="connsiteX232" fmla="*/ 1763020 w 4997675"/>
              <a:gd name="connsiteY232" fmla="*/ 3509975 h 4416208"/>
              <a:gd name="connsiteX233" fmla="*/ 1763020 w 4997675"/>
              <a:gd name="connsiteY233" fmla="*/ 3451442 h 4416208"/>
              <a:gd name="connsiteX234" fmla="*/ 1793057 w 4997675"/>
              <a:gd name="connsiteY234" fmla="*/ 3450092 h 4416208"/>
              <a:gd name="connsiteX235" fmla="*/ 1820214 w 4997675"/>
              <a:gd name="connsiteY235" fmla="*/ 3446089 h 4416208"/>
              <a:gd name="connsiteX236" fmla="*/ 1844626 w 4997675"/>
              <a:gd name="connsiteY236" fmla="*/ 3439506 h 4416208"/>
              <a:gd name="connsiteX237" fmla="*/ 1866433 w 4997675"/>
              <a:gd name="connsiteY237" fmla="*/ 3430414 h 4416208"/>
              <a:gd name="connsiteX238" fmla="*/ 1902772 w 4997675"/>
              <a:gd name="connsiteY238" fmla="*/ 3404987 h 4416208"/>
              <a:gd name="connsiteX239" fmla="*/ 1930327 w 4997675"/>
              <a:gd name="connsiteY239" fmla="*/ 3370381 h 4416208"/>
              <a:gd name="connsiteX240" fmla="*/ 1941152 w 4997675"/>
              <a:gd name="connsiteY240" fmla="*/ 3349814 h 4416208"/>
              <a:gd name="connsiteX241" fmla="*/ 1950192 w 4997675"/>
              <a:gd name="connsiteY241" fmla="*/ 3327167 h 4416208"/>
              <a:gd name="connsiteX242" fmla="*/ 1957581 w 4997675"/>
              <a:gd name="connsiteY242" fmla="*/ 3302511 h 4416208"/>
              <a:gd name="connsiteX243" fmla="*/ 1963459 w 4997675"/>
              <a:gd name="connsiteY243" fmla="*/ 3275918 h 4416208"/>
              <a:gd name="connsiteX244" fmla="*/ 1967961 w 4997675"/>
              <a:gd name="connsiteY244" fmla="*/ 3247458 h 4416208"/>
              <a:gd name="connsiteX245" fmla="*/ 1971225 w 4997675"/>
              <a:gd name="connsiteY245" fmla="*/ 3217204 h 4416208"/>
              <a:gd name="connsiteX246" fmla="*/ 1973386 w 4997675"/>
              <a:gd name="connsiteY246" fmla="*/ 3185227 h 4416208"/>
              <a:gd name="connsiteX247" fmla="*/ 1974583 w 4997675"/>
              <a:gd name="connsiteY247" fmla="*/ 3151598 h 4416208"/>
              <a:gd name="connsiteX248" fmla="*/ 1974951 w 4997675"/>
              <a:gd name="connsiteY248" fmla="*/ 3116390 h 4416208"/>
              <a:gd name="connsiteX249" fmla="*/ 1974564 w 4997675"/>
              <a:gd name="connsiteY249" fmla="*/ 3081527 h 4416208"/>
              <a:gd name="connsiteX250" fmla="*/ 1973312 w 4997675"/>
              <a:gd name="connsiteY250" fmla="*/ 3048223 h 4416208"/>
              <a:gd name="connsiteX251" fmla="*/ 1971069 w 4997675"/>
              <a:gd name="connsiteY251" fmla="*/ 3016550 h 4416208"/>
              <a:gd name="connsiteX252" fmla="*/ 1967704 w 4997675"/>
              <a:gd name="connsiteY252" fmla="*/ 2986579 h 4416208"/>
              <a:gd name="connsiteX253" fmla="*/ 1963089 w 4997675"/>
              <a:gd name="connsiteY253" fmla="*/ 2958381 h 4416208"/>
              <a:gd name="connsiteX254" fmla="*/ 1957093 w 4997675"/>
              <a:gd name="connsiteY254" fmla="*/ 2932028 h 4416208"/>
              <a:gd name="connsiteX255" fmla="*/ 1949587 w 4997675"/>
              <a:gd name="connsiteY255" fmla="*/ 2907592 h 4416208"/>
              <a:gd name="connsiteX256" fmla="*/ 1940442 w 4997675"/>
              <a:gd name="connsiteY256" fmla="*/ 2885144 h 4416208"/>
              <a:gd name="connsiteX257" fmla="*/ 1929528 w 4997675"/>
              <a:gd name="connsiteY257" fmla="*/ 2864756 h 4416208"/>
              <a:gd name="connsiteX258" fmla="*/ 1901878 w 4997675"/>
              <a:gd name="connsiteY258" fmla="*/ 2830443 h 4416208"/>
              <a:gd name="connsiteX259" fmla="*/ 1865600 w 4997675"/>
              <a:gd name="connsiteY259" fmla="*/ 2805225 h 4416208"/>
              <a:gd name="connsiteX260" fmla="*/ 1843901 w 4997675"/>
              <a:gd name="connsiteY260" fmla="*/ 2796206 h 4416208"/>
              <a:gd name="connsiteX261" fmla="*/ 1819659 w 4997675"/>
              <a:gd name="connsiteY261" fmla="*/ 2789676 h 4416208"/>
              <a:gd name="connsiteX262" fmla="*/ 1792742 w 4997675"/>
              <a:gd name="connsiteY262" fmla="*/ 2785704 h 4416208"/>
              <a:gd name="connsiteX263" fmla="*/ 1763020 w 4997675"/>
              <a:gd name="connsiteY263" fmla="*/ 2784365 h 4416208"/>
              <a:gd name="connsiteX264" fmla="*/ 1707483 w 4997675"/>
              <a:gd name="connsiteY264" fmla="*/ 2724824 h 4416208"/>
              <a:gd name="connsiteX265" fmla="*/ 1707483 w 4997675"/>
              <a:gd name="connsiteY265" fmla="*/ 2784365 h 4416208"/>
              <a:gd name="connsiteX266" fmla="*/ 1677930 w 4997675"/>
              <a:gd name="connsiteY266" fmla="*/ 2785704 h 4416208"/>
              <a:gd name="connsiteX267" fmla="*/ 1651159 w 4997675"/>
              <a:gd name="connsiteY267" fmla="*/ 2789676 h 4416208"/>
              <a:gd name="connsiteX268" fmla="*/ 1627047 w 4997675"/>
              <a:gd name="connsiteY268" fmla="*/ 2796206 h 4416208"/>
              <a:gd name="connsiteX269" fmla="*/ 1605462 w 4997675"/>
              <a:gd name="connsiteY269" fmla="*/ 2805225 h 4416208"/>
              <a:gd name="connsiteX270" fmla="*/ 1569362 w 4997675"/>
              <a:gd name="connsiteY270" fmla="*/ 2830443 h 4416208"/>
              <a:gd name="connsiteX271" fmla="*/ 1541834 w 4997675"/>
              <a:gd name="connsiteY271" fmla="*/ 2864756 h 4416208"/>
              <a:gd name="connsiteX272" fmla="*/ 1530965 w 4997675"/>
              <a:gd name="connsiteY272" fmla="*/ 2885144 h 4416208"/>
              <a:gd name="connsiteX273" fmla="*/ 1521855 w 4997675"/>
              <a:gd name="connsiteY273" fmla="*/ 2907592 h 4416208"/>
              <a:gd name="connsiteX274" fmla="*/ 1514375 w 4997675"/>
              <a:gd name="connsiteY274" fmla="*/ 2932028 h 4416208"/>
              <a:gd name="connsiteX275" fmla="*/ 1508397 w 4997675"/>
              <a:gd name="connsiteY275" fmla="*/ 2958381 h 4416208"/>
              <a:gd name="connsiteX276" fmla="*/ 1503795 w 4997675"/>
              <a:gd name="connsiteY276" fmla="*/ 2986579 h 4416208"/>
              <a:gd name="connsiteX277" fmla="*/ 1500438 w 4997675"/>
              <a:gd name="connsiteY277" fmla="*/ 3016550 h 4416208"/>
              <a:gd name="connsiteX278" fmla="*/ 1498199 w 4997675"/>
              <a:gd name="connsiteY278" fmla="*/ 3048223 h 4416208"/>
              <a:gd name="connsiteX279" fmla="*/ 1496949 w 4997675"/>
              <a:gd name="connsiteY279" fmla="*/ 3081527 h 4416208"/>
              <a:gd name="connsiteX280" fmla="*/ 1496561 w 4997675"/>
              <a:gd name="connsiteY280" fmla="*/ 3116390 h 4416208"/>
              <a:gd name="connsiteX281" fmla="*/ 1496940 w 4997675"/>
              <a:gd name="connsiteY281" fmla="*/ 3151598 h 4416208"/>
              <a:gd name="connsiteX282" fmla="*/ 1498161 w 4997675"/>
              <a:gd name="connsiteY282" fmla="*/ 3185227 h 4416208"/>
              <a:gd name="connsiteX283" fmla="*/ 1500361 w 4997675"/>
              <a:gd name="connsiteY283" fmla="*/ 3217204 h 4416208"/>
              <a:gd name="connsiteX284" fmla="*/ 1503667 w 4997675"/>
              <a:gd name="connsiteY284" fmla="*/ 3247458 h 4416208"/>
              <a:gd name="connsiteX285" fmla="*/ 1508213 w 4997675"/>
              <a:gd name="connsiteY285" fmla="*/ 3275918 h 4416208"/>
              <a:gd name="connsiteX286" fmla="*/ 1514131 w 4997675"/>
              <a:gd name="connsiteY286" fmla="*/ 3302511 h 4416208"/>
              <a:gd name="connsiteX287" fmla="*/ 1521553 w 4997675"/>
              <a:gd name="connsiteY287" fmla="*/ 3327167 h 4416208"/>
              <a:gd name="connsiteX288" fmla="*/ 1530611 w 4997675"/>
              <a:gd name="connsiteY288" fmla="*/ 3349814 h 4416208"/>
              <a:gd name="connsiteX289" fmla="*/ 1541435 w 4997675"/>
              <a:gd name="connsiteY289" fmla="*/ 3370381 h 4416208"/>
              <a:gd name="connsiteX290" fmla="*/ 1568914 w 4997675"/>
              <a:gd name="connsiteY290" fmla="*/ 3404987 h 4416208"/>
              <a:gd name="connsiteX291" fmla="*/ 1605045 w 4997675"/>
              <a:gd name="connsiteY291" fmla="*/ 3430414 h 4416208"/>
              <a:gd name="connsiteX292" fmla="*/ 1626684 w 4997675"/>
              <a:gd name="connsiteY292" fmla="*/ 3439506 h 4416208"/>
              <a:gd name="connsiteX293" fmla="*/ 1650883 w 4997675"/>
              <a:gd name="connsiteY293" fmla="*/ 3446089 h 4416208"/>
              <a:gd name="connsiteX294" fmla="*/ 1677771 w 4997675"/>
              <a:gd name="connsiteY294" fmla="*/ 3450092 h 4416208"/>
              <a:gd name="connsiteX295" fmla="*/ 1707483 w 4997675"/>
              <a:gd name="connsiteY295" fmla="*/ 3451442 h 4416208"/>
              <a:gd name="connsiteX296" fmla="*/ 1707483 w 4997675"/>
              <a:gd name="connsiteY296" fmla="*/ 3509975 h 4416208"/>
              <a:gd name="connsiteX297" fmla="*/ 1675126 w 4997675"/>
              <a:gd name="connsiteY297" fmla="*/ 3508833 h 4416208"/>
              <a:gd name="connsiteX298" fmla="*/ 1645214 w 4997675"/>
              <a:gd name="connsiteY298" fmla="*/ 3505440 h 4416208"/>
              <a:gd name="connsiteX299" fmla="*/ 1617658 w 4997675"/>
              <a:gd name="connsiteY299" fmla="*/ 3499845 h 4416208"/>
              <a:gd name="connsiteX300" fmla="*/ 1592378 w 4997675"/>
              <a:gd name="connsiteY300" fmla="*/ 3492100 h 4416208"/>
              <a:gd name="connsiteX301" fmla="*/ 1569286 w 4997675"/>
              <a:gd name="connsiteY301" fmla="*/ 3482254 h 4416208"/>
              <a:gd name="connsiteX302" fmla="*/ 1548298 w 4997675"/>
              <a:gd name="connsiteY302" fmla="*/ 3470356 h 4416208"/>
              <a:gd name="connsiteX303" fmla="*/ 1529330 w 4997675"/>
              <a:gd name="connsiteY303" fmla="*/ 3456457 h 4416208"/>
              <a:gd name="connsiteX304" fmla="*/ 1512297 w 4997675"/>
              <a:gd name="connsiteY304" fmla="*/ 3440607 h 4416208"/>
              <a:gd name="connsiteX305" fmla="*/ 1497113 w 4997675"/>
              <a:gd name="connsiteY305" fmla="*/ 3422855 h 4416208"/>
              <a:gd name="connsiteX306" fmla="*/ 1483694 w 4997675"/>
              <a:gd name="connsiteY306" fmla="*/ 3403253 h 4416208"/>
              <a:gd name="connsiteX307" fmla="*/ 1471955 w 4997675"/>
              <a:gd name="connsiteY307" fmla="*/ 3381848 h 4416208"/>
              <a:gd name="connsiteX308" fmla="*/ 1461812 w 4997675"/>
              <a:gd name="connsiteY308" fmla="*/ 3358693 h 4416208"/>
              <a:gd name="connsiteX309" fmla="*/ 1453180 w 4997675"/>
              <a:gd name="connsiteY309" fmla="*/ 3333835 h 4416208"/>
              <a:gd name="connsiteX310" fmla="*/ 1445974 w 4997675"/>
              <a:gd name="connsiteY310" fmla="*/ 3307327 h 4416208"/>
              <a:gd name="connsiteX311" fmla="*/ 1440110 w 4997675"/>
              <a:gd name="connsiteY311" fmla="*/ 3279216 h 4416208"/>
              <a:gd name="connsiteX312" fmla="*/ 1435501 w 4997675"/>
              <a:gd name="connsiteY312" fmla="*/ 3249555 h 4416208"/>
              <a:gd name="connsiteX313" fmla="*/ 1432064 w 4997675"/>
              <a:gd name="connsiteY313" fmla="*/ 3218391 h 4416208"/>
              <a:gd name="connsiteX314" fmla="*/ 1429714 w 4997675"/>
              <a:gd name="connsiteY314" fmla="*/ 3185776 h 4416208"/>
              <a:gd name="connsiteX315" fmla="*/ 1428366 w 4997675"/>
              <a:gd name="connsiteY315" fmla="*/ 3151759 h 4416208"/>
              <a:gd name="connsiteX316" fmla="*/ 1427937 w 4997675"/>
              <a:gd name="connsiteY316" fmla="*/ 3116390 h 4416208"/>
              <a:gd name="connsiteX317" fmla="*/ 1428380 w 4997675"/>
              <a:gd name="connsiteY317" fmla="*/ 3081172 h 4416208"/>
              <a:gd name="connsiteX318" fmla="*/ 1429769 w 4997675"/>
              <a:gd name="connsiteY318" fmla="*/ 3047306 h 4416208"/>
              <a:gd name="connsiteX319" fmla="*/ 1432180 w 4997675"/>
              <a:gd name="connsiteY319" fmla="*/ 3014840 h 4416208"/>
              <a:gd name="connsiteX320" fmla="*/ 1435694 w 4997675"/>
              <a:gd name="connsiteY320" fmla="*/ 2983823 h 4416208"/>
              <a:gd name="connsiteX321" fmla="*/ 1440394 w 4997675"/>
              <a:gd name="connsiteY321" fmla="*/ 2954304 h 4416208"/>
              <a:gd name="connsiteX322" fmla="*/ 1446356 w 4997675"/>
              <a:gd name="connsiteY322" fmla="*/ 2926333 h 4416208"/>
              <a:gd name="connsiteX323" fmla="*/ 1453663 w 4997675"/>
              <a:gd name="connsiteY323" fmla="*/ 2899960 h 4416208"/>
              <a:gd name="connsiteX324" fmla="*/ 1462394 w 4997675"/>
              <a:gd name="connsiteY324" fmla="*/ 2875233 h 4416208"/>
              <a:gd name="connsiteX325" fmla="*/ 1472630 w 4997675"/>
              <a:gd name="connsiteY325" fmla="*/ 2852202 h 4416208"/>
              <a:gd name="connsiteX326" fmla="*/ 1484451 w 4997675"/>
              <a:gd name="connsiteY326" fmla="*/ 2830915 h 4416208"/>
              <a:gd name="connsiteX327" fmla="*/ 1497937 w 4997675"/>
              <a:gd name="connsiteY327" fmla="*/ 2811421 h 4416208"/>
              <a:gd name="connsiteX328" fmla="*/ 1513169 w 4997675"/>
              <a:gd name="connsiteY328" fmla="*/ 2793771 h 4416208"/>
              <a:gd name="connsiteX329" fmla="*/ 1530226 w 4997675"/>
              <a:gd name="connsiteY329" fmla="*/ 2778013 h 4416208"/>
              <a:gd name="connsiteX330" fmla="*/ 1549189 w 4997675"/>
              <a:gd name="connsiteY330" fmla="*/ 2764197 h 4416208"/>
              <a:gd name="connsiteX331" fmla="*/ 1570137 w 4997675"/>
              <a:gd name="connsiteY331" fmla="*/ 2752371 h 4416208"/>
              <a:gd name="connsiteX332" fmla="*/ 1593152 w 4997675"/>
              <a:gd name="connsiteY332" fmla="*/ 2742585 h 4416208"/>
              <a:gd name="connsiteX333" fmla="*/ 1618315 w 4997675"/>
              <a:gd name="connsiteY333" fmla="*/ 2734888 h 4416208"/>
              <a:gd name="connsiteX334" fmla="*/ 1645704 w 4997675"/>
              <a:gd name="connsiteY334" fmla="*/ 2729329 h 4416208"/>
              <a:gd name="connsiteX335" fmla="*/ 1675399 w 4997675"/>
              <a:gd name="connsiteY335" fmla="*/ 2725958 h 4416208"/>
              <a:gd name="connsiteX336" fmla="*/ 1515448 w 4997675"/>
              <a:gd name="connsiteY336" fmla="*/ 2434173 h 4416208"/>
              <a:gd name="connsiteX337" fmla="*/ 1540977 w 4997675"/>
              <a:gd name="connsiteY337" fmla="*/ 2436396 h 4416208"/>
              <a:gd name="connsiteX338" fmla="*/ 1560735 w 4997675"/>
              <a:gd name="connsiteY338" fmla="*/ 2444391 h 4416208"/>
              <a:gd name="connsiteX339" fmla="*/ 1573491 w 4997675"/>
              <a:gd name="connsiteY339" fmla="*/ 2460144 h 4416208"/>
              <a:gd name="connsiteX340" fmla="*/ 1578018 w 4997675"/>
              <a:gd name="connsiteY340" fmla="*/ 2485642 h 4416208"/>
              <a:gd name="connsiteX341" fmla="*/ 1573491 w 4997675"/>
              <a:gd name="connsiteY341" fmla="*/ 2512307 h 4416208"/>
              <a:gd name="connsiteX342" fmla="*/ 1560735 w 4997675"/>
              <a:gd name="connsiteY342" fmla="*/ 2528659 h 4416208"/>
              <a:gd name="connsiteX343" fmla="*/ 1540977 w 4997675"/>
              <a:gd name="connsiteY343" fmla="*/ 2536874 h 4416208"/>
              <a:gd name="connsiteX344" fmla="*/ 1515448 w 4997675"/>
              <a:gd name="connsiteY344" fmla="*/ 2539129 h 4416208"/>
              <a:gd name="connsiteX345" fmla="*/ 1489919 w 4997675"/>
              <a:gd name="connsiteY345" fmla="*/ 2536874 h 4416208"/>
              <a:gd name="connsiteX346" fmla="*/ 1470160 w 4997675"/>
              <a:gd name="connsiteY346" fmla="*/ 2528659 h 4416208"/>
              <a:gd name="connsiteX347" fmla="*/ 1457404 w 4997675"/>
              <a:gd name="connsiteY347" fmla="*/ 2512307 h 4416208"/>
              <a:gd name="connsiteX348" fmla="*/ 1452878 w 4997675"/>
              <a:gd name="connsiteY348" fmla="*/ 2485642 h 4416208"/>
              <a:gd name="connsiteX349" fmla="*/ 1457545 w 4997675"/>
              <a:gd name="connsiteY349" fmla="*/ 2460144 h 4416208"/>
              <a:gd name="connsiteX350" fmla="*/ 1470538 w 4997675"/>
              <a:gd name="connsiteY350" fmla="*/ 2444391 h 4416208"/>
              <a:gd name="connsiteX351" fmla="*/ 1490344 w 4997675"/>
              <a:gd name="connsiteY351" fmla="*/ 2436396 h 4416208"/>
              <a:gd name="connsiteX352" fmla="*/ 1515448 w 4997675"/>
              <a:gd name="connsiteY352" fmla="*/ 2010312 h 4416208"/>
              <a:gd name="connsiteX353" fmla="*/ 1540977 w 4997675"/>
              <a:gd name="connsiteY353" fmla="*/ 2012409 h 4416208"/>
              <a:gd name="connsiteX354" fmla="*/ 1560735 w 4997675"/>
              <a:gd name="connsiteY354" fmla="*/ 2020277 h 4416208"/>
              <a:gd name="connsiteX355" fmla="*/ 1573491 w 4997675"/>
              <a:gd name="connsiteY355" fmla="*/ 2036282 h 4416208"/>
              <a:gd name="connsiteX356" fmla="*/ 1578018 w 4997675"/>
              <a:gd name="connsiteY356" fmla="*/ 2062790 h 4416208"/>
              <a:gd name="connsiteX357" fmla="*/ 1573491 w 4997675"/>
              <a:gd name="connsiteY357" fmla="*/ 2088445 h 4416208"/>
              <a:gd name="connsiteX358" fmla="*/ 1560735 w 4997675"/>
              <a:gd name="connsiteY358" fmla="*/ 2104545 h 4416208"/>
              <a:gd name="connsiteX359" fmla="*/ 1540977 w 4997675"/>
              <a:gd name="connsiteY359" fmla="*/ 2112886 h 4416208"/>
              <a:gd name="connsiteX360" fmla="*/ 1515448 w 4997675"/>
              <a:gd name="connsiteY360" fmla="*/ 2115267 h 4416208"/>
              <a:gd name="connsiteX361" fmla="*/ 1490502 w 4997675"/>
              <a:gd name="connsiteY361" fmla="*/ 2112886 h 4416208"/>
              <a:gd name="connsiteX362" fmla="*/ 1471043 w 4997675"/>
              <a:gd name="connsiteY362" fmla="*/ 2104545 h 4416208"/>
              <a:gd name="connsiteX363" fmla="*/ 1458396 w 4997675"/>
              <a:gd name="connsiteY363" fmla="*/ 2088445 h 4416208"/>
              <a:gd name="connsiteX364" fmla="*/ 1453887 w 4997675"/>
              <a:gd name="connsiteY364" fmla="*/ 2062790 h 4416208"/>
              <a:gd name="connsiteX365" fmla="*/ 1458396 w 4997675"/>
              <a:gd name="connsiteY365" fmla="*/ 2036282 h 4416208"/>
              <a:gd name="connsiteX366" fmla="*/ 1471043 w 4997675"/>
              <a:gd name="connsiteY366" fmla="*/ 2020277 h 4416208"/>
              <a:gd name="connsiteX367" fmla="*/ 1490502 w 4997675"/>
              <a:gd name="connsiteY367" fmla="*/ 2012409 h 4416208"/>
              <a:gd name="connsiteX368" fmla="*/ 2162394 w 4997675"/>
              <a:gd name="connsiteY368" fmla="*/ 1820398 h 4416208"/>
              <a:gd name="connsiteX369" fmla="*/ 2388447 w 4997675"/>
              <a:gd name="connsiteY369" fmla="*/ 1820398 h 4416208"/>
              <a:gd name="connsiteX370" fmla="*/ 2388447 w 4997675"/>
              <a:gd name="connsiteY370" fmla="*/ 1877980 h 4416208"/>
              <a:gd name="connsiteX371" fmla="*/ 2388447 w 4997675"/>
              <a:gd name="connsiteY371" fmla="*/ 2542096 h 4416208"/>
              <a:gd name="connsiteX372" fmla="*/ 2388447 w 4997675"/>
              <a:gd name="connsiteY372" fmla="*/ 2599679 h 4416208"/>
              <a:gd name="connsiteX373" fmla="*/ 2162394 w 4997675"/>
              <a:gd name="connsiteY373" fmla="*/ 2599679 h 4416208"/>
              <a:gd name="connsiteX374" fmla="*/ 2162394 w 4997675"/>
              <a:gd name="connsiteY374" fmla="*/ 2542096 h 4416208"/>
              <a:gd name="connsiteX375" fmla="*/ 2318818 w 4997675"/>
              <a:gd name="connsiteY375" fmla="*/ 2542096 h 4416208"/>
              <a:gd name="connsiteX376" fmla="*/ 2318818 w 4997675"/>
              <a:gd name="connsiteY376" fmla="*/ 1877980 h 4416208"/>
              <a:gd name="connsiteX377" fmla="*/ 2162394 w 4997675"/>
              <a:gd name="connsiteY377" fmla="*/ 1877980 h 4416208"/>
              <a:gd name="connsiteX378" fmla="*/ 899438 w 4997675"/>
              <a:gd name="connsiteY378" fmla="*/ 1820398 h 4416208"/>
              <a:gd name="connsiteX379" fmla="*/ 1125499 w 4997675"/>
              <a:gd name="connsiteY379" fmla="*/ 1820398 h 4416208"/>
              <a:gd name="connsiteX380" fmla="*/ 1125499 w 4997675"/>
              <a:gd name="connsiteY380" fmla="*/ 1877980 h 4416208"/>
              <a:gd name="connsiteX381" fmla="*/ 969075 w 4997675"/>
              <a:gd name="connsiteY381" fmla="*/ 1877980 h 4416208"/>
              <a:gd name="connsiteX382" fmla="*/ 969075 w 4997675"/>
              <a:gd name="connsiteY382" fmla="*/ 2542096 h 4416208"/>
              <a:gd name="connsiteX383" fmla="*/ 1125499 w 4997675"/>
              <a:gd name="connsiteY383" fmla="*/ 2542096 h 4416208"/>
              <a:gd name="connsiteX384" fmla="*/ 1125499 w 4997675"/>
              <a:gd name="connsiteY384" fmla="*/ 2599679 h 4416208"/>
              <a:gd name="connsiteX385" fmla="*/ 899438 w 4997675"/>
              <a:gd name="connsiteY385" fmla="*/ 2599679 h 4416208"/>
              <a:gd name="connsiteX386" fmla="*/ 899438 w 4997675"/>
              <a:gd name="connsiteY386" fmla="*/ 2542096 h 4416208"/>
              <a:gd name="connsiteX387" fmla="*/ 899438 w 4997675"/>
              <a:gd name="connsiteY387" fmla="*/ 1877980 h 4416208"/>
              <a:gd name="connsiteX388" fmla="*/ 4360117 w 4997675"/>
              <a:gd name="connsiteY388" fmla="*/ 1816547 h 4416208"/>
              <a:gd name="connsiteX389" fmla="*/ 4392199 w 4997675"/>
              <a:gd name="connsiteY389" fmla="*/ 1817681 h 4416208"/>
              <a:gd name="connsiteX390" fmla="*/ 4421895 w 4997675"/>
              <a:gd name="connsiteY390" fmla="*/ 1821052 h 4416208"/>
              <a:gd name="connsiteX391" fmla="*/ 4449284 w 4997675"/>
              <a:gd name="connsiteY391" fmla="*/ 1826611 h 4416208"/>
              <a:gd name="connsiteX392" fmla="*/ 4474446 w 4997675"/>
              <a:gd name="connsiteY392" fmla="*/ 1834308 h 4416208"/>
              <a:gd name="connsiteX393" fmla="*/ 4497461 w 4997675"/>
              <a:gd name="connsiteY393" fmla="*/ 1844094 h 4416208"/>
              <a:gd name="connsiteX394" fmla="*/ 4518410 w 4997675"/>
              <a:gd name="connsiteY394" fmla="*/ 1855920 h 4416208"/>
              <a:gd name="connsiteX395" fmla="*/ 4537373 w 4997675"/>
              <a:gd name="connsiteY395" fmla="*/ 1869736 h 4416208"/>
              <a:gd name="connsiteX396" fmla="*/ 4554430 w 4997675"/>
              <a:gd name="connsiteY396" fmla="*/ 1885494 h 4416208"/>
              <a:gd name="connsiteX397" fmla="*/ 4569662 w 4997675"/>
              <a:gd name="connsiteY397" fmla="*/ 1903144 h 4416208"/>
              <a:gd name="connsiteX398" fmla="*/ 4583148 w 4997675"/>
              <a:gd name="connsiteY398" fmla="*/ 1922638 h 4416208"/>
              <a:gd name="connsiteX399" fmla="*/ 4594968 w 4997675"/>
              <a:gd name="connsiteY399" fmla="*/ 1943925 h 4416208"/>
              <a:gd name="connsiteX400" fmla="*/ 4605204 w 4997675"/>
              <a:gd name="connsiteY400" fmla="*/ 1966956 h 4416208"/>
              <a:gd name="connsiteX401" fmla="*/ 4613936 w 4997675"/>
              <a:gd name="connsiteY401" fmla="*/ 1991684 h 4416208"/>
              <a:gd name="connsiteX402" fmla="*/ 4621243 w 4997675"/>
              <a:gd name="connsiteY402" fmla="*/ 2018057 h 4416208"/>
              <a:gd name="connsiteX403" fmla="*/ 4627205 w 4997675"/>
              <a:gd name="connsiteY403" fmla="*/ 2046027 h 4416208"/>
              <a:gd name="connsiteX404" fmla="*/ 4631904 w 4997675"/>
              <a:gd name="connsiteY404" fmla="*/ 2075545 h 4416208"/>
              <a:gd name="connsiteX405" fmla="*/ 4635419 w 4997675"/>
              <a:gd name="connsiteY405" fmla="*/ 2106562 h 4416208"/>
              <a:gd name="connsiteX406" fmla="*/ 4637830 w 4997675"/>
              <a:gd name="connsiteY406" fmla="*/ 2139029 h 4416208"/>
              <a:gd name="connsiteX407" fmla="*/ 4639218 w 4997675"/>
              <a:gd name="connsiteY407" fmla="*/ 2172895 h 4416208"/>
              <a:gd name="connsiteX408" fmla="*/ 4639663 w 4997675"/>
              <a:gd name="connsiteY408" fmla="*/ 2208113 h 4416208"/>
              <a:gd name="connsiteX409" fmla="*/ 4639239 w 4997675"/>
              <a:gd name="connsiteY409" fmla="*/ 2243481 h 4416208"/>
              <a:gd name="connsiteX410" fmla="*/ 4637911 w 4997675"/>
              <a:gd name="connsiteY410" fmla="*/ 2277499 h 4416208"/>
              <a:gd name="connsiteX411" fmla="*/ 4635592 w 4997675"/>
              <a:gd name="connsiteY411" fmla="*/ 2310114 h 4416208"/>
              <a:gd name="connsiteX412" fmla="*/ 4632194 w 4997675"/>
              <a:gd name="connsiteY412" fmla="*/ 2341278 h 4416208"/>
              <a:gd name="connsiteX413" fmla="*/ 4627631 w 4997675"/>
              <a:gd name="connsiteY413" fmla="*/ 2370939 h 4416208"/>
              <a:gd name="connsiteX414" fmla="*/ 4621815 w 4997675"/>
              <a:gd name="connsiteY414" fmla="*/ 2399050 h 4416208"/>
              <a:gd name="connsiteX415" fmla="*/ 4614659 w 4997675"/>
              <a:gd name="connsiteY415" fmla="*/ 2425558 h 4416208"/>
              <a:gd name="connsiteX416" fmla="*/ 4606076 w 4997675"/>
              <a:gd name="connsiteY416" fmla="*/ 2450416 h 4416208"/>
              <a:gd name="connsiteX417" fmla="*/ 4595980 w 4997675"/>
              <a:gd name="connsiteY417" fmla="*/ 2473571 h 4416208"/>
              <a:gd name="connsiteX418" fmla="*/ 4584283 w 4997675"/>
              <a:gd name="connsiteY418" fmla="*/ 2494976 h 4416208"/>
              <a:gd name="connsiteX419" fmla="*/ 4570898 w 4997675"/>
              <a:gd name="connsiteY419" fmla="*/ 2514578 h 4416208"/>
              <a:gd name="connsiteX420" fmla="*/ 4555738 w 4997675"/>
              <a:gd name="connsiteY420" fmla="*/ 2532329 h 4416208"/>
              <a:gd name="connsiteX421" fmla="*/ 4538716 w 4997675"/>
              <a:gd name="connsiteY421" fmla="*/ 2548180 h 4416208"/>
              <a:gd name="connsiteX422" fmla="*/ 4519745 w 4997675"/>
              <a:gd name="connsiteY422" fmla="*/ 2562078 h 4416208"/>
              <a:gd name="connsiteX423" fmla="*/ 4498739 w 4997675"/>
              <a:gd name="connsiteY423" fmla="*/ 2573976 h 4416208"/>
              <a:gd name="connsiteX424" fmla="*/ 4475608 w 4997675"/>
              <a:gd name="connsiteY424" fmla="*/ 2583822 h 4416208"/>
              <a:gd name="connsiteX425" fmla="*/ 4450268 w 4997675"/>
              <a:gd name="connsiteY425" fmla="*/ 2591568 h 4416208"/>
              <a:gd name="connsiteX426" fmla="*/ 4422631 w 4997675"/>
              <a:gd name="connsiteY426" fmla="*/ 2597162 h 4416208"/>
              <a:gd name="connsiteX427" fmla="*/ 4392609 w 4997675"/>
              <a:gd name="connsiteY427" fmla="*/ 2600555 h 4416208"/>
              <a:gd name="connsiteX428" fmla="*/ 4360117 w 4997675"/>
              <a:gd name="connsiteY428" fmla="*/ 2601697 h 4416208"/>
              <a:gd name="connsiteX429" fmla="*/ 4360117 w 4997675"/>
              <a:gd name="connsiteY429" fmla="*/ 2543165 h 4416208"/>
              <a:gd name="connsiteX430" fmla="*/ 4390153 w 4997675"/>
              <a:gd name="connsiteY430" fmla="*/ 2541815 h 4416208"/>
              <a:gd name="connsiteX431" fmla="*/ 4417309 w 4997675"/>
              <a:gd name="connsiteY431" fmla="*/ 2537812 h 4416208"/>
              <a:gd name="connsiteX432" fmla="*/ 4441722 w 4997675"/>
              <a:gd name="connsiteY432" fmla="*/ 2531229 h 4416208"/>
              <a:gd name="connsiteX433" fmla="*/ 4463528 w 4997675"/>
              <a:gd name="connsiteY433" fmla="*/ 2522137 h 4416208"/>
              <a:gd name="connsiteX434" fmla="*/ 4499868 w 4997675"/>
              <a:gd name="connsiteY434" fmla="*/ 2496710 h 4416208"/>
              <a:gd name="connsiteX435" fmla="*/ 4527422 w 4997675"/>
              <a:gd name="connsiteY435" fmla="*/ 2462104 h 4416208"/>
              <a:gd name="connsiteX436" fmla="*/ 4538247 w 4997675"/>
              <a:gd name="connsiteY436" fmla="*/ 2441537 h 4416208"/>
              <a:gd name="connsiteX437" fmla="*/ 4547286 w 4997675"/>
              <a:gd name="connsiteY437" fmla="*/ 2418890 h 4416208"/>
              <a:gd name="connsiteX438" fmla="*/ 4554676 w 4997675"/>
              <a:gd name="connsiteY438" fmla="*/ 2394234 h 4416208"/>
              <a:gd name="connsiteX439" fmla="*/ 4560554 w 4997675"/>
              <a:gd name="connsiteY439" fmla="*/ 2367640 h 4416208"/>
              <a:gd name="connsiteX440" fmla="*/ 4565056 w 4997675"/>
              <a:gd name="connsiteY440" fmla="*/ 2339181 h 4416208"/>
              <a:gd name="connsiteX441" fmla="*/ 4568320 w 4997675"/>
              <a:gd name="connsiteY441" fmla="*/ 2308927 h 4416208"/>
              <a:gd name="connsiteX442" fmla="*/ 4570482 w 4997675"/>
              <a:gd name="connsiteY442" fmla="*/ 2276950 h 4416208"/>
              <a:gd name="connsiteX443" fmla="*/ 4571678 w 4997675"/>
              <a:gd name="connsiteY443" fmla="*/ 2243321 h 4416208"/>
              <a:gd name="connsiteX444" fmla="*/ 4572047 w 4997675"/>
              <a:gd name="connsiteY444" fmla="*/ 2208113 h 4416208"/>
              <a:gd name="connsiteX445" fmla="*/ 4571659 w 4997675"/>
              <a:gd name="connsiteY445" fmla="*/ 2173250 h 4416208"/>
              <a:gd name="connsiteX446" fmla="*/ 4570407 w 4997675"/>
              <a:gd name="connsiteY446" fmla="*/ 2139946 h 4416208"/>
              <a:gd name="connsiteX447" fmla="*/ 4568164 w 4997675"/>
              <a:gd name="connsiteY447" fmla="*/ 2108273 h 4416208"/>
              <a:gd name="connsiteX448" fmla="*/ 4564799 w 4997675"/>
              <a:gd name="connsiteY448" fmla="*/ 2078302 h 4416208"/>
              <a:gd name="connsiteX449" fmla="*/ 4560184 w 4997675"/>
              <a:gd name="connsiteY449" fmla="*/ 2050104 h 4416208"/>
              <a:gd name="connsiteX450" fmla="*/ 4554188 w 4997675"/>
              <a:gd name="connsiteY450" fmla="*/ 2023752 h 4416208"/>
              <a:gd name="connsiteX451" fmla="*/ 4546682 w 4997675"/>
              <a:gd name="connsiteY451" fmla="*/ 1999316 h 4416208"/>
              <a:gd name="connsiteX452" fmla="*/ 4537537 w 4997675"/>
              <a:gd name="connsiteY452" fmla="*/ 1976868 h 4416208"/>
              <a:gd name="connsiteX453" fmla="*/ 4526623 w 4997675"/>
              <a:gd name="connsiteY453" fmla="*/ 1956479 h 4416208"/>
              <a:gd name="connsiteX454" fmla="*/ 4498973 w 4997675"/>
              <a:gd name="connsiteY454" fmla="*/ 1922166 h 4416208"/>
              <a:gd name="connsiteX455" fmla="*/ 4462695 w 4997675"/>
              <a:gd name="connsiteY455" fmla="*/ 1896949 h 4416208"/>
              <a:gd name="connsiteX456" fmla="*/ 4440997 w 4997675"/>
              <a:gd name="connsiteY456" fmla="*/ 1887930 h 4416208"/>
              <a:gd name="connsiteX457" fmla="*/ 4416755 w 4997675"/>
              <a:gd name="connsiteY457" fmla="*/ 1881399 h 4416208"/>
              <a:gd name="connsiteX458" fmla="*/ 4389837 w 4997675"/>
              <a:gd name="connsiteY458" fmla="*/ 1877428 h 4416208"/>
              <a:gd name="connsiteX459" fmla="*/ 4360117 w 4997675"/>
              <a:gd name="connsiteY459" fmla="*/ 1876089 h 4416208"/>
              <a:gd name="connsiteX460" fmla="*/ 4047617 w 4997675"/>
              <a:gd name="connsiteY460" fmla="*/ 1816547 h 4416208"/>
              <a:gd name="connsiteX461" fmla="*/ 4047617 w 4997675"/>
              <a:gd name="connsiteY461" fmla="*/ 1876089 h 4416208"/>
              <a:gd name="connsiteX462" fmla="*/ 4018064 w 4997675"/>
              <a:gd name="connsiteY462" fmla="*/ 1877428 h 4416208"/>
              <a:gd name="connsiteX463" fmla="*/ 3991294 w 4997675"/>
              <a:gd name="connsiteY463" fmla="*/ 1881399 h 4416208"/>
              <a:gd name="connsiteX464" fmla="*/ 3967181 w 4997675"/>
              <a:gd name="connsiteY464" fmla="*/ 1887930 h 4416208"/>
              <a:gd name="connsiteX465" fmla="*/ 3945596 w 4997675"/>
              <a:gd name="connsiteY465" fmla="*/ 1896949 h 4416208"/>
              <a:gd name="connsiteX466" fmla="*/ 3909496 w 4997675"/>
              <a:gd name="connsiteY466" fmla="*/ 1922166 h 4416208"/>
              <a:gd name="connsiteX467" fmla="*/ 3881969 w 4997675"/>
              <a:gd name="connsiteY467" fmla="*/ 1956479 h 4416208"/>
              <a:gd name="connsiteX468" fmla="*/ 3871100 w 4997675"/>
              <a:gd name="connsiteY468" fmla="*/ 1976868 h 4416208"/>
              <a:gd name="connsiteX469" fmla="*/ 3861989 w 4997675"/>
              <a:gd name="connsiteY469" fmla="*/ 1999316 h 4416208"/>
              <a:gd name="connsiteX470" fmla="*/ 3854510 w 4997675"/>
              <a:gd name="connsiteY470" fmla="*/ 2023752 h 4416208"/>
              <a:gd name="connsiteX471" fmla="*/ 3848532 w 4997675"/>
              <a:gd name="connsiteY471" fmla="*/ 2050104 h 4416208"/>
              <a:gd name="connsiteX472" fmla="*/ 3843929 w 4997675"/>
              <a:gd name="connsiteY472" fmla="*/ 2078302 h 4416208"/>
              <a:gd name="connsiteX473" fmla="*/ 3840572 w 4997675"/>
              <a:gd name="connsiteY473" fmla="*/ 2108273 h 4416208"/>
              <a:gd name="connsiteX474" fmla="*/ 3838333 w 4997675"/>
              <a:gd name="connsiteY474" fmla="*/ 2139946 h 4416208"/>
              <a:gd name="connsiteX475" fmla="*/ 3837083 w 4997675"/>
              <a:gd name="connsiteY475" fmla="*/ 2173250 h 4416208"/>
              <a:gd name="connsiteX476" fmla="*/ 3836695 w 4997675"/>
              <a:gd name="connsiteY476" fmla="*/ 2208113 h 4416208"/>
              <a:gd name="connsiteX477" fmla="*/ 3837074 w 4997675"/>
              <a:gd name="connsiteY477" fmla="*/ 2243321 h 4416208"/>
              <a:gd name="connsiteX478" fmla="*/ 3838296 w 4997675"/>
              <a:gd name="connsiteY478" fmla="*/ 2276950 h 4416208"/>
              <a:gd name="connsiteX479" fmla="*/ 3840495 w 4997675"/>
              <a:gd name="connsiteY479" fmla="*/ 2308927 h 4416208"/>
              <a:gd name="connsiteX480" fmla="*/ 3843801 w 4997675"/>
              <a:gd name="connsiteY480" fmla="*/ 2339181 h 4416208"/>
              <a:gd name="connsiteX481" fmla="*/ 3848348 w 4997675"/>
              <a:gd name="connsiteY481" fmla="*/ 2367640 h 4416208"/>
              <a:gd name="connsiteX482" fmla="*/ 3854266 w 4997675"/>
              <a:gd name="connsiteY482" fmla="*/ 2394234 h 4416208"/>
              <a:gd name="connsiteX483" fmla="*/ 3861687 w 4997675"/>
              <a:gd name="connsiteY483" fmla="*/ 2418890 h 4416208"/>
              <a:gd name="connsiteX484" fmla="*/ 3870745 w 4997675"/>
              <a:gd name="connsiteY484" fmla="*/ 2441537 h 4416208"/>
              <a:gd name="connsiteX485" fmla="*/ 3881570 w 4997675"/>
              <a:gd name="connsiteY485" fmla="*/ 2462104 h 4416208"/>
              <a:gd name="connsiteX486" fmla="*/ 3909048 w 4997675"/>
              <a:gd name="connsiteY486" fmla="*/ 2496710 h 4416208"/>
              <a:gd name="connsiteX487" fmla="*/ 3945179 w 4997675"/>
              <a:gd name="connsiteY487" fmla="*/ 2522137 h 4416208"/>
              <a:gd name="connsiteX488" fmla="*/ 3966819 w 4997675"/>
              <a:gd name="connsiteY488" fmla="*/ 2531229 h 4416208"/>
              <a:gd name="connsiteX489" fmla="*/ 3991017 w 4997675"/>
              <a:gd name="connsiteY489" fmla="*/ 2537812 h 4416208"/>
              <a:gd name="connsiteX490" fmla="*/ 4017906 w 4997675"/>
              <a:gd name="connsiteY490" fmla="*/ 2541815 h 4416208"/>
              <a:gd name="connsiteX491" fmla="*/ 4047617 w 4997675"/>
              <a:gd name="connsiteY491" fmla="*/ 2543165 h 4416208"/>
              <a:gd name="connsiteX492" fmla="*/ 4047617 w 4997675"/>
              <a:gd name="connsiteY492" fmla="*/ 2601697 h 4416208"/>
              <a:gd name="connsiteX493" fmla="*/ 4015260 w 4997675"/>
              <a:gd name="connsiteY493" fmla="*/ 2600555 h 4416208"/>
              <a:gd name="connsiteX494" fmla="*/ 3985348 w 4997675"/>
              <a:gd name="connsiteY494" fmla="*/ 2597162 h 4416208"/>
              <a:gd name="connsiteX495" fmla="*/ 3957793 w 4997675"/>
              <a:gd name="connsiteY495" fmla="*/ 2591568 h 4416208"/>
              <a:gd name="connsiteX496" fmla="*/ 3932512 w 4997675"/>
              <a:gd name="connsiteY496" fmla="*/ 2583822 h 4416208"/>
              <a:gd name="connsiteX497" fmla="*/ 3909421 w 4997675"/>
              <a:gd name="connsiteY497" fmla="*/ 2573976 h 4416208"/>
              <a:gd name="connsiteX498" fmla="*/ 3888433 w 4997675"/>
              <a:gd name="connsiteY498" fmla="*/ 2562078 h 4416208"/>
              <a:gd name="connsiteX499" fmla="*/ 3869464 w 4997675"/>
              <a:gd name="connsiteY499" fmla="*/ 2548180 h 4416208"/>
              <a:gd name="connsiteX500" fmla="*/ 3852431 w 4997675"/>
              <a:gd name="connsiteY500" fmla="*/ 2532329 h 4416208"/>
              <a:gd name="connsiteX501" fmla="*/ 3837247 w 4997675"/>
              <a:gd name="connsiteY501" fmla="*/ 2514578 h 4416208"/>
              <a:gd name="connsiteX502" fmla="*/ 3823828 w 4997675"/>
              <a:gd name="connsiteY502" fmla="*/ 2494976 h 4416208"/>
              <a:gd name="connsiteX503" fmla="*/ 3812090 w 4997675"/>
              <a:gd name="connsiteY503" fmla="*/ 2473571 h 4416208"/>
              <a:gd name="connsiteX504" fmla="*/ 3801947 w 4997675"/>
              <a:gd name="connsiteY504" fmla="*/ 2450416 h 4416208"/>
              <a:gd name="connsiteX505" fmla="*/ 3793315 w 4997675"/>
              <a:gd name="connsiteY505" fmla="*/ 2425558 h 4416208"/>
              <a:gd name="connsiteX506" fmla="*/ 3786109 w 4997675"/>
              <a:gd name="connsiteY506" fmla="*/ 2399050 h 4416208"/>
              <a:gd name="connsiteX507" fmla="*/ 3780244 w 4997675"/>
              <a:gd name="connsiteY507" fmla="*/ 2370939 h 4416208"/>
              <a:gd name="connsiteX508" fmla="*/ 3775636 w 4997675"/>
              <a:gd name="connsiteY508" fmla="*/ 2341278 h 4416208"/>
              <a:gd name="connsiteX509" fmla="*/ 3772199 w 4997675"/>
              <a:gd name="connsiteY509" fmla="*/ 2310114 h 4416208"/>
              <a:gd name="connsiteX510" fmla="*/ 3769849 w 4997675"/>
              <a:gd name="connsiteY510" fmla="*/ 2277499 h 4416208"/>
              <a:gd name="connsiteX511" fmla="*/ 3768501 w 4997675"/>
              <a:gd name="connsiteY511" fmla="*/ 2243481 h 4416208"/>
              <a:gd name="connsiteX512" fmla="*/ 3768071 w 4997675"/>
              <a:gd name="connsiteY512" fmla="*/ 2208113 h 4416208"/>
              <a:gd name="connsiteX513" fmla="*/ 3768515 w 4997675"/>
              <a:gd name="connsiteY513" fmla="*/ 2172895 h 4416208"/>
              <a:gd name="connsiteX514" fmla="*/ 3769903 w 4997675"/>
              <a:gd name="connsiteY514" fmla="*/ 2139029 h 4416208"/>
              <a:gd name="connsiteX515" fmla="*/ 3772315 w 4997675"/>
              <a:gd name="connsiteY515" fmla="*/ 2106562 h 4416208"/>
              <a:gd name="connsiteX516" fmla="*/ 3775829 w 4997675"/>
              <a:gd name="connsiteY516" fmla="*/ 2075545 h 4416208"/>
              <a:gd name="connsiteX517" fmla="*/ 3780528 w 4997675"/>
              <a:gd name="connsiteY517" fmla="*/ 2046027 h 4416208"/>
              <a:gd name="connsiteX518" fmla="*/ 3786491 w 4997675"/>
              <a:gd name="connsiteY518" fmla="*/ 2018057 h 4416208"/>
              <a:gd name="connsiteX519" fmla="*/ 3793797 w 4997675"/>
              <a:gd name="connsiteY519" fmla="*/ 1991684 h 4416208"/>
              <a:gd name="connsiteX520" fmla="*/ 3802529 w 4997675"/>
              <a:gd name="connsiteY520" fmla="*/ 1966956 h 4416208"/>
              <a:gd name="connsiteX521" fmla="*/ 3812765 w 4997675"/>
              <a:gd name="connsiteY521" fmla="*/ 1943925 h 4416208"/>
              <a:gd name="connsiteX522" fmla="*/ 3824585 w 4997675"/>
              <a:gd name="connsiteY522" fmla="*/ 1922638 h 4416208"/>
              <a:gd name="connsiteX523" fmla="*/ 3838071 w 4997675"/>
              <a:gd name="connsiteY523" fmla="*/ 1903144 h 4416208"/>
              <a:gd name="connsiteX524" fmla="*/ 3853303 w 4997675"/>
              <a:gd name="connsiteY524" fmla="*/ 1885494 h 4416208"/>
              <a:gd name="connsiteX525" fmla="*/ 3870360 w 4997675"/>
              <a:gd name="connsiteY525" fmla="*/ 1869736 h 4416208"/>
              <a:gd name="connsiteX526" fmla="*/ 3889323 w 4997675"/>
              <a:gd name="connsiteY526" fmla="*/ 1855920 h 4416208"/>
              <a:gd name="connsiteX527" fmla="*/ 3910272 w 4997675"/>
              <a:gd name="connsiteY527" fmla="*/ 1844094 h 4416208"/>
              <a:gd name="connsiteX528" fmla="*/ 3933287 w 4997675"/>
              <a:gd name="connsiteY528" fmla="*/ 1834308 h 4416208"/>
              <a:gd name="connsiteX529" fmla="*/ 3958449 w 4997675"/>
              <a:gd name="connsiteY529" fmla="*/ 1826611 h 4416208"/>
              <a:gd name="connsiteX530" fmla="*/ 3985838 w 4997675"/>
              <a:gd name="connsiteY530" fmla="*/ 1821052 h 4416208"/>
              <a:gd name="connsiteX531" fmla="*/ 4015534 w 4997675"/>
              <a:gd name="connsiteY531" fmla="*/ 1817681 h 4416208"/>
              <a:gd name="connsiteX532" fmla="*/ 3372436 w 4997675"/>
              <a:gd name="connsiteY532" fmla="*/ 1816547 h 4416208"/>
              <a:gd name="connsiteX533" fmla="*/ 3404519 w 4997675"/>
              <a:gd name="connsiteY533" fmla="*/ 1817681 h 4416208"/>
              <a:gd name="connsiteX534" fmla="*/ 3434214 w 4997675"/>
              <a:gd name="connsiteY534" fmla="*/ 1821052 h 4416208"/>
              <a:gd name="connsiteX535" fmla="*/ 3461603 w 4997675"/>
              <a:gd name="connsiteY535" fmla="*/ 1826611 h 4416208"/>
              <a:gd name="connsiteX536" fmla="*/ 3486765 w 4997675"/>
              <a:gd name="connsiteY536" fmla="*/ 1834308 h 4416208"/>
              <a:gd name="connsiteX537" fmla="*/ 3509781 w 4997675"/>
              <a:gd name="connsiteY537" fmla="*/ 1844094 h 4416208"/>
              <a:gd name="connsiteX538" fmla="*/ 3530730 w 4997675"/>
              <a:gd name="connsiteY538" fmla="*/ 1855920 h 4416208"/>
              <a:gd name="connsiteX539" fmla="*/ 3549692 w 4997675"/>
              <a:gd name="connsiteY539" fmla="*/ 1869736 h 4416208"/>
              <a:gd name="connsiteX540" fmla="*/ 3566749 w 4997675"/>
              <a:gd name="connsiteY540" fmla="*/ 1885494 h 4416208"/>
              <a:gd name="connsiteX541" fmla="*/ 3581981 w 4997675"/>
              <a:gd name="connsiteY541" fmla="*/ 1903144 h 4416208"/>
              <a:gd name="connsiteX542" fmla="*/ 3595467 w 4997675"/>
              <a:gd name="connsiteY542" fmla="*/ 1922638 h 4416208"/>
              <a:gd name="connsiteX543" fmla="*/ 3607288 w 4997675"/>
              <a:gd name="connsiteY543" fmla="*/ 1943925 h 4416208"/>
              <a:gd name="connsiteX544" fmla="*/ 3617524 w 4997675"/>
              <a:gd name="connsiteY544" fmla="*/ 1966956 h 4416208"/>
              <a:gd name="connsiteX545" fmla="*/ 3626255 w 4997675"/>
              <a:gd name="connsiteY545" fmla="*/ 1991684 h 4416208"/>
              <a:gd name="connsiteX546" fmla="*/ 3633562 w 4997675"/>
              <a:gd name="connsiteY546" fmla="*/ 2018057 h 4416208"/>
              <a:gd name="connsiteX547" fmla="*/ 3639525 w 4997675"/>
              <a:gd name="connsiteY547" fmla="*/ 2046027 h 4416208"/>
              <a:gd name="connsiteX548" fmla="*/ 3644223 w 4997675"/>
              <a:gd name="connsiteY548" fmla="*/ 2075545 h 4416208"/>
              <a:gd name="connsiteX549" fmla="*/ 3647738 w 4997675"/>
              <a:gd name="connsiteY549" fmla="*/ 2106562 h 4416208"/>
              <a:gd name="connsiteX550" fmla="*/ 3650149 w 4997675"/>
              <a:gd name="connsiteY550" fmla="*/ 2139029 h 4416208"/>
              <a:gd name="connsiteX551" fmla="*/ 3651537 w 4997675"/>
              <a:gd name="connsiteY551" fmla="*/ 2172895 h 4416208"/>
              <a:gd name="connsiteX552" fmla="*/ 3651982 w 4997675"/>
              <a:gd name="connsiteY552" fmla="*/ 2208113 h 4416208"/>
              <a:gd name="connsiteX553" fmla="*/ 3651559 w 4997675"/>
              <a:gd name="connsiteY553" fmla="*/ 2243481 h 4416208"/>
              <a:gd name="connsiteX554" fmla="*/ 3650231 w 4997675"/>
              <a:gd name="connsiteY554" fmla="*/ 2277499 h 4416208"/>
              <a:gd name="connsiteX555" fmla="*/ 3647912 w 4997675"/>
              <a:gd name="connsiteY555" fmla="*/ 2310114 h 4416208"/>
              <a:gd name="connsiteX556" fmla="*/ 3644514 w 4997675"/>
              <a:gd name="connsiteY556" fmla="*/ 2341278 h 4416208"/>
              <a:gd name="connsiteX557" fmla="*/ 3639951 w 4997675"/>
              <a:gd name="connsiteY557" fmla="*/ 2370939 h 4416208"/>
              <a:gd name="connsiteX558" fmla="*/ 3634134 w 4997675"/>
              <a:gd name="connsiteY558" fmla="*/ 2399050 h 4416208"/>
              <a:gd name="connsiteX559" fmla="*/ 3626978 w 4997675"/>
              <a:gd name="connsiteY559" fmla="*/ 2425558 h 4416208"/>
              <a:gd name="connsiteX560" fmla="*/ 3618396 w 4997675"/>
              <a:gd name="connsiteY560" fmla="*/ 2450416 h 4416208"/>
              <a:gd name="connsiteX561" fmla="*/ 3608300 w 4997675"/>
              <a:gd name="connsiteY561" fmla="*/ 2473571 h 4416208"/>
              <a:gd name="connsiteX562" fmla="*/ 3596603 w 4997675"/>
              <a:gd name="connsiteY562" fmla="*/ 2494976 h 4416208"/>
              <a:gd name="connsiteX563" fmla="*/ 3583218 w 4997675"/>
              <a:gd name="connsiteY563" fmla="*/ 2514578 h 4416208"/>
              <a:gd name="connsiteX564" fmla="*/ 3568058 w 4997675"/>
              <a:gd name="connsiteY564" fmla="*/ 2532329 h 4416208"/>
              <a:gd name="connsiteX565" fmla="*/ 3551036 w 4997675"/>
              <a:gd name="connsiteY565" fmla="*/ 2548180 h 4416208"/>
              <a:gd name="connsiteX566" fmla="*/ 3532065 w 4997675"/>
              <a:gd name="connsiteY566" fmla="*/ 2562078 h 4416208"/>
              <a:gd name="connsiteX567" fmla="*/ 3511058 w 4997675"/>
              <a:gd name="connsiteY567" fmla="*/ 2573976 h 4416208"/>
              <a:gd name="connsiteX568" fmla="*/ 3487928 w 4997675"/>
              <a:gd name="connsiteY568" fmla="*/ 2583822 h 4416208"/>
              <a:gd name="connsiteX569" fmla="*/ 3462587 w 4997675"/>
              <a:gd name="connsiteY569" fmla="*/ 2591568 h 4416208"/>
              <a:gd name="connsiteX570" fmla="*/ 3434950 w 4997675"/>
              <a:gd name="connsiteY570" fmla="*/ 2597162 h 4416208"/>
              <a:gd name="connsiteX571" fmla="*/ 3404929 w 4997675"/>
              <a:gd name="connsiteY571" fmla="*/ 2600555 h 4416208"/>
              <a:gd name="connsiteX572" fmla="*/ 3372436 w 4997675"/>
              <a:gd name="connsiteY572" fmla="*/ 2601697 h 4416208"/>
              <a:gd name="connsiteX573" fmla="*/ 3372436 w 4997675"/>
              <a:gd name="connsiteY573" fmla="*/ 2543165 h 4416208"/>
              <a:gd name="connsiteX574" fmla="*/ 3402473 w 4997675"/>
              <a:gd name="connsiteY574" fmla="*/ 2541815 h 4416208"/>
              <a:gd name="connsiteX575" fmla="*/ 3429629 w 4997675"/>
              <a:gd name="connsiteY575" fmla="*/ 2537812 h 4416208"/>
              <a:gd name="connsiteX576" fmla="*/ 3454042 w 4997675"/>
              <a:gd name="connsiteY576" fmla="*/ 2531229 h 4416208"/>
              <a:gd name="connsiteX577" fmla="*/ 3475848 w 4997675"/>
              <a:gd name="connsiteY577" fmla="*/ 2522137 h 4416208"/>
              <a:gd name="connsiteX578" fmla="*/ 3512187 w 4997675"/>
              <a:gd name="connsiteY578" fmla="*/ 2496710 h 4416208"/>
              <a:gd name="connsiteX579" fmla="*/ 3539742 w 4997675"/>
              <a:gd name="connsiteY579" fmla="*/ 2462104 h 4416208"/>
              <a:gd name="connsiteX580" fmla="*/ 3550566 w 4997675"/>
              <a:gd name="connsiteY580" fmla="*/ 2441537 h 4416208"/>
              <a:gd name="connsiteX581" fmla="*/ 3559606 w 4997675"/>
              <a:gd name="connsiteY581" fmla="*/ 2418890 h 4416208"/>
              <a:gd name="connsiteX582" fmla="*/ 3566995 w 4997675"/>
              <a:gd name="connsiteY582" fmla="*/ 2394234 h 4416208"/>
              <a:gd name="connsiteX583" fmla="*/ 3572873 w 4997675"/>
              <a:gd name="connsiteY583" fmla="*/ 2367640 h 4416208"/>
              <a:gd name="connsiteX584" fmla="*/ 3577375 w 4997675"/>
              <a:gd name="connsiteY584" fmla="*/ 2339181 h 4416208"/>
              <a:gd name="connsiteX585" fmla="*/ 3580639 w 4997675"/>
              <a:gd name="connsiteY585" fmla="*/ 2308927 h 4416208"/>
              <a:gd name="connsiteX586" fmla="*/ 3582801 w 4997675"/>
              <a:gd name="connsiteY586" fmla="*/ 2276950 h 4416208"/>
              <a:gd name="connsiteX587" fmla="*/ 3583997 w 4997675"/>
              <a:gd name="connsiteY587" fmla="*/ 2243321 h 4416208"/>
              <a:gd name="connsiteX588" fmla="*/ 3584366 w 4997675"/>
              <a:gd name="connsiteY588" fmla="*/ 2208113 h 4416208"/>
              <a:gd name="connsiteX589" fmla="*/ 3583978 w 4997675"/>
              <a:gd name="connsiteY589" fmla="*/ 2173250 h 4416208"/>
              <a:gd name="connsiteX590" fmla="*/ 3582727 w 4997675"/>
              <a:gd name="connsiteY590" fmla="*/ 2139946 h 4416208"/>
              <a:gd name="connsiteX591" fmla="*/ 3580484 w 4997675"/>
              <a:gd name="connsiteY591" fmla="*/ 2108273 h 4416208"/>
              <a:gd name="connsiteX592" fmla="*/ 3577119 w 4997675"/>
              <a:gd name="connsiteY592" fmla="*/ 2078302 h 4416208"/>
              <a:gd name="connsiteX593" fmla="*/ 3572503 w 4997675"/>
              <a:gd name="connsiteY593" fmla="*/ 2050104 h 4416208"/>
              <a:gd name="connsiteX594" fmla="*/ 3566508 w 4997675"/>
              <a:gd name="connsiteY594" fmla="*/ 2023752 h 4416208"/>
              <a:gd name="connsiteX595" fmla="*/ 3559002 w 4997675"/>
              <a:gd name="connsiteY595" fmla="*/ 1999316 h 4416208"/>
              <a:gd name="connsiteX596" fmla="*/ 3549857 w 4997675"/>
              <a:gd name="connsiteY596" fmla="*/ 1976868 h 4416208"/>
              <a:gd name="connsiteX597" fmla="*/ 3538943 w 4997675"/>
              <a:gd name="connsiteY597" fmla="*/ 1956479 h 4416208"/>
              <a:gd name="connsiteX598" fmla="*/ 3511293 w 4997675"/>
              <a:gd name="connsiteY598" fmla="*/ 1922166 h 4416208"/>
              <a:gd name="connsiteX599" fmla="*/ 3475015 w 4997675"/>
              <a:gd name="connsiteY599" fmla="*/ 1896949 h 4416208"/>
              <a:gd name="connsiteX600" fmla="*/ 3453317 w 4997675"/>
              <a:gd name="connsiteY600" fmla="*/ 1887930 h 4416208"/>
              <a:gd name="connsiteX601" fmla="*/ 3429074 w 4997675"/>
              <a:gd name="connsiteY601" fmla="*/ 1881399 h 4416208"/>
              <a:gd name="connsiteX602" fmla="*/ 3402157 w 4997675"/>
              <a:gd name="connsiteY602" fmla="*/ 1877428 h 4416208"/>
              <a:gd name="connsiteX603" fmla="*/ 3372436 w 4997675"/>
              <a:gd name="connsiteY603" fmla="*/ 1876089 h 4416208"/>
              <a:gd name="connsiteX604" fmla="*/ 3059949 w 4997675"/>
              <a:gd name="connsiteY604" fmla="*/ 1816547 h 4416208"/>
              <a:gd name="connsiteX605" fmla="*/ 3059949 w 4997675"/>
              <a:gd name="connsiteY605" fmla="*/ 1876089 h 4416208"/>
              <a:gd name="connsiteX606" fmla="*/ 3030395 w 4997675"/>
              <a:gd name="connsiteY606" fmla="*/ 1877428 h 4416208"/>
              <a:gd name="connsiteX607" fmla="*/ 3003626 w 4997675"/>
              <a:gd name="connsiteY607" fmla="*/ 1881399 h 4416208"/>
              <a:gd name="connsiteX608" fmla="*/ 2979513 w 4997675"/>
              <a:gd name="connsiteY608" fmla="*/ 1887930 h 4416208"/>
              <a:gd name="connsiteX609" fmla="*/ 2957928 w 4997675"/>
              <a:gd name="connsiteY609" fmla="*/ 1896949 h 4416208"/>
              <a:gd name="connsiteX610" fmla="*/ 2921828 w 4997675"/>
              <a:gd name="connsiteY610" fmla="*/ 1922166 h 4416208"/>
              <a:gd name="connsiteX611" fmla="*/ 2894301 w 4997675"/>
              <a:gd name="connsiteY611" fmla="*/ 1956479 h 4416208"/>
              <a:gd name="connsiteX612" fmla="*/ 2883432 w 4997675"/>
              <a:gd name="connsiteY612" fmla="*/ 1976868 h 4416208"/>
              <a:gd name="connsiteX613" fmla="*/ 2874322 w 4997675"/>
              <a:gd name="connsiteY613" fmla="*/ 1999316 h 4416208"/>
              <a:gd name="connsiteX614" fmla="*/ 2866842 w 4997675"/>
              <a:gd name="connsiteY614" fmla="*/ 2023752 h 4416208"/>
              <a:gd name="connsiteX615" fmla="*/ 2860864 w 4997675"/>
              <a:gd name="connsiteY615" fmla="*/ 2050104 h 4416208"/>
              <a:gd name="connsiteX616" fmla="*/ 2856262 w 4997675"/>
              <a:gd name="connsiteY616" fmla="*/ 2078302 h 4416208"/>
              <a:gd name="connsiteX617" fmla="*/ 2852905 w 4997675"/>
              <a:gd name="connsiteY617" fmla="*/ 2108273 h 4416208"/>
              <a:gd name="connsiteX618" fmla="*/ 2850665 w 4997675"/>
              <a:gd name="connsiteY618" fmla="*/ 2139946 h 4416208"/>
              <a:gd name="connsiteX619" fmla="*/ 2849415 w 4997675"/>
              <a:gd name="connsiteY619" fmla="*/ 2173250 h 4416208"/>
              <a:gd name="connsiteX620" fmla="*/ 2849027 w 4997675"/>
              <a:gd name="connsiteY620" fmla="*/ 2208113 h 4416208"/>
              <a:gd name="connsiteX621" fmla="*/ 2849405 w 4997675"/>
              <a:gd name="connsiteY621" fmla="*/ 2243321 h 4416208"/>
              <a:gd name="connsiteX622" fmla="*/ 2850628 w 4997675"/>
              <a:gd name="connsiteY622" fmla="*/ 2276950 h 4416208"/>
              <a:gd name="connsiteX623" fmla="*/ 2852827 w 4997675"/>
              <a:gd name="connsiteY623" fmla="*/ 2308927 h 4416208"/>
              <a:gd name="connsiteX624" fmla="*/ 2856133 w 4997675"/>
              <a:gd name="connsiteY624" fmla="*/ 2339181 h 4416208"/>
              <a:gd name="connsiteX625" fmla="*/ 2860680 w 4997675"/>
              <a:gd name="connsiteY625" fmla="*/ 2367640 h 4416208"/>
              <a:gd name="connsiteX626" fmla="*/ 2866598 w 4997675"/>
              <a:gd name="connsiteY626" fmla="*/ 2394234 h 4416208"/>
              <a:gd name="connsiteX627" fmla="*/ 2874020 w 4997675"/>
              <a:gd name="connsiteY627" fmla="*/ 2418890 h 4416208"/>
              <a:gd name="connsiteX628" fmla="*/ 2883077 w 4997675"/>
              <a:gd name="connsiteY628" fmla="*/ 2441537 h 4416208"/>
              <a:gd name="connsiteX629" fmla="*/ 2893902 w 4997675"/>
              <a:gd name="connsiteY629" fmla="*/ 2462104 h 4416208"/>
              <a:gd name="connsiteX630" fmla="*/ 2921381 w 4997675"/>
              <a:gd name="connsiteY630" fmla="*/ 2496710 h 4416208"/>
              <a:gd name="connsiteX631" fmla="*/ 2957511 w 4997675"/>
              <a:gd name="connsiteY631" fmla="*/ 2522137 h 4416208"/>
              <a:gd name="connsiteX632" fmla="*/ 2979151 w 4997675"/>
              <a:gd name="connsiteY632" fmla="*/ 2531229 h 4416208"/>
              <a:gd name="connsiteX633" fmla="*/ 3003349 w 4997675"/>
              <a:gd name="connsiteY633" fmla="*/ 2537812 h 4416208"/>
              <a:gd name="connsiteX634" fmla="*/ 3030237 w 4997675"/>
              <a:gd name="connsiteY634" fmla="*/ 2541815 h 4416208"/>
              <a:gd name="connsiteX635" fmla="*/ 3059949 w 4997675"/>
              <a:gd name="connsiteY635" fmla="*/ 2543165 h 4416208"/>
              <a:gd name="connsiteX636" fmla="*/ 3059949 w 4997675"/>
              <a:gd name="connsiteY636" fmla="*/ 2601697 h 4416208"/>
              <a:gd name="connsiteX637" fmla="*/ 3027592 w 4997675"/>
              <a:gd name="connsiteY637" fmla="*/ 2600555 h 4416208"/>
              <a:gd name="connsiteX638" fmla="*/ 2997679 w 4997675"/>
              <a:gd name="connsiteY638" fmla="*/ 2597162 h 4416208"/>
              <a:gd name="connsiteX639" fmla="*/ 2970125 w 4997675"/>
              <a:gd name="connsiteY639" fmla="*/ 2591568 h 4416208"/>
              <a:gd name="connsiteX640" fmla="*/ 2944845 w 4997675"/>
              <a:gd name="connsiteY640" fmla="*/ 2583822 h 4416208"/>
              <a:gd name="connsiteX641" fmla="*/ 2921752 w 4997675"/>
              <a:gd name="connsiteY641" fmla="*/ 2573976 h 4416208"/>
              <a:gd name="connsiteX642" fmla="*/ 2900765 w 4997675"/>
              <a:gd name="connsiteY642" fmla="*/ 2562078 h 4416208"/>
              <a:gd name="connsiteX643" fmla="*/ 2881797 w 4997675"/>
              <a:gd name="connsiteY643" fmla="*/ 2548180 h 4416208"/>
              <a:gd name="connsiteX644" fmla="*/ 2864763 w 4997675"/>
              <a:gd name="connsiteY644" fmla="*/ 2532329 h 4416208"/>
              <a:gd name="connsiteX645" fmla="*/ 2849579 w 4997675"/>
              <a:gd name="connsiteY645" fmla="*/ 2514578 h 4416208"/>
              <a:gd name="connsiteX646" fmla="*/ 2836160 w 4997675"/>
              <a:gd name="connsiteY646" fmla="*/ 2494976 h 4416208"/>
              <a:gd name="connsiteX647" fmla="*/ 2824422 w 4997675"/>
              <a:gd name="connsiteY647" fmla="*/ 2473571 h 4416208"/>
              <a:gd name="connsiteX648" fmla="*/ 2814279 w 4997675"/>
              <a:gd name="connsiteY648" fmla="*/ 2450416 h 4416208"/>
              <a:gd name="connsiteX649" fmla="*/ 2805647 w 4997675"/>
              <a:gd name="connsiteY649" fmla="*/ 2425558 h 4416208"/>
              <a:gd name="connsiteX650" fmla="*/ 2798440 w 4997675"/>
              <a:gd name="connsiteY650" fmla="*/ 2399050 h 4416208"/>
              <a:gd name="connsiteX651" fmla="*/ 2792576 w 4997675"/>
              <a:gd name="connsiteY651" fmla="*/ 2370939 h 4416208"/>
              <a:gd name="connsiteX652" fmla="*/ 2787967 w 4997675"/>
              <a:gd name="connsiteY652" fmla="*/ 2341278 h 4416208"/>
              <a:gd name="connsiteX653" fmla="*/ 2784531 w 4997675"/>
              <a:gd name="connsiteY653" fmla="*/ 2310114 h 4416208"/>
              <a:gd name="connsiteX654" fmla="*/ 2782181 w 4997675"/>
              <a:gd name="connsiteY654" fmla="*/ 2277499 h 4416208"/>
              <a:gd name="connsiteX655" fmla="*/ 2780833 w 4997675"/>
              <a:gd name="connsiteY655" fmla="*/ 2243481 h 4416208"/>
              <a:gd name="connsiteX656" fmla="*/ 2780403 w 4997675"/>
              <a:gd name="connsiteY656" fmla="*/ 2208113 h 4416208"/>
              <a:gd name="connsiteX657" fmla="*/ 2780847 w 4997675"/>
              <a:gd name="connsiteY657" fmla="*/ 2172895 h 4416208"/>
              <a:gd name="connsiteX658" fmla="*/ 2782235 w 4997675"/>
              <a:gd name="connsiteY658" fmla="*/ 2139029 h 4416208"/>
              <a:gd name="connsiteX659" fmla="*/ 2784647 w 4997675"/>
              <a:gd name="connsiteY659" fmla="*/ 2106562 h 4416208"/>
              <a:gd name="connsiteX660" fmla="*/ 2788161 w 4997675"/>
              <a:gd name="connsiteY660" fmla="*/ 2075545 h 4416208"/>
              <a:gd name="connsiteX661" fmla="*/ 2792860 w 4997675"/>
              <a:gd name="connsiteY661" fmla="*/ 2046027 h 4416208"/>
              <a:gd name="connsiteX662" fmla="*/ 2798822 w 4997675"/>
              <a:gd name="connsiteY662" fmla="*/ 2018057 h 4416208"/>
              <a:gd name="connsiteX663" fmla="*/ 2806129 w 4997675"/>
              <a:gd name="connsiteY663" fmla="*/ 1991684 h 4416208"/>
              <a:gd name="connsiteX664" fmla="*/ 2814860 w 4997675"/>
              <a:gd name="connsiteY664" fmla="*/ 1966956 h 4416208"/>
              <a:gd name="connsiteX665" fmla="*/ 2825096 w 4997675"/>
              <a:gd name="connsiteY665" fmla="*/ 1943925 h 4416208"/>
              <a:gd name="connsiteX666" fmla="*/ 2836917 w 4997675"/>
              <a:gd name="connsiteY666" fmla="*/ 1922638 h 4416208"/>
              <a:gd name="connsiteX667" fmla="*/ 2850403 w 4997675"/>
              <a:gd name="connsiteY667" fmla="*/ 1903144 h 4416208"/>
              <a:gd name="connsiteX668" fmla="*/ 2865635 w 4997675"/>
              <a:gd name="connsiteY668" fmla="*/ 1885494 h 4416208"/>
              <a:gd name="connsiteX669" fmla="*/ 2882692 w 4997675"/>
              <a:gd name="connsiteY669" fmla="*/ 1869736 h 4416208"/>
              <a:gd name="connsiteX670" fmla="*/ 2901655 w 4997675"/>
              <a:gd name="connsiteY670" fmla="*/ 1855920 h 4416208"/>
              <a:gd name="connsiteX671" fmla="*/ 2922604 w 4997675"/>
              <a:gd name="connsiteY671" fmla="*/ 1844094 h 4416208"/>
              <a:gd name="connsiteX672" fmla="*/ 2945620 w 4997675"/>
              <a:gd name="connsiteY672" fmla="*/ 1834308 h 4416208"/>
              <a:gd name="connsiteX673" fmla="*/ 2970781 w 4997675"/>
              <a:gd name="connsiteY673" fmla="*/ 1826611 h 4416208"/>
              <a:gd name="connsiteX674" fmla="*/ 2998170 w 4997675"/>
              <a:gd name="connsiteY674" fmla="*/ 1821052 h 4416208"/>
              <a:gd name="connsiteX675" fmla="*/ 3027866 w 4997675"/>
              <a:gd name="connsiteY675" fmla="*/ 1817681 h 4416208"/>
              <a:gd name="connsiteX676" fmla="*/ 536490 w 4997675"/>
              <a:gd name="connsiteY676" fmla="*/ 1816547 h 4416208"/>
              <a:gd name="connsiteX677" fmla="*/ 536490 w 4997675"/>
              <a:gd name="connsiteY677" fmla="*/ 1876089 h 4416208"/>
              <a:gd name="connsiteX678" fmla="*/ 506936 w 4997675"/>
              <a:gd name="connsiteY678" fmla="*/ 1877428 h 4416208"/>
              <a:gd name="connsiteX679" fmla="*/ 480166 w 4997675"/>
              <a:gd name="connsiteY679" fmla="*/ 1881399 h 4416208"/>
              <a:gd name="connsiteX680" fmla="*/ 456054 w 4997675"/>
              <a:gd name="connsiteY680" fmla="*/ 1887930 h 4416208"/>
              <a:gd name="connsiteX681" fmla="*/ 434468 w 4997675"/>
              <a:gd name="connsiteY681" fmla="*/ 1896949 h 4416208"/>
              <a:gd name="connsiteX682" fmla="*/ 398368 w 4997675"/>
              <a:gd name="connsiteY682" fmla="*/ 1922166 h 4416208"/>
              <a:gd name="connsiteX683" fmla="*/ 370840 w 4997675"/>
              <a:gd name="connsiteY683" fmla="*/ 1956479 h 4416208"/>
              <a:gd name="connsiteX684" fmla="*/ 359971 w 4997675"/>
              <a:gd name="connsiteY684" fmla="*/ 1976868 h 4416208"/>
              <a:gd name="connsiteX685" fmla="*/ 350861 w 4997675"/>
              <a:gd name="connsiteY685" fmla="*/ 1999316 h 4416208"/>
              <a:gd name="connsiteX686" fmla="*/ 343382 w 4997675"/>
              <a:gd name="connsiteY686" fmla="*/ 2023752 h 4416208"/>
              <a:gd name="connsiteX687" fmla="*/ 337404 w 4997675"/>
              <a:gd name="connsiteY687" fmla="*/ 2050104 h 4416208"/>
              <a:gd name="connsiteX688" fmla="*/ 332801 w 4997675"/>
              <a:gd name="connsiteY688" fmla="*/ 2078302 h 4416208"/>
              <a:gd name="connsiteX689" fmla="*/ 329444 w 4997675"/>
              <a:gd name="connsiteY689" fmla="*/ 2108273 h 4416208"/>
              <a:gd name="connsiteX690" fmla="*/ 327205 w 4997675"/>
              <a:gd name="connsiteY690" fmla="*/ 2139946 h 4416208"/>
              <a:gd name="connsiteX691" fmla="*/ 325955 w 4997675"/>
              <a:gd name="connsiteY691" fmla="*/ 2173250 h 4416208"/>
              <a:gd name="connsiteX692" fmla="*/ 325567 w 4997675"/>
              <a:gd name="connsiteY692" fmla="*/ 2208113 h 4416208"/>
              <a:gd name="connsiteX693" fmla="*/ 325946 w 4997675"/>
              <a:gd name="connsiteY693" fmla="*/ 2243321 h 4416208"/>
              <a:gd name="connsiteX694" fmla="*/ 327168 w 4997675"/>
              <a:gd name="connsiteY694" fmla="*/ 2276950 h 4416208"/>
              <a:gd name="connsiteX695" fmla="*/ 329367 w 4997675"/>
              <a:gd name="connsiteY695" fmla="*/ 2308927 h 4416208"/>
              <a:gd name="connsiteX696" fmla="*/ 332673 w 4997675"/>
              <a:gd name="connsiteY696" fmla="*/ 2339181 h 4416208"/>
              <a:gd name="connsiteX697" fmla="*/ 337220 w 4997675"/>
              <a:gd name="connsiteY697" fmla="*/ 2367640 h 4416208"/>
              <a:gd name="connsiteX698" fmla="*/ 343138 w 4997675"/>
              <a:gd name="connsiteY698" fmla="*/ 2394234 h 4416208"/>
              <a:gd name="connsiteX699" fmla="*/ 350560 w 4997675"/>
              <a:gd name="connsiteY699" fmla="*/ 2418890 h 4416208"/>
              <a:gd name="connsiteX700" fmla="*/ 359617 w 4997675"/>
              <a:gd name="connsiteY700" fmla="*/ 2441537 h 4416208"/>
              <a:gd name="connsiteX701" fmla="*/ 370442 w 4997675"/>
              <a:gd name="connsiteY701" fmla="*/ 2462104 h 4416208"/>
              <a:gd name="connsiteX702" fmla="*/ 397921 w 4997675"/>
              <a:gd name="connsiteY702" fmla="*/ 2496710 h 4416208"/>
              <a:gd name="connsiteX703" fmla="*/ 434052 w 4997675"/>
              <a:gd name="connsiteY703" fmla="*/ 2522137 h 4416208"/>
              <a:gd name="connsiteX704" fmla="*/ 455691 w 4997675"/>
              <a:gd name="connsiteY704" fmla="*/ 2531229 h 4416208"/>
              <a:gd name="connsiteX705" fmla="*/ 479890 w 4997675"/>
              <a:gd name="connsiteY705" fmla="*/ 2537812 h 4416208"/>
              <a:gd name="connsiteX706" fmla="*/ 506778 w 4997675"/>
              <a:gd name="connsiteY706" fmla="*/ 2541815 h 4416208"/>
              <a:gd name="connsiteX707" fmla="*/ 536490 w 4997675"/>
              <a:gd name="connsiteY707" fmla="*/ 2543165 h 4416208"/>
              <a:gd name="connsiteX708" fmla="*/ 536490 w 4997675"/>
              <a:gd name="connsiteY708" fmla="*/ 2601697 h 4416208"/>
              <a:gd name="connsiteX709" fmla="*/ 504134 w 4997675"/>
              <a:gd name="connsiteY709" fmla="*/ 2600555 h 4416208"/>
              <a:gd name="connsiteX710" fmla="*/ 474220 w 4997675"/>
              <a:gd name="connsiteY710" fmla="*/ 2597162 h 4416208"/>
              <a:gd name="connsiteX711" fmla="*/ 446666 w 4997675"/>
              <a:gd name="connsiteY711" fmla="*/ 2591568 h 4416208"/>
              <a:gd name="connsiteX712" fmla="*/ 421385 w 4997675"/>
              <a:gd name="connsiteY712" fmla="*/ 2583822 h 4416208"/>
              <a:gd name="connsiteX713" fmla="*/ 398293 w 4997675"/>
              <a:gd name="connsiteY713" fmla="*/ 2573976 h 4416208"/>
              <a:gd name="connsiteX714" fmla="*/ 377305 w 4997675"/>
              <a:gd name="connsiteY714" fmla="*/ 2562078 h 4416208"/>
              <a:gd name="connsiteX715" fmla="*/ 358337 w 4997675"/>
              <a:gd name="connsiteY715" fmla="*/ 2548180 h 4416208"/>
              <a:gd name="connsiteX716" fmla="*/ 341303 w 4997675"/>
              <a:gd name="connsiteY716" fmla="*/ 2532329 h 4416208"/>
              <a:gd name="connsiteX717" fmla="*/ 326119 w 4997675"/>
              <a:gd name="connsiteY717" fmla="*/ 2514578 h 4416208"/>
              <a:gd name="connsiteX718" fmla="*/ 312701 w 4997675"/>
              <a:gd name="connsiteY718" fmla="*/ 2494976 h 4416208"/>
              <a:gd name="connsiteX719" fmla="*/ 300962 w 4997675"/>
              <a:gd name="connsiteY719" fmla="*/ 2473571 h 4416208"/>
              <a:gd name="connsiteX720" fmla="*/ 290820 w 4997675"/>
              <a:gd name="connsiteY720" fmla="*/ 2450416 h 4416208"/>
              <a:gd name="connsiteX721" fmla="*/ 282187 w 4997675"/>
              <a:gd name="connsiteY721" fmla="*/ 2425558 h 4416208"/>
              <a:gd name="connsiteX722" fmla="*/ 274981 w 4997675"/>
              <a:gd name="connsiteY722" fmla="*/ 2399050 h 4416208"/>
              <a:gd name="connsiteX723" fmla="*/ 269116 w 4997675"/>
              <a:gd name="connsiteY723" fmla="*/ 2370939 h 4416208"/>
              <a:gd name="connsiteX724" fmla="*/ 264508 w 4997675"/>
              <a:gd name="connsiteY724" fmla="*/ 2341278 h 4416208"/>
              <a:gd name="connsiteX725" fmla="*/ 261071 w 4997675"/>
              <a:gd name="connsiteY725" fmla="*/ 2310114 h 4416208"/>
              <a:gd name="connsiteX726" fmla="*/ 258721 w 4997675"/>
              <a:gd name="connsiteY726" fmla="*/ 2277499 h 4416208"/>
              <a:gd name="connsiteX727" fmla="*/ 257373 w 4997675"/>
              <a:gd name="connsiteY727" fmla="*/ 2243481 h 4416208"/>
              <a:gd name="connsiteX728" fmla="*/ 256943 w 4997675"/>
              <a:gd name="connsiteY728" fmla="*/ 2208113 h 4416208"/>
              <a:gd name="connsiteX729" fmla="*/ 257387 w 4997675"/>
              <a:gd name="connsiteY729" fmla="*/ 2172895 h 4416208"/>
              <a:gd name="connsiteX730" fmla="*/ 258775 w 4997675"/>
              <a:gd name="connsiteY730" fmla="*/ 2139029 h 4416208"/>
              <a:gd name="connsiteX731" fmla="*/ 261187 w 4997675"/>
              <a:gd name="connsiteY731" fmla="*/ 2106562 h 4416208"/>
              <a:gd name="connsiteX732" fmla="*/ 264701 w 4997675"/>
              <a:gd name="connsiteY732" fmla="*/ 2075545 h 4416208"/>
              <a:gd name="connsiteX733" fmla="*/ 269400 w 4997675"/>
              <a:gd name="connsiteY733" fmla="*/ 2046027 h 4416208"/>
              <a:gd name="connsiteX734" fmla="*/ 275363 w 4997675"/>
              <a:gd name="connsiteY734" fmla="*/ 2018057 h 4416208"/>
              <a:gd name="connsiteX735" fmla="*/ 282669 w 4997675"/>
              <a:gd name="connsiteY735" fmla="*/ 1991684 h 4416208"/>
              <a:gd name="connsiteX736" fmla="*/ 291400 w 4997675"/>
              <a:gd name="connsiteY736" fmla="*/ 1966956 h 4416208"/>
              <a:gd name="connsiteX737" fmla="*/ 301637 w 4997675"/>
              <a:gd name="connsiteY737" fmla="*/ 1943925 h 4416208"/>
              <a:gd name="connsiteX738" fmla="*/ 313457 w 4997675"/>
              <a:gd name="connsiteY738" fmla="*/ 1922638 h 4416208"/>
              <a:gd name="connsiteX739" fmla="*/ 326943 w 4997675"/>
              <a:gd name="connsiteY739" fmla="*/ 1903144 h 4416208"/>
              <a:gd name="connsiteX740" fmla="*/ 342175 w 4997675"/>
              <a:gd name="connsiteY740" fmla="*/ 1885494 h 4416208"/>
              <a:gd name="connsiteX741" fmla="*/ 359233 w 4997675"/>
              <a:gd name="connsiteY741" fmla="*/ 1869736 h 4416208"/>
              <a:gd name="connsiteX742" fmla="*/ 378195 w 4997675"/>
              <a:gd name="connsiteY742" fmla="*/ 1855920 h 4416208"/>
              <a:gd name="connsiteX743" fmla="*/ 399144 w 4997675"/>
              <a:gd name="connsiteY743" fmla="*/ 1844094 h 4416208"/>
              <a:gd name="connsiteX744" fmla="*/ 422160 w 4997675"/>
              <a:gd name="connsiteY744" fmla="*/ 1834308 h 4416208"/>
              <a:gd name="connsiteX745" fmla="*/ 447322 w 4997675"/>
              <a:gd name="connsiteY745" fmla="*/ 1826611 h 4416208"/>
              <a:gd name="connsiteX746" fmla="*/ 474711 w 4997675"/>
              <a:gd name="connsiteY746" fmla="*/ 1821052 h 4416208"/>
              <a:gd name="connsiteX747" fmla="*/ 504406 w 4997675"/>
              <a:gd name="connsiteY747" fmla="*/ 1817681 h 4416208"/>
              <a:gd name="connsiteX748" fmla="*/ 4268609 w 4997675"/>
              <a:gd name="connsiteY748" fmla="*/ 1525902 h 4416208"/>
              <a:gd name="connsiteX749" fmla="*/ 4393749 w 4997675"/>
              <a:gd name="connsiteY749" fmla="*/ 1525902 h 4416208"/>
              <a:gd name="connsiteX750" fmla="*/ 4393749 w 4997675"/>
              <a:gd name="connsiteY750" fmla="*/ 1630858 h 4416208"/>
              <a:gd name="connsiteX751" fmla="*/ 4268609 w 4997675"/>
              <a:gd name="connsiteY751" fmla="*/ 1630858 h 4416208"/>
              <a:gd name="connsiteX752" fmla="*/ 1533315 w 4997675"/>
              <a:gd name="connsiteY752" fmla="*/ 1435069 h 4416208"/>
              <a:gd name="connsiteX753" fmla="*/ 2080296 w 4997675"/>
              <a:gd name="connsiteY753" fmla="*/ 1435069 h 4416208"/>
              <a:gd name="connsiteX754" fmla="*/ 2080296 w 4997675"/>
              <a:gd name="connsiteY754" fmla="*/ 1499658 h 4416208"/>
              <a:gd name="connsiteX755" fmla="*/ 1533315 w 4997675"/>
              <a:gd name="connsiteY755" fmla="*/ 1499658 h 4416208"/>
              <a:gd name="connsiteX756" fmla="*/ 619282 w 4997675"/>
              <a:gd name="connsiteY756" fmla="*/ 1435069 h 4416208"/>
              <a:gd name="connsiteX757" fmla="*/ 1166264 w 4997675"/>
              <a:gd name="connsiteY757" fmla="*/ 1435069 h 4416208"/>
              <a:gd name="connsiteX758" fmla="*/ 1166264 w 4997675"/>
              <a:gd name="connsiteY758" fmla="*/ 1499658 h 4416208"/>
              <a:gd name="connsiteX759" fmla="*/ 619282 w 4997675"/>
              <a:gd name="connsiteY759" fmla="*/ 1499658 h 4416208"/>
              <a:gd name="connsiteX760" fmla="*/ 1533315 w 4997675"/>
              <a:gd name="connsiteY760" fmla="*/ 1224150 h 4416208"/>
              <a:gd name="connsiteX761" fmla="*/ 2080296 w 4997675"/>
              <a:gd name="connsiteY761" fmla="*/ 1224150 h 4416208"/>
              <a:gd name="connsiteX762" fmla="*/ 2080296 w 4997675"/>
              <a:gd name="connsiteY762" fmla="*/ 1288738 h 4416208"/>
              <a:gd name="connsiteX763" fmla="*/ 1533315 w 4997675"/>
              <a:gd name="connsiteY763" fmla="*/ 1288738 h 4416208"/>
              <a:gd name="connsiteX764" fmla="*/ 619282 w 4997675"/>
              <a:gd name="connsiteY764" fmla="*/ 1224150 h 4416208"/>
              <a:gd name="connsiteX765" fmla="*/ 1166264 w 4997675"/>
              <a:gd name="connsiteY765" fmla="*/ 1224150 h 4416208"/>
              <a:gd name="connsiteX766" fmla="*/ 1166264 w 4997675"/>
              <a:gd name="connsiteY766" fmla="*/ 1288738 h 4416208"/>
              <a:gd name="connsiteX767" fmla="*/ 619282 w 4997675"/>
              <a:gd name="connsiteY767" fmla="*/ 1288738 h 4416208"/>
              <a:gd name="connsiteX768" fmla="*/ 3715174 w 4997675"/>
              <a:gd name="connsiteY768" fmla="*/ 912133 h 4416208"/>
              <a:gd name="connsiteX769" fmla="*/ 3941227 w 4997675"/>
              <a:gd name="connsiteY769" fmla="*/ 912133 h 4416208"/>
              <a:gd name="connsiteX770" fmla="*/ 3941227 w 4997675"/>
              <a:gd name="connsiteY770" fmla="*/ 969715 h 4416208"/>
              <a:gd name="connsiteX771" fmla="*/ 3784802 w 4997675"/>
              <a:gd name="connsiteY771" fmla="*/ 969715 h 4416208"/>
              <a:gd name="connsiteX772" fmla="*/ 3784802 w 4997675"/>
              <a:gd name="connsiteY772" fmla="*/ 1633831 h 4416208"/>
              <a:gd name="connsiteX773" fmla="*/ 3941227 w 4997675"/>
              <a:gd name="connsiteY773" fmla="*/ 1633831 h 4416208"/>
              <a:gd name="connsiteX774" fmla="*/ 3941227 w 4997675"/>
              <a:gd name="connsiteY774" fmla="*/ 1691413 h 4416208"/>
              <a:gd name="connsiteX775" fmla="*/ 3715174 w 4997675"/>
              <a:gd name="connsiteY775" fmla="*/ 1691413 h 4416208"/>
              <a:gd name="connsiteX776" fmla="*/ 3715174 w 4997675"/>
              <a:gd name="connsiteY776" fmla="*/ 1633831 h 4416208"/>
              <a:gd name="connsiteX777" fmla="*/ 3715174 w 4997675"/>
              <a:gd name="connsiteY777" fmla="*/ 969715 h 4416208"/>
              <a:gd name="connsiteX778" fmla="*/ 4718129 w 4997675"/>
              <a:gd name="connsiteY778" fmla="*/ 908277 h 4416208"/>
              <a:gd name="connsiteX779" fmla="*/ 4750212 w 4997675"/>
              <a:gd name="connsiteY779" fmla="*/ 909411 h 4416208"/>
              <a:gd name="connsiteX780" fmla="*/ 4779908 w 4997675"/>
              <a:gd name="connsiteY780" fmla="*/ 912783 h 4416208"/>
              <a:gd name="connsiteX781" fmla="*/ 4807296 w 4997675"/>
              <a:gd name="connsiteY781" fmla="*/ 918342 h 4416208"/>
              <a:gd name="connsiteX782" fmla="*/ 4832458 w 4997675"/>
              <a:gd name="connsiteY782" fmla="*/ 926039 h 4416208"/>
              <a:gd name="connsiteX783" fmla="*/ 4855474 w 4997675"/>
              <a:gd name="connsiteY783" fmla="*/ 935825 h 4416208"/>
              <a:gd name="connsiteX784" fmla="*/ 4876423 w 4997675"/>
              <a:gd name="connsiteY784" fmla="*/ 947650 h 4416208"/>
              <a:gd name="connsiteX785" fmla="*/ 4895385 w 4997675"/>
              <a:gd name="connsiteY785" fmla="*/ 961467 h 4416208"/>
              <a:gd name="connsiteX786" fmla="*/ 4912443 w 4997675"/>
              <a:gd name="connsiteY786" fmla="*/ 977224 h 4416208"/>
              <a:gd name="connsiteX787" fmla="*/ 4927674 w 4997675"/>
              <a:gd name="connsiteY787" fmla="*/ 994875 h 4416208"/>
              <a:gd name="connsiteX788" fmla="*/ 4941161 w 4997675"/>
              <a:gd name="connsiteY788" fmla="*/ 1014368 h 4416208"/>
              <a:gd name="connsiteX789" fmla="*/ 4952981 w 4997675"/>
              <a:gd name="connsiteY789" fmla="*/ 1035655 h 4416208"/>
              <a:gd name="connsiteX790" fmla="*/ 4963217 w 4997675"/>
              <a:gd name="connsiteY790" fmla="*/ 1058687 h 4416208"/>
              <a:gd name="connsiteX791" fmla="*/ 4971948 w 4997675"/>
              <a:gd name="connsiteY791" fmla="*/ 1083414 h 4416208"/>
              <a:gd name="connsiteX792" fmla="*/ 4979256 w 4997675"/>
              <a:gd name="connsiteY792" fmla="*/ 1109788 h 4416208"/>
              <a:gd name="connsiteX793" fmla="*/ 4985218 w 4997675"/>
              <a:gd name="connsiteY793" fmla="*/ 1137758 h 4416208"/>
              <a:gd name="connsiteX794" fmla="*/ 4989917 w 4997675"/>
              <a:gd name="connsiteY794" fmla="*/ 1167276 h 4416208"/>
              <a:gd name="connsiteX795" fmla="*/ 4993431 w 4997675"/>
              <a:gd name="connsiteY795" fmla="*/ 1198293 h 4416208"/>
              <a:gd name="connsiteX796" fmla="*/ 4995842 w 4997675"/>
              <a:gd name="connsiteY796" fmla="*/ 1230759 h 4416208"/>
              <a:gd name="connsiteX797" fmla="*/ 4997230 w 4997675"/>
              <a:gd name="connsiteY797" fmla="*/ 1264626 h 4416208"/>
              <a:gd name="connsiteX798" fmla="*/ 4997675 w 4997675"/>
              <a:gd name="connsiteY798" fmla="*/ 1299844 h 4416208"/>
              <a:gd name="connsiteX799" fmla="*/ 4997252 w 4997675"/>
              <a:gd name="connsiteY799" fmla="*/ 1335212 h 4416208"/>
              <a:gd name="connsiteX800" fmla="*/ 4995924 w 4997675"/>
              <a:gd name="connsiteY800" fmla="*/ 1369229 h 4416208"/>
              <a:gd name="connsiteX801" fmla="*/ 4993605 w 4997675"/>
              <a:gd name="connsiteY801" fmla="*/ 1401844 h 4416208"/>
              <a:gd name="connsiteX802" fmla="*/ 4990207 w 4997675"/>
              <a:gd name="connsiteY802" fmla="*/ 1433008 h 4416208"/>
              <a:gd name="connsiteX803" fmla="*/ 4985644 w 4997675"/>
              <a:gd name="connsiteY803" fmla="*/ 1462670 h 4416208"/>
              <a:gd name="connsiteX804" fmla="*/ 4979827 w 4997675"/>
              <a:gd name="connsiteY804" fmla="*/ 1490780 h 4416208"/>
              <a:gd name="connsiteX805" fmla="*/ 4972672 w 4997675"/>
              <a:gd name="connsiteY805" fmla="*/ 1517288 h 4416208"/>
              <a:gd name="connsiteX806" fmla="*/ 4964089 w 4997675"/>
              <a:gd name="connsiteY806" fmla="*/ 1542146 h 4416208"/>
              <a:gd name="connsiteX807" fmla="*/ 4953993 w 4997675"/>
              <a:gd name="connsiteY807" fmla="*/ 1565301 h 4416208"/>
              <a:gd name="connsiteX808" fmla="*/ 4942296 w 4997675"/>
              <a:gd name="connsiteY808" fmla="*/ 1586706 h 4416208"/>
              <a:gd name="connsiteX809" fmla="*/ 4928911 w 4997675"/>
              <a:gd name="connsiteY809" fmla="*/ 1606309 h 4416208"/>
              <a:gd name="connsiteX810" fmla="*/ 4913751 w 4997675"/>
              <a:gd name="connsiteY810" fmla="*/ 1624060 h 4416208"/>
              <a:gd name="connsiteX811" fmla="*/ 4896729 w 4997675"/>
              <a:gd name="connsiteY811" fmla="*/ 1639910 h 4416208"/>
              <a:gd name="connsiteX812" fmla="*/ 4877758 w 4997675"/>
              <a:gd name="connsiteY812" fmla="*/ 1653808 h 4416208"/>
              <a:gd name="connsiteX813" fmla="*/ 4856751 w 4997675"/>
              <a:gd name="connsiteY813" fmla="*/ 1665706 h 4416208"/>
              <a:gd name="connsiteX814" fmla="*/ 4833621 w 4997675"/>
              <a:gd name="connsiteY814" fmla="*/ 1675552 h 4416208"/>
              <a:gd name="connsiteX815" fmla="*/ 4808281 w 4997675"/>
              <a:gd name="connsiteY815" fmla="*/ 1683298 h 4416208"/>
              <a:gd name="connsiteX816" fmla="*/ 4780643 w 4997675"/>
              <a:gd name="connsiteY816" fmla="*/ 1688892 h 4416208"/>
              <a:gd name="connsiteX817" fmla="*/ 4750622 w 4997675"/>
              <a:gd name="connsiteY817" fmla="*/ 1692285 h 4416208"/>
              <a:gd name="connsiteX818" fmla="*/ 4718129 w 4997675"/>
              <a:gd name="connsiteY818" fmla="*/ 1693427 h 4416208"/>
              <a:gd name="connsiteX819" fmla="*/ 4718129 w 4997675"/>
              <a:gd name="connsiteY819" fmla="*/ 1634895 h 4416208"/>
              <a:gd name="connsiteX820" fmla="*/ 4748166 w 4997675"/>
              <a:gd name="connsiteY820" fmla="*/ 1633545 h 4416208"/>
              <a:gd name="connsiteX821" fmla="*/ 4775322 w 4997675"/>
              <a:gd name="connsiteY821" fmla="*/ 1629542 h 4416208"/>
              <a:gd name="connsiteX822" fmla="*/ 4799735 w 4997675"/>
              <a:gd name="connsiteY822" fmla="*/ 1622959 h 4416208"/>
              <a:gd name="connsiteX823" fmla="*/ 4821541 w 4997675"/>
              <a:gd name="connsiteY823" fmla="*/ 1613867 h 4416208"/>
              <a:gd name="connsiteX824" fmla="*/ 4857880 w 4997675"/>
              <a:gd name="connsiteY824" fmla="*/ 1588440 h 4416208"/>
              <a:gd name="connsiteX825" fmla="*/ 4885435 w 4997675"/>
              <a:gd name="connsiteY825" fmla="*/ 1553834 h 4416208"/>
              <a:gd name="connsiteX826" fmla="*/ 4896260 w 4997675"/>
              <a:gd name="connsiteY826" fmla="*/ 1533267 h 4416208"/>
              <a:gd name="connsiteX827" fmla="*/ 4905299 w 4997675"/>
              <a:gd name="connsiteY827" fmla="*/ 1510620 h 4416208"/>
              <a:gd name="connsiteX828" fmla="*/ 4912689 w 4997675"/>
              <a:gd name="connsiteY828" fmla="*/ 1485964 h 4416208"/>
              <a:gd name="connsiteX829" fmla="*/ 4918567 w 4997675"/>
              <a:gd name="connsiteY829" fmla="*/ 1459370 h 4416208"/>
              <a:gd name="connsiteX830" fmla="*/ 4923069 w 4997675"/>
              <a:gd name="connsiteY830" fmla="*/ 1430911 h 4416208"/>
              <a:gd name="connsiteX831" fmla="*/ 4926332 w 4997675"/>
              <a:gd name="connsiteY831" fmla="*/ 1400657 h 4416208"/>
              <a:gd name="connsiteX832" fmla="*/ 4928494 w 4997675"/>
              <a:gd name="connsiteY832" fmla="*/ 1368679 h 4416208"/>
              <a:gd name="connsiteX833" fmla="*/ 4929691 w 4997675"/>
              <a:gd name="connsiteY833" fmla="*/ 1335051 h 4416208"/>
              <a:gd name="connsiteX834" fmla="*/ 4930059 w 4997675"/>
              <a:gd name="connsiteY834" fmla="*/ 1299844 h 4416208"/>
              <a:gd name="connsiteX835" fmla="*/ 4929671 w 4997675"/>
              <a:gd name="connsiteY835" fmla="*/ 1264981 h 4416208"/>
              <a:gd name="connsiteX836" fmla="*/ 4928420 w 4997675"/>
              <a:gd name="connsiteY836" fmla="*/ 1231677 h 4416208"/>
              <a:gd name="connsiteX837" fmla="*/ 4926177 w 4997675"/>
              <a:gd name="connsiteY837" fmla="*/ 1200004 h 4416208"/>
              <a:gd name="connsiteX838" fmla="*/ 4922812 w 4997675"/>
              <a:gd name="connsiteY838" fmla="*/ 1170033 h 4416208"/>
              <a:gd name="connsiteX839" fmla="*/ 4918197 w 4997675"/>
              <a:gd name="connsiteY839" fmla="*/ 1141835 h 4416208"/>
              <a:gd name="connsiteX840" fmla="*/ 4912201 w 4997675"/>
              <a:gd name="connsiteY840" fmla="*/ 1115482 h 4416208"/>
              <a:gd name="connsiteX841" fmla="*/ 4904695 w 4997675"/>
              <a:gd name="connsiteY841" fmla="*/ 1091047 h 4416208"/>
              <a:gd name="connsiteX842" fmla="*/ 4895550 w 4997675"/>
              <a:gd name="connsiteY842" fmla="*/ 1068599 h 4416208"/>
              <a:gd name="connsiteX843" fmla="*/ 4884636 w 4997675"/>
              <a:gd name="connsiteY843" fmla="*/ 1048210 h 4416208"/>
              <a:gd name="connsiteX844" fmla="*/ 4856986 w 4997675"/>
              <a:gd name="connsiteY844" fmla="*/ 1013897 h 4416208"/>
              <a:gd name="connsiteX845" fmla="*/ 4820708 w 4997675"/>
              <a:gd name="connsiteY845" fmla="*/ 988680 h 4416208"/>
              <a:gd name="connsiteX846" fmla="*/ 4799010 w 4997675"/>
              <a:gd name="connsiteY846" fmla="*/ 979661 h 4416208"/>
              <a:gd name="connsiteX847" fmla="*/ 4774767 w 4997675"/>
              <a:gd name="connsiteY847" fmla="*/ 973129 h 4416208"/>
              <a:gd name="connsiteX848" fmla="*/ 4747850 w 4997675"/>
              <a:gd name="connsiteY848" fmla="*/ 969159 h 4416208"/>
              <a:gd name="connsiteX849" fmla="*/ 4718129 w 4997675"/>
              <a:gd name="connsiteY849" fmla="*/ 967819 h 4416208"/>
              <a:gd name="connsiteX850" fmla="*/ 3042401 w 4997675"/>
              <a:gd name="connsiteY850" fmla="*/ 908277 h 4416208"/>
              <a:gd name="connsiteX851" fmla="*/ 3074484 w 4997675"/>
              <a:gd name="connsiteY851" fmla="*/ 909411 h 4416208"/>
              <a:gd name="connsiteX852" fmla="*/ 3104180 w 4997675"/>
              <a:gd name="connsiteY852" fmla="*/ 912783 h 4416208"/>
              <a:gd name="connsiteX853" fmla="*/ 3131569 w 4997675"/>
              <a:gd name="connsiteY853" fmla="*/ 918342 h 4416208"/>
              <a:gd name="connsiteX854" fmla="*/ 3156731 w 4997675"/>
              <a:gd name="connsiteY854" fmla="*/ 926039 h 4416208"/>
              <a:gd name="connsiteX855" fmla="*/ 3179747 w 4997675"/>
              <a:gd name="connsiteY855" fmla="*/ 935825 h 4416208"/>
              <a:gd name="connsiteX856" fmla="*/ 3200696 w 4997675"/>
              <a:gd name="connsiteY856" fmla="*/ 947650 h 4416208"/>
              <a:gd name="connsiteX857" fmla="*/ 3219658 w 4997675"/>
              <a:gd name="connsiteY857" fmla="*/ 961467 h 4416208"/>
              <a:gd name="connsiteX858" fmla="*/ 3236715 w 4997675"/>
              <a:gd name="connsiteY858" fmla="*/ 977224 h 4416208"/>
              <a:gd name="connsiteX859" fmla="*/ 3251947 w 4997675"/>
              <a:gd name="connsiteY859" fmla="*/ 994875 h 4416208"/>
              <a:gd name="connsiteX860" fmla="*/ 3265433 w 4997675"/>
              <a:gd name="connsiteY860" fmla="*/ 1014368 h 4416208"/>
              <a:gd name="connsiteX861" fmla="*/ 3277254 w 4997675"/>
              <a:gd name="connsiteY861" fmla="*/ 1035655 h 4416208"/>
              <a:gd name="connsiteX862" fmla="*/ 3287490 w 4997675"/>
              <a:gd name="connsiteY862" fmla="*/ 1058687 h 4416208"/>
              <a:gd name="connsiteX863" fmla="*/ 3296221 w 4997675"/>
              <a:gd name="connsiteY863" fmla="*/ 1083414 h 4416208"/>
              <a:gd name="connsiteX864" fmla="*/ 3303528 w 4997675"/>
              <a:gd name="connsiteY864" fmla="*/ 1109788 h 4416208"/>
              <a:gd name="connsiteX865" fmla="*/ 3309491 w 4997675"/>
              <a:gd name="connsiteY865" fmla="*/ 1137758 h 4416208"/>
              <a:gd name="connsiteX866" fmla="*/ 3314189 w 4997675"/>
              <a:gd name="connsiteY866" fmla="*/ 1167276 h 4416208"/>
              <a:gd name="connsiteX867" fmla="*/ 3317704 w 4997675"/>
              <a:gd name="connsiteY867" fmla="*/ 1198293 h 4416208"/>
              <a:gd name="connsiteX868" fmla="*/ 3320115 w 4997675"/>
              <a:gd name="connsiteY868" fmla="*/ 1230759 h 4416208"/>
              <a:gd name="connsiteX869" fmla="*/ 3321503 w 4997675"/>
              <a:gd name="connsiteY869" fmla="*/ 1264626 h 4416208"/>
              <a:gd name="connsiteX870" fmla="*/ 3321948 w 4997675"/>
              <a:gd name="connsiteY870" fmla="*/ 1299844 h 4416208"/>
              <a:gd name="connsiteX871" fmla="*/ 3321525 w 4997675"/>
              <a:gd name="connsiteY871" fmla="*/ 1335212 h 4416208"/>
              <a:gd name="connsiteX872" fmla="*/ 3320197 w 4997675"/>
              <a:gd name="connsiteY872" fmla="*/ 1369229 h 4416208"/>
              <a:gd name="connsiteX873" fmla="*/ 3317878 w 4997675"/>
              <a:gd name="connsiteY873" fmla="*/ 1401844 h 4416208"/>
              <a:gd name="connsiteX874" fmla="*/ 3314480 w 4997675"/>
              <a:gd name="connsiteY874" fmla="*/ 1433008 h 4416208"/>
              <a:gd name="connsiteX875" fmla="*/ 3309916 w 4997675"/>
              <a:gd name="connsiteY875" fmla="*/ 1462670 h 4416208"/>
              <a:gd name="connsiteX876" fmla="*/ 3304100 w 4997675"/>
              <a:gd name="connsiteY876" fmla="*/ 1490780 h 4416208"/>
              <a:gd name="connsiteX877" fmla="*/ 3296944 w 4997675"/>
              <a:gd name="connsiteY877" fmla="*/ 1517288 h 4416208"/>
              <a:gd name="connsiteX878" fmla="*/ 3288362 w 4997675"/>
              <a:gd name="connsiteY878" fmla="*/ 1542146 h 4416208"/>
              <a:gd name="connsiteX879" fmla="*/ 3278266 w 4997675"/>
              <a:gd name="connsiteY879" fmla="*/ 1565301 h 4416208"/>
              <a:gd name="connsiteX880" fmla="*/ 3266569 w 4997675"/>
              <a:gd name="connsiteY880" fmla="*/ 1586706 h 4416208"/>
              <a:gd name="connsiteX881" fmla="*/ 3253184 w 4997675"/>
              <a:gd name="connsiteY881" fmla="*/ 1606309 h 4416208"/>
              <a:gd name="connsiteX882" fmla="*/ 3238024 w 4997675"/>
              <a:gd name="connsiteY882" fmla="*/ 1624060 h 4416208"/>
              <a:gd name="connsiteX883" fmla="*/ 3221002 w 4997675"/>
              <a:gd name="connsiteY883" fmla="*/ 1639910 h 4416208"/>
              <a:gd name="connsiteX884" fmla="*/ 3202030 w 4997675"/>
              <a:gd name="connsiteY884" fmla="*/ 1653808 h 4416208"/>
              <a:gd name="connsiteX885" fmla="*/ 3181024 w 4997675"/>
              <a:gd name="connsiteY885" fmla="*/ 1665706 h 4416208"/>
              <a:gd name="connsiteX886" fmla="*/ 3157894 w 4997675"/>
              <a:gd name="connsiteY886" fmla="*/ 1675552 h 4416208"/>
              <a:gd name="connsiteX887" fmla="*/ 3132553 w 4997675"/>
              <a:gd name="connsiteY887" fmla="*/ 1683298 h 4416208"/>
              <a:gd name="connsiteX888" fmla="*/ 3104916 w 4997675"/>
              <a:gd name="connsiteY888" fmla="*/ 1688892 h 4416208"/>
              <a:gd name="connsiteX889" fmla="*/ 3074894 w 4997675"/>
              <a:gd name="connsiteY889" fmla="*/ 1692285 h 4416208"/>
              <a:gd name="connsiteX890" fmla="*/ 3042401 w 4997675"/>
              <a:gd name="connsiteY890" fmla="*/ 1693427 h 4416208"/>
              <a:gd name="connsiteX891" fmla="*/ 3042401 w 4997675"/>
              <a:gd name="connsiteY891" fmla="*/ 1634895 h 4416208"/>
              <a:gd name="connsiteX892" fmla="*/ 3072438 w 4997675"/>
              <a:gd name="connsiteY892" fmla="*/ 1633545 h 4416208"/>
              <a:gd name="connsiteX893" fmla="*/ 3099594 w 4997675"/>
              <a:gd name="connsiteY893" fmla="*/ 1629542 h 4416208"/>
              <a:gd name="connsiteX894" fmla="*/ 3124008 w 4997675"/>
              <a:gd name="connsiteY894" fmla="*/ 1622959 h 4416208"/>
              <a:gd name="connsiteX895" fmla="*/ 3145814 w 4997675"/>
              <a:gd name="connsiteY895" fmla="*/ 1613867 h 4416208"/>
              <a:gd name="connsiteX896" fmla="*/ 3182153 w 4997675"/>
              <a:gd name="connsiteY896" fmla="*/ 1588440 h 4416208"/>
              <a:gd name="connsiteX897" fmla="*/ 3209708 w 4997675"/>
              <a:gd name="connsiteY897" fmla="*/ 1553834 h 4416208"/>
              <a:gd name="connsiteX898" fmla="*/ 3220532 w 4997675"/>
              <a:gd name="connsiteY898" fmla="*/ 1533267 h 4416208"/>
              <a:gd name="connsiteX899" fmla="*/ 3229571 w 4997675"/>
              <a:gd name="connsiteY899" fmla="*/ 1510620 h 4416208"/>
              <a:gd name="connsiteX900" fmla="*/ 3236961 w 4997675"/>
              <a:gd name="connsiteY900" fmla="*/ 1485964 h 4416208"/>
              <a:gd name="connsiteX901" fmla="*/ 3242839 w 4997675"/>
              <a:gd name="connsiteY901" fmla="*/ 1459370 h 4416208"/>
              <a:gd name="connsiteX902" fmla="*/ 3247341 w 4997675"/>
              <a:gd name="connsiteY902" fmla="*/ 1430911 h 4416208"/>
              <a:gd name="connsiteX903" fmla="*/ 3250605 w 4997675"/>
              <a:gd name="connsiteY903" fmla="*/ 1400657 h 4416208"/>
              <a:gd name="connsiteX904" fmla="*/ 3252767 w 4997675"/>
              <a:gd name="connsiteY904" fmla="*/ 1368679 h 4416208"/>
              <a:gd name="connsiteX905" fmla="*/ 3253963 w 4997675"/>
              <a:gd name="connsiteY905" fmla="*/ 1335051 h 4416208"/>
              <a:gd name="connsiteX906" fmla="*/ 3254332 w 4997675"/>
              <a:gd name="connsiteY906" fmla="*/ 1299844 h 4416208"/>
              <a:gd name="connsiteX907" fmla="*/ 3253944 w 4997675"/>
              <a:gd name="connsiteY907" fmla="*/ 1264981 h 4416208"/>
              <a:gd name="connsiteX908" fmla="*/ 3252693 w 4997675"/>
              <a:gd name="connsiteY908" fmla="*/ 1231677 h 4416208"/>
              <a:gd name="connsiteX909" fmla="*/ 3250450 w 4997675"/>
              <a:gd name="connsiteY909" fmla="*/ 1200004 h 4416208"/>
              <a:gd name="connsiteX910" fmla="*/ 3247085 w 4997675"/>
              <a:gd name="connsiteY910" fmla="*/ 1170033 h 4416208"/>
              <a:gd name="connsiteX911" fmla="*/ 3242469 w 4997675"/>
              <a:gd name="connsiteY911" fmla="*/ 1141835 h 4416208"/>
              <a:gd name="connsiteX912" fmla="*/ 3236473 w 4997675"/>
              <a:gd name="connsiteY912" fmla="*/ 1115482 h 4416208"/>
              <a:gd name="connsiteX913" fmla="*/ 3228968 w 4997675"/>
              <a:gd name="connsiteY913" fmla="*/ 1091047 h 4416208"/>
              <a:gd name="connsiteX914" fmla="*/ 3219823 w 4997675"/>
              <a:gd name="connsiteY914" fmla="*/ 1068599 h 4416208"/>
              <a:gd name="connsiteX915" fmla="*/ 3208909 w 4997675"/>
              <a:gd name="connsiteY915" fmla="*/ 1048210 h 4416208"/>
              <a:gd name="connsiteX916" fmla="*/ 3181259 w 4997675"/>
              <a:gd name="connsiteY916" fmla="*/ 1013897 h 4416208"/>
              <a:gd name="connsiteX917" fmla="*/ 3144981 w 4997675"/>
              <a:gd name="connsiteY917" fmla="*/ 988680 h 4416208"/>
              <a:gd name="connsiteX918" fmla="*/ 3123283 w 4997675"/>
              <a:gd name="connsiteY918" fmla="*/ 979661 h 4416208"/>
              <a:gd name="connsiteX919" fmla="*/ 3099039 w 4997675"/>
              <a:gd name="connsiteY919" fmla="*/ 973129 h 4416208"/>
              <a:gd name="connsiteX920" fmla="*/ 3072122 w 4997675"/>
              <a:gd name="connsiteY920" fmla="*/ 969159 h 4416208"/>
              <a:gd name="connsiteX921" fmla="*/ 3042401 w 4997675"/>
              <a:gd name="connsiteY921" fmla="*/ 967819 h 4416208"/>
              <a:gd name="connsiteX922" fmla="*/ 2729915 w 4997675"/>
              <a:gd name="connsiteY922" fmla="*/ 908277 h 4416208"/>
              <a:gd name="connsiteX923" fmla="*/ 2729915 w 4997675"/>
              <a:gd name="connsiteY923" fmla="*/ 967819 h 4416208"/>
              <a:gd name="connsiteX924" fmla="*/ 2700362 w 4997675"/>
              <a:gd name="connsiteY924" fmla="*/ 969159 h 4416208"/>
              <a:gd name="connsiteX925" fmla="*/ 2673592 w 4997675"/>
              <a:gd name="connsiteY925" fmla="*/ 973129 h 4416208"/>
              <a:gd name="connsiteX926" fmla="*/ 2649480 w 4997675"/>
              <a:gd name="connsiteY926" fmla="*/ 979661 h 4416208"/>
              <a:gd name="connsiteX927" fmla="*/ 2627894 w 4997675"/>
              <a:gd name="connsiteY927" fmla="*/ 988680 h 4416208"/>
              <a:gd name="connsiteX928" fmla="*/ 2591794 w 4997675"/>
              <a:gd name="connsiteY928" fmla="*/ 1013897 h 4416208"/>
              <a:gd name="connsiteX929" fmla="*/ 2564267 w 4997675"/>
              <a:gd name="connsiteY929" fmla="*/ 1048210 h 4416208"/>
              <a:gd name="connsiteX930" fmla="*/ 2553398 w 4997675"/>
              <a:gd name="connsiteY930" fmla="*/ 1068599 h 4416208"/>
              <a:gd name="connsiteX931" fmla="*/ 2544287 w 4997675"/>
              <a:gd name="connsiteY931" fmla="*/ 1091047 h 4416208"/>
              <a:gd name="connsiteX932" fmla="*/ 2536808 w 4997675"/>
              <a:gd name="connsiteY932" fmla="*/ 1115482 h 4416208"/>
              <a:gd name="connsiteX933" fmla="*/ 2530830 w 4997675"/>
              <a:gd name="connsiteY933" fmla="*/ 1141835 h 4416208"/>
              <a:gd name="connsiteX934" fmla="*/ 2526227 w 4997675"/>
              <a:gd name="connsiteY934" fmla="*/ 1170033 h 4416208"/>
              <a:gd name="connsiteX935" fmla="*/ 2522870 w 4997675"/>
              <a:gd name="connsiteY935" fmla="*/ 1200004 h 4416208"/>
              <a:gd name="connsiteX936" fmla="*/ 2520631 w 4997675"/>
              <a:gd name="connsiteY936" fmla="*/ 1231677 h 4416208"/>
              <a:gd name="connsiteX937" fmla="*/ 2519381 w 4997675"/>
              <a:gd name="connsiteY937" fmla="*/ 1264981 h 4416208"/>
              <a:gd name="connsiteX938" fmla="*/ 2518993 w 4997675"/>
              <a:gd name="connsiteY938" fmla="*/ 1299844 h 4416208"/>
              <a:gd name="connsiteX939" fmla="*/ 2519371 w 4997675"/>
              <a:gd name="connsiteY939" fmla="*/ 1335051 h 4416208"/>
              <a:gd name="connsiteX940" fmla="*/ 2520594 w 4997675"/>
              <a:gd name="connsiteY940" fmla="*/ 1368679 h 4416208"/>
              <a:gd name="connsiteX941" fmla="*/ 2522793 w 4997675"/>
              <a:gd name="connsiteY941" fmla="*/ 1400657 h 4416208"/>
              <a:gd name="connsiteX942" fmla="*/ 2526099 w 4997675"/>
              <a:gd name="connsiteY942" fmla="*/ 1430911 h 4416208"/>
              <a:gd name="connsiteX943" fmla="*/ 2530646 w 4997675"/>
              <a:gd name="connsiteY943" fmla="*/ 1459370 h 4416208"/>
              <a:gd name="connsiteX944" fmla="*/ 2536564 w 4997675"/>
              <a:gd name="connsiteY944" fmla="*/ 1485964 h 4416208"/>
              <a:gd name="connsiteX945" fmla="*/ 2543986 w 4997675"/>
              <a:gd name="connsiteY945" fmla="*/ 1510620 h 4416208"/>
              <a:gd name="connsiteX946" fmla="*/ 2553043 w 4997675"/>
              <a:gd name="connsiteY946" fmla="*/ 1533267 h 4416208"/>
              <a:gd name="connsiteX947" fmla="*/ 2563868 w 4997675"/>
              <a:gd name="connsiteY947" fmla="*/ 1553834 h 4416208"/>
              <a:gd name="connsiteX948" fmla="*/ 2591347 w 4997675"/>
              <a:gd name="connsiteY948" fmla="*/ 1588440 h 4416208"/>
              <a:gd name="connsiteX949" fmla="*/ 2627477 w 4997675"/>
              <a:gd name="connsiteY949" fmla="*/ 1613867 h 4416208"/>
              <a:gd name="connsiteX950" fmla="*/ 2649117 w 4997675"/>
              <a:gd name="connsiteY950" fmla="*/ 1622959 h 4416208"/>
              <a:gd name="connsiteX951" fmla="*/ 2673315 w 4997675"/>
              <a:gd name="connsiteY951" fmla="*/ 1629542 h 4416208"/>
              <a:gd name="connsiteX952" fmla="*/ 2700204 w 4997675"/>
              <a:gd name="connsiteY952" fmla="*/ 1633545 h 4416208"/>
              <a:gd name="connsiteX953" fmla="*/ 2729915 w 4997675"/>
              <a:gd name="connsiteY953" fmla="*/ 1634895 h 4416208"/>
              <a:gd name="connsiteX954" fmla="*/ 2729915 w 4997675"/>
              <a:gd name="connsiteY954" fmla="*/ 1693427 h 4416208"/>
              <a:gd name="connsiteX955" fmla="*/ 2697559 w 4997675"/>
              <a:gd name="connsiteY955" fmla="*/ 1692285 h 4416208"/>
              <a:gd name="connsiteX956" fmla="*/ 2667646 w 4997675"/>
              <a:gd name="connsiteY956" fmla="*/ 1688892 h 4416208"/>
              <a:gd name="connsiteX957" fmla="*/ 2640091 w 4997675"/>
              <a:gd name="connsiteY957" fmla="*/ 1683298 h 4416208"/>
              <a:gd name="connsiteX958" fmla="*/ 2614811 w 4997675"/>
              <a:gd name="connsiteY958" fmla="*/ 1675552 h 4416208"/>
              <a:gd name="connsiteX959" fmla="*/ 2591719 w 4997675"/>
              <a:gd name="connsiteY959" fmla="*/ 1665706 h 4416208"/>
              <a:gd name="connsiteX960" fmla="*/ 2570731 w 4997675"/>
              <a:gd name="connsiteY960" fmla="*/ 1653808 h 4416208"/>
              <a:gd name="connsiteX961" fmla="*/ 2551763 w 4997675"/>
              <a:gd name="connsiteY961" fmla="*/ 1639910 h 4416208"/>
              <a:gd name="connsiteX962" fmla="*/ 2534729 w 4997675"/>
              <a:gd name="connsiteY962" fmla="*/ 1624060 h 4416208"/>
              <a:gd name="connsiteX963" fmla="*/ 2519545 w 4997675"/>
              <a:gd name="connsiteY963" fmla="*/ 1606309 h 4416208"/>
              <a:gd name="connsiteX964" fmla="*/ 2506126 w 4997675"/>
              <a:gd name="connsiteY964" fmla="*/ 1586706 h 4416208"/>
              <a:gd name="connsiteX965" fmla="*/ 2494388 w 4997675"/>
              <a:gd name="connsiteY965" fmla="*/ 1565301 h 4416208"/>
              <a:gd name="connsiteX966" fmla="*/ 2484245 w 4997675"/>
              <a:gd name="connsiteY966" fmla="*/ 1542146 h 4416208"/>
              <a:gd name="connsiteX967" fmla="*/ 2475612 w 4997675"/>
              <a:gd name="connsiteY967" fmla="*/ 1517288 h 4416208"/>
              <a:gd name="connsiteX968" fmla="*/ 2468406 w 4997675"/>
              <a:gd name="connsiteY968" fmla="*/ 1490780 h 4416208"/>
              <a:gd name="connsiteX969" fmla="*/ 2462542 w 4997675"/>
              <a:gd name="connsiteY969" fmla="*/ 1462670 h 4416208"/>
              <a:gd name="connsiteX970" fmla="*/ 2457933 w 4997675"/>
              <a:gd name="connsiteY970" fmla="*/ 1433008 h 4416208"/>
              <a:gd name="connsiteX971" fmla="*/ 2454497 w 4997675"/>
              <a:gd name="connsiteY971" fmla="*/ 1401844 h 4416208"/>
              <a:gd name="connsiteX972" fmla="*/ 2452147 w 4997675"/>
              <a:gd name="connsiteY972" fmla="*/ 1369229 h 4416208"/>
              <a:gd name="connsiteX973" fmla="*/ 2450799 w 4997675"/>
              <a:gd name="connsiteY973" fmla="*/ 1335212 h 4416208"/>
              <a:gd name="connsiteX974" fmla="*/ 2450369 w 4997675"/>
              <a:gd name="connsiteY974" fmla="*/ 1299844 h 4416208"/>
              <a:gd name="connsiteX975" fmla="*/ 2450813 w 4997675"/>
              <a:gd name="connsiteY975" fmla="*/ 1264626 h 4416208"/>
              <a:gd name="connsiteX976" fmla="*/ 2452201 w 4997675"/>
              <a:gd name="connsiteY976" fmla="*/ 1230759 h 4416208"/>
              <a:gd name="connsiteX977" fmla="*/ 2454613 w 4997675"/>
              <a:gd name="connsiteY977" fmla="*/ 1198293 h 4416208"/>
              <a:gd name="connsiteX978" fmla="*/ 2458127 w 4997675"/>
              <a:gd name="connsiteY978" fmla="*/ 1167276 h 4416208"/>
              <a:gd name="connsiteX979" fmla="*/ 2462826 w 4997675"/>
              <a:gd name="connsiteY979" fmla="*/ 1137758 h 4416208"/>
              <a:gd name="connsiteX980" fmla="*/ 2468788 w 4997675"/>
              <a:gd name="connsiteY980" fmla="*/ 1109788 h 4416208"/>
              <a:gd name="connsiteX981" fmla="*/ 2476095 w 4997675"/>
              <a:gd name="connsiteY981" fmla="*/ 1083414 h 4416208"/>
              <a:gd name="connsiteX982" fmla="*/ 2484826 w 4997675"/>
              <a:gd name="connsiteY982" fmla="*/ 1058687 h 4416208"/>
              <a:gd name="connsiteX983" fmla="*/ 2495062 w 4997675"/>
              <a:gd name="connsiteY983" fmla="*/ 1035655 h 4416208"/>
              <a:gd name="connsiteX984" fmla="*/ 2506883 w 4997675"/>
              <a:gd name="connsiteY984" fmla="*/ 1014368 h 4416208"/>
              <a:gd name="connsiteX985" fmla="*/ 2520369 w 4997675"/>
              <a:gd name="connsiteY985" fmla="*/ 994875 h 4416208"/>
              <a:gd name="connsiteX986" fmla="*/ 2535601 w 4997675"/>
              <a:gd name="connsiteY986" fmla="*/ 977224 h 4416208"/>
              <a:gd name="connsiteX987" fmla="*/ 2552659 w 4997675"/>
              <a:gd name="connsiteY987" fmla="*/ 961467 h 4416208"/>
              <a:gd name="connsiteX988" fmla="*/ 2571621 w 4997675"/>
              <a:gd name="connsiteY988" fmla="*/ 947650 h 4416208"/>
              <a:gd name="connsiteX989" fmla="*/ 2592570 w 4997675"/>
              <a:gd name="connsiteY989" fmla="*/ 935825 h 4416208"/>
              <a:gd name="connsiteX990" fmla="*/ 2615586 w 4997675"/>
              <a:gd name="connsiteY990" fmla="*/ 926039 h 4416208"/>
              <a:gd name="connsiteX991" fmla="*/ 2640748 w 4997675"/>
              <a:gd name="connsiteY991" fmla="*/ 918342 h 4416208"/>
              <a:gd name="connsiteX992" fmla="*/ 2668136 w 4997675"/>
              <a:gd name="connsiteY992" fmla="*/ 912783 h 4416208"/>
              <a:gd name="connsiteX993" fmla="*/ 2697832 w 4997675"/>
              <a:gd name="connsiteY993" fmla="*/ 909411 h 4416208"/>
              <a:gd name="connsiteX994" fmla="*/ 279546 w 4997675"/>
              <a:gd name="connsiteY994" fmla="*/ 908277 h 4416208"/>
              <a:gd name="connsiteX995" fmla="*/ 279546 w 4997675"/>
              <a:gd name="connsiteY995" fmla="*/ 967819 h 4416208"/>
              <a:gd name="connsiteX996" fmla="*/ 249993 w 4997675"/>
              <a:gd name="connsiteY996" fmla="*/ 969159 h 4416208"/>
              <a:gd name="connsiteX997" fmla="*/ 223224 w 4997675"/>
              <a:gd name="connsiteY997" fmla="*/ 973129 h 4416208"/>
              <a:gd name="connsiteX998" fmla="*/ 199110 w 4997675"/>
              <a:gd name="connsiteY998" fmla="*/ 979661 h 4416208"/>
              <a:gd name="connsiteX999" fmla="*/ 177525 w 4997675"/>
              <a:gd name="connsiteY999" fmla="*/ 988680 h 4416208"/>
              <a:gd name="connsiteX1000" fmla="*/ 141425 w 4997675"/>
              <a:gd name="connsiteY1000" fmla="*/ 1013897 h 4416208"/>
              <a:gd name="connsiteX1001" fmla="*/ 113898 w 4997675"/>
              <a:gd name="connsiteY1001" fmla="*/ 1048210 h 4416208"/>
              <a:gd name="connsiteX1002" fmla="*/ 103029 w 4997675"/>
              <a:gd name="connsiteY1002" fmla="*/ 1068599 h 4416208"/>
              <a:gd name="connsiteX1003" fmla="*/ 93919 w 4997675"/>
              <a:gd name="connsiteY1003" fmla="*/ 1091047 h 4416208"/>
              <a:gd name="connsiteX1004" fmla="*/ 86439 w 4997675"/>
              <a:gd name="connsiteY1004" fmla="*/ 1115482 h 4416208"/>
              <a:gd name="connsiteX1005" fmla="*/ 80462 w 4997675"/>
              <a:gd name="connsiteY1005" fmla="*/ 1141835 h 4416208"/>
              <a:gd name="connsiteX1006" fmla="*/ 75859 w 4997675"/>
              <a:gd name="connsiteY1006" fmla="*/ 1170033 h 4416208"/>
              <a:gd name="connsiteX1007" fmla="*/ 72502 w 4997675"/>
              <a:gd name="connsiteY1007" fmla="*/ 1200004 h 4416208"/>
              <a:gd name="connsiteX1008" fmla="*/ 70263 w 4997675"/>
              <a:gd name="connsiteY1008" fmla="*/ 1231677 h 4416208"/>
              <a:gd name="connsiteX1009" fmla="*/ 69013 w 4997675"/>
              <a:gd name="connsiteY1009" fmla="*/ 1264981 h 4416208"/>
              <a:gd name="connsiteX1010" fmla="*/ 68625 w 4997675"/>
              <a:gd name="connsiteY1010" fmla="*/ 1299844 h 4416208"/>
              <a:gd name="connsiteX1011" fmla="*/ 69003 w 4997675"/>
              <a:gd name="connsiteY1011" fmla="*/ 1335051 h 4416208"/>
              <a:gd name="connsiteX1012" fmla="*/ 70225 w 4997675"/>
              <a:gd name="connsiteY1012" fmla="*/ 1368679 h 4416208"/>
              <a:gd name="connsiteX1013" fmla="*/ 72424 w 4997675"/>
              <a:gd name="connsiteY1013" fmla="*/ 1400657 h 4416208"/>
              <a:gd name="connsiteX1014" fmla="*/ 75731 w 4997675"/>
              <a:gd name="connsiteY1014" fmla="*/ 1430911 h 4416208"/>
              <a:gd name="connsiteX1015" fmla="*/ 80277 w 4997675"/>
              <a:gd name="connsiteY1015" fmla="*/ 1459370 h 4416208"/>
              <a:gd name="connsiteX1016" fmla="*/ 86195 w 4997675"/>
              <a:gd name="connsiteY1016" fmla="*/ 1485964 h 4416208"/>
              <a:gd name="connsiteX1017" fmla="*/ 93617 w 4997675"/>
              <a:gd name="connsiteY1017" fmla="*/ 1510620 h 4416208"/>
              <a:gd name="connsiteX1018" fmla="*/ 102674 w 4997675"/>
              <a:gd name="connsiteY1018" fmla="*/ 1533267 h 4416208"/>
              <a:gd name="connsiteX1019" fmla="*/ 113499 w 4997675"/>
              <a:gd name="connsiteY1019" fmla="*/ 1553834 h 4416208"/>
              <a:gd name="connsiteX1020" fmla="*/ 140977 w 4997675"/>
              <a:gd name="connsiteY1020" fmla="*/ 1588440 h 4416208"/>
              <a:gd name="connsiteX1021" fmla="*/ 177108 w 4997675"/>
              <a:gd name="connsiteY1021" fmla="*/ 1613867 h 4416208"/>
              <a:gd name="connsiteX1022" fmla="*/ 198748 w 4997675"/>
              <a:gd name="connsiteY1022" fmla="*/ 1622959 h 4416208"/>
              <a:gd name="connsiteX1023" fmla="*/ 222946 w 4997675"/>
              <a:gd name="connsiteY1023" fmla="*/ 1629542 h 4416208"/>
              <a:gd name="connsiteX1024" fmla="*/ 249835 w 4997675"/>
              <a:gd name="connsiteY1024" fmla="*/ 1633545 h 4416208"/>
              <a:gd name="connsiteX1025" fmla="*/ 279546 w 4997675"/>
              <a:gd name="connsiteY1025" fmla="*/ 1634895 h 4416208"/>
              <a:gd name="connsiteX1026" fmla="*/ 279546 w 4997675"/>
              <a:gd name="connsiteY1026" fmla="*/ 1693427 h 4416208"/>
              <a:gd name="connsiteX1027" fmla="*/ 247190 w 4997675"/>
              <a:gd name="connsiteY1027" fmla="*/ 1692285 h 4416208"/>
              <a:gd name="connsiteX1028" fmla="*/ 217277 w 4997675"/>
              <a:gd name="connsiteY1028" fmla="*/ 1688892 h 4416208"/>
              <a:gd name="connsiteX1029" fmla="*/ 189722 w 4997675"/>
              <a:gd name="connsiteY1029" fmla="*/ 1683298 h 4416208"/>
              <a:gd name="connsiteX1030" fmla="*/ 164441 w 4997675"/>
              <a:gd name="connsiteY1030" fmla="*/ 1675552 h 4416208"/>
              <a:gd name="connsiteX1031" fmla="*/ 141350 w 4997675"/>
              <a:gd name="connsiteY1031" fmla="*/ 1665706 h 4416208"/>
              <a:gd name="connsiteX1032" fmla="*/ 120362 w 4997675"/>
              <a:gd name="connsiteY1032" fmla="*/ 1653808 h 4416208"/>
              <a:gd name="connsiteX1033" fmla="*/ 101394 w 4997675"/>
              <a:gd name="connsiteY1033" fmla="*/ 1639910 h 4416208"/>
              <a:gd name="connsiteX1034" fmla="*/ 84360 w 4997675"/>
              <a:gd name="connsiteY1034" fmla="*/ 1624060 h 4416208"/>
              <a:gd name="connsiteX1035" fmla="*/ 69176 w 4997675"/>
              <a:gd name="connsiteY1035" fmla="*/ 1606309 h 4416208"/>
              <a:gd name="connsiteX1036" fmla="*/ 55758 w 4997675"/>
              <a:gd name="connsiteY1036" fmla="*/ 1586706 h 4416208"/>
              <a:gd name="connsiteX1037" fmla="*/ 44019 w 4997675"/>
              <a:gd name="connsiteY1037" fmla="*/ 1565301 h 4416208"/>
              <a:gd name="connsiteX1038" fmla="*/ 33877 w 4997675"/>
              <a:gd name="connsiteY1038" fmla="*/ 1542146 h 4416208"/>
              <a:gd name="connsiteX1039" fmla="*/ 25244 w 4997675"/>
              <a:gd name="connsiteY1039" fmla="*/ 1517288 h 4416208"/>
              <a:gd name="connsiteX1040" fmla="*/ 18038 w 4997675"/>
              <a:gd name="connsiteY1040" fmla="*/ 1490780 h 4416208"/>
              <a:gd name="connsiteX1041" fmla="*/ 12173 w 4997675"/>
              <a:gd name="connsiteY1041" fmla="*/ 1462670 h 4416208"/>
              <a:gd name="connsiteX1042" fmla="*/ 7565 w 4997675"/>
              <a:gd name="connsiteY1042" fmla="*/ 1433008 h 4416208"/>
              <a:gd name="connsiteX1043" fmla="*/ 4128 w 4997675"/>
              <a:gd name="connsiteY1043" fmla="*/ 1401844 h 4416208"/>
              <a:gd name="connsiteX1044" fmla="*/ 1778 w 4997675"/>
              <a:gd name="connsiteY1044" fmla="*/ 1369229 h 4416208"/>
              <a:gd name="connsiteX1045" fmla="*/ 430 w 4997675"/>
              <a:gd name="connsiteY1045" fmla="*/ 1335212 h 4416208"/>
              <a:gd name="connsiteX1046" fmla="*/ 0 w 4997675"/>
              <a:gd name="connsiteY1046" fmla="*/ 1299844 h 4416208"/>
              <a:gd name="connsiteX1047" fmla="*/ 444 w 4997675"/>
              <a:gd name="connsiteY1047" fmla="*/ 1264626 h 4416208"/>
              <a:gd name="connsiteX1048" fmla="*/ 1832 w 4997675"/>
              <a:gd name="connsiteY1048" fmla="*/ 1230759 h 4416208"/>
              <a:gd name="connsiteX1049" fmla="*/ 4244 w 4997675"/>
              <a:gd name="connsiteY1049" fmla="*/ 1198293 h 4416208"/>
              <a:gd name="connsiteX1050" fmla="*/ 7759 w 4997675"/>
              <a:gd name="connsiteY1050" fmla="*/ 1167276 h 4416208"/>
              <a:gd name="connsiteX1051" fmla="*/ 12457 w 4997675"/>
              <a:gd name="connsiteY1051" fmla="*/ 1137758 h 4416208"/>
              <a:gd name="connsiteX1052" fmla="*/ 18420 w 4997675"/>
              <a:gd name="connsiteY1052" fmla="*/ 1109788 h 4416208"/>
              <a:gd name="connsiteX1053" fmla="*/ 25726 w 4997675"/>
              <a:gd name="connsiteY1053" fmla="*/ 1083414 h 4416208"/>
              <a:gd name="connsiteX1054" fmla="*/ 34458 w 4997675"/>
              <a:gd name="connsiteY1054" fmla="*/ 1058687 h 4416208"/>
              <a:gd name="connsiteX1055" fmla="*/ 44694 w 4997675"/>
              <a:gd name="connsiteY1055" fmla="*/ 1035655 h 4416208"/>
              <a:gd name="connsiteX1056" fmla="*/ 56515 w 4997675"/>
              <a:gd name="connsiteY1056" fmla="*/ 1014368 h 4416208"/>
              <a:gd name="connsiteX1057" fmla="*/ 70001 w 4997675"/>
              <a:gd name="connsiteY1057" fmla="*/ 994875 h 4416208"/>
              <a:gd name="connsiteX1058" fmla="*/ 85232 w 4997675"/>
              <a:gd name="connsiteY1058" fmla="*/ 977224 h 4416208"/>
              <a:gd name="connsiteX1059" fmla="*/ 102289 w 4997675"/>
              <a:gd name="connsiteY1059" fmla="*/ 961467 h 4416208"/>
              <a:gd name="connsiteX1060" fmla="*/ 121252 w 4997675"/>
              <a:gd name="connsiteY1060" fmla="*/ 947650 h 4416208"/>
              <a:gd name="connsiteX1061" fmla="*/ 142201 w 4997675"/>
              <a:gd name="connsiteY1061" fmla="*/ 935825 h 4416208"/>
              <a:gd name="connsiteX1062" fmla="*/ 165216 w 4997675"/>
              <a:gd name="connsiteY1062" fmla="*/ 926039 h 4416208"/>
              <a:gd name="connsiteX1063" fmla="*/ 190378 w 4997675"/>
              <a:gd name="connsiteY1063" fmla="*/ 918342 h 4416208"/>
              <a:gd name="connsiteX1064" fmla="*/ 217767 w 4997675"/>
              <a:gd name="connsiteY1064" fmla="*/ 912783 h 4416208"/>
              <a:gd name="connsiteX1065" fmla="*/ 247463 w 4997675"/>
              <a:gd name="connsiteY1065" fmla="*/ 909411 h 4416208"/>
              <a:gd name="connsiteX1066" fmla="*/ 3192284 w 4997675"/>
              <a:gd name="connsiteY1066" fmla="*/ 526801 h 4416208"/>
              <a:gd name="connsiteX1067" fmla="*/ 3739265 w 4997675"/>
              <a:gd name="connsiteY1067" fmla="*/ 526801 h 4416208"/>
              <a:gd name="connsiteX1068" fmla="*/ 3739265 w 4997675"/>
              <a:gd name="connsiteY1068" fmla="*/ 591388 h 4416208"/>
              <a:gd name="connsiteX1069" fmla="*/ 3192284 w 4997675"/>
              <a:gd name="connsiteY1069" fmla="*/ 591388 h 4416208"/>
              <a:gd name="connsiteX1070" fmla="*/ 1133185 w 4997675"/>
              <a:gd name="connsiteY1070" fmla="*/ 526800 h 4416208"/>
              <a:gd name="connsiteX1071" fmla="*/ 1680167 w 4997675"/>
              <a:gd name="connsiteY1071" fmla="*/ 526800 h 4416208"/>
              <a:gd name="connsiteX1072" fmla="*/ 1680167 w 4997675"/>
              <a:gd name="connsiteY1072" fmla="*/ 591388 h 4416208"/>
              <a:gd name="connsiteX1073" fmla="*/ 1133185 w 4997675"/>
              <a:gd name="connsiteY1073" fmla="*/ 591388 h 4416208"/>
              <a:gd name="connsiteX1074" fmla="*/ 3192284 w 4997675"/>
              <a:gd name="connsiteY1074" fmla="*/ 315879 h 4416208"/>
              <a:gd name="connsiteX1075" fmla="*/ 3739265 w 4997675"/>
              <a:gd name="connsiteY1075" fmla="*/ 315879 h 4416208"/>
              <a:gd name="connsiteX1076" fmla="*/ 3739265 w 4997675"/>
              <a:gd name="connsiteY1076" fmla="*/ 380466 h 4416208"/>
              <a:gd name="connsiteX1077" fmla="*/ 3192284 w 4997675"/>
              <a:gd name="connsiteY1077" fmla="*/ 380466 h 4416208"/>
              <a:gd name="connsiteX1078" fmla="*/ 1133185 w 4997675"/>
              <a:gd name="connsiteY1078" fmla="*/ 315878 h 4416208"/>
              <a:gd name="connsiteX1079" fmla="*/ 1680167 w 4997675"/>
              <a:gd name="connsiteY1079" fmla="*/ 315878 h 4416208"/>
              <a:gd name="connsiteX1080" fmla="*/ 1680167 w 4997675"/>
              <a:gd name="connsiteY1080" fmla="*/ 380466 h 4416208"/>
              <a:gd name="connsiteX1081" fmla="*/ 1133185 w 4997675"/>
              <a:gd name="connsiteY1081" fmla="*/ 380466 h 4416208"/>
              <a:gd name="connsiteX1082" fmla="*/ 2793900 w 4997675"/>
              <a:gd name="connsiteY1082" fmla="*/ 70646 h 4416208"/>
              <a:gd name="connsiteX1083" fmla="*/ 2865553 w 4997675"/>
              <a:gd name="connsiteY1083" fmla="*/ 70646 h 4416208"/>
              <a:gd name="connsiteX1084" fmla="*/ 2651604 w 4997675"/>
              <a:gd name="connsiteY1084" fmla="*/ 716528 h 4416208"/>
              <a:gd name="connsiteX1085" fmla="*/ 2577933 w 4997675"/>
              <a:gd name="connsiteY1085" fmla="*/ 716528 h 4416208"/>
              <a:gd name="connsiteX1086" fmla="*/ 2003815 w 4997675"/>
              <a:gd name="connsiteY1086" fmla="*/ 70645 h 4416208"/>
              <a:gd name="connsiteX1087" fmla="*/ 2079504 w 4997675"/>
              <a:gd name="connsiteY1087" fmla="*/ 70645 h 4416208"/>
              <a:gd name="connsiteX1088" fmla="*/ 2294462 w 4997675"/>
              <a:gd name="connsiteY1088" fmla="*/ 716528 h 4416208"/>
              <a:gd name="connsiteX1089" fmla="*/ 2218772 w 4997675"/>
              <a:gd name="connsiteY1089" fmla="*/ 716528 h 4416208"/>
              <a:gd name="connsiteX1090" fmla="*/ 793451 w 4997675"/>
              <a:gd name="connsiteY1090" fmla="*/ 1 h 4416208"/>
              <a:gd name="connsiteX1091" fmla="*/ 793451 w 4997675"/>
              <a:gd name="connsiteY1091" fmla="*/ 59543 h 4416208"/>
              <a:gd name="connsiteX1092" fmla="*/ 763898 w 4997675"/>
              <a:gd name="connsiteY1092" fmla="*/ 60883 h 4416208"/>
              <a:gd name="connsiteX1093" fmla="*/ 737128 w 4997675"/>
              <a:gd name="connsiteY1093" fmla="*/ 64853 h 4416208"/>
              <a:gd name="connsiteX1094" fmla="*/ 713016 w 4997675"/>
              <a:gd name="connsiteY1094" fmla="*/ 71384 h 4416208"/>
              <a:gd name="connsiteX1095" fmla="*/ 691430 w 4997675"/>
              <a:gd name="connsiteY1095" fmla="*/ 80403 h 4416208"/>
              <a:gd name="connsiteX1096" fmla="*/ 655330 w 4997675"/>
              <a:gd name="connsiteY1096" fmla="*/ 105620 h 4416208"/>
              <a:gd name="connsiteX1097" fmla="*/ 627803 w 4997675"/>
              <a:gd name="connsiteY1097" fmla="*/ 139933 h 4416208"/>
              <a:gd name="connsiteX1098" fmla="*/ 616934 w 4997675"/>
              <a:gd name="connsiteY1098" fmla="*/ 160322 h 4416208"/>
              <a:gd name="connsiteX1099" fmla="*/ 607823 w 4997675"/>
              <a:gd name="connsiteY1099" fmla="*/ 182770 h 4416208"/>
              <a:gd name="connsiteX1100" fmla="*/ 600344 w 4997675"/>
              <a:gd name="connsiteY1100" fmla="*/ 207206 h 4416208"/>
              <a:gd name="connsiteX1101" fmla="*/ 594366 w 4997675"/>
              <a:gd name="connsiteY1101" fmla="*/ 233559 h 4416208"/>
              <a:gd name="connsiteX1102" fmla="*/ 589763 w 4997675"/>
              <a:gd name="connsiteY1102" fmla="*/ 261756 h 4416208"/>
              <a:gd name="connsiteX1103" fmla="*/ 586406 w 4997675"/>
              <a:gd name="connsiteY1103" fmla="*/ 291727 h 4416208"/>
              <a:gd name="connsiteX1104" fmla="*/ 584167 w 4997675"/>
              <a:gd name="connsiteY1104" fmla="*/ 323400 h 4416208"/>
              <a:gd name="connsiteX1105" fmla="*/ 582918 w 4997675"/>
              <a:gd name="connsiteY1105" fmla="*/ 356704 h 4416208"/>
              <a:gd name="connsiteX1106" fmla="*/ 582529 w 4997675"/>
              <a:gd name="connsiteY1106" fmla="*/ 391567 h 4416208"/>
              <a:gd name="connsiteX1107" fmla="*/ 582908 w 4997675"/>
              <a:gd name="connsiteY1107" fmla="*/ 426776 h 4416208"/>
              <a:gd name="connsiteX1108" fmla="*/ 584130 w 4997675"/>
              <a:gd name="connsiteY1108" fmla="*/ 460404 h 4416208"/>
              <a:gd name="connsiteX1109" fmla="*/ 586329 w 4997675"/>
              <a:gd name="connsiteY1109" fmla="*/ 492381 h 4416208"/>
              <a:gd name="connsiteX1110" fmla="*/ 589635 w 4997675"/>
              <a:gd name="connsiteY1110" fmla="*/ 522635 h 4416208"/>
              <a:gd name="connsiteX1111" fmla="*/ 594182 w 4997675"/>
              <a:gd name="connsiteY1111" fmla="*/ 551095 h 4416208"/>
              <a:gd name="connsiteX1112" fmla="*/ 600100 w 4997675"/>
              <a:gd name="connsiteY1112" fmla="*/ 577689 h 4416208"/>
              <a:gd name="connsiteX1113" fmla="*/ 607522 w 4997675"/>
              <a:gd name="connsiteY1113" fmla="*/ 602344 h 4416208"/>
              <a:gd name="connsiteX1114" fmla="*/ 616579 w 4997675"/>
              <a:gd name="connsiteY1114" fmla="*/ 624991 h 4416208"/>
              <a:gd name="connsiteX1115" fmla="*/ 627404 w 4997675"/>
              <a:gd name="connsiteY1115" fmla="*/ 645557 h 4416208"/>
              <a:gd name="connsiteX1116" fmla="*/ 654883 w 4997675"/>
              <a:gd name="connsiteY1116" fmla="*/ 680164 h 4416208"/>
              <a:gd name="connsiteX1117" fmla="*/ 691013 w 4997675"/>
              <a:gd name="connsiteY1117" fmla="*/ 705591 h 4416208"/>
              <a:gd name="connsiteX1118" fmla="*/ 712653 w 4997675"/>
              <a:gd name="connsiteY1118" fmla="*/ 714682 h 4416208"/>
              <a:gd name="connsiteX1119" fmla="*/ 736851 w 4997675"/>
              <a:gd name="connsiteY1119" fmla="*/ 721266 h 4416208"/>
              <a:gd name="connsiteX1120" fmla="*/ 763739 w 4997675"/>
              <a:gd name="connsiteY1120" fmla="*/ 725268 h 4416208"/>
              <a:gd name="connsiteX1121" fmla="*/ 793451 w 4997675"/>
              <a:gd name="connsiteY1121" fmla="*/ 726618 h 4416208"/>
              <a:gd name="connsiteX1122" fmla="*/ 793451 w 4997675"/>
              <a:gd name="connsiteY1122" fmla="*/ 785151 h 4416208"/>
              <a:gd name="connsiteX1123" fmla="*/ 761094 w 4997675"/>
              <a:gd name="connsiteY1123" fmla="*/ 784010 h 4416208"/>
              <a:gd name="connsiteX1124" fmla="*/ 731182 w 4997675"/>
              <a:gd name="connsiteY1124" fmla="*/ 780616 h 4416208"/>
              <a:gd name="connsiteX1125" fmla="*/ 703628 w 4997675"/>
              <a:gd name="connsiteY1125" fmla="*/ 775022 h 4416208"/>
              <a:gd name="connsiteX1126" fmla="*/ 678346 w 4997675"/>
              <a:gd name="connsiteY1126" fmla="*/ 767277 h 4416208"/>
              <a:gd name="connsiteX1127" fmla="*/ 655255 w 4997675"/>
              <a:gd name="connsiteY1127" fmla="*/ 757431 h 4416208"/>
              <a:gd name="connsiteX1128" fmla="*/ 634268 w 4997675"/>
              <a:gd name="connsiteY1128" fmla="*/ 745532 h 4416208"/>
              <a:gd name="connsiteX1129" fmla="*/ 615299 w 4997675"/>
              <a:gd name="connsiteY1129" fmla="*/ 731633 h 4416208"/>
              <a:gd name="connsiteX1130" fmla="*/ 598265 w 4997675"/>
              <a:gd name="connsiteY1130" fmla="*/ 715783 h 4416208"/>
              <a:gd name="connsiteX1131" fmla="*/ 583081 w 4997675"/>
              <a:gd name="connsiteY1131" fmla="*/ 698032 h 4416208"/>
              <a:gd name="connsiteX1132" fmla="*/ 569662 w 4997675"/>
              <a:gd name="connsiteY1132" fmla="*/ 678429 h 4416208"/>
              <a:gd name="connsiteX1133" fmla="*/ 557924 w 4997675"/>
              <a:gd name="connsiteY1133" fmla="*/ 657025 h 4416208"/>
              <a:gd name="connsiteX1134" fmla="*/ 547781 w 4997675"/>
              <a:gd name="connsiteY1134" fmla="*/ 633870 h 4416208"/>
              <a:gd name="connsiteX1135" fmla="*/ 539149 w 4997675"/>
              <a:gd name="connsiteY1135" fmla="*/ 609014 h 4416208"/>
              <a:gd name="connsiteX1136" fmla="*/ 531942 w 4997675"/>
              <a:gd name="connsiteY1136" fmla="*/ 582504 h 4416208"/>
              <a:gd name="connsiteX1137" fmla="*/ 526078 w 4997675"/>
              <a:gd name="connsiteY1137" fmla="*/ 554394 h 4416208"/>
              <a:gd name="connsiteX1138" fmla="*/ 521469 w 4997675"/>
              <a:gd name="connsiteY1138" fmla="*/ 524732 h 4416208"/>
              <a:gd name="connsiteX1139" fmla="*/ 518033 w 4997675"/>
              <a:gd name="connsiteY1139" fmla="*/ 493569 h 4416208"/>
              <a:gd name="connsiteX1140" fmla="*/ 515683 w 4997675"/>
              <a:gd name="connsiteY1140" fmla="*/ 460953 h 4416208"/>
              <a:gd name="connsiteX1141" fmla="*/ 514335 w 4997675"/>
              <a:gd name="connsiteY1141" fmla="*/ 426936 h 4416208"/>
              <a:gd name="connsiteX1142" fmla="*/ 513905 w 4997675"/>
              <a:gd name="connsiteY1142" fmla="*/ 391567 h 4416208"/>
              <a:gd name="connsiteX1143" fmla="*/ 514349 w 4997675"/>
              <a:gd name="connsiteY1143" fmla="*/ 356350 h 4416208"/>
              <a:gd name="connsiteX1144" fmla="*/ 515738 w 4997675"/>
              <a:gd name="connsiteY1144" fmla="*/ 322483 h 4416208"/>
              <a:gd name="connsiteX1145" fmla="*/ 518149 w 4997675"/>
              <a:gd name="connsiteY1145" fmla="*/ 290017 h 4416208"/>
              <a:gd name="connsiteX1146" fmla="*/ 521663 w 4997675"/>
              <a:gd name="connsiteY1146" fmla="*/ 259000 h 4416208"/>
              <a:gd name="connsiteX1147" fmla="*/ 526362 w 4997675"/>
              <a:gd name="connsiteY1147" fmla="*/ 229481 h 4416208"/>
              <a:gd name="connsiteX1148" fmla="*/ 532325 w 4997675"/>
              <a:gd name="connsiteY1148" fmla="*/ 201512 h 4416208"/>
              <a:gd name="connsiteX1149" fmla="*/ 539631 w 4997675"/>
              <a:gd name="connsiteY1149" fmla="*/ 175138 h 4416208"/>
              <a:gd name="connsiteX1150" fmla="*/ 548363 w 4997675"/>
              <a:gd name="connsiteY1150" fmla="*/ 150411 h 4416208"/>
              <a:gd name="connsiteX1151" fmla="*/ 558599 w 4997675"/>
              <a:gd name="connsiteY1151" fmla="*/ 127379 h 4416208"/>
              <a:gd name="connsiteX1152" fmla="*/ 570419 w 4997675"/>
              <a:gd name="connsiteY1152" fmla="*/ 106092 h 4416208"/>
              <a:gd name="connsiteX1153" fmla="*/ 583905 w 4997675"/>
              <a:gd name="connsiteY1153" fmla="*/ 86599 h 4416208"/>
              <a:gd name="connsiteX1154" fmla="*/ 599138 w 4997675"/>
              <a:gd name="connsiteY1154" fmla="*/ 68948 h 4416208"/>
              <a:gd name="connsiteX1155" fmla="*/ 616194 w 4997675"/>
              <a:gd name="connsiteY1155" fmla="*/ 53191 h 4416208"/>
              <a:gd name="connsiteX1156" fmla="*/ 635157 w 4997675"/>
              <a:gd name="connsiteY1156" fmla="*/ 39374 h 4416208"/>
              <a:gd name="connsiteX1157" fmla="*/ 656106 w 4997675"/>
              <a:gd name="connsiteY1157" fmla="*/ 27549 h 4416208"/>
              <a:gd name="connsiteX1158" fmla="*/ 679121 w 4997675"/>
              <a:gd name="connsiteY1158" fmla="*/ 17763 h 4416208"/>
              <a:gd name="connsiteX1159" fmla="*/ 704284 w 4997675"/>
              <a:gd name="connsiteY1159" fmla="*/ 10066 h 4416208"/>
              <a:gd name="connsiteX1160" fmla="*/ 731673 w 4997675"/>
              <a:gd name="connsiteY1160" fmla="*/ 4507 h 4416208"/>
              <a:gd name="connsiteX1161" fmla="*/ 761368 w 4997675"/>
              <a:gd name="connsiteY1161" fmla="*/ 1135 h 4416208"/>
              <a:gd name="connsiteX1162" fmla="*/ 4079066 w 4997675"/>
              <a:gd name="connsiteY1162" fmla="*/ 0 h 4416208"/>
              <a:gd name="connsiteX1163" fmla="*/ 4111149 w 4997675"/>
              <a:gd name="connsiteY1163" fmla="*/ 1134 h 4416208"/>
              <a:gd name="connsiteX1164" fmla="*/ 4140844 w 4997675"/>
              <a:gd name="connsiteY1164" fmla="*/ 4506 h 4416208"/>
              <a:gd name="connsiteX1165" fmla="*/ 4168233 w 4997675"/>
              <a:gd name="connsiteY1165" fmla="*/ 10064 h 4416208"/>
              <a:gd name="connsiteX1166" fmla="*/ 4193395 w 4997675"/>
              <a:gd name="connsiteY1166" fmla="*/ 17761 h 4416208"/>
              <a:gd name="connsiteX1167" fmla="*/ 4216410 w 4997675"/>
              <a:gd name="connsiteY1167" fmla="*/ 27548 h 4416208"/>
              <a:gd name="connsiteX1168" fmla="*/ 4237360 w 4997675"/>
              <a:gd name="connsiteY1168" fmla="*/ 39374 h 4416208"/>
              <a:gd name="connsiteX1169" fmla="*/ 4256322 w 4997675"/>
              <a:gd name="connsiteY1169" fmla="*/ 53190 h 4416208"/>
              <a:gd name="connsiteX1170" fmla="*/ 4273379 w 4997675"/>
              <a:gd name="connsiteY1170" fmla="*/ 68948 h 4416208"/>
              <a:gd name="connsiteX1171" fmla="*/ 4288611 w 4997675"/>
              <a:gd name="connsiteY1171" fmla="*/ 86598 h 4416208"/>
              <a:gd name="connsiteX1172" fmla="*/ 4302097 w 4997675"/>
              <a:gd name="connsiteY1172" fmla="*/ 106091 h 4416208"/>
              <a:gd name="connsiteX1173" fmla="*/ 4313918 w 4997675"/>
              <a:gd name="connsiteY1173" fmla="*/ 127378 h 4416208"/>
              <a:gd name="connsiteX1174" fmla="*/ 4324154 w 4997675"/>
              <a:gd name="connsiteY1174" fmla="*/ 150410 h 4416208"/>
              <a:gd name="connsiteX1175" fmla="*/ 4332885 w 4997675"/>
              <a:gd name="connsiteY1175" fmla="*/ 175137 h 4416208"/>
              <a:gd name="connsiteX1176" fmla="*/ 4340192 w 4997675"/>
              <a:gd name="connsiteY1176" fmla="*/ 201510 h 4416208"/>
              <a:gd name="connsiteX1177" fmla="*/ 4346155 w 4997675"/>
              <a:gd name="connsiteY1177" fmla="*/ 229481 h 4416208"/>
              <a:gd name="connsiteX1178" fmla="*/ 4350853 w 4997675"/>
              <a:gd name="connsiteY1178" fmla="*/ 258999 h 4416208"/>
              <a:gd name="connsiteX1179" fmla="*/ 4354368 w 4997675"/>
              <a:gd name="connsiteY1179" fmla="*/ 290016 h 4416208"/>
              <a:gd name="connsiteX1180" fmla="*/ 4356779 w 4997675"/>
              <a:gd name="connsiteY1180" fmla="*/ 322482 h 4416208"/>
              <a:gd name="connsiteX1181" fmla="*/ 4358167 w 4997675"/>
              <a:gd name="connsiteY1181" fmla="*/ 356348 h 4416208"/>
              <a:gd name="connsiteX1182" fmla="*/ 4358612 w 4997675"/>
              <a:gd name="connsiteY1182" fmla="*/ 391566 h 4416208"/>
              <a:gd name="connsiteX1183" fmla="*/ 4358189 w 4997675"/>
              <a:gd name="connsiteY1183" fmla="*/ 426935 h 4416208"/>
              <a:gd name="connsiteX1184" fmla="*/ 4356861 w 4997675"/>
              <a:gd name="connsiteY1184" fmla="*/ 460952 h 4416208"/>
              <a:gd name="connsiteX1185" fmla="*/ 4354541 w 4997675"/>
              <a:gd name="connsiteY1185" fmla="*/ 493568 h 4416208"/>
              <a:gd name="connsiteX1186" fmla="*/ 4351143 w 4997675"/>
              <a:gd name="connsiteY1186" fmla="*/ 524731 h 4416208"/>
              <a:gd name="connsiteX1187" fmla="*/ 4346580 w 4997675"/>
              <a:gd name="connsiteY1187" fmla="*/ 554393 h 4416208"/>
              <a:gd name="connsiteX1188" fmla="*/ 4340764 w 4997675"/>
              <a:gd name="connsiteY1188" fmla="*/ 582503 h 4416208"/>
              <a:gd name="connsiteX1189" fmla="*/ 4333608 w 4997675"/>
              <a:gd name="connsiteY1189" fmla="*/ 609012 h 4416208"/>
              <a:gd name="connsiteX1190" fmla="*/ 4325025 w 4997675"/>
              <a:gd name="connsiteY1190" fmla="*/ 633869 h 4416208"/>
              <a:gd name="connsiteX1191" fmla="*/ 4314929 w 4997675"/>
              <a:gd name="connsiteY1191" fmla="*/ 657024 h 4416208"/>
              <a:gd name="connsiteX1192" fmla="*/ 4303232 w 4997675"/>
              <a:gd name="connsiteY1192" fmla="*/ 678429 h 4416208"/>
              <a:gd name="connsiteX1193" fmla="*/ 4289847 w 4997675"/>
              <a:gd name="connsiteY1193" fmla="*/ 698032 h 4416208"/>
              <a:gd name="connsiteX1194" fmla="*/ 4274687 w 4997675"/>
              <a:gd name="connsiteY1194" fmla="*/ 715783 h 4416208"/>
              <a:gd name="connsiteX1195" fmla="*/ 4257665 w 4997675"/>
              <a:gd name="connsiteY1195" fmla="*/ 731633 h 4416208"/>
              <a:gd name="connsiteX1196" fmla="*/ 4238694 w 4997675"/>
              <a:gd name="connsiteY1196" fmla="*/ 745532 h 4416208"/>
              <a:gd name="connsiteX1197" fmla="*/ 4217687 w 4997675"/>
              <a:gd name="connsiteY1197" fmla="*/ 757430 h 4416208"/>
              <a:gd name="connsiteX1198" fmla="*/ 4194558 w 4997675"/>
              <a:gd name="connsiteY1198" fmla="*/ 767276 h 4416208"/>
              <a:gd name="connsiteX1199" fmla="*/ 4169217 w 4997675"/>
              <a:gd name="connsiteY1199" fmla="*/ 775021 h 4416208"/>
              <a:gd name="connsiteX1200" fmla="*/ 4141580 w 4997675"/>
              <a:gd name="connsiteY1200" fmla="*/ 780616 h 4416208"/>
              <a:gd name="connsiteX1201" fmla="*/ 4111558 w 4997675"/>
              <a:gd name="connsiteY1201" fmla="*/ 784010 h 4416208"/>
              <a:gd name="connsiteX1202" fmla="*/ 4079066 w 4997675"/>
              <a:gd name="connsiteY1202" fmla="*/ 785151 h 4416208"/>
              <a:gd name="connsiteX1203" fmla="*/ 4079066 w 4997675"/>
              <a:gd name="connsiteY1203" fmla="*/ 726618 h 4416208"/>
              <a:gd name="connsiteX1204" fmla="*/ 4109102 w 4997675"/>
              <a:gd name="connsiteY1204" fmla="*/ 725268 h 4416208"/>
              <a:gd name="connsiteX1205" fmla="*/ 4136258 w 4997675"/>
              <a:gd name="connsiteY1205" fmla="*/ 721265 h 4416208"/>
              <a:gd name="connsiteX1206" fmla="*/ 4160671 w 4997675"/>
              <a:gd name="connsiteY1206" fmla="*/ 714682 h 4416208"/>
              <a:gd name="connsiteX1207" fmla="*/ 4182478 w 4997675"/>
              <a:gd name="connsiteY1207" fmla="*/ 705591 h 4416208"/>
              <a:gd name="connsiteX1208" fmla="*/ 4218817 w 4997675"/>
              <a:gd name="connsiteY1208" fmla="*/ 680164 h 4416208"/>
              <a:gd name="connsiteX1209" fmla="*/ 4246371 w 4997675"/>
              <a:gd name="connsiteY1209" fmla="*/ 645557 h 4416208"/>
              <a:gd name="connsiteX1210" fmla="*/ 4257196 w 4997675"/>
              <a:gd name="connsiteY1210" fmla="*/ 624990 h 4416208"/>
              <a:gd name="connsiteX1211" fmla="*/ 4266235 w 4997675"/>
              <a:gd name="connsiteY1211" fmla="*/ 602343 h 4416208"/>
              <a:gd name="connsiteX1212" fmla="*/ 4273625 w 4997675"/>
              <a:gd name="connsiteY1212" fmla="*/ 577688 h 4416208"/>
              <a:gd name="connsiteX1213" fmla="*/ 4279503 w 4997675"/>
              <a:gd name="connsiteY1213" fmla="*/ 551094 h 4416208"/>
              <a:gd name="connsiteX1214" fmla="*/ 4284005 w 4997675"/>
              <a:gd name="connsiteY1214" fmla="*/ 522634 h 4416208"/>
              <a:gd name="connsiteX1215" fmla="*/ 4287269 w 4997675"/>
              <a:gd name="connsiteY1215" fmla="*/ 492381 h 4416208"/>
              <a:gd name="connsiteX1216" fmla="*/ 4289431 w 4997675"/>
              <a:gd name="connsiteY1216" fmla="*/ 460404 h 4416208"/>
              <a:gd name="connsiteX1217" fmla="*/ 4290627 w 4997675"/>
              <a:gd name="connsiteY1217" fmla="*/ 426775 h 4416208"/>
              <a:gd name="connsiteX1218" fmla="*/ 4290996 w 4997675"/>
              <a:gd name="connsiteY1218" fmla="*/ 391566 h 4416208"/>
              <a:gd name="connsiteX1219" fmla="*/ 4290608 w 4997675"/>
              <a:gd name="connsiteY1219" fmla="*/ 356703 h 4416208"/>
              <a:gd name="connsiteX1220" fmla="*/ 4289356 w 4997675"/>
              <a:gd name="connsiteY1220" fmla="*/ 323400 h 4416208"/>
              <a:gd name="connsiteX1221" fmla="*/ 4287114 w 4997675"/>
              <a:gd name="connsiteY1221" fmla="*/ 291726 h 4416208"/>
              <a:gd name="connsiteX1222" fmla="*/ 4283749 w 4997675"/>
              <a:gd name="connsiteY1222" fmla="*/ 261756 h 4416208"/>
              <a:gd name="connsiteX1223" fmla="*/ 4279133 w 4997675"/>
              <a:gd name="connsiteY1223" fmla="*/ 233558 h 4416208"/>
              <a:gd name="connsiteX1224" fmla="*/ 4273137 w 4997675"/>
              <a:gd name="connsiteY1224" fmla="*/ 207205 h 4416208"/>
              <a:gd name="connsiteX1225" fmla="*/ 4265631 w 4997675"/>
              <a:gd name="connsiteY1225" fmla="*/ 182769 h 4416208"/>
              <a:gd name="connsiteX1226" fmla="*/ 4256487 w 4997675"/>
              <a:gd name="connsiteY1226" fmla="*/ 160321 h 4416208"/>
              <a:gd name="connsiteX1227" fmla="*/ 4245573 w 4997675"/>
              <a:gd name="connsiteY1227" fmla="*/ 139933 h 4416208"/>
              <a:gd name="connsiteX1228" fmla="*/ 4217922 w 4997675"/>
              <a:gd name="connsiteY1228" fmla="*/ 105620 h 4416208"/>
              <a:gd name="connsiteX1229" fmla="*/ 4181644 w 4997675"/>
              <a:gd name="connsiteY1229" fmla="*/ 80403 h 4416208"/>
              <a:gd name="connsiteX1230" fmla="*/ 4159946 w 4997675"/>
              <a:gd name="connsiteY1230" fmla="*/ 71383 h 4416208"/>
              <a:gd name="connsiteX1231" fmla="*/ 4135704 w 4997675"/>
              <a:gd name="connsiteY1231" fmla="*/ 64853 h 4416208"/>
              <a:gd name="connsiteX1232" fmla="*/ 4108787 w 4997675"/>
              <a:gd name="connsiteY1232" fmla="*/ 60882 h 4416208"/>
              <a:gd name="connsiteX1233" fmla="*/ 4079066 w 4997675"/>
              <a:gd name="connsiteY1233" fmla="*/ 59542 h 441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Lst>
            <a:rect l="l" t="t" r="r" b="b"/>
            <a:pathLst>
              <a:path w="4997675" h="4416208">
                <a:moveTo>
                  <a:pt x="3168743" y="4250720"/>
                </a:moveTo>
                <a:lnTo>
                  <a:pt x="3293882" y="4250720"/>
                </a:lnTo>
                <a:lnTo>
                  <a:pt x="3293882" y="4355676"/>
                </a:lnTo>
                <a:lnTo>
                  <a:pt x="3168743" y="4355676"/>
                </a:lnTo>
                <a:close/>
                <a:moveTo>
                  <a:pt x="1781493" y="4250720"/>
                </a:moveTo>
                <a:lnTo>
                  <a:pt x="1906631" y="4250720"/>
                </a:lnTo>
                <a:lnTo>
                  <a:pt x="1906631" y="4355676"/>
                </a:lnTo>
                <a:lnTo>
                  <a:pt x="1781493" y="4355676"/>
                </a:lnTo>
                <a:close/>
                <a:moveTo>
                  <a:pt x="2567865" y="3636927"/>
                </a:moveTo>
                <a:lnTo>
                  <a:pt x="2793926" y="3636927"/>
                </a:lnTo>
                <a:lnTo>
                  <a:pt x="2793926" y="3694510"/>
                </a:lnTo>
                <a:lnTo>
                  <a:pt x="2793926" y="4358626"/>
                </a:lnTo>
                <a:lnTo>
                  <a:pt x="2793926" y="4416208"/>
                </a:lnTo>
                <a:lnTo>
                  <a:pt x="2567865" y="4416208"/>
                </a:lnTo>
                <a:lnTo>
                  <a:pt x="2567865" y="4358626"/>
                </a:lnTo>
                <a:lnTo>
                  <a:pt x="2724289" y="4358626"/>
                </a:lnTo>
                <a:lnTo>
                  <a:pt x="2724289" y="3694510"/>
                </a:lnTo>
                <a:lnTo>
                  <a:pt x="2567865" y="3694510"/>
                </a:lnTo>
                <a:close/>
                <a:moveTo>
                  <a:pt x="2281482" y="3636927"/>
                </a:moveTo>
                <a:lnTo>
                  <a:pt x="2507542" y="3636927"/>
                </a:lnTo>
                <a:lnTo>
                  <a:pt x="2507542" y="3694510"/>
                </a:lnTo>
                <a:lnTo>
                  <a:pt x="2351119" y="3694510"/>
                </a:lnTo>
                <a:lnTo>
                  <a:pt x="2351119" y="4358626"/>
                </a:lnTo>
                <a:lnTo>
                  <a:pt x="2507542" y="4358626"/>
                </a:lnTo>
                <a:lnTo>
                  <a:pt x="2507542" y="4416208"/>
                </a:lnTo>
                <a:lnTo>
                  <a:pt x="2281482" y="4416208"/>
                </a:lnTo>
                <a:lnTo>
                  <a:pt x="2281482" y="4358626"/>
                </a:lnTo>
                <a:lnTo>
                  <a:pt x="2281482" y="3694510"/>
                </a:lnTo>
                <a:close/>
                <a:moveTo>
                  <a:pt x="4043181" y="3342449"/>
                </a:moveTo>
                <a:lnTo>
                  <a:pt x="4168321" y="3342449"/>
                </a:lnTo>
                <a:lnTo>
                  <a:pt x="4168321" y="3447404"/>
                </a:lnTo>
                <a:lnTo>
                  <a:pt x="4043181" y="3447404"/>
                </a:lnTo>
                <a:close/>
                <a:moveTo>
                  <a:pt x="2412561" y="3251617"/>
                </a:moveTo>
                <a:lnTo>
                  <a:pt x="2959543" y="3251617"/>
                </a:lnTo>
                <a:lnTo>
                  <a:pt x="2959543" y="3316205"/>
                </a:lnTo>
                <a:lnTo>
                  <a:pt x="2412561" y="3316205"/>
                </a:lnTo>
                <a:close/>
                <a:moveTo>
                  <a:pt x="767823" y="3251617"/>
                </a:moveTo>
                <a:lnTo>
                  <a:pt x="1314806" y="3251617"/>
                </a:lnTo>
                <a:lnTo>
                  <a:pt x="1314806" y="3316205"/>
                </a:lnTo>
                <a:lnTo>
                  <a:pt x="767823" y="3316205"/>
                </a:lnTo>
                <a:close/>
                <a:moveTo>
                  <a:pt x="2412561" y="3040695"/>
                </a:moveTo>
                <a:lnTo>
                  <a:pt x="2959543" y="3040695"/>
                </a:lnTo>
                <a:lnTo>
                  <a:pt x="2959543" y="3105283"/>
                </a:lnTo>
                <a:lnTo>
                  <a:pt x="2412561" y="3105283"/>
                </a:lnTo>
                <a:close/>
                <a:moveTo>
                  <a:pt x="767823" y="3040695"/>
                </a:moveTo>
                <a:lnTo>
                  <a:pt x="1314806" y="3040695"/>
                </a:lnTo>
                <a:lnTo>
                  <a:pt x="1314806" y="3105283"/>
                </a:lnTo>
                <a:lnTo>
                  <a:pt x="767823" y="3105283"/>
                </a:lnTo>
                <a:close/>
                <a:moveTo>
                  <a:pt x="3664718" y="2724824"/>
                </a:moveTo>
                <a:lnTo>
                  <a:pt x="3696801" y="2725958"/>
                </a:lnTo>
                <a:lnTo>
                  <a:pt x="3726497" y="2729329"/>
                </a:lnTo>
                <a:lnTo>
                  <a:pt x="3753886" y="2734888"/>
                </a:lnTo>
                <a:lnTo>
                  <a:pt x="3779048" y="2742585"/>
                </a:lnTo>
                <a:lnTo>
                  <a:pt x="3802063" y="2752371"/>
                </a:lnTo>
                <a:lnTo>
                  <a:pt x="3823012" y="2764197"/>
                </a:lnTo>
                <a:lnTo>
                  <a:pt x="3841975" y="2778013"/>
                </a:lnTo>
                <a:lnTo>
                  <a:pt x="3859032" y="2793771"/>
                </a:lnTo>
                <a:lnTo>
                  <a:pt x="3874264" y="2811421"/>
                </a:lnTo>
                <a:lnTo>
                  <a:pt x="3887750" y="2830915"/>
                </a:lnTo>
                <a:lnTo>
                  <a:pt x="3899570" y="2852202"/>
                </a:lnTo>
                <a:lnTo>
                  <a:pt x="3909806" y="2875233"/>
                </a:lnTo>
                <a:lnTo>
                  <a:pt x="3918538" y="2899960"/>
                </a:lnTo>
                <a:lnTo>
                  <a:pt x="3925845" y="2926333"/>
                </a:lnTo>
                <a:lnTo>
                  <a:pt x="3931807" y="2954304"/>
                </a:lnTo>
                <a:lnTo>
                  <a:pt x="3936506" y="2983823"/>
                </a:lnTo>
                <a:lnTo>
                  <a:pt x="3940021" y="3014840"/>
                </a:lnTo>
                <a:lnTo>
                  <a:pt x="3942432" y="3047306"/>
                </a:lnTo>
                <a:lnTo>
                  <a:pt x="3943820" y="3081172"/>
                </a:lnTo>
                <a:lnTo>
                  <a:pt x="3944264" y="3116390"/>
                </a:lnTo>
                <a:lnTo>
                  <a:pt x="3943841" y="3151759"/>
                </a:lnTo>
                <a:lnTo>
                  <a:pt x="3942513" y="3185776"/>
                </a:lnTo>
                <a:lnTo>
                  <a:pt x="3940194" y="3218391"/>
                </a:lnTo>
                <a:lnTo>
                  <a:pt x="3936796" y="3249555"/>
                </a:lnTo>
                <a:lnTo>
                  <a:pt x="3932233" y="3279216"/>
                </a:lnTo>
                <a:lnTo>
                  <a:pt x="3926417" y="3307327"/>
                </a:lnTo>
                <a:lnTo>
                  <a:pt x="3919261" y="3333835"/>
                </a:lnTo>
                <a:lnTo>
                  <a:pt x="3910678" y="3358693"/>
                </a:lnTo>
                <a:lnTo>
                  <a:pt x="3900582" y="3381848"/>
                </a:lnTo>
                <a:lnTo>
                  <a:pt x="3888885" y="3403253"/>
                </a:lnTo>
                <a:lnTo>
                  <a:pt x="3875500" y="3422855"/>
                </a:lnTo>
                <a:lnTo>
                  <a:pt x="3860340" y="3440607"/>
                </a:lnTo>
                <a:lnTo>
                  <a:pt x="3843318" y="3456457"/>
                </a:lnTo>
                <a:lnTo>
                  <a:pt x="3824347" y="3470356"/>
                </a:lnTo>
                <a:lnTo>
                  <a:pt x="3803340" y="3482254"/>
                </a:lnTo>
                <a:lnTo>
                  <a:pt x="3780210" y="3492100"/>
                </a:lnTo>
                <a:lnTo>
                  <a:pt x="3754870" y="3499845"/>
                </a:lnTo>
                <a:lnTo>
                  <a:pt x="3727233" y="3505440"/>
                </a:lnTo>
                <a:lnTo>
                  <a:pt x="3697211" y="3508833"/>
                </a:lnTo>
                <a:lnTo>
                  <a:pt x="3664718" y="3509975"/>
                </a:lnTo>
                <a:lnTo>
                  <a:pt x="3664718" y="3451442"/>
                </a:lnTo>
                <a:lnTo>
                  <a:pt x="3694755" y="3450092"/>
                </a:lnTo>
                <a:lnTo>
                  <a:pt x="3721911" y="3446089"/>
                </a:lnTo>
                <a:lnTo>
                  <a:pt x="3746324" y="3439506"/>
                </a:lnTo>
                <a:lnTo>
                  <a:pt x="3768130" y="3430414"/>
                </a:lnTo>
                <a:lnTo>
                  <a:pt x="3804470" y="3404987"/>
                </a:lnTo>
                <a:lnTo>
                  <a:pt x="3832025" y="3370381"/>
                </a:lnTo>
                <a:lnTo>
                  <a:pt x="3842849" y="3349814"/>
                </a:lnTo>
                <a:lnTo>
                  <a:pt x="3851888" y="3327167"/>
                </a:lnTo>
                <a:lnTo>
                  <a:pt x="3859278" y="3302511"/>
                </a:lnTo>
                <a:lnTo>
                  <a:pt x="3865156" y="3275918"/>
                </a:lnTo>
                <a:lnTo>
                  <a:pt x="3869658" y="3247458"/>
                </a:lnTo>
                <a:lnTo>
                  <a:pt x="3872922" y="3217204"/>
                </a:lnTo>
                <a:lnTo>
                  <a:pt x="3875083" y="3185227"/>
                </a:lnTo>
                <a:lnTo>
                  <a:pt x="3876280" y="3151598"/>
                </a:lnTo>
                <a:lnTo>
                  <a:pt x="3876649" y="3116390"/>
                </a:lnTo>
                <a:lnTo>
                  <a:pt x="3876261" y="3081527"/>
                </a:lnTo>
                <a:lnTo>
                  <a:pt x="3875009" y="3048223"/>
                </a:lnTo>
                <a:lnTo>
                  <a:pt x="3872766" y="3016550"/>
                </a:lnTo>
                <a:lnTo>
                  <a:pt x="3869401" y="2986579"/>
                </a:lnTo>
                <a:lnTo>
                  <a:pt x="3864786" y="2958381"/>
                </a:lnTo>
                <a:lnTo>
                  <a:pt x="3858790" y="2932028"/>
                </a:lnTo>
                <a:lnTo>
                  <a:pt x="3851284" y="2907592"/>
                </a:lnTo>
                <a:lnTo>
                  <a:pt x="3842139" y="2885144"/>
                </a:lnTo>
                <a:lnTo>
                  <a:pt x="3831225" y="2864756"/>
                </a:lnTo>
                <a:lnTo>
                  <a:pt x="3803575" y="2830443"/>
                </a:lnTo>
                <a:lnTo>
                  <a:pt x="3767297" y="2805225"/>
                </a:lnTo>
                <a:lnTo>
                  <a:pt x="3745599" y="2796206"/>
                </a:lnTo>
                <a:lnTo>
                  <a:pt x="3721357" y="2789676"/>
                </a:lnTo>
                <a:lnTo>
                  <a:pt x="3694439" y="2785704"/>
                </a:lnTo>
                <a:lnTo>
                  <a:pt x="3664718" y="2784365"/>
                </a:lnTo>
                <a:close/>
                <a:moveTo>
                  <a:pt x="3609180" y="2724824"/>
                </a:moveTo>
                <a:lnTo>
                  <a:pt x="3609180" y="2784365"/>
                </a:lnTo>
                <a:lnTo>
                  <a:pt x="3579627" y="2785704"/>
                </a:lnTo>
                <a:lnTo>
                  <a:pt x="3552857" y="2789676"/>
                </a:lnTo>
                <a:lnTo>
                  <a:pt x="3528744" y="2796206"/>
                </a:lnTo>
                <a:lnTo>
                  <a:pt x="3507159" y="2805225"/>
                </a:lnTo>
                <a:lnTo>
                  <a:pt x="3471059" y="2830443"/>
                </a:lnTo>
                <a:lnTo>
                  <a:pt x="3443532" y="2864756"/>
                </a:lnTo>
                <a:lnTo>
                  <a:pt x="3432663" y="2885144"/>
                </a:lnTo>
                <a:lnTo>
                  <a:pt x="3423552" y="2907592"/>
                </a:lnTo>
                <a:lnTo>
                  <a:pt x="3416073" y="2932028"/>
                </a:lnTo>
                <a:lnTo>
                  <a:pt x="3410095" y="2958381"/>
                </a:lnTo>
                <a:lnTo>
                  <a:pt x="3405492" y="2986579"/>
                </a:lnTo>
                <a:lnTo>
                  <a:pt x="3402135" y="3016550"/>
                </a:lnTo>
                <a:lnTo>
                  <a:pt x="3399896" y="3048223"/>
                </a:lnTo>
                <a:lnTo>
                  <a:pt x="3398646" y="3081527"/>
                </a:lnTo>
                <a:lnTo>
                  <a:pt x="3398258" y="3116390"/>
                </a:lnTo>
                <a:lnTo>
                  <a:pt x="3398637" y="3151598"/>
                </a:lnTo>
                <a:lnTo>
                  <a:pt x="3399859" y="3185227"/>
                </a:lnTo>
                <a:lnTo>
                  <a:pt x="3402058" y="3217204"/>
                </a:lnTo>
                <a:lnTo>
                  <a:pt x="3405364" y="3247458"/>
                </a:lnTo>
                <a:lnTo>
                  <a:pt x="3409911" y="3275918"/>
                </a:lnTo>
                <a:lnTo>
                  <a:pt x="3415829" y="3302511"/>
                </a:lnTo>
                <a:lnTo>
                  <a:pt x="3423251" y="3327167"/>
                </a:lnTo>
                <a:lnTo>
                  <a:pt x="3432308" y="3349814"/>
                </a:lnTo>
                <a:lnTo>
                  <a:pt x="3443133" y="3370381"/>
                </a:lnTo>
                <a:lnTo>
                  <a:pt x="3470611" y="3404987"/>
                </a:lnTo>
                <a:lnTo>
                  <a:pt x="3506742" y="3430414"/>
                </a:lnTo>
                <a:lnTo>
                  <a:pt x="3528382" y="3439506"/>
                </a:lnTo>
                <a:lnTo>
                  <a:pt x="3552580" y="3446089"/>
                </a:lnTo>
                <a:lnTo>
                  <a:pt x="3579469" y="3450092"/>
                </a:lnTo>
                <a:lnTo>
                  <a:pt x="3609180" y="3451442"/>
                </a:lnTo>
                <a:lnTo>
                  <a:pt x="3609180" y="3509975"/>
                </a:lnTo>
                <a:lnTo>
                  <a:pt x="3576823" y="3508833"/>
                </a:lnTo>
                <a:lnTo>
                  <a:pt x="3546911" y="3505440"/>
                </a:lnTo>
                <a:lnTo>
                  <a:pt x="3519356" y="3499845"/>
                </a:lnTo>
                <a:lnTo>
                  <a:pt x="3494075" y="3492100"/>
                </a:lnTo>
                <a:lnTo>
                  <a:pt x="3470984" y="3482254"/>
                </a:lnTo>
                <a:lnTo>
                  <a:pt x="3449996" y="3470356"/>
                </a:lnTo>
                <a:lnTo>
                  <a:pt x="3431027" y="3456457"/>
                </a:lnTo>
                <a:lnTo>
                  <a:pt x="3413994" y="3440607"/>
                </a:lnTo>
                <a:lnTo>
                  <a:pt x="3398810" y="3422855"/>
                </a:lnTo>
                <a:lnTo>
                  <a:pt x="3385391" y="3403253"/>
                </a:lnTo>
                <a:lnTo>
                  <a:pt x="3373653" y="3381848"/>
                </a:lnTo>
                <a:lnTo>
                  <a:pt x="3363510" y="3358693"/>
                </a:lnTo>
                <a:lnTo>
                  <a:pt x="3354878" y="3333835"/>
                </a:lnTo>
                <a:lnTo>
                  <a:pt x="3347672" y="3307327"/>
                </a:lnTo>
                <a:lnTo>
                  <a:pt x="3341807" y="3279216"/>
                </a:lnTo>
                <a:lnTo>
                  <a:pt x="3337199" y="3249555"/>
                </a:lnTo>
                <a:lnTo>
                  <a:pt x="3333762" y="3218391"/>
                </a:lnTo>
                <a:lnTo>
                  <a:pt x="3331412" y="3185776"/>
                </a:lnTo>
                <a:lnTo>
                  <a:pt x="3330064" y="3151759"/>
                </a:lnTo>
                <a:lnTo>
                  <a:pt x="3329634" y="3116390"/>
                </a:lnTo>
                <a:lnTo>
                  <a:pt x="3330078" y="3081172"/>
                </a:lnTo>
                <a:lnTo>
                  <a:pt x="3331466" y="3047306"/>
                </a:lnTo>
                <a:lnTo>
                  <a:pt x="3333878" y="3014840"/>
                </a:lnTo>
                <a:lnTo>
                  <a:pt x="3337392" y="2983823"/>
                </a:lnTo>
                <a:lnTo>
                  <a:pt x="3342091" y="2954304"/>
                </a:lnTo>
                <a:lnTo>
                  <a:pt x="3348054" y="2926333"/>
                </a:lnTo>
                <a:lnTo>
                  <a:pt x="3355360" y="2899960"/>
                </a:lnTo>
                <a:lnTo>
                  <a:pt x="3364092" y="2875233"/>
                </a:lnTo>
                <a:lnTo>
                  <a:pt x="3374328" y="2852202"/>
                </a:lnTo>
                <a:lnTo>
                  <a:pt x="3386148" y="2830915"/>
                </a:lnTo>
                <a:lnTo>
                  <a:pt x="3399634" y="2811421"/>
                </a:lnTo>
                <a:lnTo>
                  <a:pt x="3414866" y="2793771"/>
                </a:lnTo>
                <a:lnTo>
                  <a:pt x="3431923" y="2778013"/>
                </a:lnTo>
                <a:lnTo>
                  <a:pt x="3450886" y="2764197"/>
                </a:lnTo>
                <a:lnTo>
                  <a:pt x="3471835" y="2752371"/>
                </a:lnTo>
                <a:lnTo>
                  <a:pt x="3494850" y="2742585"/>
                </a:lnTo>
                <a:lnTo>
                  <a:pt x="3520012" y="2734888"/>
                </a:lnTo>
                <a:lnTo>
                  <a:pt x="3547401" y="2729329"/>
                </a:lnTo>
                <a:lnTo>
                  <a:pt x="3577097" y="2725958"/>
                </a:lnTo>
                <a:close/>
                <a:moveTo>
                  <a:pt x="1763020" y="2724824"/>
                </a:moveTo>
                <a:lnTo>
                  <a:pt x="1795103" y="2725958"/>
                </a:lnTo>
                <a:lnTo>
                  <a:pt x="1824799" y="2729329"/>
                </a:lnTo>
                <a:lnTo>
                  <a:pt x="1852188" y="2734888"/>
                </a:lnTo>
                <a:lnTo>
                  <a:pt x="1877351" y="2742585"/>
                </a:lnTo>
                <a:lnTo>
                  <a:pt x="1900366" y="2752371"/>
                </a:lnTo>
                <a:lnTo>
                  <a:pt x="1921315" y="2764197"/>
                </a:lnTo>
                <a:lnTo>
                  <a:pt x="1940277" y="2778013"/>
                </a:lnTo>
                <a:lnTo>
                  <a:pt x="1957335" y="2793771"/>
                </a:lnTo>
                <a:lnTo>
                  <a:pt x="1972567" y="2811421"/>
                </a:lnTo>
                <a:lnTo>
                  <a:pt x="1986053" y="2830915"/>
                </a:lnTo>
                <a:lnTo>
                  <a:pt x="1997873" y="2852202"/>
                </a:lnTo>
                <a:lnTo>
                  <a:pt x="2008108" y="2875233"/>
                </a:lnTo>
                <a:lnTo>
                  <a:pt x="2016839" y="2899960"/>
                </a:lnTo>
                <a:lnTo>
                  <a:pt x="2024146" y="2926333"/>
                </a:lnTo>
                <a:lnTo>
                  <a:pt x="2030109" y="2954304"/>
                </a:lnTo>
                <a:lnTo>
                  <a:pt x="2034807" y="2983823"/>
                </a:lnTo>
                <a:lnTo>
                  <a:pt x="2038322" y="3014840"/>
                </a:lnTo>
                <a:lnTo>
                  <a:pt x="2040733" y="3047306"/>
                </a:lnTo>
                <a:lnTo>
                  <a:pt x="2042121" y="3081172"/>
                </a:lnTo>
                <a:lnTo>
                  <a:pt x="2042566" y="3116390"/>
                </a:lnTo>
                <a:lnTo>
                  <a:pt x="2042142" y="3151759"/>
                </a:lnTo>
                <a:lnTo>
                  <a:pt x="2040814" y="3185776"/>
                </a:lnTo>
                <a:lnTo>
                  <a:pt x="2038495" y="3218391"/>
                </a:lnTo>
                <a:lnTo>
                  <a:pt x="2035097" y="3249555"/>
                </a:lnTo>
                <a:lnTo>
                  <a:pt x="2030534" y="3279216"/>
                </a:lnTo>
                <a:lnTo>
                  <a:pt x="2024718" y="3307327"/>
                </a:lnTo>
                <a:lnTo>
                  <a:pt x="2017562" y="3333835"/>
                </a:lnTo>
                <a:lnTo>
                  <a:pt x="2008979" y="3358693"/>
                </a:lnTo>
                <a:lnTo>
                  <a:pt x="1998885" y="3381848"/>
                </a:lnTo>
                <a:lnTo>
                  <a:pt x="1987188" y="3403253"/>
                </a:lnTo>
                <a:lnTo>
                  <a:pt x="1973803" y="3422855"/>
                </a:lnTo>
                <a:lnTo>
                  <a:pt x="1958642" y="3440607"/>
                </a:lnTo>
                <a:lnTo>
                  <a:pt x="1941620" y="3456457"/>
                </a:lnTo>
                <a:lnTo>
                  <a:pt x="1922649" y="3470356"/>
                </a:lnTo>
                <a:lnTo>
                  <a:pt x="1901643" y="3482254"/>
                </a:lnTo>
                <a:lnTo>
                  <a:pt x="1878513" y="3492100"/>
                </a:lnTo>
                <a:lnTo>
                  <a:pt x="1853172" y="3499845"/>
                </a:lnTo>
                <a:lnTo>
                  <a:pt x="1825536" y="3505440"/>
                </a:lnTo>
                <a:lnTo>
                  <a:pt x="1795513" y="3508833"/>
                </a:lnTo>
                <a:lnTo>
                  <a:pt x="1763020" y="3509975"/>
                </a:lnTo>
                <a:lnTo>
                  <a:pt x="1763020" y="3451442"/>
                </a:lnTo>
                <a:lnTo>
                  <a:pt x="1793057" y="3450092"/>
                </a:lnTo>
                <a:lnTo>
                  <a:pt x="1820214" y="3446089"/>
                </a:lnTo>
                <a:lnTo>
                  <a:pt x="1844626" y="3439506"/>
                </a:lnTo>
                <a:lnTo>
                  <a:pt x="1866433" y="3430414"/>
                </a:lnTo>
                <a:lnTo>
                  <a:pt x="1902772" y="3404987"/>
                </a:lnTo>
                <a:lnTo>
                  <a:pt x="1930327" y="3370381"/>
                </a:lnTo>
                <a:lnTo>
                  <a:pt x="1941152" y="3349814"/>
                </a:lnTo>
                <a:lnTo>
                  <a:pt x="1950192" y="3327167"/>
                </a:lnTo>
                <a:lnTo>
                  <a:pt x="1957581" y="3302511"/>
                </a:lnTo>
                <a:lnTo>
                  <a:pt x="1963459" y="3275918"/>
                </a:lnTo>
                <a:lnTo>
                  <a:pt x="1967961" y="3247458"/>
                </a:lnTo>
                <a:lnTo>
                  <a:pt x="1971225" y="3217204"/>
                </a:lnTo>
                <a:lnTo>
                  <a:pt x="1973386" y="3185227"/>
                </a:lnTo>
                <a:lnTo>
                  <a:pt x="1974583" y="3151598"/>
                </a:lnTo>
                <a:lnTo>
                  <a:pt x="1974951" y="3116390"/>
                </a:lnTo>
                <a:lnTo>
                  <a:pt x="1974564" y="3081527"/>
                </a:lnTo>
                <a:lnTo>
                  <a:pt x="1973312" y="3048223"/>
                </a:lnTo>
                <a:lnTo>
                  <a:pt x="1971069" y="3016550"/>
                </a:lnTo>
                <a:lnTo>
                  <a:pt x="1967704" y="2986579"/>
                </a:lnTo>
                <a:lnTo>
                  <a:pt x="1963089" y="2958381"/>
                </a:lnTo>
                <a:lnTo>
                  <a:pt x="1957093" y="2932028"/>
                </a:lnTo>
                <a:lnTo>
                  <a:pt x="1949587" y="2907592"/>
                </a:lnTo>
                <a:lnTo>
                  <a:pt x="1940442" y="2885144"/>
                </a:lnTo>
                <a:lnTo>
                  <a:pt x="1929528" y="2864756"/>
                </a:lnTo>
                <a:lnTo>
                  <a:pt x="1901878" y="2830443"/>
                </a:lnTo>
                <a:lnTo>
                  <a:pt x="1865600" y="2805225"/>
                </a:lnTo>
                <a:lnTo>
                  <a:pt x="1843901" y="2796206"/>
                </a:lnTo>
                <a:lnTo>
                  <a:pt x="1819659" y="2789676"/>
                </a:lnTo>
                <a:lnTo>
                  <a:pt x="1792742" y="2785704"/>
                </a:lnTo>
                <a:lnTo>
                  <a:pt x="1763020" y="2784365"/>
                </a:lnTo>
                <a:close/>
                <a:moveTo>
                  <a:pt x="1707483" y="2724824"/>
                </a:moveTo>
                <a:lnTo>
                  <a:pt x="1707483" y="2784365"/>
                </a:lnTo>
                <a:lnTo>
                  <a:pt x="1677930" y="2785704"/>
                </a:lnTo>
                <a:lnTo>
                  <a:pt x="1651159" y="2789676"/>
                </a:lnTo>
                <a:lnTo>
                  <a:pt x="1627047" y="2796206"/>
                </a:lnTo>
                <a:lnTo>
                  <a:pt x="1605462" y="2805225"/>
                </a:lnTo>
                <a:lnTo>
                  <a:pt x="1569362" y="2830443"/>
                </a:lnTo>
                <a:lnTo>
                  <a:pt x="1541834" y="2864756"/>
                </a:lnTo>
                <a:lnTo>
                  <a:pt x="1530965" y="2885144"/>
                </a:lnTo>
                <a:lnTo>
                  <a:pt x="1521855" y="2907592"/>
                </a:lnTo>
                <a:lnTo>
                  <a:pt x="1514375" y="2932028"/>
                </a:lnTo>
                <a:lnTo>
                  <a:pt x="1508397" y="2958381"/>
                </a:lnTo>
                <a:lnTo>
                  <a:pt x="1503795" y="2986579"/>
                </a:lnTo>
                <a:lnTo>
                  <a:pt x="1500438" y="3016550"/>
                </a:lnTo>
                <a:lnTo>
                  <a:pt x="1498199" y="3048223"/>
                </a:lnTo>
                <a:lnTo>
                  <a:pt x="1496949" y="3081527"/>
                </a:lnTo>
                <a:lnTo>
                  <a:pt x="1496561" y="3116390"/>
                </a:lnTo>
                <a:lnTo>
                  <a:pt x="1496940" y="3151598"/>
                </a:lnTo>
                <a:lnTo>
                  <a:pt x="1498161" y="3185227"/>
                </a:lnTo>
                <a:lnTo>
                  <a:pt x="1500361" y="3217204"/>
                </a:lnTo>
                <a:lnTo>
                  <a:pt x="1503667" y="3247458"/>
                </a:lnTo>
                <a:lnTo>
                  <a:pt x="1508213" y="3275918"/>
                </a:lnTo>
                <a:lnTo>
                  <a:pt x="1514131" y="3302511"/>
                </a:lnTo>
                <a:lnTo>
                  <a:pt x="1521553" y="3327167"/>
                </a:lnTo>
                <a:lnTo>
                  <a:pt x="1530611" y="3349814"/>
                </a:lnTo>
                <a:lnTo>
                  <a:pt x="1541435" y="3370381"/>
                </a:lnTo>
                <a:lnTo>
                  <a:pt x="1568914" y="3404987"/>
                </a:lnTo>
                <a:lnTo>
                  <a:pt x="1605045" y="3430414"/>
                </a:lnTo>
                <a:lnTo>
                  <a:pt x="1626684" y="3439506"/>
                </a:lnTo>
                <a:lnTo>
                  <a:pt x="1650883" y="3446089"/>
                </a:lnTo>
                <a:lnTo>
                  <a:pt x="1677771" y="3450092"/>
                </a:lnTo>
                <a:lnTo>
                  <a:pt x="1707483" y="3451442"/>
                </a:lnTo>
                <a:lnTo>
                  <a:pt x="1707483" y="3509975"/>
                </a:lnTo>
                <a:lnTo>
                  <a:pt x="1675126" y="3508833"/>
                </a:lnTo>
                <a:lnTo>
                  <a:pt x="1645214" y="3505440"/>
                </a:lnTo>
                <a:lnTo>
                  <a:pt x="1617658" y="3499845"/>
                </a:lnTo>
                <a:lnTo>
                  <a:pt x="1592378" y="3492100"/>
                </a:lnTo>
                <a:lnTo>
                  <a:pt x="1569286" y="3482254"/>
                </a:lnTo>
                <a:lnTo>
                  <a:pt x="1548298" y="3470356"/>
                </a:lnTo>
                <a:lnTo>
                  <a:pt x="1529330" y="3456457"/>
                </a:lnTo>
                <a:lnTo>
                  <a:pt x="1512297" y="3440607"/>
                </a:lnTo>
                <a:lnTo>
                  <a:pt x="1497113" y="3422855"/>
                </a:lnTo>
                <a:lnTo>
                  <a:pt x="1483694" y="3403253"/>
                </a:lnTo>
                <a:lnTo>
                  <a:pt x="1471955" y="3381848"/>
                </a:lnTo>
                <a:lnTo>
                  <a:pt x="1461812" y="3358693"/>
                </a:lnTo>
                <a:lnTo>
                  <a:pt x="1453180" y="3333835"/>
                </a:lnTo>
                <a:lnTo>
                  <a:pt x="1445974" y="3307327"/>
                </a:lnTo>
                <a:lnTo>
                  <a:pt x="1440110" y="3279216"/>
                </a:lnTo>
                <a:lnTo>
                  <a:pt x="1435501" y="3249555"/>
                </a:lnTo>
                <a:lnTo>
                  <a:pt x="1432064" y="3218391"/>
                </a:lnTo>
                <a:lnTo>
                  <a:pt x="1429714" y="3185776"/>
                </a:lnTo>
                <a:lnTo>
                  <a:pt x="1428366" y="3151759"/>
                </a:lnTo>
                <a:lnTo>
                  <a:pt x="1427937" y="3116390"/>
                </a:lnTo>
                <a:lnTo>
                  <a:pt x="1428380" y="3081172"/>
                </a:lnTo>
                <a:lnTo>
                  <a:pt x="1429769" y="3047306"/>
                </a:lnTo>
                <a:lnTo>
                  <a:pt x="1432180" y="3014840"/>
                </a:lnTo>
                <a:lnTo>
                  <a:pt x="1435694" y="2983823"/>
                </a:lnTo>
                <a:lnTo>
                  <a:pt x="1440394" y="2954304"/>
                </a:lnTo>
                <a:lnTo>
                  <a:pt x="1446356" y="2926333"/>
                </a:lnTo>
                <a:lnTo>
                  <a:pt x="1453663" y="2899960"/>
                </a:lnTo>
                <a:lnTo>
                  <a:pt x="1462394" y="2875233"/>
                </a:lnTo>
                <a:lnTo>
                  <a:pt x="1472630" y="2852202"/>
                </a:lnTo>
                <a:lnTo>
                  <a:pt x="1484451" y="2830915"/>
                </a:lnTo>
                <a:lnTo>
                  <a:pt x="1497937" y="2811421"/>
                </a:lnTo>
                <a:lnTo>
                  <a:pt x="1513169" y="2793771"/>
                </a:lnTo>
                <a:lnTo>
                  <a:pt x="1530226" y="2778013"/>
                </a:lnTo>
                <a:lnTo>
                  <a:pt x="1549189" y="2764197"/>
                </a:lnTo>
                <a:lnTo>
                  <a:pt x="1570137" y="2752371"/>
                </a:lnTo>
                <a:lnTo>
                  <a:pt x="1593152" y="2742585"/>
                </a:lnTo>
                <a:lnTo>
                  <a:pt x="1618315" y="2734888"/>
                </a:lnTo>
                <a:lnTo>
                  <a:pt x="1645704" y="2729329"/>
                </a:lnTo>
                <a:lnTo>
                  <a:pt x="1675399" y="2725958"/>
                </a:lnTo>
                <a:close/>
                <a:moveTo>
                  <a:pt x="1515448" y="2434173"/>
                </a:moveTo>
                <a:lnTo>
                  <a:pt x="1540977" y="2436396"/>
                </a:lnTo>
                <a:lnTo>
                  <a:pt x="1560735" y="2444391"/>
                </a:lnTo>
                <a:lnTo>
                  <a:pt x="1573491" y="2460144"/>
                </a:lnTo>
                <a:lnTo>
                  <a:pt x="1578018" y="2485642"/>
                </a:lnTo>
                <a:lnTo>
                  <a:pt x="1573491" y="2512307"/>
                </a:lnTo>
                <a:lnTo>
                  <a:pt x="1560735" y="2528659"/>
                </a:lnTo>
                <a:lnTo>
                  <a:pt x="1540977" y="2536874"/>
                </a:lnTo>
                <a:lnTo>
                  <a:pt x="1515448" y="2539129"/>
                </a:lnTo>
                <a:lnTo>
                  <a:pt x="1489919" y="2536874"/>
                </a:lnTo>
                <a:lnTo>
                  <a:pt x="1470160" y="2528659"/>
                </a:lnTo>
                <a:lnTo>
                  <a:pt x="1457404" y="2512307"/>
                </a:lnTo>
                <a:lnTo>
                  <a:pt x="1452878" y="2485642"/>
                </a:lnTo>
                <a:lnTo>
                  <a:pt x="1457545" y="2460144"/>
                </a:lnTo>
                <a:lnTo>
                  <a:pt x="1470538" y="2444391"/>
                </a:lnTo>
                <a:lnTo>
                  <a:pt x="1490344" y="2436396"/>
                </a:lnTo>
                <a:close/>
                <a:moveTo>
                  <a:pt x="1515448" y="2010312"/>
                </a:moveTo>
                <a:lnTo>
                  <a:pt x="1540977" y="2012409"/>
                </a:lnTo>
                <a:lnTo>
                  <a:pt x="1560735" y="2020277"/>
                </a:lnTo>
                <a:lnTo>
                  <a:pt x="1573491" y="2036282"/>
                </a:lnTo>
                <a:lnTo>
                  <a:pt x="1578018" y="2062790"/>
                </a:lnTo>
                <a:lnTo>
                  <a:pt x="1573491" y="2088445"/>
                </a:lnTo>
                <a:lnTo>
                  <a:pt x="1560735" y="2104545"/>
                </a:lnTo>
                <a:lnTo>
                  <a:pt x="1540977" y="2112886"/>
                </a:lnTo>
                <a:lnTo>
                  <a:pt x="1515448" y="2115267"/>
                </a:lnTo>
                <a:lnTo>
                  <a:pt x="1490502" y="2112886"/>
                </a:lnTo>
                <a:lnTo>
                  <a:pt x="1471043" y="2104545"/>
                </a:lnTo>
                <a:lnTo>
                  <a:pt x="1458396" y="2088445"/>
                </a:lnTo>
                <a:lnTo>
                  <a:pt x="1453887" y="2062790"/>
                </a:lnTo>
                <a:lnTo>
                  <a:pt x="1458396" y="2036282"/>
                </a:lnTo>
                <a:lnTo>
                  <a:pt x="1471043" y="2020277"/>
                </a:lnTo>
                <a:lnTo>
                  <a:pt x="1490502" y="2012409"/>
                </a:lnTo>
                <a:close/>
                <a:moveTo>
                  <a:pt x="2162394" y="1820398"/>
                </a:moveTo>
                <a:lnTo>
                  <a:pt x="2388447" y="1820398"/>
                </a:lnTo>
                <a:lnTo>
                  <a:pt x="2388447" y="1877980"/>
                </a:lnTo>
                <a:lnTo>
                  <a:pt x="2388447" y="2542096"/>
                </a:lnTo>
                <a:lnTo>
                  <a:pt x="2388447" y="2599679"/>
                </a:lnTo>
                <a:lnTo>
                  <a:pt x="2162394" y="2599679"/>
                </a:lnTo>
                <a:lnTo>
                  <a:pt x="2162394" y="2542096"/>
                </a:lnTo>
                <a:lnTo>
                  <a:pt x="2318818" y="2542096"/>
                </a:lnTo>
                <a:lnTo>
                  <a:pt x="2318818" y="1877980"/>
                </a:lnTo>
                <a:lnTo>
                  <a:pt x="2162394" y="1877980"/>
                </a:lnTo>
                <a:close/>
                <a:moveTo>
                  <a:pt x="899438" y="1820398"/>
                </a:moveTo>
                <a:lnTo>
                  <a:pt x="1125499" y="1820398"/>
                </a:lnTo>
                <a:lnTo>
                  <a:pt x="1125499" y="1877980"/>
                </a:lnTo>
                <a:lnTo>
                  <a:pt x="969075" y="1877980"/>
                </a:lnTo>
                <a:lnTo>
                  <a:pt x="969075" y="2542096"/>
                </a:lnTo>
                <a:lnTo>
                  <a:pt x="1125499" y="2542096"/>
                </a:lnTo>
                <a:lnTo>
                  <a:pt x="1125499" y="2599679"/>
                </a:lnTo>
                <a:lnTo>
                  <a:pt x="899438" y="2599679"/>
                </a:lnTo>
                <a:lnTo>
                  <a:pt x="899438" y="2542096"/>
                </a:lnTo>
                <a:lnTo>
                  <a:pt x="899438" y="1877980"/>
                </a:lnTo>
                <a:close/>
                <a:moveTo>
                  <a:pt x="4360117" y="1816547"/>
                </a:moveTo>
                <a:lnTo>
                  <a:pt x="4392199" y="1817681"/>
                </a:lnTo>
                <a:lnTo>
                  <a:pt x="4421895" y="1821052"/>
                </a:lnTo>
                <a:lnTo>
                  <a:pt x="4449284" y="1826611"/>
                </a:lnTo>
                <a:lnTo>
                  <a:pt x="4474446" y="1834308"/>
                </a:lnTo>
                <a:lnTo>
                  <a:pt x="4497461" y="1844094"/>
                </a:lnTo>
                <a:lnTo>
                  <a:pt x="4518410" y="1855920"/>
                </a:lnTo>
                <a:lnTo>
                  <a:pt x="4537373" y="1869736"/>
                </a:lnTo>
                <a:lnTo>
                  <a:pt x="4554430" y="1885494"/>
                </a:lnTo>
                <a:lnTo>
                  <a:pt x="4569662" y="1903144"/>
                </a:lnTo>
                <a:lnTo>
                  <a:pt x="4583148" y="1922638"/>
                </a:lnTo>
                <a:lnTo>
                  <a:pt x="4594968" y="1943925"/>
                </a:lnTo>
                <a:lnTo>
                  <a:pt x="4605204" y="1966956"/>
                </a:lnTo>
                <a:lnTo>
                  <a:pt x="4613936" y="1991684"/>
                </a:lnTo>
                <a:lnTo>
                  <a:pt x="4621243" y="2018057"/>
                </a:lnTo>
                <a:lnTo>
                  <a:pt x="4627205" y="2046027"/>
                </a:lnTo>
                <a:lnTo>
                  <a:pt x="4631904" y="2075545"/>
                </a:lnTo>
                <a:lnTo>
                  <a:pt x="4635419" y="2106562"/>
                </a:lnTo>
                <a:lnTo>
                  <a:pt x="4637830" y="2139029"/>
                </a:lnTo>
                <a:lnTo>
                  <a:pt x="4639218" y="2172895"/>
                </a:lnTo>
                <a:lnTo>
                  <a:pt x="4639663" y="2208113"/>
                </a:lnTo>
                <a:lnTo>
                  <a:pt x="4639239" y="2243481"/>
                </a:lnTo>
                <a:lnTo>
                  <a:pt x="4637911" y="2277499"/>
                </a:lnTo>
                <a:lnTo>
                  <a:pt x="4635592" y="2310114"/>
                </a:lnTo>
                <a:lnTo>
                  <a:pt x="4632194" y="2341278"/>
                </a:lnTo>
                <a:lnTo>
                  <a:pt x="4627631" y="2370939"/>
                </a:lnTo>
                <a:lnTo>
                  <a:pt x="4621815" y="2399050"/>
                </a:lnTo>
                <a:lnTo>
                  <a:pt x="4614659" y="2425558"/>
                </a:lnTo>
                <a:lnTo>
                  <a:pt x="4606076" y="2450416"/>
                </a:lnTo>
                <a:lnTo>
                  <a:pt x="4595980" y="2473571"/>
                </a:lnTo>
                <a:lnTo>
                  <a:pt x="4584283" y="2494976"/>
                </a:lnTo>
                <a:lnTo>
                  <a:pt x="4570898" y="2514578"/>
                </a:lnTo>
                <a:lnTo>
                  <a:pt x="4555738" y="2532329"/>
                </a:lnTo>
                <a:lnTo>
                  <a:pt x="4538716" y="2548180"/>
                </a:lnTo>
                <a:lnTo>
                  <a:pt x="4519745" y="2562078"/>
                </a:lnTo>
                <a:lnTo>
                  <a:pt x="4498739" y="2573976"/>
                </a:lnTo>
                <a:lnTo>
                  <a:pt x="4475608" y="2583822"/>
                </a:lnTo>
                <a:lnTo>
                  <a:pt x="4450268" y="2591568"/>
                </a:lnTo>
                <a:lnTo>
                  <a:pt x="4422631" y="2597162"/>
                </a:lnTo>
                <a:lnTo>
                  <a:pt x="4392609" y="2600555"/>
                </a:lnTo>
                <a:lnTo>
                  <a:pt x="4360117" y="2601697"/>
                </a:lnTo>
                <a:lnTo>
                  <a:pt x="4360117" y="2543165"/>
                </a:lnTo>
                <a:lnTo>
                  <a:pt x="4390153" y="2541815"/>
                </a:lnTo>
                <a:lnTo>
                  <a:pt x="4417309" y="2537812"/>
                </a:lnTo>
                <a:lnTo>
                  <a:pt x="4441722" y="2531229"/>
                </a:lnTo>
                <a:lnTo>
                  <a:pt x="4463528" y="2522137"/>
                </a:lnTo>
                <a:lnTo>
                  <a:pt x="4499868" y="2496710"/>
                </a:lnTo>
                <a:lnTo>
                  <a:pt x="4527422" y="2462104"/>
                </a:lnTo>
                <a:lnTo>
                  <a:pt x="4538247" y="2441537"/>
                </a:lnTo>
                <a:lnTo>
                  <a:pt x="4547286" y="2418890"/>
                </a:lnTo>
                <a:lnTo>
                  <a:pt x="4554676" y="2394234"/>
                </a:lnTo>
                <a:lnTo>
                  <a:pt x="4560554" y="2367640"/>
                </a:lnTo>
                <a:lnTo>
                  <a:pt x="4565056" y="2339181"/>
                </a:lnTo>
                <a:lnTo>
                  <a:pt x="4568320" y="2308927"/>
                </a:lnTo>
                <a:lnTo>
                  <a:pt x="4570482" y="2276950"/>
                </a:lnTo>
                <a:lnTo>
                  <a:pt x="4571678" y="2243321"/>
                </a:lnTo>
                <a:lnTo>
                  <a:pt x="4572047" y="2208113"/>
                </a:lnTo>
                <a:lnTo>
                  <a:pt x="4571659" y="2173250"/>
                </a:lnTo>
                <a:lnTo>
                  <a:pt x="4570407" y="2139946"/>
                </a:lnTo>
                <a:lnTo>
                  <a:pt x="4568164" y="2108273"/>
                </a:lnTo>
                <a:lnTo>
                  <a:pt x="4564799" y="2078302"/>
                </a:lnTo>
                <a:lnTo>
                  <a:pt x="4560184" y="2050104"/>
                </a:lnTo>
                <a:lnTo>
                  <a:pt x="4554188" y="2023752"/>
                </a:lnTo>
                <a:lnTo>
                  <a:pt x="4546682" y="1999316"/>
                </a:lnTo>
                <a:lnTo>
                  <a:pt x="4537537" y="1976868"/>
                </a:lnTo>
                <a:lnTo>
                  <a:pt x="4526623" y="1956479"/>
                </a:lnTo>
                <a:lnTo>
                  <a:pt x="4498973" y="1922166"/>
                </a:lnTo>
                <a:lnTo>
                  <a:pt x="4462695" y="1896949"/>
                </a:lnTo>
                <a:lnTo>
                  <a:pt x="4440997" y="1887930"/>
                </a:lnTo>
                <a:lnTo>
                  <a:pt x="4416755" y="1881399"/>
                </a:lnTo>
                <a:lnTo>
                  <a:pt x="4389837" y="1877428"/>
                </a:lnTo>
                <a:lnTo>
                  <a:pt x="4360117" y="1876089"/>
                </a:lnTo>
                <a:close/>
                <a:moveTo>
                  <a:pt x="4047617" y="1816547"/>
                </a:moveTo>
                <a:lnTo>
                  <a:pt x="4047617" y="1876089"/>
                </a:lnTo>
                <a:lnTo>
                  <a:pt x="4018064" y="1877428"/>
                </a:lnTo>
                <a:lnTo>
                  <a:pt x="3991294" y="1881399"/>
                </a:lnTo>
                <a:lnTo>
                  <a:pt x="3967181" y="1887930"/>
                </a:lnTo>
                <a:lnTo>
                  <a:pt x="3945596" y="1896949"/>
                </a:lnTo>
                <a:lnTo>
                  <a:pt x="3909496" y="1922166"/>
                </a:lnTo>
                <a:lnTo>
                  <a:pt x="3881969" y="1956479"/>
                </a:lnTo>
                <a:lnTo>
                  <a:pt x="3871100" y="1976868"/>
                </a:lnTo>
                <a:lnTo>
                  <a:pt x="3861989" y="1999316"/>
                </a:lnTo>
                <a:lnTo>
                  <a:pt x="3854510" y="2023752"/>
                </a:lnTo>
                <a:lnTo>
                  <a:pt x="3848532" y="2050104"/>
                </a:lnTo>
                <a:lnTo>
                  <a:pt x="3843929" y="2078302"/>
                </a:lnTo>
                <a:lnTo>
                  <a:pt x="3840572" y="2108273"/>
                </a:lnTo>
                <a:lnTo>
                  <a:pt x="3838333" y="2139946"/>
                </a:lnTo>
                <a:lnTo>
                  <a:pt x="3837083" y="2173250"/>
                </a:lnTo>
                <a:lnTo>
                  <a:pt x="3836695" y="2208113"/>
                </a:lnTo>
                <a:lnTo>
                  <a:pt x="3837074" y="2243321"/>
                </a:lnTo>
                <a:lnTo>
                  <a:pt x="3838296" y="2276950"/>
                </a:lnTo>
                <a:lnTo>
                  <a:pt x="3840495" y="2308927"/>
                </a:lnTo>
                <a:lnTo>
                  <a:pt x="3843801" y="2339181"/>
                </a:lnTo>
                <a:lnTo>
                  <a:pt x="3848348" y="2367640"/>
                </a:lnTo>
                <a:lnTo>
                  <a:pt x="3854266" y="2394234"/>
                </a:lnTo>
                <a:lnTo>
                  <a:pt x="3861687" y="2418890"/>
                </a:lnTo>
                <a:lnTo>
                  <a:pt x="3870745" y="2441537"/>
                </a:lnTo>
                <a:lnTo>
                  <a:pt x="3881570" y="2462104"/>
                </a:lnTo>
                <a:lnTo>
                  <a:pt x="3909048" y="2496710"/>
                </a:lnTo>
                <a:lnTo>
                  <a:pt x="3945179" y="2522137"/>
                </a:lnTo>
                <a:lnTo>
                  <a:pt x="3966819" y="2531229"/>
                </a:lnTo>
                <a:lnTo>
                  <a:pt x="3991017" y="2537812"/>
                </a:lnTo>
                <a:lnTo>
                  <a:pt x="4017906" y="2541815"/>
                </a:lnTo>
                <a:lnTo>
                  <a:pt x="4047617" y="2543165"/>
                </a:lnTo>
                <a:lnTo>
                  <a:pt x="4047617" y="2601697"/>
                </a:lnTo>
                <a:lnTo>
                  <a:pt x="4015260" y="2600555"/>
                </a:lnTo>
                <a:lnTo>
                  <a:pt x="3985348" y="2597162"/>
                </a:lnTo>
                <a:lnTo>
                  <a:pt x="3957793" y="2591568"/>
                </a:lnTo>
                <a:lnTo>
                  <a:pt x="3932512" y="2583822"/>
                </a:lnTo>
                <a:lnTo>
                  <a:pt x="3909421" y="2573976"/>
                </a:lnTo>
                <a:lnTo>
                  <a:pt x="3888433" y="2562078"/>
                </a:lnTo>
                <a:lnTo>
                  <a:pt x="3869464" y="2548180"/>
                </a:lnTo>
                <a:lnTo>
                  <a:pt x="3852431" y="2532329"/>
                </a:lnTo>
                <a:lnTo>
                  <a:pt x="3837247" y="2514578"/>
                </a:lnTo>
                <a:lnTo>
                  <a:pt x="3823828" y="2494976"/>
                </a:lnTo>
                <a:lnTo>
                  <a:pt x="3812090" y="2473571"/>
                </a:lnTo>
                <a:lnTo>
                  <a:pt x="3801947" y="2450416"/>
                </a:lnTo>
                <a:lnTo>
                  <a:pt x="3793315" y="2425558"/>
                </a:lnTo>
                <a:lnTo>
                  <a:pt x="3786109" y="2399050"/>
                </a:lnTo>
                <a:lnTo>
                  <a:pt x="3780244" y="2370939"/>
                </a:lnTo>
                <a:lnTo>
                  <a:pt x="3775636" y="2341278"/>
                </a:lnTo>
                <a:lnTo>
                  <a:pt x="3772199" y="2310114"/>
                </a:lnTo>
                <a:lnTo>
                  <a:pt x="3769849" y="2277499"/>
                </a:lnTo>
                <a:lnTo>
                  <a:pt x="3768501" y="2243481"/>
                </a:lnTo>
                <a:lnTo>
                  <a:pt x="3768071" y="2208113"/>
                </a:lnTo>
                <a:lnTo>
                  <a:pt x="3768515" y="2172895"/>
                </a:lnTo>
                <a:lnTo>
                  <a:pt x="3769903" y="2139029"/>
                </a:lnTo>
                <a:lnTo>
                  <a:pt x="3772315" y="2106562"/>
                </a:lnTo>
                <a:lnTo>
                  <a:pt x="3775829" y="2075545"/>
                </a:lnTo>
                <a:lnTo>
                  <a:pt x="3780528" y="2046027"/>
                </a:lnTo>
                <a:lnTo>
                  <a:pt x="3786491" y="2018057"/>
                </a:lnTo>
                <a:lnTo>
                  <a:pt x="3793797" y="1991684"/>
                </a:lnTo>
                <a:lnTo>
                  <a:pt x="3802529" y="1966956"/>
                </a:lnTo>
                <a:lnTo>
                  <a:pt x="3812765" y="1943925"/>
                </a:lnTo>
                <a:lnTo>
                  <a:pt x="3824585" y="1922638"/>
                </a:lnTo>
                <a:lnTo>
                  <a:pt x="3838071" y="1903144"/>
                </a:lnTo>
                <a:lnTo>
                  <a:pt x="3853303" y="1885494"/>
                </a:lnTo>
                <a:lnTo>
                  <a:pt x="3870360" y="1869736"/>
                </a:lnTo>
                <a:lnTo>
                  <a:pt x="3889323" y="1855920"/>
                </a:lnTo>
                <a:lnTo>
                  <a:pt x="3910272" y="1844094"/>
                </a:lnTo>
                <a:lnTo>
                  <a:pt x="3933287" y="1834308"/>
                </a:lnTo>
                <a:lnTo>
                  <a:pt x="3958449" y="1826611"/>
                </a:lnTo>
                <a:lnTo>
                  <a:pt x="3985838" y="1821052"/>
                </a:lnTo>
                <a:lnTo>
                  <a:pt x="4015534" y="1817681"/>
                </a:lnTo>
                <a:close/>
                <a:moveTo>
                  <a:pt x="3372436" y="1816547"/>
                </a:moveTo>
                <a:lnTo>
                  <a:pt x="3404519" y="1817681"/>
                </a:lnTo>
                <a:lnTo>
                  <a:pt x="3434214" y="1821052"/>
                </a:lnTo>
                <a:lnTo>
                  <a:pt x="3461603" y="1826611"/>
                </a:lnTo>
                <a:lnTo>
                  <a:pt x="3486765" y="1834308"/>
                </a:lnTo>
                <a:lnTo>
                  <a:pt x="3509781" y="1844094"/>
                </a:lnTo>
                <a:lnTo>
                  <a:pt x="3530730" y="1855920"/>
                </a:lnTo>
                <a:lnTo>
                  <a:pt x="3549692" y="1869736"/>
                </a:lnTo>
                <a:lnTo>
                  <a:pt x="3566749" y="1885494"/>
                </a:lnTo>
                <a:lnTo>
                  <a:pt x="3581981" y="1903144"/>
                </a:lnTo>
                <a:lnTo>
                  <a:pt x="3595467" y="1922638"/>
                </a:lnTo>
                <a:lnTo>
                  <a:pt x="3607288" y="1943925"/>
                </a:lnTo>
                <a:lnTo>
                  <a:pt x="3617524" y="1966956"/>
                </a:lnTo>
                <a:lnTo>
                  <a:pt x="3626255" y="1991684"/>
                </a:lnTo>
                <a:lnTo>
                  <a:pt x="3633562" y="2018057"/>
                </a:lnTo>
                <a:lnTo>
                  <a:pt x="3639525" y="2046027"/>
                </a:lnTo>
                <a:lnTo>
                  <a:pt x="3644223" y="2075545"/>
                </a:lnTo>
                <a:lnTo>
                  <a:pt x="3647738" y="2106562"/>
                </a:lnTo>
                <a:lnTo>
                  <a:pt x="3650149" y="2139029"/>
                </a:lnTo>
                <a:lnTo>
                  <a:pt x="3651537" y="2172895"/>
                </a:lnTo>
                <a:lnTo>
                  <a:pt x="3651982" y="2208113"/>
                </a:lnTo>
                <a:lnTo>
                  <a:pt x="3651559" y="2243481"/>
                </a:lnTo>
                <a:lnTo>
                  <a:pt x="3650231" y="2277499"/>
                </a:lnTo>
                <a:lnTo>
                  <a:pt x="3647912" y="2310114"/>
                </a:lnTo>
                <a:lnTo>
                  <a:pt x="3644514" y="2341278"/>
                </a:lnTo>
                <a:lnTo>
                  <a:pt x="3639951" y="2370939"/>
                </a:lnTo>
                <a:lnTo>
                  <a:pt x="3634134" y="2399050"/>
                </a:lnTo>
                <a:lnTo>
                  <a:pt x="3626978" y="2425558"/>
                </a:lnTo>
                <a:lnTo>
                  <a:pt x="3618396" y="2450416"/>
                </a:lnTo>
                <a:lnTo>
                  <a:pt x="3608300" y="2473571"/>
                </a:lnTo>
                <a:lnTo>
                  <a:pt x="3596603" y="2494976"/>
                </a:lnTo>
                <a:lnTo>
                  <a:pt x="3583218" y="2514578"/>
                </a:lnTo>
                <a:lnTo>
                  <a:pt x="3568058" y="2532329"/>
                </a:lnTo>
                <a:lnTo>
                  <a:pt x="3551036" y="2548180"/>
                </a:lnTo>
                <a:lnTo>
                  <a:pt x="3532065" y="2562078"/>
                </a:lnTo>
                <a:lnTo>
                  <a:pt x="3511058" y="2573976"/>
                </a:lnTo>
                <a:lnTo>
                  <a:pt x="3487928" y="2583822"/>
                </a:lnTo>
                <a:lnTo>
                  <a:pt x="3462587" y="2591568"/>
                </a:lnTo>
                <a:lnTo>
                  <a:pt x="3434950" y="2597162"/>
                </a:lnTo>
                <a:lnTo>
                  <a:pt x="3404929" y="2600555"/>
                </a:lnTo>
                <a:lnTo>
                  <a:pt x="3372436" y="2601697"/>
                </a:lnTo>
                <a:lnTo>
                  <a:pt x="3372436" y="2543165"/>
                </a:lnTo>
                <a:lnTo>
                  <a:pt x="3402473" y="2541815"/>
                </a:lnTo>
                <a:lnTo>
                  <a:pt x="3429629" y="2537812"/>
                </a:lnTo>
                <a:lnTo>
                  <a:pt x="3454042" y="2531229"/>
                </a:lnTo>
                <a:lnTo>
                  <a:pt x="3475848" y="2522137"/>
                </a:lnTo>
                <a:lnTo>
                  <a:pt x="3512187" y="2496710"/>
                </a:lnTo>
                <a:lnTo>
                  <a:pt x="3539742" y="2462104"/>
                </a:lnTo>
                <a:lnTo>
                  <a:pt x="3550566" y="2441537"/>
                </a:lnTo>
                <a:lnTo>
                  <a:pt x="3559606" y="2418890"/>
                </a:lnTo>
                <a:lnTo>
                  <a:pt x="3566995" y="2394234"/>
                </a:lnTo>
                <a:lnTo>
                  <a:pt x="3572873" y="2367640"/>
                </a:lnTo>
                <a:lnTo>
                  <a:pt x="3577375" y="2339181"/>
                </a:lnTo>
                <a:lnTo>
                  <a:pt x="3580639" y="2308927"/>
                </a:lnTo>
                <a:lnTo>
                  <a:pt x="3582801" y="2276950"/>
                </a:lnTo>
                <a:lnTo>
                  <a:pt x="3583997" y="2243321"/>
                </a:lnTo>
                <a:lnTo>
                  <a:pt x="3584366" y="2208113"/>
                </a:lnTo>
                <a:lnTo>
                  <a:pt x="3583978" y="2173250"/>
                </a:lnTo>
                <a:lnTo>
                  <a:pt x="3582727" y="2139946"/>
                </a:lnTo>
                <a:lnTo>
                  <a:pt x="3580484" y="2108273"/>
                </a:lnTo>
                <a:lnTo>
                  <a:pt x="3577119" y="2078302"/>
                </a:lnTo>
                <a:lnTo>
                  <a:pt x="3572503" y="2050104"/>
                </a:lnTo>
                <a:lnTo>
                  <a:pt x="3566508" y="2023752"/>
                </a:lnTo>
                <a:lnTo>
                  <a:pt x="3559002" y="1999316"/>
                </a:lnTo>
                <a:lnTo>
                  <a:pt x="3549857" y="1976868"/>
                </a:lnTo>
                <a:lnTo>
                  <a:pt x="3538943" y="1956479"/>
                </a:lnTo>
                <a:lnTo>
                  <a:pt x="3511293" y="1922166"/>
                </a:lnTo>
                <a:lnTo>
                  <a:pt x="3475015" y="1896949"/>
                </a:lnTo>
                <a:lnTo>
                  <a:pt x="3453317" y="1887930"/>
                </a:lnTo>
                <a:lnTo>
                  <a:pt x="3429074" y="1881399"/>
                </a:lnTo>
                <a:lnTo>
                  <a:pt x="3402157" y="1877428"/>
                </a:lnTo>
                <a:lnTo>
                  <a:pt x="3372436" y="1876089"/>
                </a:lnTo>
                <a:close/>
                <a:moveTo>
                  <a:pt x="3059949" y="1816547"/>
                </a:moveTo>
                <a:lnTo>
                  <a:pt x="3059949" y="1876089"/>
                </a:lnTo>
                <a:lnTo>
                  <a:pt x="3030395" y="1877428"/>
                </a:lnTo>
                <a:lnTo>
                  <a:pt x="3003626" y="1881399"/>
                </a:lnTo>
                <a:lnTo>
                  <a:pt x="2979513" y="1887930"/>
                </a:lnTo>
                <a:lnTo>
                  <a:pt x="2957928" y="1896949"/>
                </a:lnTo>
                <a:lnTo>
                  <a:pt x="2921828" y="1922166"/>
                </a:lnTo>
                <a:lnTo>
                  <a:pt x="2894301" y="1956479"/>
                </a:lnTo>
                <a:lnTo>
                  <a:pt x="2883432" y="1976868"/>
                </a:lnTo>
                <a:lnTo>
                  <a:pt x="2874322" y="1999316"/>
                </a:lnTo>
                <a:lnTo>
                  <a:pt x="2866842" y="2023752"/>
                </a:lnTo>
                <a:lnTo>
                  <a:pt x="2860864" y="2050104"/>
                </a:lnTo>
                <a:lnTo>
                  <a:pt x="2856262" y="2078302"/>
                </a:lnTo>
                <a:lnTo>
                  <a:pt x="2852905" y="2108273"/>
                </a:lnTo>
                <a:lnTo>
                  <a:pt x="2850665" y="2139946"/>
                </a:lnTo>
                <a:lnTo>
                  <a:pt x="2849415" y="2173250"/>
                </a:lnTo>
                <a:lnTo>
                  <a:pt x="2849027" y="2208113"/>
                </a:lnTo>
                <a:lnTo>
                  <a:pt x="2849405" y="2243321"/>
                </a:lnTo>
                <a:lnTo>
                  <a:pt x="2850628" y="2276950"/>
                </a:lnTo>
                <a:lnTo>
                  <a:pt x="2852827" y="2308927"/>
                </a:lnTo>
                <a:lnTo>
                  <a:pt x="2856133" y="2339181"/>
                </a:lnTo>
                <a:lnTo>
                  <a:pt x="2860680" y="2367640"/>
                </a:lnTo>
                <a:lnTo>
                  <a:pt x="2866598" y="2394234"/>
                </a:lnTo>
                <a:lnTo>
                  <a:pt x="2874020" y="2418890"/>
                </a:lnTo>
                <a:lnTo>
                  <a:pt x="2883077" y="2441537"/>
                </a:lnTo>
                <a:lnTo>
                  <a:pt x="2893902" y="2462104"/>
                </a:lnTo>
                <a:lnTo>
                  <a:pt x="2921381" y="2496710"/>
                </a:lnTo>
                <a:lnTo>
                  <a:pt x="2957511" y="2522137"/>
                </a:lnTo>
                <a:lnTo>
                  <a:pt x="2979151" y="2531229"/>
                </a:lnTo>
                <a:lnTo>
                  <a:pt x="3003349" y="2537812"/>
                </a:lnTo>
                <a:lnTo>
                  <a:pt x="3030237" y="2541815"/>
                </a:lnTo>
                <a:lnTo>
                  <a:pt x="3059949" y="2543165"/>
                </a:lnTo>
                <a:lnTo>
                  <a:pt x="3059949" y="2601697"/>
                </a:lnTo>
                <a:lnTo>
                  <a:pt x="3027592" y="2600555"/>
                </a:lnTo>
                <a:lnTo>
                  <a:pt x="2997679" y="2597162"/>
                </a:lnTo>
                <a:lnTo>
                  <a:pt x="2970125" y="2591568"/>
                </a:lnTo>
                <a:lnTo>
                  <a:pt x="2944845" y="2583822"/>
                </a:lnTo>
                <a:lnTo>
                  <a:pt x="2921752" y="2573976"/>
                </a:lnTo>
                <a:lnTo>
                  <a:pt x="2900765" y="2562078"/>
                </a:lnTo>
                <a:lnTo>
                  <a:pt x="2881797" y="2548180"/>
                </a:lnTo>
                <a:lnTo>
                  <a:pt x="2864763" y="2532329"/>
                </a:lnTo>
                <a:lnTo>
                  <a:pt x="2849579" y="2514578"/>
                </a:lnTo>
                <a:lnTo>
                  <a:pt x="2836160" y="2494976"/>
                </a:lnTo>
                <a:lnTo>
                  <a:pt x="2824422" y="2473571"/>
                </a:lnTo>
                <a:lnTo>
                  <a:pt x="2814279" y="2450416"/>
                </a:lnTo>
                <a:lnTo>
                  <a:pt x="2805647" y="2425558"/>
                </a:lnTo>
                <a:lnTo>
                  <a:pt x="2798440" y="2399050"/>
                </a:lnTo>
                <a:lnTo>
                  <a:pt x="2792576" y="2370939"/>
                </a:lnTo>
                <a:lnTo>
                  <a:pt x="2787967" y="2341278"/>
                </a:lnTo>
                <a:lnTo>
                  <a:pt x="2784531" y="2310114"/>
                </a:lnTo>
                <a:lnTo>
                  <a:pt x="2782181" y="2277499"/>
                </a:lnTo>
                <a:lnTo>
                  <a:pt x="2780833" y="2243481"/>
                </a:lnTo>
                <a:lnTo>
                  <a:pt x="2780403" y="2208113"/>
                </a:lnTo>
                <a:lnTo>
                  <a:pt x="2780847" y="2172895"/>
                </a:lnTo>
                <a:lnTo>
                  <a:pt x="2782235" y="2139029"/>
                </a:lnTo>
                <a:lnTo>
                  <a:pt x="2784647" y="2106562"/>
                </a:lnTo>
                <a:lnTo>
                  <a:pt x="2788161" y="2075545"/>
                </a:lnTo>
                <a:lnTo>
                  <a:pt x="2792860" y="2046027"/>
                </a:lnTo>
                <a:lnTo>
                  <a:pt x="2798822" y="2018057"/>
                </a:lnTo>
                <a:lnTo>
                  <a:pt x="2806129" y="1991684"/>
                </a:lnTo>
                <a:lnTo>
                  <a:pt x="2814860" y="1966956"/>
                </a:lnTo>
                <a:lnTo>
                  <a:pt x="2825096" y="1943925"/>
                </a:lnTo>
                <a:lnTo>
                  <a:pt x="2836917" y="1922638"/>
                </a:lnTo>
                <a:lnTo>
                  <a:pt x="2850403" y="1903144"/>
                </a:lnTo>
                <a:lnTo>
                  <a:pt x="2865635" y="1885494"/>
                </a:lnTo>
                <a:lnTo>
                  <a:pt x="2882692" y="1869736"/>
                </a:lnTo>
                <a:lnTo>
                  <a:pt x="2901655" y="1855920"/>
                </a:lnTo>
                <a:lnTo>
                  <a:pt x="2922604" y="1844094"/>
                </a:lnTo>
                <a:lnTo>
                  <a:pt x="2945620" y="1834308"/>
                </a:lnTo>
                <a:lnTo>
                  <a:pt x="2970781" y="1826611"/>
                </a:lnTo>
                <a:lnTo>
                  <a:pt x="2998170" y="1821052"/>
                </a:lnTo>
                <a:lnTo>
                  <a:pt x="3027866" y="1817681"/>
                </a:lnTo>
                <a:close/>
                <a:moveTo>
                  <a:pt x="536490" y="1816547"/>
                </a:moveTo>
                <a:lnTo>
                  <a:pt x="536490" y="1876089"/>
                </a:lnTo>
                <a:lnTo>
                  <a:pt x="506936" y="1877428"/>
                </a:lnTo>
                <a:lnTo>
                  <a:pt x="480166" y="1881399"/>
                </a:lnTo>
                <a:lnTo>
                  <a:pt x="456054" y="1887930"/>
                </a:lnTo>
                <a:lnTo>
                  <a:pt x="434468" y="1896949"/>
                </a:lnTo>
                <a:lnTo>
                  <a:pt x="398368" y="1922166"/>
                </a:lnTo>
                <a:lnTo>
                  <a:pt x="370840" y="1956479"/>
                </a:lnTo>
                <a:lnTo>
                  <a:pt x="359971" y="1976868"/>
                </a:lnTo>
                <a:lnTo>
                  <a:pt x="350861" y="1999316"/>
                </a:lnTo>
                <a:lnTo>
                  <a:pt x="343382" y="2023752"/>
                </a:lnTo>
                <a:lnTo>
                  <a:pt x="337404" y="2050104"/>
                </a:lnTo>
                <a:lnTo>
                  <a:pt x="332801" y="2078302"/>
                </a:lnTo>
                <a:lnTo>
                  <a:pt x="329444" y="2108273"/>
                </a:lnTo>
                <a:lnTo>
                  <a:pt x="327205" y="2139946"/>
                </a:lnTo>
                <a:lnTo>
                  <a:pt x="325955" y="2173250"/>
                </a:lnTo>
                <a:lnTo>
                  <a:pt x="325567" y="2208113"/>
                </a:lnTo>
                <a:lnTo>
                  <a:pt x="325946" y="2243321"/>
                </a:lnTo>
                <a:lnTo>
                  <a:pt x="327168" y="2276950"/>
                </a:lnTo>
                <a:lnTo>
                  <a:pt x="329367" y="2308927"/>
                </a:lnTo>
                <a:lnTo>
                  <a:pt x="332673" y="2339181"/>
                </a:lnTo>
                <a:lnTo>
                  <a:pt x="337220" y="2367640"/>
                </a:lnTo>
                <a:lnTo>
                  <a:pt x="343138" y="2394234"/>
                </a:lnTo>
                <a:lnTo>
                  <a:pt x="350560" y="2418890"/>
                </a:lnTo>
                <a:lnTo>
                  <a:pt x="359617" y="2441537"/>
                </a:lnTo>
                <a:lnTo>
                  <a:pt x="370442" y="2462104"/>
                </a:lnTo>
                <a:lnTo>
                  <a:pt x="397921" y="2496710"/>
                </a:lnTo>
                <a:lnTo>
                  <a:pt x="434052" y="2522137"/>
                </a:lnTo>
                <a:lnTo>
                  <a:pt x="455691" y="2531229"/>
                </a:lnTo>
                <a:lnTo>
                  <a:pt x="479890" y="2537812"/>
                </a:lnTo>
                <a:lnTo>
                  <a:pt x="506778" y="2541815"/>
                </a:lnTo>
                <a:lnTo>
                  <a:pt x="536490" y="2543165"/>
                </a:lnTo>
                <a:lnTo>
                  <a:pt x="536490" y="2601697"/>
                </a:lnTo>
                <a:lnTo>
                  <a:pt x="504134" y="2600555"/>
                </a:lnTo>
                <a:lnTo>
                  <a:pt x="474220" y="2597162"/>
                </a:lnTo>
                <a:lnTo>
                  <a:pt x="446666" y="2591568"/>
                </a:lnTo>
                <a:lnTo>
                  <a:pt x="421385" y="2583822"/>
                </a:lnTo>
                <a:lnTo>
                  <a:pt x="398293" y="2573976"/>
                </a:lnTo>
                <a:lnTo>
                  <a:pt x="377305" y="2562078"/>
                </a:lnTo>
                <a:lnTo>
                  <a:pt x="358337" y="2548180"/>
                </a:lnTo>
                <a:lnTo>
                  <a:pt x="341303" y="2532329"/>
                </a:lnTo>
                <a:lnTo>
                  <a:pt x="326119" y="2514578"/>
                </a:lnTo>
                <a:lnTo>
                  <a:pt x="312701" y="2494976"/>
                </a:lnTo>
                <a:lnTo>
                  <a:pt x="300962" y="2473571"/>
                </a:lnTo>
                <a:lnTo>
                  <a:pt x="290820" y="2450416"/>
                </a:lnTo>
                <a:lnTo>
                  <a:pt x="282187" y="2425558"/>
                </a:lnTo>
                <a:lnTo>
                  <a:pt x="274981" y="2399050"/>
                </a:lnTo>
                <a:lnTo>
                  <a:pt x="269116" y="2370939"/>
                </a:lnTo>
                <a:lnTo>
                  <a:pt x="264508" y="2341278"/>
                </a:lnTo>
                <a:lnTo>
                  <a:pt x="261071" y="2310114"/>
                </a:lnTo>
                <a:lnTo>
                  <a:pt x="258721" y="2277499"/>
                </a:lnTo>
                <a:lnTo>
                  <a:pt x="257373" y="2243481"/>
                </a:lnTo>
                <a:lnTo>
                  <a:pt x="256943" y="2208113"/>
                </a:lnTo>
                <a:lnTo>
                  <a:pt x="257387" y="2172895"/>
                </a:lnTo>
                <a:lnTo>
                  <a:pt x="258775" y="2139029"/>
                </a:lnTo>
                <a:lnTo>
                  <a:pt x="261187" y="2106562"/>
                </a:lnTo>
                <a:lnTo>
                  <a:pt x="264701" y="2075545"/>
                </a:lnTo>
                <a:lnTo>
                  <a:pt x="269400" y="2046027"/>
                </a:lnTo>
                <a:lnTo>
                  <a:pt x="275363" y="2018057"/>
                </a:lnTo>
                <a:lnTo>
                  <a:pt x="282669" y="1991684"/>
                </a:lnTo>
                <a:lnTo>
                  <a:pt x="291400" y="1966956"/>
                </a:lnTo>
                <a:lnTo>
                  <a:pt x="301637" y="1943925"/>
                </a:lnTo>
                <a:lnTo>
                  <a:pt x="313457" y="1922638"/>
                </a:lnTo>
                <a:lnTo>
                  <a:pt x="326943" y="1903144"/>
                </a:lnTo>
                <a:lnTo>
                  <a:pt x="342175" y="1885494"/>
                </a:lnTo>
                <a:lnTo>
                  <a:pt x="359233" y="1869736"/>
                </a:lnTo>
                <a:lnTo>
                  <a:pt x="378195" y="1855920"/>
                </a:lnTo>
                <a:lnTo>
                  <a:pt x="399144" y="1844094"/>
                </a:lnTo>
                <a:lnTo>
                  <a:pt x="422160" y="1834308"/>
                </a:lnTo>
                <a:lnTo>
                  <a:pt x="447322" y="1826611"/>
                </a:lnTo>
                <a:lnTo>
                  <a:pt x="474711" y="1821052"/>
                </a:lnTo>
                <a:lnTo>
                  <a:pt x="504406" y="1817681"/>
                </a:lnTo>
                <a:close/>
                <a:moveTo>
                  <a:pt x="4268609" y="1525902"/>
                </a:moveTo>
                <a:lnTo>
                  <a:pt x="4393749" y="1525902"/>
                </a:lnTo>
                <a:lnTo>
                  <a:pt x="4393749" y="1630858"/>
                </a:lnTo>
                <a:lnTo>
                  <a:pt x="4268609" y="1630858"/>
                </a:lnTo>
                <a:close/>
                <a:moveTo>
                  <a:pt x="1533315" y="1435069"/>
                </a:moveTo>
                <a:lnTo>
                  <a:pt x="2080296" y="1435069"/>
                </a:lnTo>
                <a:lnTo>
                  <a:pt x="2080296" y="1499658"/>
                </a:lnTo>
                <a:lnTo>
                  <a:pt x="1533315" y="1499658"/>
                </a:lnTo>
                <a:close/>
                <a:moveTo>
                  <a:pt x="619282" y="1435069"/>
                </a:moveTo>
                <a:lnTo>
                  <a:pt x="1166264" y="1435069"/>
                </a:lnTo>
                <a:lnTo>
                  <a:pt x="1166264" y="1499658"/>
                </a:lnTo>
                <a:lnTo>
                  <a:pt x="619282" y="1499658"/>
                </a:lnTo>
                <a:close/>
                <a:moveTo>
                  <a:pt x="1533315" y="1224150"/>
                </a:moveTo>
                <a:lnTo>
                  <a:pt x="2080296" y="1224150"/>
                </a:lnTo>
                <a:lnTo>
                  <a:pt x="2080296" y="1288738"/>
                </a:lnTo>
                <a:lnTo>
                  <a:pt x="1533315" y="1288738"/>
                </a:lnTo>
                <a:close/>
                <a:moveTo>
                  <a:pt x="619282" y="1224150"/>
                </a:moveTo>
                <a:lnTo>
                  <a:pt x="1166264" y="1224150"/>
                </a:lnTo>
                <a:lnTo>
                  <a:pt x="1166264" y="1288738"/>
                </a:lnTo>
                <a:lnTo>
                  <a:pt x="619282" y="1288738"/>
                </a:lnTo>
                <a:close/>
                <a:moveTo>
                  <a:pt x="3715174" y="912133"/>
                </a:moveTo>
                <a:lnTo>
                  <a:pt x="3941227" y="912133"/>
                </a:lnTo>
                <a:lnTo>
                  <a:pt x="3941227" y="969715"/>
                </a:lnTo>
                <a:lnTo>
                  <a:pt x="3784802" y="969715"/>
                </a:lnTo>
                <a:lnTo>
                  <a:pt x="3784802" y="1633831"/>
                </a:lnTo>
                <a:lnTo>
                  <a:pt x="3941227" y="1633831"/>
                </a:lnTo>
                <a:lnTo>
                  <a:pt x="3941227" y="1691413"/>
                </a:lnTo>
                <a:lnTo>
                  <a:pt x="3715174" y="1691413"/>
                </a:lnTo>
                <a:lnTo>
                  <a:pt x="3715174" y="1633831"/>
                </a:lnTo>
                <a:lnTo>
                  <a:pt x="3715174" y="969715"/>
                </a:lnTo>
                <a:close/>
                <a:moveTo>
                  <a:pt x="4718129" y="908277"/>
                </a:moveTo>
                <a:lnTo>
                  <a:pt x="4750212" y="909411"/>
                </a:lnTo>
                <a:lnTo>
                  <a:pt x="4779908" y="912783"/>
                </a:lnTo>
                <a:lnTo>
                  <a:pt x="4807296" y="918342"/>
                </a:lnTo>
                <a:lnTo>
                  <a:pt x="4832458" y="926039"/>
                </a:lnTo>
                <a:lnTo>
                  <a:pt x="4855474" y="935825"/>
                </a:lnTo>
                <a:lnTo>
                  <a:pt x="4876423" y="947650"/>
                </a:lnTo>
                <a:lnTo>
                  <a:pt x="4895385" y="961467"/>
                </a:lnTo>
                <a:lnTo>
                  <a:pt x="4912443" y="977224"/>
                </a:lnTo>
                <a:lnTo>
                  <a:pt x="4927674" y="994875"/>
                </a:lnTo>
                <a:lnTo>
                  <a:pt x="4941161" y="1014368"/>
                </a:lnTo>
                <a:lnTo>
                  <a:pt x="4952981" y="1035655"/>
                </a:lnTo>
                <a:lnTo>
                  <a:pt x="4963217" y="1058687"/>
                </a:lnTo>
                <a:lnTo>
                  <a:pt x="4971948" y="1083414"/>
                </a:lnTo>
                <a:lnTo>
                  <a:pt x="4979256" y="1109788"/>
                </a:lnTo>
                <a:lnTo>
                  <a:pt x="4985218" y="1137758"/>
                </a:lnTo>
                <a:lnTo>
                  <a:pt x="4989917" y="1167276"/>
                </a:lnTo>
                <a:lnTo>
                  <a:pt x="4993431" y="1198293"/>
                </a:lnTo>
                <a:lnTo>
                  <a:pt x="4995842" y="1230759"/>
                </a:lnTo>
                <a:lnTo>
                  <a:pt x="4997230" y="1264626"/>
                </a:lnTo>
                <a:lnTo>
                  <a:pt x="4997675" y="1299844"/>
                </a:lnTo>
                <a:lnTo>
                  <a:pt x="4997252" y="1335212"/>
                </a:lnTo>
                <a:lnTo>
                  <a:pt x="4995924" y="1369229"/>
                </a:lnTo>
                <a:lnTo>
                  <a:pt x="4993605" y="1401844"/>
                </a:lnTo>
                <a:lnTo>
                  <a:pt x="4990207" y="1433008"/>
                </a:lnTo>
                <a:lnTo>
                  <a:pt x="4985644" y="1462670"/>
                </a:lnTo>
                <a:lnTo>
                  <a:pt x="4979827" y="1490780"/>
                </a:lnTo>
                <a:lnTo>
                  <a:pt x="4972672" y="1517288"/>
                </a:lnTo>
                <a:lnTo>
                  <a:pt x="4964089" y="1542146"/>
                </a:lnTo>
                <a:lnTo>
                  <a:pt x="4953993" y="1565301"/>
                </a:lnTo>
                <a:lnTo>
                  <a:pt x="4942296" y="1586706"/>
                </a:lnTo>
                <a:lnTo>
                  <a:pt x="4928911" y="1606309"/>
                </a:lnTo>
                <a:lnTo>
                  <a:pt x="4913751" y="1624060"/>
                </a:lnTo>
                <a:lnTo>
                  <a:pt x="4896729" y="1639910"/>
                </a:lnTo>
                <a:lnTo>
                  <a:pt x="4877758" y="1653808"/>
                </a:lnTo>
                <a:lnTo>
                  <a:pt x="4856751" y="1665706"/>
                </a:lnTo>
                <a:lnTo>
                  <a:pt x="4833621" y="1675552"/>
                </a:lnTo>
                <a:lnTo>
                  <a:pt x="4808281" y="1683298"/>
                </a:lnTo>
                <a:lnTo>
                  <a:pt x="4780643" y="1688892"/>
                </a:lnTo>
                <a:lnTo>
                  <a:pt x="4750622" y="1692285"/>
                </a:lnTo>
                <a:lnTo>
                  <a:pt x="4718129" y="1693427"/>
                </a:lnTo>
                <a:lnTo>
                  <a:pt x="4718129" y="1634895"/>
                </a:lnTo>
                <a:lnTo>
                  <a:pt x="4748166" y="1633545"/>
                </a:lnTo>
                <a:lnTo>
                  <a:pt x="4775322" y="1629542"/>
                </a:lnTo>
                <a:lnTo>
                  <a:pt x="4799735" y="1622959"/>
                </a:lnTo>
                <a:lnTo>
                  <a:pt x="4821541" y="1613867"/>
                </a:lnTo>
                <a:lnTo>
                  <a:pt x="4857880" y="1588440"/>
                </a:lnTo>
                <a:lnTo>
                  <a:pt x="4885435" y="1553834"/>
                </a:lnTo>
                <a:lnTo>
                  <a:pt x="4896260" y="1533267"/>
                </a:lnTo>
                <a:lnTo>
                  <a:pt x="4905299" y="1510620"/>
                </a:lnTo>
                <a:lnTo>
                  <a:pt x="4912689" y="1485964"/>
                </a:lnTo>
                <a:lnTo>
                  <a:pt x="4918567" y="1459370"/>
                </a:lnTo>
                <a:lnTo>
                  <a:pt x="4923069" y="1430911"/>
                </a:lnTo>
                <a:lnTo>
                  <a:pt x="4926332" y="1400657"/>
                </a:lnTo>
                <a:lnTo>
                  <a:pt x="4928494" y="1368679"/>
                </a:lnTo>
                <a:lnTo>
                  <a:pt x="4929691" y="1335051"/>
                </a:lnTo>
                <a:lnTo>
                  <a:pt x="4930059" y="1299844"/>
                </a:lnTo>
                <a:lnTo>
                  <a:pt x="4929671" y="1264981"/>
                </a:lnTo>
                <a:lnTo>
                  <a:pt x="4928420" y="1231677"/>
                </a:lnTo>
                <a:lnTo>
                  <a:pt x="4926177" y="1200004"/>
                </a:lnTo>
                <a:lnTo>
                  <a:pt x="4922812" y="1170033"/>
                </a:lnTo>
                <a:lnTo>
                  <a:pt x="4918197" y="1141835"/>
                </a:lnTo>
                <a:lnTo>
                  <a:pt x="4912201" y="1115482"/>
                </a:lnTo>
                <a:lnTo>
                  <a:pt x="4904695" y="1091047"/>
                </a:lnTo>
                <a:lnTo>
                  <a:pt x="4895550" y="1068599"/>
                </a:lnTo>
                <a:lnTo>
                  <a:pt x="4884636" y="1048210"/>
                </a:lnTo>
                <a:lnTo>
                  <a:pt x="4856986" y="1013897"/>
                </a:lnTo>
                <a:lnTo>
                  <a:pt x="4820708" y="988680"/>
                </a:lnTo>
                <a:lnTo>
                  <a:pt x="4799010" y="979661"/>
                </a:lnTo>
                <a:lnTo>
                  <a:pt x="4774767" y="973129"/>
                </a:lnTo>
                <a:lnTo>
                  <a:pt x="4747850" y="969159"/>
                </a:lnTo>
                <a:lnTo>
                  <a:pt x="4718129" y="967819"/>
                </a:lnTo>
                <a:close/>
                <a:moveTo>
                  <a:pt x="3042401" y="908277"/>
                </a:moveTo>
                <a:lnTo>
                  <a:pt x="3074484" y="909411"/>
                </a:lnTo>
                <a:lnTo>
                  <a:pt x="3104180" y="912783"/>
                </a:lnTo>
                <a:lnTo>
                  <a:pt x="3131569" y="918342"/>
                </a:lnTo>
                <a:lnTo>
                  <a:pt x="3156731" y="926039"/>
                </a:lnTo>
                <a:lnTo>
                  <a:pt x="3179747" y="935825"/>
                </a:lnTo>
                <a:lnTo>
                  <a:pt x="3200696" y="947650"/>
                </a:lnTo>
                <a:lnTo>
                  <a:pt x="3219658" y="961467"/>
                </a:lnTo>
                <a:lnTo>
                  <a:pt x="3236715" y="977224"/>
                </a:lnTo>
                <a:lnTo>
                  <a:pt x="3251947" y="994875"/>
                </a:lnTo>
                <a:lnTo>
                  <a:pt x="3265433" y="1014368"/>
                </a:lnTo>
                <a:lnTo>
                  <a:pt x="3277254" y="1035655"/>
                </a:lnTo>
                <a:lnTo>
                  <a:pt x="3287490" y="1058687"/>
                </a:lnTo>
                <a:lnTo>
                  <a:pt x="3296221" y="1083414"/>
                </a:lnTo>
                <a:lnTo>
                  <a:pt x="3303528" y="1109788"/>
                </a:lnTo>
                <a:lnTo>
                  <a:pt x="3309491" y="1137758"/>
                </a:lnTo>
                <a:lnTo>
                  <a:pt x="3314189" y="1167276"/>
                </a:lnTo>
                <a:lnTo>
                  <a:pt x="3317704" y="1198293"/>
                </a:lnTo>
                <a:lnTo>
                  <a:pt x="3320115" y="1230759"/>
                </a:lnTo>
                <a:lnTo>
                  <a:pt x="3321503" y="1264626"/>
                </a:lnTo>
                <a:lnTo>
                  <a:pt x="3321948" y="1299844"/>
                </a:lnTo>
                <a:lnTo>
                  <a:pt x="3321525" y="1335212"/>
                </a:lnTo>
                <a:lnTo>
                  <a:pt x="3320197" y="1369229"/>
                </a:lnTo>
                <a:lnTo>
                  <a:pt x="3317878" y="1401844"/>
                </a:lnTo>
                <a:lnTo>
                  <a:pt x="3314480" y="1433008"/>
                </a:lnTo>
                <a:lnTo>
                  <a:pt x="3309916" y="1462670"/>
                </a:lnTo>
                <a:lnTo>
                  <a:pt x="3304100" y="1490780"/>
                </a:lnTo>
                <a:lnTo>
                  <a:pt x="3296944" y="1517288"/>
                </a:lnTo>
                <a:lnTo>
                  <a:pt x="3288362" y="1542146"/>
                </a:lnTo>
                <a:lnTo>
                  <a:pt x="3278266" y="1565301"/>
                </a:lnTo>
                <a:lnTo>
                  <a:pt x="3266569" y="1586706"/>
                </a:lnTo>
                <a:lnTo>
                  <a:pt x="3253184" y="1606309"/>
                </a:lnTo>
                <a:lnTo>
                  <a:pt x="3238024" y="1624060"/>
                </a:lnTo>
                <a:lnTo>
                  <a:pt x="3221002" y="1639910"/>
                </a:lnTo>
                <a:lnTo>
                  <a:pt x="3202030" y="1653808"/>
                </a:lnTo>
                <a:lnTo>
                  <a:pt x="3181024" y="1665706"/>
                </a:lnTo>
                <a:lnTo>
                  <a:pt x="3157894" y="1675552"/>
                </a:lnTo>
                <a:lnTo>
                  <a:pt x="3132553" y="1683298"/>
                </a:lnTo>
                <a:lnTo>
                  <a:pt x="3104916" y="1688892"/>
                </a:lnTo>
                <a:lnTo>
                  <a:pt x="3074894" y="1692285"/>
                </a:lnTo>
                <a:lnTo>
                  <a:pt x="3042401" y="1693427"/>
                </a:lnTo>
                <a:lnTo>
                  <a:pt x="3042401" y="1634895"/>
                </a:lnTo>
                <a:lnTo>
                  <a:pt x="3072438" y="1633545"/>
                </a:lnTo>
                <a:lnTo>
                  <a:pt x="3099594" y="1629542"/>
                </a:lnTo>
                <a:lnTo>
                  <a:pt x="3124008" y="1622959"/>
                </a:lnTo>
                <a:lnTo>
                  <a:pt x="3145814" y="1613867"/>
                </a:lnTo>
                <a:lnTo>
                  <a:pt x="3182153" y="1588440"/>
                </a:lnTo>
                <a:lnTo>
                  <a:pt x="3209708" y="1553834"/>
                </a:lnTo>
                <a:lnTo>
                  <a:pt x="3220532" y="1533267"/>
                </a:lnTo>
                <a:lnTo>
                  <a:pt x="3229571" y="1510620"/>
                </a:lnTo>
                <a:lnTo>
                  <a:pt x="3236961" y="1485964"/>
                </a:lnTo>
                <a:lnTo>
                  <a:pt x="3242839" y="1459370"/>
                </a:lnTo>
                <a:lnTo>
                  <a:pt x="3247341" y="1430911"/>
                </a:lnTo>
                <a:lnTo>
                  <a:pt x="3250605" y="1400657"/>
                </a:lnTo>
                <a:lnTo>
                  <a:pt x="3252767" y="1368679"/>
                </a:lnTo>
                <a:lnTo>
                  <a:pt x="3253963" y="1335051"/>
                </a:lnTo>
                <a:lnTo>
                  <a:pt x="3254332" y="1299844"/>
                </a:lnTo>
                <a:lnTo>
                  <a:pt x="3253944" y="1264981"/>
                </a:lnTo>
                <a:lnTo>
                  <a:pt x="3252693" y="1231677"/>
                </a:lnTo>
                <a:lnTo>
                  <a:pt x="3250450" y="1200004"/>
                </a:lnTo>
                <a:lnTo>
                  <a:pt x="3247085" y="1170033"/>
                </a:lnTo>
                <a:lnTo>
                  <a:pt x="3242469" y="1141835"/>
                </a:lnTo>
                <a:lnTo>
                  <a:pt x="3236473" y="1115482"/>
                </a:lnTo>
                <a:lnTo>
                  <a:pt x="3228968" y="1091047"/>
                </a:lnTo>
                <a:lnTo>
                  <a:pt x="3219823" y="1068599"/>
                </a:lnTo>
                <a:lnTo>
                  <a:pt x="3208909" y="1048210"/>
                </a:lnTo>
                <a:lnTo>
                  <a:pt x="3181259" y="1013897"/>
                </a:lnTo>
                <a:lnTo>
                  <a:pt x="3144981" y="988680"/>
                </a:lnTo>
                <a:lnTo>
                  <a:pt x="3123283" y="979661"/>
                </a:lnTo>
                <a:lnTo>
                  <a:pt x="3099039" y="973129"/>
                </a:lnTo>
                <a:lnTo>
                  <a:pt x="3072122" y="969159"/>
                </a:lnTo>
                <a:lnTo>
                  <a:pt x="3042401" y="967819"/>
                </a:lnTo>
                <a:close/>
                <a:moveTo>
                  <a:pt x="2729915" y="908277"/>
                </a:moveTo>
                <a:lnTo>
                  <a:pt x="2729915" y="967819"/>
                </a:lnTo>
                <a:lnTo>
                  <a:pt x="2700362" y="969159"/>
                </a:lnTo>
                <a:lnTo>
                  <a:pt x="2673592" y="973129"/>
                </a:lnTo>
                <a:lnTo>
                  <a:pt x="2649480" y="979661"/>
                </a:lnTo>
                <a:lnTo>
                  <a:pt x="2627894" y="988680"/>
                </a:lnTo>
                <a:lnTo>
                  <a:pt x="2591794" y="1013897"/>
                </a:lnTo>
                <a:lnTo>
                  <a:pt x="2564267" y="1048210"/>
                </a:lnTo>
                <a:lnTo>
                  <a:pt x="2553398" y="1068599"/>
                </a:lnTo>
                <a:lnTo>
                  <a:pt x="2544287" y="1091047"/>
                </a:lnTo>
                <a:lnTo>
                  <a:pt x="2536808" y="1115482"/>
                </a:lnTo>
                <a:lnTo>
                  <a:pt x="2530830" y="1141835"/>
                </a:lnTo>
                <a:lnTo>
                  <a:pt x="2526227" y="1170033"/>
                </a:lnTo>
                <a:lnTo>
                  <a:pt x="2522870" y="1200004"/>
                </a:lnTo>
                <a:lnTo>
                  <a:pt x="2520631" y="1231677"/>
                </a:lnTo>
                <a:lnTo>
                  <a:pt x="2519381" y="1264981"/>
                </a:lnTo>
                <a:lnTo>
                  <a:pt x="2518993" y="1299844"/>
                </a:lnTo>
                <a:lnTo>
                  <a:pt x="2519371" y="1335051"/>
                </a:lnTo>
                <a:lnTo>
                  <a:pt x="2520594" y="1368679"/>
                </a:lnTo>
                <a:lnTo>
                  <a:pt x="2522793" y="1400657"/>
                </a:lnTo>
                <a:lnTo>
                  <a:pt x="2526099" y="1430911"/>
                </a:lnTo>
                <a:lnTo>
                  <a:pt x="2530646" y="1459370"/>
                </a:lnTo>
                <a:lnTo>
                  <a:pt x="2536564" y="1485964"/>
                </a:lnTo>
                <a:lnTo>
                  <a:pt x="2543986" y="1510620"/>
                </a:lnTo>
                <a:lnTo>
                  <a:pt x="2553043" y="1533267"/>
                </a:lnTo>
                <a:lnTo>
                  <a:pt x="2563868" y="1553834"/>
                </a:lnTo>
                <a:lnTo>
                  <a:pt x="2591347" y="1588440"/>
                </a:lnTo>
                <a:lnTo>
                  <a:pt x="2627477" y="1613867"/>
                </a:lnTo>
                <a:lnTo>
                  <a:pt x="2649117" y="1622959"/>
                </a:lnTo>
                <a:lnTo>
                  <a:pt x="2673315" y="1629542"/>
                </a:lnTo>
                <a:lnTo>
                  <a:pt x="2700204" y="1633545"/>
                </a:lnTo>
                <a:lnTo>
                  <a:pt x="2729915" y="1634895"/>
                </a:lnTo>
                <a:lnTo>
                  <a:pt x="2729915" y="1693427"/>
                </a:lnTo>
                <a:lnTo>
                  <a:pt x="2697559" y="1692285"/>
                </a:lnTo>
                <a:lnTo>
                  <a:pt x="2667646" y="1688892"/>
                </a:lnTo>
                <a:lnTo>
                  <a:pt x="2640091" y="1683298"/>
                </a:lnTo>
                <a:lnTo>
                  <a:pt x="2614811" y="1675552"/>
                </a:lnTo>
                <a:lnTo>
                  <a:pt x="2591719" y="1665706"/>
                </a:lnTo>
                <a:lnTo>
                  <a:pt x="2570731" y="1653808"/>
                </a:lnTo>
                <a:lnTo>
                  <a:pt x="2551763" y="1639910"/>
                </a:lnTo>
                <a:lnTo>
                  <a:pt x="2534729" y="1624060"/>
                </a:lnTo>
                <a:lnTo>
                  <a:pt x="2519545" y="1606309"/>
                </a:lnTo>
                <a:lnTo>
                  <a:pt x="2506126" y="1586706"/>
                </a:lnTo>
                <a:lnTo>
                  <a:pt x="2494388" y="1565301"/>
                </a:lnTo>
                <a:lnTo>
                  <a:pt x="2484245" y="1542146"/>
                </a:lnTo>
                <a:lnTo>
                  <a:pt x="2475612" y="1517288"/>
                </a:lnTo>
                <a:lnTo>
                  <a:pt x="2468406" y="1490780"/>
                </a:lnTo>
                <a:lnTo>
                  <a:pt x="2462542" y="1462670"/>
                </a:lnTo>
                <a:lnTo>
                  <a:pt x="2457933" y="1433008"/>
                </a:lnTo>
                <a:lnTo>
                  <a:pt x="2454497" y="1401844"/>
                </a:lnTo>
                <a:lnTo>
                  <a:pt x="2452147" y="1369229"/>
                </a:lnTo>
                <a:lnTo>
                  <a:pt x="2450799" y="1335212"/>
                </a:lnTo>
                <a:lnTo>
                  <a:pt x="2450369" y="1299844"/>
                </a:lnTo>
                <a:lnTo>
                  <a:pt x="2450813" y="1264626"/>
                </a:lnTo>
                <a:lnTo>
                  <a:pt x="2452201" y="1230759"/>
                </a:lnTo>
                <a:lnTo>
                  <a:pt x="2454613" y="1198293"/>
                </a:lnTo>
                <a:lnTo>
                  <a:pt x="2458127" y="1167276"/>
                </a:lnTo>
                <a:lnTo>
                  <a:pt x="2462826" y="1137758"/>
                </a:lnTo>
                <a:lnTo>
                  <a:pt x="2468788" y="1109788"/>
                </a:lnTo>
                <a:lnTo>
                  <a:pt x="2476095" y="1083414"/>
                </a:lnTo>
                <a:lnTo>
                  <a:pt x="2484826" y="1058687"/>
                </a:lnTo>
                <a:lnTo>
                  <a:pt x="2495062" y="1035655"/>
                </a:lnTo>
                <a:lnTo>
                  <a:pt x="2506883" y="1014368"/>
                </a:lnTo>
                <a:lnTo>
                  <a:pt x="2520369" y="994875"/>
                </a:lnTo>
                <a:lnTo>
                  <a:pt x="2535601" y="977224"/>
                </a:lnTo>
                <a:lnTo>
                  <a:pt x="2552659" y="961467"/>
                </a:lnTo>
                <a:lnTo>
                  <a:pt x="2571621" y="947650"/>
                </a:lnTo>
                <a:lnTo>
                  <a:pt x="2592570" y="935825"/>
                </a:lnTo>
                <a:lnTo>
                  <a:pt x="2615586" y="926039"/>
                </a:lnTo>
                <a:lnTo>
                  <a:pt x="2640748" y="918342"/>
                </a:lnTo>
                <a:lnTo>
                  <a:pt x="2668136" y="912783"/>
                </a:lnTo>
                <a:lnTo>
                  <a:pt x="2697832" y="909411"/>
                </a:lnTo>
                <a:close/>
                <a:moveTo>
                  <a:pt x="279546" y="908277"/>
                </a:moveTo>
                <a:lnTo>
                  <a:pt x="279546" y="967819"/>
                </a:lnTo>
                <a:lnTo>
                  <a:pt x="249993" y="969159"/>
                </a:lnTo>
                <a:lnTo>
                  <a:pt x="223224" y="973129"/>
                </a:lnTo>
                <a:lnTo>
                  <a:pt x="199110" y="979661"/>
                </a:lnTo>
                <a:lnTo>
                  <a:pt x="177525" y="988680"/>
                </a:lnTo>
                <a:lnTo>
                  <a:pt x="141425" y="1013897"/>
                </a:lnTo>
                <a:lnTo>
                  <a:pt x="113898" y="1048210"/>
                </a:lnTo>
                <a:lnTo>
                  <a:pt x="103029" y="1068599"/>
                </a:lnTo>
                <a:lnTo>
                  <a:pt x="93919" y="1091047"/>
                </a:lnTo>
                <a:lnTo>
                  <a:pt x="86439" y="1115482"/>
                </a:lnTo>
                <a:lnTo>
                  <a:pt x="80462" y="1141835"/>
                </a:lnTo>
                <a:lnTo>
                  <a:pt x="75859" y="1170033"/>
                </a:lnTo>
                <a:lnTo>
                  <a:pt x="72502" y="1200004"/>
                </a:lnTo>
                <a:lnTo>
                  <a:pt x="70263" y="1231677"/>
                </a:lnTo>
                <a:lnTo>
                  <a:pt x="69013" y="1264981"/>
                </a:lnTo>
                <a:lnTo>
                  <a:pt x="68625" y="1299844"/>
                </a:lnTo>
                <a:lnTo>
                  <a:pt x="69003" y="1335051"/>
                </a:lnTo>
                <a:lnTo>
                  <a:pt x="70225" y="1368679"/>
                </a:lnTo>
                <a:lnTo>
                  <a:pt x="72424" y="1400657"/>
                </a:lnTo>
                <a:lnTo>
                  <a:pt x="75731" y="1430911"/>
                </a:lnTo>
                <a:lnTo>
                  <a:pt x="80277" y="1459370"/>
                </a:lnTo>
                <a:lnTo>
                  <a:pt x="86195" y="1485964"/>
                </a:lnTo>
                <a:lnTo>
                  <a:pt x="93617" y="1510620"/>
                </a:lnTo>
                <a:lnTo>
                  <a:pt x="102674" y="1533267"/>
                </a:lnTo>
                <a:lnTo>
                  <a:pt x="113499" y="1553834"/>
                </a:lnTo>
                <a:lnTo>
                  <a:pt x="140977" y="1588440"/>
                </a:lnTo>
                <a:lnTo>
                  <a:pt x="177108" y="1613867"/>
                </a:lnTo>
                <a:lnTo>
                  <a:pt x="198748" y="1622959"/>
                </a:lnTo>
                <a:lnTo>
                  <a:pt x="222946" y="1629542"/>
                </a:lnTo>
                <a:lnTo>
                  <a:pt x="249835" y="1633545"/>
                </a:lnTo>
                <a:lnTo>
                  <a:pt x="279546" y="1634895"/>
                </a:lnTo>
                <a:lnTo>
                  <a:pt x="279546" y="1693427"/>
                </a:lnTo>
                <a:lnTo>
                  <a:pt x="247190" y="1692285"/>
                </a:lnTo>
                <a:lnTo>
                  <a:pt x="217277" y="1688892"/>
                </a:lnTo>
                <a:lnTo>
                  <a:pt x="189722" y="1683298"/>
                </a:lnTo>
                <a:lnTo>
                  <a:pt x="164441" y="1675552"/>
                </a:lnTo>
                <a:lnTo>
                  <a:pt x="141350" y="1665706"/>
                </a:lnTo>
                <a:lnTo>
                  <a:pt x="120362" y="1653808"/>
                </a:lnTo>
                <a:lnTo>
                  <a:pt x="101394" y="1639910"/>
                </a:lnTo>
                <a:lnTo>
                  <a:pt x="84360" y="1624060"/>
                </a:lnTo>
                <a:lnTo>
                  <a:pt x="69176" y="1606309"/>
                </a:lnTo>
                <a:lnTo>
                  <a:pt x="55758" y="1586706"/>
                </a:lnTo>
                <a:lnTo>
                  <a:pt x="44019" y="1565301"/>
                </a:lnTo>
                <a:lnTo>
                  <a:pt x="33877" y="1542146"/>
                </a:lnTo>
                <a:lnTo>
                  <a:pt x="25244" y="1517288"/>
                </a:lnTo>
                <a:lnTo>
                  <a:pt x="18038" y="1490780"/>
                </a:lnTo>
                <a:lnTo>
                  <a:pt x="12173" y="1462670"/>
                </a:lnTo>
                <a:lnTo>
                  <a:pt x="7565" y="1433008"/>
                </a:lnTo>
                <a:lnTo>
                  <a:pt x="4128" y="1401844"/>
                </a:lnTo>
                <a:lnTo>
                  <a:pt x="1778" y="1369229"/>
                </a:lnTo>
                <a:lnTo>
                  <a:pt x="430" y="1335212"/>
                </a:lnTo>
                <a:lnTo>
                  <a:pt x="0" y="1299844"/>
                </a:lnTo>
                <a:lnTo>
                  <a:pt x="444" y="1264626"/>
                </a:lnTo>
                <a:lnTo>
                  <a:pt x="1832" y="1230759"/>
                </a:lnTo>
                <a:lnTo>
                  <a:pt x="4244" y="1198293"/>
                </a:lnTo>
                <a:lnTo>
                  <a:pt x="7759" y="1167276"/>
                </a:lnTo>
                <a:lnTo>
                  <a:pt x="12457" y="1137758"/>
                </a:lnTo>
                <a:lnTo>
                  <a:pt x="18420" y="1109788"/>
                </a:lnTo>
                <a:lnTo>
                  <a:pt x="25726" y="1083414"/>
                </a:lnTo>
                <a:lnTo>
                  <a:pt x="34458" y="1058687"/>
                </a:lnTo>
                <a:lnTo>
                  <a:pt x="44694" y="1035655"/>
                </a:lnTo>
                <a:lnTo>
                  <a:pt x="56515" y="1014368"/>
                </a:lnTo>
                <a:lnTo>
                  <a:pt x="70001" y="994875"/>
                </a:lnTo>
                <a:lnTo>
                  <a:pt x="85232" y="977224"/>
                </a:lnTo>
                <a:lnTo>
                  <a:pt x="102289" y="961467"/>
                </a:lnTo>
                <a:lnTo>
                  <a:pt x="121252" y="947650"/>
                </a:lnTo>
                <a:lnTo>
                  <a:pt x="142201" y="935825"/>
                </a:lnTo>
                <a:lnTo>
                  <a:pt x="165216" y="926039"/>
                </a:lnTo>
                <a:lnTo>
                  <a:pt x="190378" y="918342"/>
                </a:lnTo>
                <a:lnTo>
                  <a:pt x="217767" y="912783"/>
                </a:lnTo>
                <a:lnTo>
                  <a:pt x="247463" y="909411"/>
                </a:lnTo>
                <a:close/>
                <a:moveTo>
                  <a:pt x="3192284" y="526801"/>
                </a:moveTo>
                <a:lnTo>
                  <a:pt x="3739265" y="526801"/>
                </a:lnTo>
                <a:lnTo>
                  <a:pt x="3739265" y="591388"/>
                </a:lnTo>
                <a:lnTo>
                  <a:pt x="3192284" y="591388"/>
                </a:lnTo>
                <a:close/>
                <a:moveTo>
                  <a:pt x="1133185" y="526800"/>
                </a:moveTo>
                <a:lnTo>
                  <a:pt x="1680167" y="526800"/>
                </a:lnTo>
                <a:lnTo>
                  <a:pt x="1680167" y="591388"/>
                </a:lnTo>
                <a:lnTo>
                  <a:pt x="1133185" y="591388"/>
                </a:lnTo>
                <a:close/>
                <a:moveTo>
                  <a:pt x="3192284" y="315879"/>
                </a:moveTo>
                <a:lnTo>
                  <a:pt x="3739265" y="315879"/>
                </a:lnTo>
                <a:lnTo>
                  <a:pt x="3739265" y="380466"/>
                </a:lnTo>
                <a:lnTo>
                  <a:pt x="3192284" y="380466"/>
                </a:lnTo>
                <a:close/>
                <a:moveTo>
                  <a:pt x="1133185" y="315878"/>
                </a:moveTo>
                <a:lnTo>
                  <a:pt x="1680167" y="315878"/>
                </a:lnTo>
                <a:lnTo>
                  <a:pt x="1680167" y="380466"/>
                </a:lnTo>
                <a:lnTo>
                  <a:pt x="1133185" y="380466"/>
                </a:lnTo>
                <a:close/>
                <a:moveTo>
                  <a:pt x="2793900" y="70646"/>
                </a:moveTo>
                <a:lnTo>
                  <a:pt x="2865553" y="70646"/>
                </a:lnTo>
                <a:lnTo>
                  <a:pt x="2651604" y="716528"/>
                </a:lnTo>
                <a:lnTo>
                  <a:pt x="2577933" y="716528"/>
                </a:lnTo>
                <a:close/>
                <a:moveTo>
                  <a:pt x="2003815" y="70645"/>
                </a:moveTo>
                <a:lnTo>
                  <a:pt x="2079504" y="70645"/>
                </a:lnTo>
                <a:lnTo>
                  <a:pt x="2294462" y="716528"/>
                </a:lnTo>
                <a:lnTo>
                  <a:pt x="2218772" y="716528"/>
                </a:lnTo>
                <a:close/>
                <a:moveTo>
                  <a:pt x="793451" y="1"/>
                </a:moveTo>
                <a:lnTo>
                  <a:pt x="793451" y="59543"/>
                </a:lnTo>
                <a:lnTo>
                  <a:pt x="763898" y="60883"/>
                </a:lnTo>
                <a:lnTo>
                  <a:pt x="737128" y="64853"/>
                </a:lnTo>
                <a:lnTo>
                  <a:pt x="713016" y="71384"/>
                </a:lnTo>
                <a:lnTo>
                  <a:pt x="691430" y="80403"/>
                </a:lnTo>
                <a:lnTo>
                  <a:pt x="655330" y="105620"/>
                </a:lnTo>
                <a:lnTo>
                  <a:pt x="627803" y="139933"/>
                </a:lnTo>
                <a:lnTo>
                  <a:pt x="616934" y="160322"/>
                </a:lnTo>
                <a:lnTo>
                  <a:pt x="607823" y="182770"/>
                </a:lnTo>
                <a:lnTo>
                  <a:pt x="600344" y="207206"/>
                </a:lnTo>
                <a:lnTo>
                  <a:pt x="594366" y="233559"/>
                </a:lnTo>
                <a:lnTo>
                  <a:pt x="589763" y="261756"/>
                </a:lnTo>
                <a:lnTo>
                  <a:pt x="586406" y="291727"/>
                </a:lnTo>
                <a:lnTo>
                  <a:pt x="584167" y="323400"/>
                </a:lnTo>
                <a:lnTo>
                  <a:pt x="582918" y="356704"/>
                </a:lnTo>
                <a:lnTo>
                  <a:pt x="582529" y="391567"/>
                </a:lnTo>
                <a:lnTo>
                  <a:pt x="582908" y="426776"/>
                </a:lnTo>
                <a:lnTo>
                  <a:pt x="584130" y="460404"/>
                </a:lnTo>
                <a:lnTo>
                  <a:pt x="586329" y="492381"/>
                </a:lnTo>
                <a:lnTo>
                  <a:pt x="589635" y="522635"/>
                </a:lnTo>
                <a:lnTo>
                  <a:pt x="594182" y="551095"/>
                </a:lnTo>
                <a:lnTo>
                  <a:pt x="600100" y="577689"/>
                </a:lnTo>
                <a:lnTo>
                  <a:pt x="607522" y="602344"/>
                </a:lnTo>
                <a:lnTo>
                  <a:pt x="616579" y="624991"/>
                </a:lnTo>
                <a:lnTo>
                  <a:pt x="627404" y="645557"/>
                </a:lnTo>
                <a:lnTo>
                  <a:pt x="654883" y="680164"/>
                </a:lnTo>
                <a:lnTo>
                  <a:pt x="691013" y="705591"/>
                </a:lnTo>
                <a:lnTo>
                  <a:pt x="712653" y="714682"/>
                </a:lnTo>
                <a:lnTo>
                  <a:pt x="736851" y="721266"/>
                </a:lnTo>
                <a:lnTo>
                  <a:pt x="763739" y="725268"/>
                </a:lnTo>
                <a:lnTo>
                  <a:pt x="793451" y="726618"/>
                </a:lnTo>
                <a:lnTo>
                  <a:pt x="793451" y="785151"/>
                </a:lnTo>
                <a:lnTo>
                  <a:pt x="761094" y="784010"/>
                </a:lnTo>
                <a:lnTo>
                  <a:pt x="731182" y="780616"/>
                </a:lnTo>
                <a:lnTo>
                  <a:pt x="703628" y="775022"/>
                </a:lnTo>
                <a:lnTo>
                  <a:pt x="678346" y="767277"/>
                </a:lnTo>
                <a:lnTo>
                  <a:pt x="655255" y="757431"/>
                </a:lnTo>
                <a:lnTo>
                  <a:pt x="634268" y="745532"/>
                </a:lnTo>
                <a:lnTo>
                  <a:pt x="615299" y="731633"/>
                </a:lnTo>
                <a:lnTo>
                  <a:pt x="598265" y="715783"/>
                </a:lnTo>
                <a:lnTo>
                  <a:pt x="583081" y="698032"/>
                </a:lnTo>
                <a:lnTo>
                  <a:pt x="569662" y="678429"/>
                </a:lnTo>
                <a:lnTo>
                  <a:pt x="557924" y="657025"/>
                </a:lnTo>
                <a:lnTo>
                  <a:pt x="547781" y="633870"/>
                </a:lnTo>
                <a:lnTo>
                  <a:pt x="539149" y="609014"/>
                </a:lnTo>
                <a:lnTo>
                  <a:pt x="531942" y="582504"/>
                </a:lnTo>
                <a:lnTo>
                  <a:pt x="526078" y="554394"/>
                </a:lnTo>
                <a:lnTo>
                  <a:pt x="521469" y="524732"/>
                </a:lnTo>
                <a:lnTo>
                  <a:pt x="518033" y="493569"/>
                </a:lnTo>
                <a:lnTo>
                  <a:pt x="515683" y="460953"/>
                </a:lnTo>
                <a:lnTo>
                  <a:pt x="514335" y="426936"/>
                </a:lnTo>
                <a:lnTo>
                  <a:pt x="513905" y="391567"/>
                </a:lnTo>
                <a:lnTo>
                  <a:pt x="514349" y="356350"/>
                </a:lnTo>
                <a:lnTo>
                  <a:pt x="515738" y="322483"/>
                </a:lnTo>
                <a:lnTo>
                  <a:pt x="518149" y="290017"/>
                </a:lnTo>
                <a:lnTo>
                  <a:pt x="521663" y="259000"/>
                </a:lnTo>
                <a:lnTo>
                  <a:pt x="526362" y="229481"/>
                </a:lnTo>
                <a:lnTo>
                  <a:pt x="532325" y="201512"/>
                </a:lnTo>
                <a:lnTo>
                  <a:pt x="539631" y="175138"/>
                </a:lnTo>
                <a:lnTo>
                  <a:pt x="548363" y="150411"/>
                </a:lnTo>
                <a:lnTo>
                  <a:pt x="558599" y="127379"/>
                </a:lnTo>
                <a:lnTo>
                  <a:pt x="570419" y="106092"/>
                </a:lnTo>
                <a:lnTo>
                  <a:pt x="583905" y="86599"/>
                </a:lnTo>
                <a:lnTo>
                  <a:pt x="599138" y="68948"/>
                </a:lnTo>
                <a:lnTo>
                  <a:pt x="616194" y="53191"/>
                </a:lnTo>
                <a:lnTo>
                  <a:pt x="635157" y="39374"/>
                </a:lnTo>
                <a:lnTo>
                  <a:pt x="656106" y="27549"/>
                </a:lnTo>
                <a:lnTo>
                  <a:pt x="679121" y="17763"/>
                </a:lnTo>
                <a:lnTo>
                  <a:pt x="704284" y="10066"/>
                </a:lnTo>
                <a:lnTo>
                  <a:pt x="731673" y="4507"/>
                </a:lnTo>
                <a:lnTo>
                  <a:pt x="761368" y="1135"/>
                </a:lnTo>
                <a:close/>
                <a:moveTo>
                  <a:pt x="4079066" y="0"/>
                </a:moveTo>
                <a:lnTo>
                  <a:pt x="4111149" y="1134"/>
                </a:lnTo>
                <a:lnTo>
                  <a:pt x="4140844" y="4506"/>
                </a:lnTo>
                <a:lnTo>
                  <a:pt x="4168233" y="10064"/>
                </a:lnTo>
                <a:lnTo>
                  <a:pt x="4193395" y="17761"/>
                </a:lnTo>
                <a:lnTo>
                  <a:pt x="4216410" y="27548"/>
                </a:lnTo>
                <a:lnTo>
                  <a:pt x="4237360" y="39374"/>
                </a:lnTo>
                <a:lnTo>
                  <a:pt x="4256322" y="53190"/>
                </a:lnTo>
                <a:lnTo>
                  <a:pt x="4273379" y="68948"/>
                </a:lnTo>
                <a:lnTo>
                  <a:pt x="4288611" y="86598"/>
                </a:lnTo>
                <a:lnTo>
                  <a:pt x="4302097" y="106091"/>
                </a:lnTo>
                <a:lnTo>
                  <a:pt x="4313918" y="127378"/>
                </a:lnTo>
                <a:lnTo>
                  <a:pt x="4324154" y="150410"/>
                </a:lnTo>
                <a:lnTo>
                  <a:pt x="4332885" y="175137"/>
                </a:lnTo>
                <a:lnTo>
                  <a:pt x="4340192" y="201510"/>
                </a:lnTo>
                <a:lnTo>
                  <a:pt x="4346155" y="229481"/>
                </a:lnTo>
                <a:lnTo>
                  <a:pt x="4350853" y="258999"/>
                </a:lnTo>
                <a:lnTo>
                  <a:pt x="4354368" y="290016"/>
                </a:lnTo>
                <a:lnTo>
                  <a:pt x="4356779" y="322482"/>
                </a:lnTo>
                <a:lnTo>
                  <a:pt x="4358167" y="356348"/>
                </a:lnTo>
                <a:lnTo>
                  <a:pt x="4358612" y="391566"/>
                </a:lnTo>
                <a:lnTo>
                  <a:pt x="4358189" y="426935"/>
                </a:lnTo>
                <a:lnTo>
                  <a:pt x="4356861" y="460952"/>
                </a:lnTo>
                <a:lnTo>
                  <a:pt x="4354541" y="493568"/>
                </a:lnTo>
                <a:lnTo>
                  <a:pt x="4351143" y="524731"/>
                </a:lnTo>
                <a:lnTo>
                  <a:pt x="4346580" y="554393"/>
                </a:lnTo>
                <a:lnTo>
                  <a:pt x="4340764" y="582503"/>
                </a:lnTo>
                <a:lnTo>
                  <a:pt x="4333608" y="609012"/>
                </a:lnTo>
                <a:lnTo>
                  <a:pt x="4325025" y="633869"/>
                </a:lnTo>
                <a:lnTo>
                  <a:pt x="4314929" y="657024"/>
                </a:lnTo>
                <a:lnTo>
                  <a:pt x="4303232" y="678429"/>
                </a:lnTo>
                <a:lnTo>
                  <a:pt x="4289847" y="698032"/>
                </a:lnTo>
                <a:lnTo>
                  <a:pt x="4274687" y="715783"/>
                </a:lnTo>
                <a:lnTo>
                  <a:pt x="4257665" y="731633"/>
                </a:lnTo>
                <a:lnTo>
                  <a:pt x="4238694" y="745532"/>
                </a:lnTo>
                <a:lnTo>
                  <a:pt x="4217687" y="757430"/>
                </a:lnTo>
                <a:lnTo>
                  <a:pt x="4194558" y="767276"/>
                </a:lnTo>
                <a:lnTo>
                  <a:pt x="4169217" y="775021"/>
                </a:lnTo>
                <a:lnTo>
                  <a:pt x="4141580" y="780616"/>
                </a:lnTo>
                <a:lnTo>
                  <a:pt x="4111558" y="784010"/>
                </a:lnTo>
                <a:lnTo>
                  <a:pt x="4079066" y="785151"/>
                </a:lnTo>
                <a:lnTo>
                  <a:pt x="4079066" y="726618"/>
                </a:lnTo>
                <a:lnTo>
                  <a:pt x="4109102" y="725268"/>
                </a:lnTo>
                <a:lnTo>
                  <a:pt x="4136258" y="721265"/>
                </a:lnTo>
                <a:lnTo>
                  <a:pt x="4160671" y="714682"/>
                </a:lnTo>
                <a:lnTo>
                  <a:pt x="4182478" y="705591"/>
                </a:lnTo>
                <a:lnTo>
                  <a:pt x="4218817" y="680164"/>
                </a:lnTo>
                <a:lnTo>
                  <a:pt x="4246371" y="645557"/>
                </a:lnTo>
                <a:lnTo>
                  <a:pt x="4257196" y="624990"/>
                </a:lnTo>
                <a:lnTo>
                  <a:pt x="4266235" y="602343"/>
                </a:lnTo>
                <a:lnTo>
                  <a:pt x="4273625" y="577688"/>
                </a:lnTo>
                <a:lnTo>
                  <a:pt x="4279503" y="551094"/>
                </a:lnTo>
                <a:lnTo>
                  <a:pt x="4284005" y="522634"/>
                </a:lnTo>
                <a:lnTo>
                  <a:pt x="4287269" y="492381"/>
                </a:lnTo>
                <a:lnTo>
                  <a:pt x="4289431" y="460404"/>
                </a:lnTo>
                <a:lnTo>
                  <a:pt x="4290627" y="426775"/>
                </a:lnTo>
                <a:lnTo>
                  <a:pt x="4290996" y="391566"/>
                </a:lnTo>
                <a:lnTo>
                  <a:pt x="4290608" y="356703"/>
                </a:lnTo>
                <a:lnTo>
                  <a:pt x="4289356" y="323400"/>
                </a:lnTo>
                <a:lnTo>
                  <a:pt x="4287114" y="291726"/>
                </a:lnTo>
                <a:lnTo>
                  <a:pt x="4283749" y="261756"/>
                </a:lnTo>
                <a:lnTo>
                  <a:pt x="4279133" y="233558"/>
                </a:lnTo>
                <a:lnTo>
                  <a:pt x="4273137" y="207205"/>
                </a:lnTo>
                <a:lnTo>
                  <a:pt x="4265631" y="182769"/>
                </a:lnTo>
                <a:lnTo>
                  <a:pt x="4256487" y="160321"/>
                </a:lnTo>
                <a:lnTo>
                  <a:pt x="4245573" y="139933"/>
                </a:lnTo>
                <a:lnTo>
                  <a:pt x="4217922" y="105620"/>
                </a:lnTo>
                <a:lnTo>
                  <a:pt x="4181644" y="80403"/>
                </a:lnTo>
                <a:lnTo>
                  <a:pt x="4159946" y="71383"/>
                </a:lnTo>
                <a:lnTo>
                  <a:pt x="4135704" y="64853"/>
                </a:lnTo>
                <a:lnTo>
                  <a:pt x="4108787" y="60882"/>
                </a:lnTo>
                <a:lnTo>
                  <a:pt x="4079066" y="59542"/>
                </a:lnTo>
                <a:close/>
              </a:path>
            </a:pathLst>
          </a:custGeom>
          <a:solidFill>
            <a:srgbClr val="F1758B"/>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dirty="0"/>
              <a:t>.</a:t>
            </a:r>
          </a:p>
        </p:txBody>
      </p:sp>
      <p:sp>
        <p:nvSpPr>
          <p:cNvPr id="4" name="TextBox 1">
            <a:extLst>
              <a:ext uri="{FF2B5EF4-FFF2-40B4-BE49-F238E27FC236}">
                <a16:creationId xmlns:a16="http://schemas.microsoft.com/office/drawing/2014/main" id="{92500955-F955-8FDD-E021-8370B753FCBD}"/>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ikro grafikken: Klik på Mikro grafikken, klik på Fyldfarve til figur, vælg farve fra Brugerdefinerede farvers anden række. </a:t>
            </a:r>
          </a:p>
        </p:txBody>
      </p:sp>
    </p:spTree>
    <p:extLst>
      <p:ext uri="{BB962C8B-B14F-4D97-AF65-F5344CB8AC3E}">
        <p14:creationId xmlns:p14="http://schemas.microsoft.com/office/powerpoint/2010/main" val="830027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18" name="Baggrund højre">
            <a:extLst>
              <a:ext uri="{FF2B5EF4-FFF2-40B4-BE49-F238E27FC236}">
                <a16:creationId xmlns:a16="http://schemas.microsoft.com/office/drawing/2014/main" id="{FBEA3A33-4B5E-F835-AD9A-4D073373C2FC}"/>
              </a:ext>
            </a:extLst>
          </p:cNvPr>
          <p:cNvSpPr/>
          <p:nvPr userDrawn="1"/>
        </p:nvSpPr>
        <p:spPr bwMode="white">
          <a:xfrm>
            <a:off x="5344716" y="675001"/>
            <a:ext cx="3799284" cy="4468178"/>
          </a:xfrm>
          <a:prstGeom prst="rect">
            <a:avLst/>
          </a:prstGeom>
          <a:solidFill>
            <a:srgbClr val="3F1A2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da-DK" sz="1500" noProof="0" dirty="0" err="1"/>
          </a:p>
        </p:txBody>
      </p:sp>
      <p:sp>
        <p:nvSpPr>
          <p:cNvPr id="36" name="Citationstegn">
            <a:extLst>
              <a:ext uri="{FF2B5EF4-FFF2-40B4-BE49-F238E27FC236}">
                <a16:creationId xmlns:a16="http://schemas.microsoft.com/office/drawing/2014/main" id="{D69A9A27-677C-C571-8CFB-FA523F94F879}"/>
              </a:ext>
            </a:extLst>
          </p:cNvPr>
          <p:cNvSpPr>
            <a:spLocks noGrp="1"/>
          </p:cNvSpPr>
          <p:nvPr>
            <p:ph type="body" sz="quarter" idx="17" hasCustomPrompt="1"/>
          </p:nvPr>
        </p:nvSpPr>
        <p:spPr>
          <a:xfrm>
            <a:off x="398590" y="1664093"/>
            <a:ext cx="504876" cy="462242"/>
          </a:xfrm>
          <a:custGeom>
            <a:avLst/>
            <a:gdLst>
              <a:gd name="connsiteX0" fmla="*/ 502632 w 673168"/>
              <a:gd name="connsiteY0" fmla="*/ 0 h 616323"/>
              <a:gd name="connsiteX1" fmla="*/ 604355 w 673168"/>
              <a:gd name="connsiteY1" fmla="*/ 0 h 616323"/>
              <a:gd name="connsiteX2" fmla="*/ 520583 w 673168"/>
              <a:gd name="connsiteY2" fmla="*/ 379966 h 616323"/>
              <a:gd name="connsiteX3" fmla="*/ 673168 w 673168"/>
              <a:gd name="connsiteY3" fmla="*/ 493657 h 616323"/>
              <a:gd name="connsiteX4" fmla="*/ 535543 w 673168"/>
              <a:gd name="connsiteY4" fmla="*/ 616323 h 616323"/>
              <a:gd name="connsiteX5" fmla="*/ 400909 w 673168"/>
              <a:gd name="connsiteY5" fmla="*/ 493657 h 616323"/>
              <a:gd name="connsiteX6" fmla="*/ 412876 w 673168"/>
              <a:gd name="connsiteY6" fmla="*/ 409885 h 616323"/>
              <a:gd name="connsiteX7" fmla="*/ 101723 w 673168"/>
              <a:gd name="connsiteY7" fmla="*/ 0 h 616323"/>
              <a:gd name="connsiteX8" fmla="*/ 203446 w 673168"/>
              <a:gd name="connsiteY8" fmla="*/ 0 h 616323"/>
              <a:gd name="connsiteX9" fmla="*/ 119674 w 673168"/>
              <a:gd name="connsiteY9" fmla="*/ 379966 h 616323"/>
              <a:gd name="connsiteX10" fmla="*/ 272259 w 673168"/>
              <a:gd name="connsiteY10" fmla="*/ 493657 h 616323"/>
              <a:gd name="connsiteX11" fmla="*/ 134634 w 673168"/>
              <a:gd name="connsiteY11" fmla="*/ 616323 h 616323"/>
              <a:gd name="connsiteX12" fmla="*/ 0 w 673168"/>
              <a:gd name="connsiteY12" fmla="*/ 493657 h 616323"/>
              <a:gd name="connsiteX13" fmla="*/ 11967 w 673168"/>
              <a:gd name="connsiteY13" fmla="*/ 409885 h 616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3168" h="616323">
                <a:moveTo>
                  <a:pt x="502632" y="0"/>
                </a:moveTo>
                <a:lnTo>
                  <a:pt x="604355" y="0"/>
                </a:lnTo>
                <a:lnTo>
                  <a:pt x="520583" y="379966"/>
                </a:lnTo>
                <a:cubicBezTo>
                  <a:pt x="616323" y="379966"/>
                  <a:pt x="673168" y="403901"/>
                  <a:pt x="673168" y="493657"/>
                </a:cubicBezTo>
                <a:cubicBezTo>
                  <a:pt x="673168" y="592388"/>
                  <a:pt x="616323" y="616323"/>
                  <a:pt x="535543" y="616323"/>
                </a:cubicBezTo>
                <a:cubicBezTo>
                  <a:pt x="457754" y="616323"/>
                  <a:pt x="400909" y="592388"/>
                  <a:pt x="400909" y="493657"/>
                </a:cubicBezTo>
                <a:cubicBezTo>
                  <a:pt x="400909" y="478698"/>
                  <a:pt x="403901" y="445787"/>
                  <a:pt x="412876" y="409885"/>
                </a:cubicBezTo>
                <a:close/>
                <a:moveTo>
                  <a:pt x="101723" y="0"/>
                </a:moveTo>
                <a:lnTo>
                  <a:pt x="203446" y="0"/>
                </a:lnTo>
                <a:lnTo>
                  <a:pt x="119674" y="379966"/>
                </a:lnTo>
                <a:cubicBezTo>
                  <a:pt x="215414" y="379966"/>
                  <a:pt x="272259" y="403901"/>
                  <a:pt x="272259" y="493657"/>
                </a:cubicBezTo>
                <a:cubicBezTo>
                  <a:pt x="272259" y="592388"/>
                  <a:pt x="215414" y="616323"/>
                  <a:pt x="134634" y="616323"/>
                </a:cubicBezTo>
                <a:cubicBezTo>
                  <a:pt x="53853" y="616323"/>
                  <a:pt x="0" y="592388"/>
                  <a:pt x="0" y="493657"/>
                </a:cubicBezTo>
                <a:cubicBezTo>
                  <a:pt x="0" y="478698"/>
                  <a:pt x="2992" y="445787"/>
                  <a:pt x="11967" y="409885"/>
                </a:cubicBezTo>
                <a:close/>
              </a:path>
            </a:pathLst>
          </a:custGeom>
          <a:solidFill>
            <a:srgbClr val="AB2A0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7" name="Titel 6">
            <a:extLst>
              <a:ext uri="{FF2B5EF4-FFF2-40B4-BE49-F238E27FC236}">
                <a16:creationId xmlns:a16="http://schemas.microsoft.com/office/drawing/2014/main" id="{8F7A2D9C-EAFA-3270-E382-715F84BCCAE7}"/>
              </a:ext>
            </a:extLst>
          </p:cNvPr>
          <p:cNvSpPr>
            <a:spLocks noGrp="1"/>
          </p:cNvSpPr>
          <p:nvPr>
            <p:ph type="title" hasCustomPrompt="1"/>
          </p:nvPr>
        </p:nvSpPr>
        <p:spPr>
          <a:xfrm>
            <a:off x="405000" y="2367137"/>
            <a:ext cx="3396600" cy="621000"/>
          </a:xfrm>
        </p:spPr>
        <p:txBody>
          <a:bodyPr/>
          <a:lstStyle>
            <a:lvl1pPr>
              <a:defRPr/>
            </a:lvl1pPr>
          </a:lstStyle>
          <a:p>
            <a:r>
              <a:rPr lang="da-DK" dirty="0"/>
              <a:t>Klik for at tilføje citat</a:t>
            </a:r>
          </a:p>
        </p:txBody>
      </p:sp>
      <p:sp>
        <p:nvSpPr>
          <p:cNvPr id="17" name="Text Placeholder 2">
            <a:extLst>
              <a:ext uri="{FF2B5EF4-FFF2-40B4-BE49-F238E27FC236}">
                <a16:creationId xmlns:a16="http://schemas.microsoft.com/office/drawing/2014/main" id="{260F894D-D8AD-CA81-C1F4-E27837EF5DFB}"/>
              </a:ext>
            </a:extLst>
          </p:cNvPr>
          <p:cNvSpPr>
            <a:spLocks noGrp="1"/>
          </p:cNvSpPr>
          <p:nvPr>
            <p:ph type="body" sz="quarter" idx="13" hasCustomPrompt="1"/>
          </p:nvPr>
        </p:nvSpPr>
        <p:spPr>
          <a:xfrm>
            <a:off x="405000" y="3095875"/>
            <a:ext cx="3396600" cy="213856"/>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 typeface="Arial" panose="020B0604020202020204" pitchFamily="34" charset="0"/>
              <a:buChar char="​"/>
              <a:defRPr sz="1200" b="0">
                <a:latin typeface="+mn-lt"/>
              </a:defRPr>
            </a:lvl2pPr>
            <a:lvl3pPr marL="0" indent="0">
              <a:lnSpc>
                <a:spcPct val="100000"/>
              </a:lnSpc>
              <a:spcBef>
                <a:spcPts val="0"/>
              </a:spcBef>
              <a:spcAft>
                <a:spcPts val="0"/>
              </a:spcAft>
              <a:buFont typeface="Arial" panose="020B0604020202020204" pitchFamily="34" charset="0"/>
              <a:buChar char="​"/>
              <a:defRPr sz="1200" b="0">
                <a:latin typeface="+mn-lt"/>
              </a:defRPr>
            </a:lvl3pPr>
            <a:lvl4pPr marL="0" indent="0">
              <a:lnSpc>
                <a:spcPct val="100000"/>
              </a:lnSpc>
              <a:spcBef>
                <a:spcPts val="0"/>
              </a:spcBef>
              <a:spcAft>
                <a:spcPts val="0"/>
              </a:spcAft>
              <a:buFont typeface="Arial" panose="020B0604020202020204" pitchFamily="34" charset="0"/>
              <a:buChar char="​"/>
              <a:defRPr sz="1200" b="0">
                <a:latin typeface="+mn-lt"/>
              </a:defRPr>
            </a:lvl4pPr>
            <a:lvl5pPr marL="0" indent="0">
              <a:lnSpc>
                <a:spcPct val="100000"/>
              </a:lnSpc>
              <a:spcBef>
                <a:spcPts val="0"/>
              </a:spcBef>
              <a:spcAft>
                <a:spcPts val="0"/>
              </a:spcAft>
              <a:buFont typeface="Arial" panose="020B0604020202020204" pitchFamily="34" charset="0"/>
              <a:buChar char="​"/>
              <a:defRPr sz="1200" b="0">
                <a:latin typeface="+mn-lt"/>
              </a:defRPr>
            </a:lvl5pPr>
            <a:lvl6pPr marL="0" indent="0">
              <a:lnSpc>
                <a:spcPct val="100000"/>
              </a:lnSpc>
              <a:spcBef>
                <a:spcPts val="0"/>
              </a:spcBef>
              <a:spcAft>
                <a:spcPts val="0"/>
              </a:spcAft>
              <a:buFont typeface="Arial" panose="020B0604020202020204" pitchFamily="34" charset="0"/>
              <a:buChar char="​"/>
              <a:defRPr sz="1200" b="0">
                <a:latin typeface="+mn-lt"/>
              </a:defRPr>
            </a:lvl6pPr>
            <a:lvl7pPr marL="0" indent="0">
              <a:lnSpc>
                <a:spcPct val="100000"/>
              </a:lnSpc>
              <a:spcBef>
                <a:spcPts val="0"/>
              </a:spcBef>
              <a:spcAft>
                <a:spcPts val="0"/>
              </a:spcAft>
              <a:buFont typeface="Arial" panose="020B0604020202020204" pitchFamily="34" charset="0"/>
              <a:buChar char="​"/>
              <a:defRPr sz="1200" b="0">
                <a:latin typeface="+mn-lt"/>
              </a:defRPr>
            </a:lvl7pPr>
            <a:lvl8pPr marL="0" indent="0">
              <a:lnSpc>
                <a:spcPct val="100000"/>
              </a:lnSpc>
              <a:spcBef>
                <a:spcPts val="0"/>
              </a:spcBef>
              <a:spcAft>
                <a:spcPts val="0"/>
              </a:spcAft>
              <a:buFont typeface="Arial" panose="020B0604020202020204" pitchFamily="34" charset="0"/>
              <a:buChar char="​"/>
              <a:defRPr sz="1200" b="0">
                <a:latin typeface="+mn-lt"/>
              </a:defRPr>
            </a:lvl8pPr>
            <a:lvl9pPr marL="0" indent="0">
              <a:lnSpc>
                <a:spcPct val="100000"/>
              </a:lnSpc>
              <a:spcBef>
                <a:spcPts val="0"/>
              </a:spcBef>
              <a:buFont typeface="Arial" panose="020B0604020202020204" pitchFamily="34" charset="0"/>
              <a:buChar char="​"/>
              <a:defRPr sz="1200" b="0">
                <a:latin typeface="+mn-lt"/>
              </a:defRPr>
            </a:lvl9pPr>
          </a:lstStyle>
          <a:p>
            <a:pPr lvl="0"/>
            <a:r>
              <a:rPr lang="da-DK" noProof="0" dirty="0"/>
              <a:t>Klik for at tilføje navn</a:t>
            </a:r>
          </a:p>
        </p:txBody>
      </p:sp>
      <p:sp>
        <p:nvSpPr>
          <p:cNvPr id="16" name="Text Placeholder 3">
            <a:extLst>
              <a:ext uri="{FF2B5EF4-FFF2-40B4-BE49-F238E27FC236}">
                <a16:creationId xmlns:a16="http://schemas.microsoft.com/office/drawing/2014/main" id="{145BFAFA-19B6-8EEB-8CBF-2C31E2CEB6F0}"/>
              </a:ext>
            </a:extLst>
          </p:cNvPr>
          <p:cNvSpPr>
            <a:spLocks noGrp="1"/>
          </p:cNvSpPr>
          <p:nvPr>
            <p:ph type="body" sz="quarter" idx="21" hasCustomPrompt="1"/>
          </p:nvPr>
        </p:nvSpPr>
        <p:spPr>
          <a:xfrm>
            <a:off x="405000" y="3356793"/>
            <a:ext cx="3396600" cy="193755"/>
          </a:xfrm>
        </p:spPr>
        <p:txBody>
          <a:bodyPr/>
          <a:lstStyle>
            <a:lvl1pPr marL="0" indent="0">
              <a:lnSpc>
                <a:spcPct val="100000"/>
              </a:lnSpc>
              <a:spcBef>
                <a:spcPts val="0"/>
              </a:spcBef>
              <a:spcAft>
                <a:spcPts val="0"/>
              </a:spcAft>
              <a:buFontTx/>
              <a:buNone/>
              <a:defRPr sz="750" b="0">
                <a:latin typeface="+mn-lt"/>
              </a:defRPr>
            </a:lvl1pPr>
            <a:lvl2pPr marL="0" indent="0">
              <a:lnSpc>
                <a:spcPct val="100000"/>
              </a:lnSpc>
              <a:spcBef>
                <a:spcPts val="0"/>
              </a:spcBef>
              <a:spcAft>
                <a:spcPts val="0"/>
              </a:spcAft>
              <a:buFont typeface="Arial" panose="020B0604020202020204" pitchFamily="34" charset="0"/>
              <a:buChar char="​"/>
              <a:defRPr sz="750" b="0">
                <a:latin typeface="+mn-lt"/>
              </a:defRPr>
            </a:lvl2pPr>
            <a:lvl3pPr marL="0" indent="0">
              <a:lnSpc>
                <a:spcPct val="100000"/>
              </a:lnSpc>
              <a:spcBef>
                <a:spcPts val="0"/>
              </a:spcBef>
              <a:spcAft>
                <a:spcPts val="0"/>
              </a:spcAft>
              <a:buFont typeface="Arial" panose="020B0604020202020204" pitchFamily="34" charset="0"/>
              <a:buChar char="​"/>
              <a:defRPr sz="750" b="0">
                <a:latin typeface="+mn-lt"/>
              </a:defRPr>
            </a:lvl3pPr>
            <a:lvl4pPr>
              <a:lnSpc>
                <a:spcPct val="100000"/>
              </a:lnSpc>
              <a:spcBef>
                <a:spcPts val="0"/>
              </a:spcBef>
              <a:spcAft>
                <a:spcPts val="0"/>
              </a:spcAft>
              <a:buFont typeface="Arial" panose="020B0604020202020204" pitchFamily="34" charset="0"/>
              <a:buChar char="​"/>
              <a:defRPr sz="750" b="0">
                <a:latin typeface="+mn-lt"/>
              </a:defRPr>
            </a:lvl4pPr>
            <a:lvl5pPr>
              <a:lnSpc>
                <a:spcPct val="100000"/>
              </a:lnSpc>
              <a:spcBef>
                <a:spcPts val="0"/>
              </a:spcBef>
              <a:spcAft>
                <a:spcPts val="0"/>
              </a:spcAft>
              <a:buFont typeface="Arial" panose="020B0604020202020204" pitchFamily="34" charset="0"/>
              <a:buChar char="​"/>
              <a:defRPr sz="750" b="0">
                <a:latin typeface="+mn-lt"/>
              </a:defRPr>
            </a:lvl5pPr>
            <a:lvl6pPr marL="0" indent="0">
              <a:lnSpc>
                <a:spcPct val="100000"/>
              </a:lnSpc>
              <a:spcBef>
                <a:spcPts val="0"/>
              </a:spcBef>
              <a:spcAft>
                <a:spcPts val="0"/>
              </a:spcAft>
              <a:buFont typeface="Arial" panose="020B0604020202020204" pitchFamily="34" charset="0"/>
              <a:buChar char="​"/>
              <a:defRPr sz="750" b="0">
                <a:latin typeface="+mn-lt"/>
              </a:defRPr>
            </a:lvl6pPr>
            <a:lvl7pPr>
              <a:lnSpc>
                <a:spcPct val="100000"/>
              </a:lnSpc>
              <a:spcBef>
                <a:spcPts val="0"/>
              </a:spcBef>
              <a:spcAft>
                <a:spcPts val="0"/>
              </a:spcAft>
              <a:defRPr sz="750" b="0">
                <a:latin typeface="+mn-lt"/>
              </a:defRPr>
            </a:lvl7pPr>
            <a:lvl8pPr>
              <a:lnSpc>
                <a:spcPct val="100000"/>
              </a:lnSpc>
              <a:spcBef>
                <a:spcPts val="0"/>
              </a:spcBef>
              <a:spcAft>
                <a:spcPts val="0"/>
              </a:spcAft>
              <a:defRPr sz="750" b="0">
                <a:latin typeface="+mn-lt"/>
              </a:defRPr>
            </a:lvl8pPr>
            <a:lvl9pPr>
              <a:lnSpc>
                <a:spcPct val="100000"/>
              </a:lnSpc>
              <a:spcBef>
                <a:spcPts val="0"/>
              </a:spcBef>
              <a:spcAft>
                <a:spcPts val="0"/>
              </a:spcAft>
              <a:defRPr sz="750" b="0">
                <a:latin typeface="+mn-lt"/>
              </a:defRPr>
            </a:lvl9pPr>
          </a:lstStyle>
          <a:p>
            <a:pPr lvl="0"/>
            <a:r>
              <a:rPr lang="da-DK" dirty="0"/>
              <a:t>Klik for at tilføje titel</a:t>
            </a:r>
          </a:p>
        </p:txBody>
      </p:sp>
      <p:sp>
        <p:nvSpPr>
          <p:cNvPr id="20" name="Makro grafik 1">
            <a:extLst>
              <a:ext uri="{FF2B5EF4-FFF2-40B4-BE49-F238E27FC236}">
                <a16:creationId xmlns:a16="http://schemas.microsoft.com/office/drawing/2014/main" id="{FC1D0852-DEFD-91A1-6E00-B4A6FF9E00D7}"/>
              </a:ext>
            </a:extLst>
          </p:cNvPr>
          <p:cNvSpPr>
            <a:spLocks noGrp="1" noChangeAspect="1"/>
          </p:cNvSpPr>
          <p:nvPr>
            <p:ph type="body" sz="quarter" idx="18" hasCustomPrompt="1"/>
          </p:nvPr>
        </p:nvSpPr>
        <p:spPr>
          <a:xfrm>
            <a:off x="7129898" y="1183240"/>
            <a:ext cx="2584852" cy="2609850"/>
          </a:xfrm>
          <a:custGeom>
            <a:avLst/>
            <a:gdLst>
              <a:gd name="connsiteX0" fmla="*/ 0 w 3446469"/>
              <a:gd name="connsiteY0" fmla="*/ 0 h 3479800"/>
              <a:gd name="connsiteX1" fmla="*/ 3446469 w 3446469"/>
              <a:gd name="connsiteY1" fmla="*/ 1559911 h 3479800"/>
              <a:gd name="connsiteX2" fmla="*/ 3446469 w 3446469"/>
              <a:gd name="connsiteY2" fmla="*/ 1866560 h 3479800"/>
              <a:gd name="connsiteX3" fmla="*/ 0 w 3446469"/>
              <a:gd name="connsiteY3" fmla="*/ 3479800 h 3479800"/>
              <a:gd name="connsiteX4" fmla="*/ 0 w 3446469"/>
              <a:gd name="connsiteY4" fmla="*/ 3146487 h 3479800"/>
              <a:gd name="connsiteX5" fmla="*/ 3179822 w 3446469"/>
              <a:gd name="connsiteY5" fmla="*/ 1713235 h 3479800"/>
              <a:gd name="connsiteX6" fmla="*/ 0 w 3446469"/>
              <a:gd name="connsiteY6" fmla="*/ 326648 h 347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6469" h="3479800">
                <a:moveTo>
                  <a:pt x="0" y="0"/>
                </a:moveTo>
                <a:lnTo>
                  <a:pt x="3446469" y="1559911"/>
                </a:lnTo>
                <a:lnTo>
                  <a:pt x="3446469" y="1866560"/>
                </a:lnTo>
                <a:lnTo>
                  <a:pt x="0" y="3479800"/>
                </a:lnTo>
                <a:lnTo>
                  <a:pt x="0" y="3146487"/>
                </a:lnTo>
                <a:lnTo>
                  <a:pt x="3179822" y="1713235"/>
                </a:lnTo>
                <a:lnTo>
                  <a:pt x="0" y="326648"/>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25" name="Pladsholder til billede 24">
            <a:extLst>
              <a:ext uri="{FF2B5EF4-FFF2-40B4-BE49-F238E27FC236}">
                <a16:creationId xmlns:a16="http://schemas.microsoft.com/office/drawing/2014/main" id="{CEEC097F-0B93-D144-2154-34F7FADB7981}"/>
              </a:ext>
            </a:extLst>
          </p:cNvPr>
          <p:cNvSpPr>
            <a:spLocks noGrp="1"/>
          </p:cNvSpPr>
          <p:nvPr>
            <p:ph type="pic" sz="quarter" idx="22" hasCustomPrompt="1"/>
          </p:nvPr>
        </p:nvSpPr>
        <p:spPr>
          <a:xfrm>
            <a:off x="4877211" y="675000"/>
            <a:ext cx="4275392" cy="4468500"/>
          </a:xfrm>
          <a:noFill/>
        </p:spPr>
        <p:txBody>
          <a:bodyPr lIns="1080000" rIns="612000"/>
          <a:lstStyle>
            <a:lvl1pPr marL="0" indent="0" algn="ctr">
              <a:buNone/>
              <a:defRPr>
                <a:solidFill>
                  <a:schemeClr val="bg1"/>
                </a:solidFill>
              </a:defRPr>
            </a:lvl1pPr>
          </a:lstStyle>
          <a:p>
            <a:r>
              <a:rPr lang="da-DK" noProof="0" dirty="0"/>
              <a:t>Klik her på rammen, klik Indsæt/Billeder og indsæt fritlagt billede (uden baggrund)</a:t>
            </a:r>
          </a:p>
        </p:txBody>
      </p:sp>
      <p:sp>
        <p:nvSpPr>
          <p:cNvPr id="22" name="Makro grafik 2">
            <a:extLst>
              <a:ext uri="{FF2B5EF4-FFF2-40B4-BE49-F238E27FC236}">
                <a16:creationId xmlns:a16="http://schemas.microsoft.com/office/drawing/2014/main" id="{79AB4A1A-85C8-A7A7-D645-2EC9A8882985}"/>
              </a:ext>
            </a:extLst>
          </p:cNvPr>
          <p:cNvSpPr>
            <a:spLocks noGrp="1" noChangeAspect="1"/>
          </p:cNvSpPr>
          <p:nvPr>
            <p:ph type="body" sz="quarter" idx="19" hasCustomPrompt="1"/>
          </p:nvPr>
        </p:nvSpPr>
        <p:spPr>
          <a:xfrm>
            <a:off x="5043369" y="2139957"/>
            <a:ext cx="2584852" cy="2609850"/>
          </a:xfrm>
          <a:custGeom>
            <a:avLst/>
            <a:gdLst>
              <a:gd name="connsiteX0" fmla="*/ 3446469 w 3446469"/>
              <a:gd name="connsiteY0" fmla="*/ 0 h 3479800"/>
              <a:gd name="connsiteX1" fmla="*/ 3446469 w 3446469"/>
              <a:gd name="connsiteY1" fmla="*/ 333314 h 3479800"/>
              <a:gd name="connsiteX2" fmla="*/ 266648 w 3446469"/>
              <a:gd name="connsiteY2" fmla="*/ 1766565 h 3479800"/>
              <a:gd name="connsiteX3" fmla="*/ 3446469 w 3446469"/>
              <a:gd name="connsiteY3" fmla="*/ 3153152 h 3479800"/>
              <a:gd name="connsiteX4" fmla="*/ 3446469 w 3446469"/>
              <a:gd name="connsiteY4" fmla="*/ 3479800 h 3479800"/>
              <a:gd name="connsiteX5" fmla="*/ 0 w 3446469"/>
              <a:gd name="connsiteY5" fmla="*/ 1919890 h 3479800"/>
              <a:gd name="connsiteX6" fmla="*/ 0 w 3446469"/>
              <a:gd name="connsiteY6" fmla="*/ 1613240 h 347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6469" h="3479800">
                <a:moveTo>
                  <a:pt x="3446469" y="0"/>
                </a:moveTo>
                <a:lnTo>
                  <a:pt x="3446469" y="333314"/>
                </a:lnTo>
                <a:lnTo>
                  <a:pt x="266648" y="1766565"/>
                </a:lnTo>
                <a:lnTo>
                  <a:pt x="3446469" y="3153152"/>
                </a:lnTo>
                <a:lnTo>
                  <a:pt x="3446469" y="3479800"/>
                </a:lnTo>
                <a:lnTo>
                  <a:pt x="0" y="1919890"/>
                </a:lnTo>
                <a:lnTo>
                  <a:pt x="0" y="161324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2" name="Date Placeholder 1">
            <a:extLst>
              <a:ext uri="{FF2B5EF4-FFF2-40B4-BE49-F238E27FC236}">
                <a16:creationId xmlns:a16="http://schemas.microsoft.com/office/drawing/2014/main" id="{D6CD7A3F-33C8-C798-8ED1-304A132B715D}"/>
              </a:ext>
            </a:extLst>
          </p:cNvPr>
          <p:cNvSpPr>
            <a:spLocks noGrp="1"/>
          </p:cNvSpPr>
          <p:nvPr>
            <p:ph type="dt" sz="half" idx="23"/>
          </p:nvPr>
        </p:nvSpPr>
        <p:spPr/>
        <p:txBody>
          <a:bodyPr/>
          <a:lstStyle/>
          <a:p>
            <a:fld id="{A2446D3D-F608-46B7-8E05-81FCF9BDF507}" type="datetime2">
              <a:rPr lang="da-DK" smtClean="0"/>
              <a:t>11. december 2025</a:t>
            </a:fld>
            <a:endParaRPr lang="da-DK" dirty="0"/>
          </a:p>
        </p:txBody>
      </p:sp>
      <p:sp>
        <p:nvSpPr>
          <p:cNvPr id="6" name="Footer Placeholder 5">
            <a:extLst>
              <a:ext uri="{FF2B5EF4-FFF2-40B4-BE49-F238E27FC236}">
                <a16:creationId xmlns:a16="http://schemas.microsoft.com/office/drawing/2014/main" id="{E7EC2575-A0D9-01D6-1777-0877C4AFA02C}"/>
              </a:ext>
            </a:extLst>
          </p:cNvPr>
          <p:cNvSpPr>
            <a:spLocks noGrp="1"/>
          </p:cNvSpPr>
          <p:nvPr>
            <p:ph type="ftr" sz="quarter" idx="24"/>
          </p:nvPr>
        </p:nvSpPr>
        <p:spPr/>
        <p:txBody>
          <a:bodyPr/>
          <a:lstStyle>
            <a:lvl1pPr>
              <a:defRPr>
                <a:solidFill>
                  <a:schemeClr val="bg2"/>
                </a:solidFill>
              </a:defRPr>
            </a:lvl1pPr>
          </a:lstStyle>
          <a:p>
            <a:r>
              <a:rPr lang="da-DK" dirty="0"/>
              <a:t>Digitaliseringsstyrelsen</a:t>
            </a:r>
          </a:p>
        </p:txBody>
      </p:sp>
      <p:sp>
        <p:nvSpPr>
          <p:cNvPr id="8" name="Slide Number Placeholder 7">
            <a:extLst>
              <a:ext uri="{FF2B5EF4-FFF2-40B4-BE49-F238E27FC236}">
                <a16:creationId xmlns:a16="http://schemas.microsoft.com/office/drawing/2014/main" id="{B0F34EA2-C025-23CF-3CE0-0A87EFCE1936}"/>
              </a:ext>
            </a:extLst>
          </p:cNvPr>
          <p:cNvSpPr>
            <a:spLocks noGrp="1"/>
          </p:cNvSpPr>
          <p:nvPr>
            <p:ph type="sldNum" sz="quarter" idx="25"/>
          </p:nvPr>
        </p:nvSpPr>
        <p:spPr/>
        <p:txBody>
          <a:bodyPr/>
          <a:lstStyle/>
          <a:p>
            <a:fld id="{24C8C45C-947F-4981-8B3F-4F32E973C901}" type="slidenum">
              <a:rPr lang="da-DK" smtClean="0"/>
              <a:pPr/>
              <a:t>‹nr.›</a:t>
            </a:fld>
            <a:endParaRPr lang="da-DK" dirty="0"/>
          </a:p>
        </p:txBody>
      </p:sp>
      <p:sp>
        <p:nvSpPr>
          <p:cNvPr id="4" name="TextBox 1">
            <a:extLst>
              <a:ext uri="{FF2B5EF4-FFF2-40B4-BE49-F238E27FC236}">
                <a16:creationId xmlns:a16="http://schemas.microsoft.com/office/drawing/2014/main" id="{D86CFBED-FFD0-10A0-0BC4-7D2A947EF822}"/>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spTree>
    <p:extLst>
      <p:ext uri="{BB962C8B-B14F-4D97-AF65-F5344CB8AC3E}">
        <p14:creationId xmlns:p14="http://schemas.microsoft.com/office/powerpoint/2010/main" val="1766249169"/>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1988">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2F440956-886F-E399-F5DC-83BF1413FB55}"/>
              </a:ext>
            </a:extLst>
          </p:cNvPr>
          <p:cNvSpPr>
            <a:spLocks noGrp="1"/>
          </p:cNvSpPr>
          <p:nvPr>
            <p:ph type="subTitle" idx="13" hasCustomPrompt="1"/>
          </p:nvPr>
        </p:nvSpPr>
        <p:spPr>
          <a:xfrm>
            <a:off x="405000" y="270000"/>
            <a:ext cx="8334900" cy="337548"/>
          </a:xfrm>
        </p:spPr>
        <p:txBody>
          <a:bodyPr anchor="b" anchorCtr="0"/>
          <a:lstStyle>
            <a:lvl1pPr marL="0" indent="0" algn="l">
              <a:spcBef>
                <a:spcPts val="0"/>
              </a:spcBef>
              <a:buFontTx/>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dirty="0"/>
              <a:t>Klik for at tilføje sektionstitel</a:t>
            </a:r>
          </a:p>
        </p:txBody>
      </p:sp>
      <p:sp>
        <p:nvSpPr>
          <p:cNvPr id="2" name="Title 1">
            <a:extLst>
              <a:ext uri="{FF2B5EF4-FFF2-40B4-BE49-F238E27FC236}">
                <a16:creationId xmlns:a16="http://schemas.microsoft.com/office/drawing/2014/main" id="{FFDCBCB9-EF2E-470C-9EE7-EF220DB3612D}"/>
              </a:ext>
            </a:extLst>
          </p:cNvPr>
          <p:cNvSpPr>
            <a:spLocks noGrp="1"/>
          </p:cNvSpPr>
          <p:nvPr>
            <p:ph type="title" hasCustomPrompt="1"/>
          </p:nvPr>
        </p:nvSpPr>
        <p:spPr/>
        <p:txBody>
          <a:bodyPr/>
          <a:lstStyle/>
          <a:p>
            <a:r>
              <a:rPr lang="da-DK" dirty="0"/>
              <a:t>Klik for at tilføje titel</a:t>
            </a:r>
          </a:p>
        </p:txBody>
      </p:sp>
      <p:sp>
        <p:nvSpPr>
          <p:cNvPr id="7" name="Date Placeholder 6">
            <a:extLst>
              <a:ext uri="{FF2B5EF4-FFF2-40B4-BE49-F238E27FC236}">
                <a16:creationId xmlns:a16="http://schemas.microsoft.com/office/drawing/2014/main" id="{5697AA78-99F6-2A25-0CFB-FAE5615D16FF}"/>
              </a:ext>
            </a:extLst>
          </p:cNvPr>
          <p:cNvSpPr>
            <a:spLocks noGrp="1"/>
          </p:cNvSpPr>
          <p:nvPr>
            <p:ph type="dt" sz="half" idx="14"/>
          </p:nvPr>
        </p:nvSpPr>
        <p:spPr/>
        <p:txBody>
          <a:bodyPr/>
          <a:lstStyle/>
          <a:p>
            <a:fld id="{A2446D3D-F608-46B7-8E05-81FCF9BDF507}" type="datetime2">
              <a:rPr lang="da-DK" smtClean="0"/>
              <a:t>11. december 2025</a:t>
            </a:fld>
            <a:endParaRPr lang="da-DK" dirty="0"/>
          </a:p>
        </p:txBody>
      </p:sp>
      <p:sp>
        <p:nvSpPr>
          <p:cNvPr id="8" name="Footer Placeholder 7">
            <a:extLst>
              <a:ext uri="{FF2B5EF4-FFF2-40B4-BE49-F238E27FC236}">
                <a16:creationId xmlns:a16="http://schemas.microsoft.com/office/drawing/2014/main" id="{69377A66-687C-DB1F-9BCD-5498C880EEDF}"/>
              </a:ext>
            </a:extLst>
          </p:cNvPr>
          <p:cNvSpPr>
            <a:spLocks noGrp="1"/>
          </p:cNvSpPr>
          <p:nvPr>
            <p:ph type="ftr" sz="quarter" idx="15"/>
          </p:nvPr>
        </p:nvSpPr>
        <p:spPr/>
        <p:txBody>
          <a:bodyPr/>
          <a:lstStyle/>
          <a:p>
            <a:r>
              <a:rPr lang="da-DK" dirty="0"/>
              <a:t>Digitaliseringsstyrelsen</a:t>
            </a:r>
          </a:p>
        </p:txBody>
      </p:sp>
      <p:sp>
        <p:nvSpPr>
          <p:cNvPr id="9" name="Slide Number Placeholder 8">
            <a:extLst>
              <a:ext uri="{FF2B5EF4-FFF2-40B4-BE49-F238E27FC236}">
                <a16:creationId xmlns:a16="http://schemas.microsoft.com/office/drawing/2014/main" id="{C38F4F72-305D-C46D-5D41-5F0FC6B92E3C}"/>
              </a:ext>
            </a:extLst>
          </p:cNvPr>
          <p:cNvSpPr>
            <a:spLocks noGrp="1"/>
          </p:cNvSpPr>
          <p:nvPr>
            <p:ph type="sldNum" sz="quarter" idx="16"/>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99344965"/>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DA92360-CC53-0085-455A-FD783E26F1E4}"/>
              </a:ext>
            </a:extLst>
          </p:cNvPr>
          <p:cNvSpPr>
            <a:spLocks noGrp="1"/>
          </p:cNvSpPr>
          <p:nvPr>
            <p:ph type="dt" sz="half" idx="10"/>
          </p:nvPr>
        </p:nvSpPr>
        <p:spPr/>
        <p:txBody>
          <a:bodyPr/>
          <a:lstStyle/>
          <a:p>
            <a:fld id="{A2446D3D-F608-46B7-8E05-81FCF9BDF507}" type="datetime2">
              <a:rPr lang="da-DK" smtClean="0"/>
              <a:t>11. december 2025</a:t>
            </a:fld>
            <a:endParaRPr lang="da-DK" dirty="0"/>
          </a:p>
        </p:txBody>
      </p:sp>
      <p:sp>
        <p:nvSpPr>
          <p:cNvPr id="3" name="Footer Placeholder 2">
            <a:extLst>
              <a:ext uri="{FF2B5EF4-FFF2-40B4-BE49-F238E27FC236}">
                <a16:creationId xmlns:a16="http://schemas.microsoft.com/office/drawing/2014/main" id="{CF1DA727-6CC9-BD98-0DDA-D7D6A36D0C56}"/>
              </a:ext>
            </a:extLst>
          </p:cNvPr>
          <p:cNvSpPr>
            <a:spLocks noGrp="1"/>
          </p:cNvSpPr>
          <p:nvPr>
            <p:ph type="ftr" sz="quarter" idx="11"/>
          </p:nvPr>
        </p:nvSpPr>
        <p:spPr/>
        <p:txBody>
          <a:bodyPr/>
          <a:lstStyle/>
          <a:p>
            <a:r>
              <a:rPr lang="da-DK" dirty="0"/>
              <a:t>Digitaliseringsstyrelsen</a:t>
            </a:r>
          </a:p>
        </p:txBody>
      </p:sp>
      <p:sp>
        <p:nvSpPr>
          <p:cNvPr id="4" name="Slide Number Placeholder 3">
            <a:extLst>
              <a:ext uri="{FF2B5EF4-FFF2-40B4-BE49-F238E27FC236}">
                <a16:creationId xmlns:a16="http://schemas.microsoft.com/office/drawing/2014/main" id="{719D9D9B-BFFA-CE30-D752-40AF41EABFC3}"/>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23452493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9" name="Fast overskrift"/>
          <p:cNvSpPr txBox="1"/>
          <p:nvPr userDrawn="1"/>
        </p:nvSpPr>
        <p:spPr>
          <a:xfrm>
            <a:off x="404814" y="274445"/>
            <a:ext cx="8331991" cy="487628"/>
          </a:xfrm>
          <a:prstGeom prst="rect">
            <a:avLst/>
          </a:prstGeom>
          <a:noFill/>
        </p:spPr>
        <p:txBody>
          <a:bodyPr wrap="square" lIns="0" tIns="0" rIns="0" bIns="0" rtlCol="0" anchor="t" anchorCtr="0">
            <a:noAutofit/>
          </a:bodyPr>
          <a:lstStyle/>
          <a:p>
            <a:r>
              <a:rPr lang="da-DK" sz="2400" b="0" noProof="1">
                <a:solidFill>
                  <a:schemeClr val="tx1"/>
                </a:solidFill>
                <a:latin typeface="+mj-lt"/>
                <a:cs typeface="Arial" panose="020B0604020202020204" pitchFamily="34" charset="0"/>
              </a:rPr>
              <a:t>TIPS &amp; TRICKS - DIN BRUGERGUIDE</a:t>
            </a:r>
          </a:p>
        </p:txBody>
      </p:sp>
      <p:sp>
        <p:nvSpPr>
          <p:cNvPr id="27" name="Text Box 2">
            <a:extLst>
              <a:ext uri="{FF2B5EF4-FFF2-40B4-BE49-F238E27FC236}">
                <a16:creationId xmlns:a16="http://schemas.microsoft.com/office/drawing/2014/main" id="{1E86B7E7-F87D-4375-BAE3-34A81C5D0F8B}"/>
              </a:ext>
            </a:extLst>
          </p:cNvPr>
          <p:cNvSpPr txBox="1">
            <a:spLocks noChangeArrowheads="1"/>
          </p:cNvSpPr>
          <p:nvPr userDrawn="1"/>
        </p:nvSpPr>
        <p:spPr bwMode="auto">
          <a:xfrm>
            <a:off x="404814" y="1211236"/>
            <a:ext cx="1836683" cy="308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da-DK" sz="1200" dirty="0">
                <a:latin typeface="+mn-lt"/>
                <a:cs typeface="Arial" panose="020B0604020202020204" pitchFamily="34" charset="0"/>
              </a:rPr>
              <a:t>TYPOGRAFIER</a:t>
            </a:r>
            <a:endParaRPr lang="da-DK" altLang="da-DK" sz="1200" b="0" noProof="1">
              <a:solidFill>
                <a:schemeClr val="tx1"/>
              </a:solidFill>
              <a:latin typeface="+mn-lt"/>
              <a:cs typeface="Arial" panose="020B0604020202020204" pitchFamily="34" charset="0"/>
            </a:endParaRPr>
          </a:p>
          <a:p>
            <a:pPr eaLnBrk="1" hangingPunct="1">
              <a:spcAft>
                <a:spcPts val="450"/>
              </a:spcAft>
              <a:defRPr/>
            </a:pPr>
            <a:r>
              <a:rPr lang="da-DK" altLang="da-DK" sz="675" b="0" noProof="1">
                <a:solidFill>
                  <a:schemeClr val="tx1"/>
                </a:solidFill>
                <a:latin typeface="+mn-lt"/>
                <a:cs typeface="Arial" panose="020B0604020202020204" pitchFamily="34" charset="0"/>
              </a:rPr>
              <a:t>Brug</a:t>
            </a:r>
            <a:r>
              <a:rPr lang="da-DK" altLang="da-DK" sz="675" b="1" noProof="1">
                <a:solidFill>
                  <a:schemeClr val="tx1"/>
                </a:solidFill>
                <a:latin typeface="+mn-lt"/>
                <a:cs typeface="Arial" panose="020B0604020202020204" pitchFamily="34" charset="0"/>
              </a:rPr>
              <a:t> </a:t>
            </a:r>
            <a:r>
              <a:rPr lang="da-DK" altLang="da-DK" sz="675" b="0" noProof="1">
                <a:solidFill>
                  <a:schemeClr val="tx1"/>
                </a:solidFill>
                <a:latin typeface="Franklin Gothic Medium" panose="020B0603020102020204" pitchFamily="34" charset="0"/>
                <a:cs typeface="Arial" panose="020B0604020202020204" pitchFamily="34" charset="0"/>
              </a:rPr>
              <a:t>TAB</a:t>
            </a:r>
            <a:r>
              <a:rPr lang="da-DK" altLang="da-DK" sz="675" b="1" noProof="1">
                <a:solidFill>
                  <a:schemeClr val="tx1"/>
                </a:solidFill>
                <a:latin typeface="+mn-lt"/>
                <a:cs typeface="Arial" panose="020B0604020202020204" pitchFamily="34" charset="0"/>
              </a:rPr>
              <a:t> </a:t>
            </a:r>
            <a:r>
              <a:rPr lang="da-DK" altLang="da-DK" sz="675" b="0" noProof="1">
                <a:solidFill>
                  <a:schemeClr val="tx1"/>
                </a:solidFill>
                <a:latin typeface="+mn-lt"/>
                <a:cs typeface="Arial" panose="020B0604020202020204" pitchFamily="34" charset="0"/>
              </a:rPr>
              <a:t>for at gå frem i tekst-niveauer. Klik </a:t>
            </a:r>
            <a:r>
              <a:rPr lang="da-DK" altLang="da-DK" sz="675" b="0" noProof="1">
                <a:solidFill>
                  <a:schemeClr val="tx1"/>
                </a:solidFill>
                <a:latin typeface="Franklin Gothic Medium" panose="020B0603020102020204" pitchFamily="34" charset="0"/>
                <a:cs typeface="Arial" panose="020B0604020202020204" pitchFamily="34" charset="0"/>
              </a:rPr>
              <a:t>ENTER</a:t>
            </a:r>
            <a:r>
              <a:rPr lang="da-DK" altLang="da-DK" sz="675" b="0" noProof="1">
                <a:solidFill>
                  <a:schemeClr val="tx1"/>
                </a:solidFill>
                <a:latin typeface="+mn-lt"/>
                <a:cs typeface="Arial" panose="020B0604020202020204" pitchFamily="34" charset="0"/>
              </a:rPr>
              <a:t>, derefter </a:t>
            </a:r>
            <a:r>
              <a:rPr lang="da-DK" altLang="da-DK" sz="675" b="0" noProof="1">
                <a:solidFill>
                  <a:schemeClr val="tx1"/>
                </a:solidFill>
                <a:latin typeface="Franklin Gothic Medium" panose="020B0603020102020204" pitchFamily="34" charset="0"/>
                <a:cs typeface="Arial" panose="020B0604020202020204" pitchFamily="34" charset="0"/>
              </a:rPr>
              <a:t>TAB</a:t>
            </a:r>
            <a:r>
              <a:rPr lang="da-DK" altLang="da-DK" sz="675" b="0" noProof="1">
                <a:solidFill>
                  <a:schemeClr val="tx1"/>
                </a:solidFill>
                <a:latin typeface="+mn-lt"/>
                <a:cs typeface="Arial" panose="020B0604020202020204" pitchFamily="34" charset="0"/>
              </a:rPr>
              <a:t> for at skifte fra et niveau til det næste</a:t>
            </a:r>
          </a:p>
          <a:p>
            <a:pPr eaLnBrk="1" hangingPunct="1">
              <a:spcAft>
                <a:spcPts val="450"/>
              </a:spcAft>
              <a:defRPr/>
            </a:pPr>
            <a:r>
              <a:rPr lang="da-DK" altLang="da-DK" sz="675" b="0" noProof="1">
                <a:solidFill>
                  <a:schemeClr val="tx1"/>
                </a:solidFill>
                <a:latin typeface="+mn-lt"/>
                <a:cs typeface="Arial" panose="020B0604020202020204" pitchFamily="34" charset="0"/>
              </a:rPr>
              <a:t>For at gå tilbage i tekst-niveauer,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brug </a:t>
            </a:r>
            <a:r>
              <a:rPr lang="da-DK" altLang="da-DK" sz="675" b="0" noProof="1">
                <a:solidFill>
                  <a:schemeClr val="tx1"/>
                </a:solidFill>
                <a:latin typeface="Franklin Gothic Medium" panose="020B0603020102020204" pitchFamily="34" charset="0"/>
                <a:cs typeface="Arial" panose="020B0604020202020204" pitchFamily="34" charset="0"/>
              </a:rPr>
              <a:t>SHIFT+TAB</a:t>
            </a:r>
          </a:p>
          <a:p>
            <a:pPr eaLnBrk="1" hangingPunct="1">
              <a:spcAft>
                <a:spcPts val="450"/>
              </a:spcAft>
              <a:defRPr/>
            </a:pPr>
            <a:r>
              <a:rPr lang="da-DK" altLang="da-DK" sz="675" b="0" noProof="1">
                <a:solidFill>
                  <a:schemeClr val="tx1"/>
                </a:solidFill>
                <a:latin typeface="+mn-lt"/>
                <a:cs typeface="Arial" panose="020B0604020202020204" pitchFamily="34" charset="0"/>
              </a:rPr>
              <a:t>Alternativt kan </a:t>
            </a:r>
            <a:r>
              <a:rPr lang="da-DK" altLang="da-DK" sz="675" b="0" noProof="1">
                <a:solidFill>
                  <a:schemeClr val="tx1"/>
                </a:solidFill>
                <a:latin typeface="Franklin Gothic Medium" panose="020B0603020102020204" pitchFamily="34" charset="0"/>
                <a:cs typeface="Arial" panose="020B0604020202020204" pitchFamily="34" charset="0"/>
              </a:rPr>
              <a:t>Forøg</a:t>
            </a:r>
            <a:r>
              <a:rPr lang="da-DK" altLang="da-DK" sz="675" b="0" noProof="1">
                <a:solidFill>
                  <a:schemeClr val="tx1"/>
                </a:solidFill>
                <a:latin typeface="+mn-lt"/>
                <a:cs typeface="Arial" panose="020B0604020202020204" pitchFamily="34" charset="0"/>
              </a:rPr>
              <a:t> og </a:t>
            </a:r>
            <a:r>
              <a:rPr lang="da-DK" altLang="da-DK" sz="675" b="0" noProof="1">
                <a:solidFill>
                  <a:schemeClr val="tx1"/>
                </a:solidFill>
                <a:latin typeface="Franklin Gothic Medium" panose="020B0603020102020204" pitchFamily="34" charset="0"/>
                <a:cs typeface="Arial" panose="020B0604020202020204" pitchFamily="34" charset="0"/>
              </a:rPr>
              <a:t>Formindsk</a:t>
            </a:r>
            <a:r>
              <a:rPr lang="da-DK" altLang="da-DK" sz="675" b="0" noProof="1">
                <a:solidFill>
                  <a:schemeClr val="tx1"/>
                </a:solidFill>
                <a:latin typeface="+mn-lt"/>
                <a:cs typeface="Arial" panose="020B0604020202020204" pitchFamily="34" charset="0"/>
              </a:rPr>
              <a:t> listeniveau bruges</a:t>
            </a:r>
            <a:br>
              <a:rPr lang="da-DK" altLang="da-DK" sz="675" b="0" noProof="1">
                <a:solidFill>
                  <a:schemeClr val="tx1"/>
                </a:solidFill>
                <a:latin typeface="+mn-lt"/>
                <a:cs typeface="Arial" panose="020B0604020202020204" pitchFamily="34" charset="0"/>
              </a:rPr>
            </a:br>
            <a:endParaRPr lang="da-DK" altLang="da-DK" sz="675" b="0" noProof="1">
              <a:solidFill>
                <a:schemeClr val="tx1"/>
              </a:solidFill>
              <a:latin typeface="+mn-lt"/>
              <a:cs typeface="Arial" panose="020B0604020202020204" pitchFamily="34" charset="0"/>
            </a:endParaRPr>
          </a:p>
          <a:p>
            <a:pPr eaLnBrk="1" hangingPunct="1">
              <a:spcAft>
                <a:spcPts val="450"/>
              </a:spcAft>
              <a:defRPr/>
            </a:pPr>
            <a:r>
              <a:rPr lang="da-DK" sz="675" b="0" noProof="1">
                <a:latin typeface="Franklin Gothic Medium" panose="020B0603020102020204" pitchFamily="34" charset="0"/>
                <a:cs typeface="Arial" panose="020B0604020202020204" pitchFamily="34" charset="0"/>
              </a:rPr>
              <a:t>TIP: Brug</a:t>
            </a:r>
            <a:r>
              <a:rPr lang="da-DK" sz="675" b="0" baseline="0" noProof="1">
                <a:latin typeface="Franklin Gothic Medium" panose="020B0603020102020204" pitchFamily="34" charset="0"/>
                <a:cs typeface="Arial" panose="020B0604020202020204" pitchFamily="34" charset="0"/>
              </a:rPr>
              <a:t> bullet knappen</a:t>
            </a:r>
            <a:endParaRPr lang="da-DK" sz="675" b="0" noProof="1">
              <a:latin typeface="Franklin Gothic Medium" panose="020B0603020102020204" pitchFamily="34" charset="0"/>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da-DK" altLang="da-DK" sz="675" b="0" noProof="1">
                <a:solidFill>
                  <a:schemeClr val="tx1"/>
                </a:solidFill>
                <a:latin typeface="+mn-lt"/>
                <a:cs typeface="Arial" panose="020B0604020202020204" pitchFamily="34" charset="0"/>
              </a:rPr>
              <a:t>Fjern bullet for almindelig tekst.</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Klik på bullet knappen for at sætte korrekt bullet igen</a:t>
            </a:r>
          </a:p>
          <a:p>
            <a:pPr marL="0" marR="0" lvl="0" indent="0" algn="l" defTabSz="685800" rtl="0" eaLnBrk="1" fontAlgn="auto" latinLnBrk="0" hangingPunct="1">
              <a:lnSpc>
                <a:spcPct val="100000"/>
              </a:lnSpc>
              <a:spcBef>
                <a:spcPts val="0"/>
              </a:spcBef>
              <a:spcAft>
                <a:spcPts val="450"/>
              </a:spcAft>
              <a:buClrTx/>
              <a:buSzTx/>
              <a:buFontTx/>
              <a:buNone/>
              <a:tabLst/>
              <a:defRPr/>
            </a:pPr>
            <a:br>
              <a:rPr lang="da-DK" altLang="da-DK" sz="1200" b="1" noProof="1">
                <a:solidFill>
                  <a:schemeClr val="tx1"/>
                </a:solidFill>
                <a:latin typeface="+mn-lt"/>
                <a:cs typeface="Arial" panose="020B0604020202020204" pitchFamily="34" charset="0"/>
              </a:rPr>
            </a:br>
            <a:r>
              <a:rPr lang="da-DK" sz="1200" dirty="0">
                <a:latin typeface="+mn-lt"/>
                <a:cs typeface="Arial" panose="020B0604020202020204" pitchFamily="34" charset="0"/>
              </a:rPr>
              <a:t>SLIDES &amp; LAYOUTS</a:t>
            </a:r>
            <a:br>
              <a:rPr lang="da-DK" altLang="da-DK" sz="1200" b="1" noProof="1">
                <a:solidFill>
                  <a:schemeClr val="tx1"/>
                </a:solidFill>
                <a:latin typeface="+mn-lt"/>
                <a:cs typeface="Arial" panose="020B0604020202020204" pitchFamily="34" charset="0"/>
              </a:rPr>
            </a:br>
            <a:br>
              <a:rPr lang="da-DK" altLang="da-DK" sz="675" b="1"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Klik på menupunktet </a:t>
            </a:r>
            <a:r>
              <a:rPr lang="da-DK" altLang="da-DK" sz="675" b="0" noProof="1">
                <a:solidFill>
                  <a:schemeClr val="tx1"/>
                </a:solidFill>
                <a:latin typeface="Franklin Gothic Medium" panose="020B0603020102020204" pitchFamily="34" charset="0"/>
                <a:cs typeface="Arial" panose="020B0604020202020204" pitchFamily="34" charset="0"/>
              </a:rPr>
              <a:t>Nyt Slide </a:t>
            </a:r>
            <a:r>
              <a:rPr lang="da-DK" altLang="da-DK" sz="675" b="0" noProof="1">
                <a:solidFill>
                  <a:schemeClr val="tx1"/>
                </a:solidFill>
                <a:latin typeface="+mn-lt"/>
                <a:cs typeface="Arial" panose="020B0604020202020204" pitchFamily="34" charset="0"/>
              </a:rPr>
              <a:t>i </a:t>
            </a:r>
            <a:r>
              <a:rPr lang="da-DK" altLang="da-DK" sz="675" b="0" noProof="1">
                <a:solidFill>
                  <a:schemeClr val="tx1"/>
                </a:solidFill>
                <a:latin typeface="Franklin Gothic Medium" panose="020B0603020102020204" pitchFamily="34" charset="0"/>
                <a:cs typeface="Arial" panose="020B0604020202020204" pitchFamily="34" charset="0"/>
              </a:rPr>
              <a:t>Hjem</a:t>
            </a:r>
            <a:r>
              <a:rPr lang="da-DK" altLang="da-DK" sz="675" b="0" noProof="1">
                <a:solidFill>
                  <a:schemeClr val="tx1"/>
                </a:solidFill>
                <a:latin typeface="+mn-lt"/>
                <a:cs typeface="Arial" panose="020B0604020202020204" pitchFamily="34" charset="0"/>
              </a:rPr>
              <a:t> fanen for at indsætte nyt slide</a:t>
            </a:r>
            <a:br>
              <a:rPr lang="da-DK" altLang="da-DK" sz="675" b="0" noProof="1">
                <a:solidFill>
                  <a:schemeClr val="tx1"/>
                </a:solidFill>
                <a:latin typeface="+mn-lt"/>
                <a:cs typeface="Arial" panose="020B0604020202020204" pitchFamily="34" charset="0"/>
              </a:rPr>
            </a:b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Franklin Gothic Medium" panose="020B0603020102020204" pitchFamily="34" charset="0"/>
                <a:cs typeface="Arial" panose="020B0604020202020204" pitchFamily="34" charset="0"/>
              </a:rPr>
              <a:t>Ændre layout</a:t>
            </a:r>
          </a:p>
          <a:p>
            <a:pPr eaLnBrk="1" hangingPunct="1">
              <a:spcAft>
                <a:spcPts val="450"/>
              </a:spcAft>
              <a:defRPr/>
            </a:pPr>
            <a:r>
              <a:rPr lang="da-DK" altLang="da-DK" sz="675" b="0" noProof="1">
                <a:solidFill>
                  <a:schemeClr val="tx1"/>
                </a:solidFill>
                <a:latin typeface="+mn-lt"/>
                <a:cs typeface="Arial" panose="020B0604020202020204" pitchFamily="34" charset="0"/>
              </a:rPr>
              <a:t>Klik på pilen</a:t>
            </a:r>
            <a:r>
              <a:rPr lang="da-DK" altLang="da-DK" sz="675" b="0" baseline="0" noProof="1">
                <a:solidFill>
                  <a:schemeClr val="tx1"/>
                </a:solidFill>
                <a:latin typeface="+mn-lt"/>
                <a:cs typeface="Arial" panose="020B0604020202020204" pitchFamily="34" charset="0"/>
              </a:rPr>
              <a:t> ved siden af </a:t>
            </a:r>
            <a:r>
              <a:rPr lang="da-DK" altLang="da-DK" sz="675" b="0" baseline="0" noProof="1">
                <a:solidFill>
                  <a:schemeClr val="tx1"/>
                </a:solidFill>
                <a:latin typeface="Franklin Gothic Medium" panose="020B0603020102020204" pitchFamily="34" charset="0"/>
                <a:cs typeface="Arial" panose="020B0604020202020204" pitchFamily="34" charset="0"/>
              </a:rPr>
              <a:t>Layout</a:t>
            </a:r>
            <a:br>
              <a:rPr lang="da-DK" altLang="da-DK" sz="675" b="0" baseline="0" noProof="1">
                <a:solidFill>
                  <a:schemeClr val="tx1"/>
                </a:solidFill>
                <a:latin typeface="+mn-lt"/>
                <a:cs typeface="Arial" panose="020B0604020202020204" pitchFamily="34" charset="0"/>
              </a:rPr>
            </a:br>
            <a:r>
              <a:rPr lang="da-DK" altLang="da-DK" sz="675" b="0" baseline="0" noProof="1">
                <a:solidFill>
                  <a:schemeClr val="tx1"/>
                </a:solidFill>
                <a:latin typeface="+mn-lt"/>
                <a:cs typeface="Arial" panose="020B0604020202020204" pitchFamily="34" charset="0"/>
              </a:rPr>
              <a:t>for at få vist en dropdown menu af </a:t>
            </a:r>
            <a:br>
              <a:rPr lang="da-DK" altLang="da-DK" sz="675" b="0" baseline="0" noProof="1">
                <a:solidFill>
                  <a:schemeClr val="tx1"/>
                </a:solidFill>
                <a:latin typeface="+mn-lt"/>
                <a:cs typeface="Arial" panose="020B0604020202020204" pitchFamily="34" charset="0"/>
              </a:rPr>
            </a:br>
            <a:r>
              <a:rPr lang="da-DK" altLang="da-DK" sz="675" b="0" baseline="0" noProof="1">
                <a:solidFill>
                  <a:schemeClr val="tx1"/>
                </a:solidFill>
                <a:latin typeface="+mn-lt"/>
                <a:cs typeface="Arial" panose="020B0604020202020204" pitchFamily="34" charset="0"/>
              </a:rPr>
              <a:t>mulige slides layout</a:t>
            </a:r>
            <a:endParaRPr lang="da-DK" altLang="da-DK" sz="675" b="0" noProof="1">
              <a:solidFill>
                <a:schemeClr val="tx1"/>
              </a:solidFill>
              <a:latin typeface="+mn-lt"/>
              <a:cs typeface="Arial" panose="020B0604020202020204" pitchFamily="34" charset="0"/>
            </a:endParaRPr>
          </a:p>
        </p:txBody>
      </p:sp>
      <p:sp>
        <p:nvSpPr>
          <p:cNvPr id="28" name="Text Box 3">
            <a:extLst>
              <a:ext uri="{FF2B5EF4-FFF2-40B4-BE49-F238E27FC236}">
                <a16:creationId xmlns:a16="http://schemas.microsoft.com/office/drawing/2014/main" id="{F5D76AC5-956B-497C-88E2-05290D3AAF8A}"/>
              </a:ext>
            </a:extLst>
          </p:cNvPr>
          <p:cNvSpPr txBox="1">
            <a:spLocks noChangeArrowheads="1"/>
          </p:cNvSpPr>
          <p:nvPr userDrawn="1"/>
        </p:nvSpPr>
        <p:spPr bwMode="auto">
          <a:xfrm>
            <a:off x="3230814" y="1211236"/>
            <a:ext cx="1836683" cy="312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900"/>
              </a:spcBef>
              <a:spcAft>
                <a:spcPts val="450"/>
              </a:spcAft>
              <a:buFont typeface="+mj-lt"/>
              <a:buNone/>
              <a:defRPr/>
            </a:pPr>
            <a:r>
              <a:rPr lang="da-DK" sz="675" b="0" noProof="1">
                <a:solidFill>
                  <a:schemeClr val="tx1"/>
                </a:solidFill>
                <a:latin typeface="Franklin Gothic Medium" panose="020B0603020102020204" pitchFamily="34" charset="0"/>
                <a:cs typeface="Arial" panose="020B0604020202020204" pitchFamily="34" charset="0"/>
              </a:rPr>
              <a:t>Nulstil slide</a:t>
            </a:r>
          </a:p>
          <a:p>
            <a:pPr marL="0" marR="0" indent="0" algn="l" defTabSz="685800" rtl="0" eaLnBrk="1" fontAlgn="auto" latinLnBrk="0" hangingPunct="1">
              <a:lnSpc>
                <a:spcPct val="100000"/>
              </a:lnSpc>
              <a:spcBef>
                <a:spcPts val="0"/>
              </a:spcBef>
              <a:spcAft>
                <a:spcPts val="450"/>
              </a:spcAft>
              <a:buClrTx/>
              <a:buSzTx/>
              <a:buFont typeface="+mj-lt"/>
              <a:buNone/>
              <a:tabLst/>
              <a:defRPr/>
            </a:pPr>
            <a:r>
              <a:rPr lang="da-DK" altLang="da-DK" sz="675" b="0" noProof="1">
                <a:solidFill>
                  <a:schemeClr val="tx1"/>
                </a:solidFill>
                <a:latin typeface="Franklin Gothic Medium" panose="020B0603020102020204" pitchFamily="34" charset="0"/>
                <a:cs typeface="Arial" panose="020B0604020202020204" pitchFamily="34" charset="0"/>
              </a:rPr>
              <a:t>1. </a:t>
            </a:r>
            <a:r>
              <a:rPr lang="da-DK" altLang="da-DK" sz="675" b="0" noProof="1">
                <a:solidFill>
                  <a:schemeClr val="tx1"/>
                </a:solidFill>
                <a:latin typeface="+mn-lt"/>
                <a:cs typeface="Arial" panose="020B0604020202020204" pitchFamily="34" charset="0"/>
              </a:rPr>
              <a:t>Klik på </a:t>
            </a:r>
            <a:r>
              <a:rPr lang="da-DK" altLang="da-DK" sz="675" b="0" noProof="1">
                <a:solidFill>
                  <a:schemeClr val="tx1"/>
                </a:solidFill>
                <a:latin typeface="Franklin Gothic Medium" panose="020B0603020102020204" pitchFamily="34" charset="0"/>
                <a:cs typeface="Arial" panose="020B0604020202020204" pitchFamily="34" charset="0"/>
              </a:rPr>
              <a:t>Hjem</a:t>
            </a:r>
            <a:r>
              <a:rPr lang="da-DK" altLang="da-DK" sz="675" b="0" noProof="1">
                <a:solidFill>
                  <a:schemeClr val="tx1"/>
                </a:solidFill>
                <a:latin typeface="+mn-lt"/>
                <a:cs typeface="Arial" panose="020B0604020202020204" pitchFamily="34" charset="0"/>
              </a:rPr>
              <a:t> knappen</a:t>
            </a:r>
          </a:p>
          <a:p>
            <a:pPr marL="0" marR="0" indent="0" algn="l" defTabSz="685800" rtl="0" eaLnBrk="1" fontAlgn="auto" latinLnBrk="0" hangingPunct="1">
              <a:lnSpc>
                <a:spcPct val="100000"/>
              </a:lnSpc>
              <a:spcBef>
                <a:spcPts val="0"/>
              </a:spcBef>
              <a:spcAft>
                <a:spcPts val="450"/>
              </a:spcAft>
              <a:buClrTx/>
              <a:buSzTx/>
              <a:buFont typeface="+mj-lt"/>
              <a:buNone/>
              <a:tabLst/>
              <a:defRPr/>
            </a:pPr>
            <a:r>
              <a:rPr lang="da-DK" altLang="da-DK" sz="675" b="0" noProof="1">
                <a:solidFill>
                  <a:schemeClr val="tx1"/>
                </a:solidFill>
                <a:latin typeface="Franklin Gothic Medium" panose="020B0603020102020204" pitchFamily="34" charset="0"/>
                <a:cs typeface="Arial" panose="020B0604020202020204" pitchFamily="34" charset="0"/>
              </a:rPr>
              <a:t>2. </a:t>
            </a:r>
            <a:r>
              <a:rPr lang="da-DK" altLang="da-DK" sz="675" b="0" noProof="1">
                <a:solidFill>
                  <a:schemeClr val="tx1"/>
                </a:solidFill>
                <a:latin typeface="+mn-lt"/>
                <a:cs typeface="Arial" panose="020B0604020202020204" pitchFamily="34" charset="0"/>
              </a:rPr>
              <a:t>Vælg </a:t>
            </a:r>
            <a:r>
              <a:rPr lang="da-DK" altLang="da-DK" sz="675" b="0" noProof="1">
                <a:solidFill>
                  <a:schemeClr val="tx1"/>
                </a:solidFill>
                <a:latin typeface="Franklin Gothic Medium" panose="020B0603020102020204" pitchFamily="34" charset="0"/>
                <a:cs typeface="Arial" panose="020B0604020202020204" pitchFamily="34" charset="0"/>
              </a:rPr>
              <a:t>Nulstil </a:t>
            </a:r>
            <a:r>
              <a:rPr lang="da-DK" altLang="da-DK" sz="675" b="0" noProof="1">
                <a:solidFill>
                  <a:schemeClr val="tx1"/>
                </a:solidFill>
                <a:latin typeface="+mn-lt"/>
                <a:cs typeface="Arial" panose="020B0604020202020204" pitchFamily="34" charset="0"/>
              </a:rPr>
              <a:t>for at nulstille placering, størrelse og formatering af pladsholdere til layoutets oprindelige design i </a:t>
            </a:r>
            <a:r>
              <a:rPr lang="da-DK" altLang="da-DK" sz="675" b="0" noProof="1">
                <a:solidFill>
                  <a:schemeClr val="tx1"/>
                </a:solidFill>
                <a:latin typeface="Franklin Gothic Medium" panose="020B0603020102020204" pitchFamily="34" charset="0"/>
                <a:cs typeface="Arial" panose="020B0604020202020204" pitchFamily="34" charset="0"/>
              </a:rPr>
              <a:t>Hjem</a:t>
            </a:r>
            <a:r>
              <a:rPr lang="da-DK" altLang="da-DK" sz="675" b="0" noProof="1">
                <a:solidFill>
                  <a:schemeClr val="tx1"/>
                </a:solidFill>
                <a:latin typeface="+mn-lt"/>
                <a:cs typeface="Arial" panose="020B0604020202020204" pitchFamily="34" charset="0"/>
              </a:rPr>
              <a:t> fanen</a:t>
            </a:r>
            <a:endParaRPr lang="da-DK" sz="675" b="1" noProof="1">
              <a:solidFill>
                <a:schemeClr val="tx1"/>
              </a:solidFill>
              <a:latin typeface="+mn-lt"/>
              <a:cs typeface="Arial" panose="020B0604020202020204" pitchFamily="34" charset="0"/>
            </a:endParaRPr>
          </a:p>
          <a:p>
            <a:pPr marL="0" marR="0" indent="0" algn="l" defTabSz="685800" rtl="0" eaLnBrk="1" fontAlgn="auto" latinLnBrk="0" hangingPunct="1">
              <a:lnSpc>
                <a:spcPct val="100000"/>
              </a:lnSpc>
              <a:spcBef>
                <a:spcPts val="0"/>
              </a:spcBef>
              <a:spcAft>
                <a:spcPts val="450"/>
              </a:spcAft>
              <a:buClrTx/>
              <a:buSzTx/>
              <a:buFont typeface="+mj-lt"/>
              <a:buNone/>
              <a:tabLst/>
              <a:defRPr/>
            </a:pPr>
            <a:endParaRPr lang="da-DK" sz="675" b="1" noProof="1">
              <a:solidFill>
                <a:schemeClr val="tx1"/>
              </a:solidFill>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da-DK" sz="1200" dirty="0">
                <a:latin typeface="+mn-lt"/>
                <a:cs typeface="Arial" panose="020B0604020202020204" pitchFamily="34" charset="0"/>
              </a:rPr>
              <a:t>BILLEDER</a:t>
            </a:r>
            <a:endParaRPr lang="da-DK" sz="1200" b="1" noProof="1">
              <a:solidFill>
                <a:schemeClr val="tx1"/>
              </a:solidFill>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da-DK" altLang="da-DK" sz="675" b="0" noProof="1">
                <a:solidFill>
                  <a:schemeClr val="tx1"/>
                </a:solidFill>
                <a:latin typeface="+mn-lt"/>
                <a:cs typeface="Arial" panose="020B0604020202020204" pitchFamily="34" charset="0"/>
              </a:rPr>
              <a:t>På slides med billedpladsholder,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klik på ikonet og vælg </a:t>
            </a:r>
            <a:r>
              <a:rPr lang="da-DK" altLang="da-DK" sz="675" b="0" noProof="1">
                <a:solidFill>
                  <a:schemeClr val="tx1"/>
                </a:solidFill>
                <a:latin typeface="Franklin Gothic Medium" panose="020B0603020102020204" pitchFamily="34" charset="0"/>
                <a:cs typeface="Arial" panose="020B0604020202020204" pitchFamily="34" charset="0"/>
              </a:rPr>
              <a:t>Indsæt </a:t>
            </a:r>
            <a:r>
              <a:rPr lang="da-DK" altLang="da-DK" sz="675" b="0" noProof="1">
                <a:solidFill>
                  <a:schemeClr val="tx1"/>
                </a:solidFill>
                <a:latin typeface="+mn-lt"/>
                <a:cs typeface="Arial" panose="020B0604020202020204" pitchFamily="34" charset="0"/>
              </a:rPr>
              <a:t>for at søge efter billede</a:t>
            </a:r>
          </a:p>
          <a:p>
            <a:pPr eaLnBrk="1" hangingPunct="1">
              <a:spcBef>
                <a:spcPts val="900"/>
              </a:spcBef>
              <a:spcAft>
                <a:spcPts val="450"/>
              </a:spcAft>
              <a:defRPr/>
            </a:pPr>
            <a:r>
              <a:rPr lang="da-DK" sz="675" b="0" noProof="1">
                <a:solidFill>
                  <a:schemeClr val="tx1"/>
                </a:solidFill>
                <a:latin typeface="Franklin Gothic Medium" panose="020B0603020102020204" pitchFamily="34" charset="0"/>
                <a:cs typeface="Arial" panose="020B0604020202020204" pitchFamily="34" charset="0"/>
              </a:rPr>
              <a:t>Beskær billede</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1. </a:t>
            </a:r>
            <a:r>
              <a:rPr lang="da-DK" altLang="da-DK" sz="675" b="0" noProof="1">
                <a:solidFill>
                  <a:schemeClr val="tx1"/>
                </a:solidFill>
                <a:latin typeface="+mn-lt"/>
                <a:cs typeface="Arial" panose="020B0604020202020204" pitchFamily="34" charset="0"/>
              </a:rPr>
              <a:t>Klik </a:t>
            </a:r>
            <a:r>
              <a:rPr lang="da-DK" altLang="da-DK" sz="675" b="0" noProof="1">
                <a:solidFill>
                  <a:schemeClr val="tx1"/>
                </a:solidFill>
                <a:latin typeface="Franklin Gothic Medium" panose="020B0603020102020204" pitchFamily="34" charset="0"/>
                <a:cs typeface="Arial" panose="020B0604020202020204" pitchFamily="34" charset="0"/>
              </a:rPr>
              <a:t>Beskær</a:t>
            </a:r>
            <a:r>
              <a:rPr lang="da-DK" altLang="da-DK" sz="675" b="0" noProof="1">
                <a:solidFill>
                  <a:schemeClr val="tx1"/>
                </a:solidFill>
                <a:latin typeface="+mn-lt"/>
                <a:cs typeface="Arial" panose="020B0604020202020204" pitchFamily="34" charset="0"/>
              </a:rPr>
              <a:t> for at ændre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billedets fokus/størrelse</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2. </a:t>
            </a:r>
            <a:r>
              <a:rPr lang="da-DK" altLang="da-DK" sz="675" b="0" noProof="1">
                <a:solidFill>
                  <a:schemeClr val="tx1"/>
                </a:solidFill>
                <a:latin typeface="+mn-lt"/>
                <a:cs typeface="Arial" panose="020B0604020202020204" pitchFamily="34" charset="0"/>
              </a:rPr>
              <a:t>Ønsker du at skalere billedet, så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hold </a:t>
            </a:r>
            <a:r>
              <a:rPr lang="da-DK" altLang="da-DK" sz="675" b="0" noProof="1">
                <a:solidFill>
                  <a:schemeClr val="tx1"/>
                </a:solidFill>
                <a:latin typeface="Franklin Gothic Medium" panose="020B0603020102020204" pitchFamily="34" charset="0"/>
                <a:cs typeface="Arial" panose="020B0604020202020204" pitchFamily="34" charset="0"/>
              </a:rPr>
              <a:t>SHIFT</a:t>
            </a:r>
            <a:r>
              <a:rPr lang="da-DK" altLang="da-DK" sz="675" b="0" noProof="1">
                <a:solidFill>
                  <a:schemeClr val="tx1"/>
                </a:solidFill>
                <a:latin typeface="+mn-lt"/>
                <a:cs typeface="Arial" panose="020B0604020202020204" pitchFamily="34" charset="0"/>
              </a:rPr>
              <a:t>-knappen nede, mens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du trækker i billedets hjørner</a:t>
            </a:r>
          </a:p>
          <a:p>
            <a:pPr eaLnBrk="1" hangingPunct="1">
              <a:spcAft>
                <a:spcPts val="450"/>
              </a:spcAft>
              <a:defRPr/>
            </a:pP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Franklin Gothic Medium" panose="020B0603020102020204" pitchFamily="34" charset="0"/>
                <a:cs typeface="Arial" panose="020B0604020202020204" pitchFamily="34" charset="0"/>
              </a:rPr>
              <a:t>TIP: </a:t>
            </a:r>
            <a:r>
              <a:rPr lang="da-DK" altLang="da-DK" sz="675" b="0" noProof="1">
                <a:solidFill>
                  <a:schemeClr val="tx1"/>
                </a:solidFill>
                <a:latin typeface="+mn-lt"/>
                <a:cs typeface="Arial" panose="020B0604020202020204" pitchFamily="34" charset="0"/>
              </a:rPr>
              <a:t>Hvis du sletter billedet og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indsætter et nyt, kan billedet lægge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sig foran tekst og grafik. Hvis dette sker, højreklik på billedet og vælg </a:t>
            </a:r>
            <a:r>
              <a:rPr lang="da-DK" altLang="da-DK" sz="675" b="0" noProof="1">
                <a:solidFill>
                  <a:schemeClr val="tx1"/>
                </a:solidFill>
                <a:latin typeface="Franklin Gothic Medium" panose="020B0603020102020204" pitchFamily="34" charset="0"/>
                <a:cs typeface="Arial" panose="020B0604020202020204" pitchFamily="34" charset="0"/>
              </a:rPr>
              <a:t>Placer bagest</a:t>
            </a:r>
          </a:p>
          <a:p>
            <a:pPr eaLnBrk="1" hangingPunct="1">
              <a:spcAft>
                <a:spcPts val="450"/>
              </a:spcAft>
              <a:defRPr/>
            </a:pPr>
            <a:endParaRPr lang="da-DK" altLang="da-DK" sz="675" b="1" noProof="1">
              <a:solidFill>
                <a:schemeClr val="tx1"/>
              </a:solidFill>
              <a:latin typeface="+mn-lt"/>
              <a:cs typeface="Arial" panose="020B0604020202020204" pitchFamily="34" charset="0"/>
            </a:endParaRPr>
          </a:p>
        </p:txBody>
      </p:sp>
      <p:sp>
        <p:nvSpPr>
          <p:cNvPr id="30" name="Text Box 4">
            <a:extLst>
              <a:ext uri="{FF2B5EF4-FFF2-40B4-BE49-F238E27FC236}">
                <a16:creationId xmlns:a16="http://schemas.microsoft.com/office/drawing/2014/main" id="{460FBAEE-DC7E-44A6-BEA8-1DCAE4DE7726}"/>
              </a:ext>
            </a:extLst>
          </p:cNvPr>
          <p:cNvSpPr txBox="1">
            <a:spLocks noChangeArrowheads="1"/>
          </p:cNvSpPr>
          <p:nvPr userDrawn="1"/>
        </p:nvSpPr>
        <p:spPr bwMode="auto">
          <a:xfrm>
            <a:off x="6057161" y="1211235"/>
            <a:ext cx="1836683" cy="3648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81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da-DK" sz="1200" dirty="0">
                <a:latin typeface="+mn-lt"/>
                <a:cs typeface="Arial" panose="020B0604020202020204" pitchFamily="34" charset="0"/>
              </a:rPr>
              <a:t>SIDEHOVED &amp; -FOD</a:t>
            </a:r>
            <a:endParaRPr lang="da-DK" altLang="da-DK" sz="1200" b="0" noProof="1">
              <a:solidFill>
                <a:schemeClr val="tx1"/>
              </a:solidFill>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da-DK" altLang="da-DK" sz="675" b="0" noProof="1">
                <a:solidFill>
                  <a:schemeClr val="tx1"/>
                </a:solidFill>
                <a:latin typeface="+mn-lt"/>
                <a:cs typeface="Arial" panose="020B0604020202020204" pitchFamily="34" charset="0"/>
              </a:rPr>
              <a:t>Gør dette som</a:t>
            </a:r>
            <a:r>
              <a:rPr lang="da-DK" altLang="da-DK" sz="675" b="0" baseline="0" noProof="1">
                <a:solidFill>
                  <a:schemeClr val="tx1"/>
                </a:solidFill>
                <a:latin typeface="+mn-lt"/>
                <a:cs typeface="Arial" panose="020B0604020202020204" pitchFamily="34" charset="0"/>
              </a:rPr>
              <a:t> det sidste i din præsentation, så ændringerne slår igennem på alle slides</a:t>
            </a:r>
            <a:endParaRPr lang="da-DK" sz="675" b="1" noProof="1">
              <a:solidFill>
                <a:schemeClr val="tx1"/>
              </a:solidFill>
              <a:latin typeface="+mn-lt"/>
              <a:cs typeface="Arial" panose="020B0604020202020204" pitchFamily="34" charset="0"/>
            </a:endParaRPr>
          </a:p>
          <a:p>
            <a:pPr eaLnBrk="1" hangingPunct="1">
              <a:spcAft>
                <a:spcPts val="450"/>
              </a:spcAft>
              <a:defRPr/>
            </a:pPr>
            <a:r>
              <a:rPr lang="da-DK" altLang="da-DK" sz="675" b="0" noProof="1">
                <a:solidFill>
                  <a:schemeClr val="tx1"/>
                </a:solidFill>
                <a:latin typeface="+mn-lt"/>
                <a:cs typeface="Arial" panose="020B0604020202020204" pitchFamily="34" charset="0"/>
              </a:rPr>
              <a:t>Klik </a:t>
            </a:r>
            <a:r>
              <a:rPr lang="da-DK" altLang="da-DK" sz="675" b="0" noProof="1">
                <a:solidFill>
                  <a:schemeClr val="tx1"/>
                </a:solidFill>
                <a:latin typeface="Franklin Gothic Medium" panose="020B0603020102020204" pitchFamily="34" charset="0"/>
                <a:cs typeface="Arial" panose="020B0604020202020204" pitchFamily="34" charset="0"/>
              </a:rPr>
              <a:t>Sidehoved og Sidefod </a:t>
            </a:r>
            <a:r>
              <a:rPr lang="da-DK" altLang="da-DK" sz="675" b="0" noProof="1">
                <a:solidFill>
                  <a:schemeClr val="tx1"/>
                </a:solidFill>
                <a:latin typeface="+mn-lt"/>
                <a:cs typeface="Arial" panose="020B0604020202020204" pitchFamily="34" charset="0"/>
              </a:rPr>
              <a:t>i fanen </a:t>
            </a:r>
            <a:r>
              <a:rPr lang="da-DK" altLang="da-DK" sz="675" b="0" noProof="1">
                <a:solidFill>
                  <a:schemeClr val="tx1"/>
                </a:solidFill>
                <a:latin typeface="Franklin Gothic Medium" panose="020B0603020102020204" pitchFamily="34" charset="0"/>
                <a:cs typeface="Arial" panose="020B0604020202020204" pitchFamily="34" charset="0"/>
              </a:rPr>
              <a:t>Indsæt</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standard tekst er Digitaliseringsstyrelsen)</a:t>
            </a:r>
          </a:p>
          <a:p>
            <a:pPr eaLnBrk="1" hangingPunct="1">
              <a:spcAft>
                <a:spcPts val="450"/>
              </a:spcAft>
              <a:defRPr/>
            </a:pPr>
            <a:r>
              <a:rPr lang="da-DK" altLang="da-DK" sz="675" b="0" noProof="1">
                <a:solidFill>
                  <a:schemeClr val="tx1"/>
                </a:solidFill>
                <a:latin typeface="+mn-lt"/>
                <a:cs typeface="Arial" panose="020B0604020202020204" pitchFamily="34" charset="0"/>
              </a:rPr>
              <a:t>Vælg </a:t>
            </a:r>
            <a:r>
              <a:rPr lang="da-DK" altLang="da-DK" sz="675" b="0" noProof="1">
                <a:solidFill>
                  <a:schemeClr val="tx1"/>
                </a:solidFill>
                <a:latin typeface="Franklin Gothic Medium" panose="020B0603020102020204" pitchFamily="34" charset="0"/>
                <a:cs typeface="Arial" panose="020B0604020202020204" pitchFamily="34" charset="0"/>
              </a:rPr>
              <a:t>Anvend på alle </a:t>
            </a:r>
            <a:r>
              <a:rPr lang="da-DK" altLang="da-DK" sz="675" b="0" noProof="1">
                <a:solidFill>
                  <a:schemeClr val="tx1"/>
                </a:solidFill>
                <a:latin typeface="+mn-lt"/>
                <a:cs typeface="Arial" panose="020B0604020202020204" pitchFamily="34" charset="0"/>
              </a:rPr>
              <a:t>eller </a:t>
            </a:r>
            <a:r>
              <a:rPr lang="da-DK" altLang="da-DK" sz="675" b="0" noProof="1">
                <a:solidFill>
                  <a:schemeClr val="tx1"/>
                </a:solidFill>
                <a:latin typeface="Franklin Gothic Medium" panose="020B0603020102020204" pitchFamily="34" charset="0"/>
                <a:cs typeface="Arial" panose="020B0604020202020204" pitchFamily="34" charset="0"/>
              </a:rPr>
              <a:t>Anvend</a:t>
            </a:r>
            <a:r>
              <a:rPr lang="da-DK" altLang="da-DK" sz="675" b="0" noProof="1">
                <a:solidFill>
                  <a:schemeClr val="tx1"/>
                </a:solidFill>
                <a:latin typeface="+mn-lt"/>
                <a:cs typeface="Arial" panose="020B0604020202020204" pitchFamily="34" charset="0"/>
              </a:rPr>
              <a:t> hvis det kun skal være på et enkelt slide</a:t>
            </a:r>
          </a:p>
          <a:p>
            <a:pPr eaLnBrk="1" hangingPunct="1">
              <a:spcAft>
                <a:spcPts val="450"/>
              </a:spcAft>
              <a:defRPr/>
            </a:pPr>
            <a:endParaRPr lang="da-DK" sz="675" b="0" noProof="1">
              <a:solidFill>
                <a:schemeClr val="tx1"/>
              </a:solidFill>
              <a:latin typeface="+mn-lt"/>
              <a:cs typeface="Arial" panose="020B0604020202020204" pitchFamily="34" charset="0"/>
            </a:endParaRPr>
          </a:p>
          <a:p>
            <a:pPr eaLnBrk="1" hangingPunct="1">
              <a:spcAft>
                <a:spcPts val="450"/>
              </a:spcAft>
              <a:defRPr/>
            </a:pPr>
            <a:r>
              <a:rPr lang="da-DK" sz="1200" dirty="0">
                <a:latin typeface="+mn-lt"/>
                <a:cs typeface="Arial" panose="020B0604020202020204" pitchFamily="34" charset="0"/>
              </a:rPr>
              <a:t>HJÆLPELINJER</a:t>
            </a:r>
            <a:endParaRPr lang="da-DK" sz="1200" b="1" noProof="1">
              <a:solidFill>
                <a:schemeClr val="tx1"/>
              </a:solidFill>
              <a:latin typeface="+mn-lt"/>
              <a:cs typeface="Arial" panose="020B0604020202020204" pitchFamily="34" charset="0"/>
            </a:endParaRPr>
          </a:p>
          <a:p>
            <a:pPr eaLnBrk="1" hangingPunct="1">
              <a:spcAft>
                <a:spcPts val="450"/>
              </a:spcAft>
              <a:defRPr/>
            </a:pPr>
            <a:r>
              <a:rPr lang="da-DK" altLang="da-DK" sz="675" b="0" noProof="1">
                <a:solidFill>
                  <a:schemeClr val="tx1"/>
                </a:solidFill>
                <a:latin typeface="+mn-lt"/>
                <a:cs typeface="Arial" panose="020B0604020202020204" pitchFamily="34" charset="0"/>
              </a:rPr>
              <a:t>Klik på fanen </a:t>
            </a:r>
            <a:r>
              <a:rPr lang="da-DK" altLang="da-DK" sz="675" b="0" noProof="1">
                <a:solidFill>
                  <a:schemeClr val="tx1"/>
                </a:solidFill>
                <a:latin typeface="Franklin Gothic Medium" panose="020B0603020102020204" pitchFamily="34" charset="0"/>
                <a:cs typeface="Arial" panose="020B0604020202020204" pitchFamily="34" charset="0"/>
              </a:rPr>
              <a:t>Vis </a:t>
            </a:r>
            <a:r>
              <a:rPr lang="da-DK" altLang="da-DK" sz="675" b="0" noProof="1">
                <a:solidFill>
                  <a:schemeClr val="tx1"/>
                </a:solidFill>
                <a:latin typeface="+mn-lt"/>
                <a:cs typeface="Arial" panose="020B0604020202020204" pitchFamily="34" charset="0"/>
              </a:rPr>
              <a:t>og sæt hak ved </a:t>
            </a:r>
            <a:r>
              <a:rPr lang="da-DK" altLang="da-DK" sz="675" b="0" noProof="1">
                <a:solidFill>
                  <a:schemeClr val="tx1"/>
                </a:solidFill>
                <a:latin typeface="Franklin Gothic Medium" panose="020B0603020102020204" pitchFamily="34" charset="0"/>
                <a:cs typeface="Arial" panose="020B0604020202020204" pitchFamily="34" charset="0"/>
              </a:rPr>
              <a:t>Hjælpelinjer</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TIP: Alt + F9 </a:t>
            </a:r>
            <a:r>
              <a:rPr lang="da-DK" altLang="da-DK" sz="675" b="0" noProof="1">
                <a:solidFill>
                  <a:schemeClr val="tx1"/>
                </a:solidFill>
                <a:latin typeface="+mn-lt"/>
                <a:cs typeface="Arial" panose="020B0604020202020204" pitchFamily="34" charset="0"/>
              </a:rPr>
              <a:t>for hurtig visning af hjælpelinjer</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Franklin Gothic Medium" panose="020B0603020102020204" pitchFamily="34" charset="0"/>
                <a:cs typeface="Arial" panose="020B0604020202020204" pitchFamily="34" charset="0"/>
              </a:rPr>
              <a:t>Mac: </a:t>
            </a:r>
            <a:r>
              <a:rPr lang="da-DK" sz="675" b="0" i="0" dirty="0">
                <a:solidFill>
                  <a:srgbClr val="333333"/>
                </a:solidFill>
                <a:effectLst/>
                <a:latin typeface="Arial"/>
              </a:rPr>
              <a:t>⌘ </a:t>
            </a:r>
            <a:r>
              <a:rPr lang="da-DK" altLang="da-DK" sz="675" b="0" noProof="1">
                <a:solidFill>
                  <a:schemeClr val="tx1"/>
                </a:solidFill>
                <a:latin typeface="+mn-lt"/>
                <a:cs typeface="Arial" panose="020B0604020202020204" pitchFamily="34" charset="0"/>
              </a:rPr>
              <a:t>+ option + ctrl + G</a:t>
            </a:r>
            <a:br>
              <a:rPr lang="da-DK" altLang="da-DK" sz="675" b="0" noProof="1">
                <a:solidFill>
                  <a:schemeClr val="tx1"/>
                </a:solidFill>
                <a:latin typeface="+mn-lt"/>
                <a:cs typeface="Arial" panose="020B0604020202020204" pitchFamily="34" charset="0"/>
              </a:rPr>
            </a:br>
            <a:endParaRPr lang="da-DK" altLang="da-DK" sz="675" b="0" noProof="1">
              <a:solidFill>
                <a:schemeClr val="tx1"/>
              </a:solidFill>
              <a:latin typeface="+mn-lt"/>
              <a:cs typeface="Arial" panose="020B0604020202020204" pitchFamily="34" charset="0"/>
            </a:endParaRPr>
          </a:p>
          <a:p>
            <a:pPr eaLnBrk="1" hangingPunct="1">
              <a:spcAft>
                <a:spcPts val="450"/>
              </a:spcAft>
              <a:defRPr/>
            </a:pPr>
            <a:r>
              <a:rPr lang="da-DK" altLang="da-DK" sz="1200" b="0" noProof="1">
                <a:solidFill>
                  <a:schemeClr val="tx1"/>
                </a:solidFill>
                <a:latin typeface="+mn-lt"/>
                <a:cs typeface="Arial" panose="020B0604020202020204" pitchFamily="34" charset="0"/>
              </a:rPr>
              <a:t>COPY/PASTE INDHOLD</a:t>
            </a:r>
          </a:p>
          <a:p>
            <a:pPr eaLnBrk="1" hangingPunct="1">
              <a:spcAft>
                <a:spcPts val="450"/>
              </a:spcAft>
              <a:defRPr/>
            </a:pPr>
            <a:r>
              <a:rPr lang="da-DK" altLang="da-DK" sz="675" b="0" noProof="1">
                <a:solidFill>
                  <a:schemeClr val="tx1"/>
                </a:solidFill>
                <a:latin typeface="+mn-lt"/>
                <a:cs typeface="Arial" panose="020B0604020202020204" pitchFamily="34" charset="0"/>
              </a:rPr>
              <a:t>Du har 2 muligheder, når du kopierer gammelt indhold over i din nye præsentation:</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1. Best practice: </a:t>
            </a:r>
            <a:r>
              <a:rPr lang="da-DK" altLang="da-DK" sz="675" b="0" noProof="1">
                <a:solidFill>
                  <a:schemeClr val="tx1"/>
                </a:solidFill>
                <a:latin typeface="+mn-lt"/>
                <a:cs typeface="Arial" panose="020B0604020202020204" pitchFamily="34" charset="0"/>
              </a:rPr>
              <a:t>Opret et slide i din nye præsentation og kopier ét indholdselement ad gangen (fx kopier al tekst fra én tekstboks)</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2. </a:t>
            </a:r>
            <a:r>
              <a:rPr lang="da-DK" altLang="da-DK" sz="675" b="0" noProof="1">
                <a:solidFill>
                  <a:schemeClr val="tx1"/>
                </a:solidFill>
                <a:latin typeface="+mn-lt"/>
                <a:cs typeface="Arial" panose="020B0604020202020204" pitchFamily="34" charset="0"/>
              </a:rPr>
              <a:t>Eller kopier et helt slide over i din nye præsentation og vælg derefter et passende layout. </a:t>
            </a:r>
            <a:r>
              <a:rPr lang="da-DK" altLang="da-DK" sz="675" b="0" noProof="1">
                <a:solidFill>
                  <a:srgbClr val="000000"/>
                </a:solidFill>
                <a:latin typeface="+mn-lt"/>
                <a:cs typeface="Arial" panose="020B0604020202020204" pitchFamily="34" charset="0"/>
              </a:rPr>
              <a:t>Når din præsentation er klar, åbner du en tom præsentation (tryk Ctrl+N). Kopier alle dias fra den nye præsentation, indsæt dem i den tomme præsentation. Dette vil sikre, at der ikke er ekstra layouts</a:t>
            </a:r>
            <a:endParaRPr lang="da-DK" altLang="da-DK" sz="675" b="0" noProof="1">
              <a:solidFill>
                <a:schemeClr val="tx1"/>
              </a:solidFill>
              <a:latin typeface="+mn-lt"/>
              <a:cs typeface="Arial" panose="020B0604020202020204" pitchFamily="34" charset="0"/>
            </a:endParaRPr>
          </a:p>
        </p:txBody>
      </p:sp>
      <p:pic>
        <p:nvPicPr>
          <p:cNvPr id="31" name="Picture 30">
            <a:extLst>
              <a:ext uri="{FF2B5EF4-FFF2-40B4-BE49-F238E27FC236}">
                <a16:creationId xmlns:a16="http://schemas.microsoft.com/office/drawing/2014/main" id="{E7B73ADD-C9A2-4CC9-B9B1-829AB8120F3E}"/>
              </a:ext>
            </a:extLst>
          </p:cNvPr>
          <p:cNvPicPr>
            <a:picLocks noChangeAspect="1"/>
          </p:cNvPicPr>
          <p:nvPr userDrawn="1"/>
        </p:nvPicPr>
        <p:blipFill>
          <a:blip r:embed="rId2"/>
          <a:stretch>
            <a:fillRect/>
          </a:stretch>
        </p:blipFill>
        <p:spPr>
          <a:xfrm>
            <a:off x="2166155" y="2630205"/>
            <a:ext cx="192857" cy="214286"/>
          </a:xfrm>
          <a:prstGeom prst="rect">
            <a:avLst/>
          </a:prstGeom>
        </p:spPr>
      </p:pic>
      <p:pic>
        <p:nvPicPr>
          <p:cNvPr id="32" name="Picture 31">
            <a:extLst>
              <a:ext uri="{FF2B5EF4-FFF2-40B4-BE49-F238E27FC236}">
                <a16:creationId xmlns:a16="http://schemas.microsoft.com/office/drawing/2014/main" id="{94E7EF11-FB06-4FF3-89B6-C9C7B40D4DAE}"/>
              </a:ext>
            </a:extLst>
          </p:cNvPr>
          <p:cNvPicPr>
            <a:picLocks noChangeAspect="1"/>
          </p:cNvPicPr>
          <p:nvPr userDrawn="1"/>
        </p:nvPicPr>
        <p:blipFill rotWithShape="1">
          <a:blip r:embed="rId3"/>
          <a:srcRect l="3901" t="45142" r="62601" b="9046"/>
          <a:stretch/>
        </p:blipFill>
        <p:spPr>
          <a:xfrm>
            <a:off x="4909000" y="2361252"/>
            <a:ext cx="255903" cy="241280"/>
          </a:xfrm>
          <a:prstGeom prst="rect">
            <a:avLst/>
          </a:prstGeom>
        </p:spPr>
      </p:pic>
      <p:pic>
        <p:nvPicPr>
          <p:cNvPr id="33" name="Billede 1">
            <a:extLst>
              <a:ext uri="{FF2B5EF4-FFF2-40B4-BE49-F238E27FC236}">
                <a16:creationId xmlns:a16="http://schemas.microsoft.com/office/drawing/2014/main" id="{58944A03-80A9-4768-89E7-4E910EFFBC28}"/>
              </a:ext>
            </a:extLst>
          </p:cNvPr>
          <p:cNvPicPr>
            <a:picLocks noChangeAspect="1"/>
          </p:cNvPicPr>
          <p:nvPr userDrawn="1"/>
        </p:nvPicPr>
        <p:blipFill>
          <a:blip r:embed="rId4"/>
          <a:stretch>
            <a:fillRect/>
          </a:stretch>
        </p:blipFill>
        <p:spPr>
          <a:xfrm>
            <a:off x="2170240" y="3394029"/>
            <a:ext cx="231442" cy="396023"/>
          </a:xfrm>
          <a:prstGeom prst="rect">
            <a:avLst/>
          </a:prstGeom>
        </p:spPr>
      </p:pic>
      <p:pic>
        <p:nvPicPr>
          <p:cNvPr id="35" name="Billede 4">
            <a:extLst>
              <a:ext uri="{FF2B5EF4-FFF2-40B4-BE49-F238E27FC236}">
                <a16:creationId xmlns:a16="http://schemas.microsoft.com/office/drawing/2014/main" id="{51BFC2D6-78F9-4DE9-9EA2-2262FCDF4EAF}"/>
              </a:ext>
            </a:extLst>
          </p:cNvPr>
          <p:cNvPicPr>
            <a:picLocks noChangeAspect="1"/>
          </p:cNvPicPr>
          <p:nvPr userDrawn="1"/>
        </p:nvPicPr>
        <p:blipFill rotWithShape="1">
          <a:blip r:embed="rId5"/>
          <a:srcRect l="3031"/>
          <a:stretch/>
        </p:blipFill>
        <p:spPr>
          <a:xfrm>
            <a:off x="4963310" y="1635073"/>
            <a:ext cx="372455" cy="129632"/>
          </a:xfrm>
          <a:prstGeom prst="rect">
            <a:avLst/>
          </a:prstGeom>
        </p:spPr>
      </p:pic>
      <p:pic>
        <p:nvPicPr>
          <p:cNvPr id="36" name="Billede 5">
            <a:extLst>
              <a:ext uri="{FF2B5EF4-FFF2-40B4-BE49-F238E27FC236}">
                <a16:creationId xmlns:a16="http://schemas.microsoft.com/office/drawing/2014/main" id="{EBC4A3E5-1D15-4741-BFC6-17ACF4D5CD3D}"/>
              </a:ext>
            </a:extLst>
          </p:cNvPr>
          <p:cNvPicPr>
            <a:picLocks noChangeAspect="1"/>
          </p:cNvPicPr>
          <p:nvPr userDrawn="1"/>
        </p:nvPicPr>
        <p:blipFill>
          <a:blip r:embed="rId6"/>
          <a:stretch>
            <a:fillRect/>
          </a:stretch>
        </p:blipFill>
        <p:spPr>
          <a:xfrm>
            <a:off x="4966108" y="2844491"/>
            <a:ext cx="274532" cy="360323"/>
          </a:xfrm>
          <a:prstGeom prst="rect">
            <a:avLst/>
          </a:prstGeom>
        </p:spPr>
      </p:pic>
      <p:pic>
        <p:nvPicPr>
          <p:cNvPr id="37" name="Picture 36">
            <a:extLst>
              <a:ext uri="{FF2B5EF4-FFF2-40B4-BE49-F238E27FC236}">
                <a16:creationId xmlns:a16="http://schemas.microsoft.com/office/drawing/2014/main" id="{6C19287C-813E-4966-89A1-64D6247DEA84}"/>
              </a:ext>
            </a:extLst>
          </p:cNvPr>
          <p:cNvPicPr>
            <a:picLocks noChangeAspect="1"/>
          </p:cNvPicPr>
          <p:nvPr userDrawn="1"/>
        </p:nvPicPr>
        <p:blipFill>
          <a:blip r:embed="rId7"/>
          <a:stretch>
            <a:fillRect/>
          </a:stretch>
        </p:blipFill>
        <p:spPr>
          <a:xfrm>
            <a:off x="2166561" y="2061675"/>
            <a:ext cx="342857" cy="192857"/>
          </a:xfrm>
          <a:prstGeom prst="rect">
            <a:avLst/>
          </a:prstGeom>
        </p:spPr>
      </p:pic>
      <p:pic>
        <p:nvPicPr>
          <p:cNvPr id="38" name="Picture 37">
            <a:extLst>
              <a:ext uri="{FF2B5EF4-FFF2-40B4-BE49-F238E27FC236}">
                <a16:creationId xmlns:a16="http://schemas.microsoft.com/office/drawing/2014/main" id="{007658DD-99CF-4B02-82C0-E6D1C908CA1A}"/>
              </a:ext>
            </a:extLst>
          </p:cNvPr>
          <p:cNvPicPr>
            <a:picLocks noChangeAspect="1"/>
          </p:cNvPicPr>
          <p:nvPr userDrawn="1"/>
        </p:nvPicPr>
        <p:blipFill>
          <a:blip r:embed="rId8"/>
          <a:stretch>
            <a:fillRect/>
          </a:stretch>
        </p:blipFill>
        <p:spPr>
          <a:xfrm>
            <a:off x="2170970" y="3902355"/>
            <a:ext cx="356571" cy="132572"/>
          </a:xfrm>
          <a:prstGeom prst="rect">
            <a:avLst/>
          </a:prstGeom>
        </p:spPr>
      </p:pic>
      <p:pic>
        <p:nvPicPr>
          <p:cNvPr id="13" name="Billede 12">
            <a:extLst>
              <a:ext uri="{FF2B5EF4-FFF2-40B4-BE49-F238E27FC236}">
                <a16:creationId xmlns:a16="http://schemas.microsoft.com/office/drawing/2014/main" id="{35803521-009F-447D-8D16-21D9EADF441A}"/>
              </a:ext>
            </a:extLst>
          </p:cNvPr>
          <p:cNvPicPr>
            <a:picLocks noChangeAspect="1"/>
          </p:cNvPicPr>
          <p:nvPr userDrawn="1"/>
        </p:nvPicPr>
        <p:blipFill>
          <a:blip r:embed="rId9"/>
          <a:stretch>
            <a:fillRect/>
          </a:stretch>
        </p:blipFill>
        <p:spPr>
          <a:xfrm>
            <a:off x="8038003" y="1608222"/>
            <a:ext cx="330146" cy="407525"/>
          </a:xfrm>
          <a:prstGeom prst="rect">
            <a:avLst/>
          </a:prstGeom>
        </p:spPr>
      </p:pic>
      <p:sp>
        <p:nvSpPr>
          <p:cNvPr id="14" name="Date Placeholder 6" hidden="1">
            <a:extLst>
              <a:ext uri="{FF2B5EF4-FFF2-40B4-BE49-F238E27FC236}">
                <a16:creationId xmlns:a16="http://schemas.microsoft.com/office/drawing/2014/main" id="{E4FD2B6E-39A9-4094-A5FF-CBA180265C06}"/>
              </a:ext>
            </a:extLst>
          </p:cNvPr>
          <p:cNvSpPr>
            <a:spLocks noGrp="1"/>
          </p:cNvSpPr>
          <p:nvPr>
            <p:ph type="dt" sz="half" idx="15"/>
          </p:nvPr>
        </p:nvSpPr>
        <p:spPr>
          <a:xfrm>
            <a:off x="0" y="5143500"/>
            <a:ext cx="0" cy="0"/>
          </a:xfrm>
        </p:spPr>
        <p:txBody>
          <a:bodyPr/>
          <a:lstStyle>
            <a:lvl1pPr>
              <a:defRPr sz="100">
                <a:noFill/>
              </a:defRPr>
            </a:lvl1pPr>
          </a:lstStyle>
          <a:p>
            <a:fld id="{FD8881F8-C1FF-49C4-949D-5147689C28DF}" type="datetime2">
              <a:rPr lang="da-DK" smtClean="0"/>
              <a:t>11. december 2025</a:t>
            </a:fld>
            <a:endParaRPr lang="da-DK" dirty="0"/>
          </a:p>
        </p:txBody>
      </p:sp>
      <p:sp>
        <p:nvSpPr>
          <p:cNvPr id="15" name="Footer Placeholder 8" hidden="1">
            <a:extLst>
              <a:ext uri="{FF2B5EF4-FFF2-40B4-BE49-F238E27FC236}">
                <a16:creationId xmlns:a16="http://schemas.microsoft.com/office/drawing/2014/main" id="{AAFF8183-88DB-4217-8B14-93C3A2F3C637}"/>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16" name="Slide Number Placeholder 10" hidden="1">
            <a:extLst>
              <a:ext uri="{FF2B5EF4-FFF2-40B4-BE49-F238E27FC236}">
                <a16:creationId xmlns:a16="http://schemas.microsoft.com/office/drawing/2014/main" id="{2ECA3156-EAFA-499A-BDD3-C3FE309B5732}"/>
              </a:ext>
            </a:extLst>
          </p:cNvPr>
          <p:cNvSpPr>
            <a:spLocks noGrp="1"/>
          </p:cNvSpPr>
          <p:nvPr>
            <p:ph type="sldNum" sz="quarter" idx="17"/>
          </p:nvPr>
        </p:nvSpPr>
        <p:spPr>
          <a:xfrm>
            <a:off x="0" y="5143500"/>
            <a:ext cx="0" cy="0"/>
          </a:xfrm>
        </p:spPr>
        <p:txBody>
          <a:bodyPr/>
          <a:lstStyle>
            <a:lvl1pPr>
              <a:defRPr sz="100">
                <a:no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68391875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9144000" cy="51435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450"/>
              </a:spcBef>
              <a:buClr>
                <a:srgbClr val="003755"/>
              </a:buClr>
            </a:pPr>
            <a:endParaRPr lang="da-DK" sz="1050" dirty="0" err="1">
              <a:solidFill>
                <a:schemeClr val="tx1"/>
              </a:solidFill>
            </a:endParaRPr>
          </a:p>
        </p:txBody>
      </p:sp>
      <p:sp>
        <p:nvSpPr>
          <p:cNvPr id="5" name="Do not use"/>
          <p:cNvSpPr txBox="1"/>
          <p:nvPr userDrawn="1"/>
        </p:nvSpPr>
        <p:spPr>
          <a:xfrm>
            <a:off x="322660" y="492618"/>
            <a:ext cx="8517733" cy="2169825"/>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da-DK" sz="3300" b="0" noProof="1">
                <a:solidFill>
                  <a:schemeClr val="bg1"/>
                </a:solidFill>
              </a:rPr>
              <a:t>Hvis du ser andre </a:t>
            </a:r>
            <a:r>
              <a:rPr lang="da-DK" sz="3300" b="1" i="1" noProof="1">
                <a:solidFill>
                  <a:schemeClr val="bg1"/>
                </a:solidFill>
              </a:rPr>
              <a:t>layouts efter dette,</a:t>
            </a:r>
            <a:br>
              <a:rPr lang="da-DK" sz="3300" b="0" i="0" noProof="1">
                <a:solidFill>
                  <a:schemeClr val="bg1"/>
                </a:solidFill>
              </a:rPr>
            </a:br>
            <a:r>
              <a:rPr lang="da-DK" sz="3300" b="0" noProof="1">
                <a:solidFill>
                  <a:schemeClr val="bg1"/>
                </a:solidFill>
              </a:rPr>
              <a:t>brug dem ikke. Disse layouts </a:t>
            </a:r>
            <a:r>
              <a:rPr lang="da-DK" sz="3300" b="1" i="1" u="none" noProof="1">
                <a:solidFill>
                  <a:schemeClr val="bg1"/>
                </a:solidFill>
              </a:rPr>
              <a:t>tilhører ikke </a:t>
            </a:r>
            <a:r>
              <a:rPr lang="da-DK" sz="3300" b="0" i="0" u="none" noProof="1">
                <a:solidFill>
                  <a:schemeClr val="bg1"/>
                </a:solidFill>
              </a:rPr>
              <a:t>vores corporate </a:t>
            </a:r>
            <a:r>
              <a:rPr lang="da-DK" sz="3300" b="0" noProof="1">
                <a:solidFill>
                  <a:schemeClr val="bg1"/>
                </a:solidFill>
              </a:rPr>
              <a:t>skabelon.</a:t>
            </a:r>
            <a:br>
              <a:rPr lang="da-DK" sz="2100" b="0" noProof="1">
                <a:solidFill>
                  <a:schemeClr val="bg1"/>
                </a:solidFill>
              </a:rPr>
            </a:br>
            <a:br>
              <a:rPr lang="da-DK" sz="2100" b="0" noProof="1">
                <a:solidFill>
                  <a:schemeClr val="bg1"/>
                </a:solidFill>
              </a:rPr>
            </a:br>
            <a:endParaRPr lang="da-DK" sz="2100" b="0" noProof="1">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7803656" y="2493920"/>
            <a:ext cx="777591" cy="777591"/>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da-DK" sz="105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da-DK" sz="105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354402" y="2240014"/>
            <a:ext cx="7614260" cy="1246495"/>
          </a:xfrm>
          <a:prstGeom prst="rect">
            <a:avLst/>
          </a:prstGeom>
        </p:spPr>
        <p:txBody>
          <a:bodyPr wrap="square">
            <a:spAutoFit/>
          </a:bodyPr>
          <a:lstStyle/>
          <a:p>
            <a:pPr algn="ctr"/>
            <a:r>
              <a:rPr lang="da-DK" sz="7500" b="1" i="1" noProof="1">
                <a:solidFill>
                  <a:schemeClr val="bg1"/>
                </a:solidFill>
              </a:rPr>
              <a:t>Brug dem ikke </a:t>
            </a:r>
            <a:endParaRPr lang="da-DK" sz="7500" b="1" i="1" noProof="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22660" y="3889841"/>
            <a:ext cx="8517731" cy="733534"/>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da-DK" sz="1500" b="0" noProof="1">
                <a:solidFill>
                  <a:schemeClr val="bg1"/>
                </a:solidFill>
              </a:rPr>
              <a:t>Pga. PowerPoints standard Kopier/Indsæt funktionalitet kan ekstra uønskede layouts forekomme.</a:t>
            </a:r>
          </a:p>
          <a:p>
            <a:pPr marL="0" marR="0" indent="0" algn="ctr" fontAlgn="auto">
              <a:lnSpc>
                <a:spcPct val="100000"/>
              </a:lnSpc>
              <a:spcBef>
                <a:spcPts val="450"/>
              </a:spcBef>
              <a:spcAft>
                <a:spcPts val="0"/>
              </a:spcAft>
              <a:buClr>
                <a:srgbClr val="003755"/>
              </a:buClr>
              <a:buSzTx/>
              <a:buFontTx/>
              <a:buNone/>
              <a:tabLst/>
            </a:pPr>
            <a:r>
              <a:rPr lang="da-DK" sz="1500" b="0" noProof="1">
                <a:solidFill>
                  <a:schemeClr val="bg1"/>
                </a:solidFill>
              </a:rPr>
              <a:t>OBS! Layouts efter dette kan indeholde potentiel fortrolig information.</a:t>
            </a:r>
            <a:br>
              <a:rPr lang="da-DK" sz="1350" b="0" noProof="1">
                <a:solidFill>
                  <a:schemeClr val="bg1"/>
                </a:solidFill>
              </a:rPr>
            </a:br>
            <a:endParaRPr lang="da-DK" sz="1350" b="0" noProof="1">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5143500"/>
            <a:ext cx="0" cy="0"/>
          </a:xfrm>
        </p:spPr>
        <p:txBody>
          <a:bodyPr/>
          <a:lstStyle>
            <a:lvl1pPr>
              <a:defRPr sz="100">
                <a:noFill/>
              </a:defRPr>
            </a:lvl1pPr>
          </a:lstStyle>
          <a:p>
            <a:fld id="{205F122B-2541-481B-A65D-B7A79C5314AF}" type="datetime2">
              <a:rPr lang="da-DK" smtClean="0"/>
              <a:t>11. december 2025</a:t>
            </a:fld>
            <a:endParaRPr lang="da-DK" dirty="0"/>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2725784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Overskrift + tekst + billede (bund)">
    <p:bg>
      <p:bgPr>
        <a:solidFill>
          <a:schemeClr val="bg1"/>
        </a:solidFill>
        <a:effectLst/>
      </p:bgPr>
    </p:bg>
    <p:spTree>
      <p:nvGrpSpPr>
        <p:cNvPr id="1" name=""/>
        <p:cNvGrpSpPr/>
        <p:nvPr/>
      </p:nvGrpSpPr>
      <p:grpSpPr>
        <a:xfrm>
          <a:off x="0" y="0"/>
          <a:ext cx="0" cy="0"/>
          <a:chOff x="0" y="0"/>
          <a:chExt cx="0" cy="0"/>
        </a:xfrm>
      </p:grpSpPr>
      <p:sp>
        <p:nvSpPr>
          <p:cNvPr id="3" name="Pladsholder til billede 5">
            <a:extLst>
              <a:ext uri="{FF2B5EF4-FFF2-40B4-BE49-F238E27FC236}">
                <a16:creationId xmlns:a16="http://schemas.microsoft.com/office/drawing/2014/main" id="{87DB21CB-4EE7-18D5-FFC4-F2591CC30315}"/>
              </a:ext>
            </a:extLst>
          </p:cNvPr>
          <p:cNvSpPr>
            <a:spLocks noGrp="1"/>
          </p:cNvSpPr>
          <p:nvPr>
            <p:ph type="pic" sz="quarter" idx="12"/>
          </p:nvPr>
        </p:nvSpPr>
        <p:spPr>
          <a:xfrm>
            <a:off x="0" y="2571750"/>
            <a:ext cx="9144000" cy="2571750"/>
          </a:xfrm>
        </p:spPr>
        <p:txBody>
          <a:bodyPr>
            <a:normAutofit/>
          </a:bodyPr>
          <a:lstStyle>
            <a:lvl1pPr marL="0" indent="0" algn="ctr">
              <a:buFont typeface="Arial" panose="020B0604020202020204" pitchFamily="34" charset="0"/>
              <a:buNone/>
              <a:defRPr sz="900" b="0" i="0">
                <a:latin typeface="Neue Haas Grotesk Text Pro" panose="020B0504020202020204" pitchFamily="34" charset="77"/>
              </a:defRPr>
            </a:lvl1pPr>
          </a:lstStyle>
          <a:p>
            <a:r>
              <a:rPr lang="da-DK"/>
              <a:t>Klik på ikonet for at tilføje et billede</a:t>
            </a:r>
          </a:p>
        </p:txBody>
      </p:sp>
      <p:sp>
        <p:nvSpPr>
          <p:cNvPr id="2" name="Titel 1">
            <a:extLst>
              <a:ext uri="{FF2B5EF4-FFF2-40B4-BE49-F238E27FC236}">
                <a16:creationId xmlns:a16="http://schemas.microsoft.com/office/drawing/2014/main" id="{7B002998-56E0-B41C-4611-6E392593EFA3}"/>
              </a:ext>
            </a:extLst>
          </p:cNvPr>
          <p:cNvSpPr>
            <a:spLocks noGrp="1"/>
          </p:cNvSpPr>
          <p:nvPr>
            <p:ph type="title"/>
          </p:nvPr>
        </p:nvSpPr>
        <p:spPr>
          <a:xfrm>
            <a:off x="1009650" y="951222"/>
            <a:ext cx="2991910" cy="1116472"/>
          </a:xfrm>
        </p:spPr>
        <p:txBody>
          <a:bodyPr/>
          <a:lstStyle/>
          <a:p>
            <a:r>
              <a:rPr lang="da-DK"/>
              <a:t>Klik for at redigere titeltypografien i masteren</a:t>
            </a:r>
            <a:endParaRPr lang="en-GB"/>
          </a:p>
        </p:txBody>
      </p:sp>
      <p:sp>
        <p:nvSpPr>
          <p:cNvPr id="4" name="Pladsholder til tekst 3">
            <a:extLst>
              <a:ext uri="{FF2B5EF4-FFF2-40B4-BE49-F238E27FC236}">
                <a16:creationId xmlns:a16="http://schemas.microsoft.com/office/drawing/2014/main" id="{E4635518-A0E4-AE02-8A01-B963156D663C}"/>
              </a:ext>
            </a:extLst>
          </p:cNvPr>
          <p:cNvSpPr>
            <a:spLocks noGrp="1"/>
          </p:cNvSpPr>
          <p:nvPr>
            <p:ph type="body" sz="quarter" idx="10"/>
          </p:nvPr>
        </p:nvSpPr>
        <p:spPr>
          <a:xfrm>
            <a:off x="4572000" y="951222"/>
            <a:ext cx="3564819" cy="1116471"/>
          </a:xfrm>
        </p:spPr>
        <p:txBody>
          <a:bodyPr/>
          <a:lstStyle>
            <a:lvl1pPr marL="0" indent="0">
              <a:buNone/>
              <a:defRPr sz="1100">
                <a:latin typeface="Neue Haas Grotesk Text Pro" panose="020B0504020202020204" pitchFamily="34" charset="77"/>
              </a:defRPr>
            </a:lvl1pPr>
            <a:lvl2pPr marL="72000" indent="0">
              <a:buNone/>
              <a:defRPr/>
            </a:lvl2pPr>
            <a:lvl3pPr marL="252000" indent="0">
              <a:buNone/>
              <a:defRPr/>
            </a:lvl3pPr>
          </a:lstStyle>
          <a:p>
            <a:pPr lvl="0"/>
            <a:r>
              <a:rPr lang="da-DK"/>
              <a:t>Klik for at redigere teksttypografierne i masteren</a:t>
            </a:r>
          </a:p>
        </p:txBody>
      </p:sp>
      <p:sp>
        <p:nvSpPr>
          <p:cNvPr id="6" name="Pladsholder til tekst 5">
            <a:extLst>
              <a:ext uri="{FF2B5EF4-FFF2-40B4-BE49-F238E27FC236}">
                <a16:creationId xmlns:a16="http://schemas.microsoft.com/office/drawing/2014/main" id="{0E6AF5B2-3A69-1F49-DA1A-FED935DE13C4}"/>
              </a:ext>
            </a:extLst>
          </p:cNvPr>
          <p:cNvSpPr>
            <a:spLocks noGrp="1"/>
          </p:cNvSpPr>
          <p:nvPr>
            <p:ph type="body" sz="quarter" idx="11"/>
          </p:nvPr>
        </p:nvSpPr>
        <p:spPr>
          <a:xfrm>
            <a:off x="1009779" y="735323"/>
            <a:ext cx="2992548" cy="144462"/>
          </a:xfrm>
        </p:spPr>
        <p:txBody>
          <a:bodyPr vert="horz" lIns="14400" tIns="0" rIns="0" bIns="0" rtlCol="0">
            <a:noAutofit/>
          </a:bodyPr>
          <a:lstStyle>
            <a:lvl1pPr marL="0" indent="0">
              <a:buNone/>
              <a:defRPr lang="en-GB" sz="1000" cap="all" dirty="0">
                <a:solidFill>
                  <a:srgbClr val="878787"/>
                </a:solidFill>
                <a:latin typeface="Neue Haas Grotesk Text Pro" panose="020B0504020202020204" pitchFamily="34" charset="77"/>
              </a:defRPr>
            </a:lvl1pPr>
          </a:lstStyle>
          <a:p>
            <a:pPr marL="171450" lvl="0" indent="-171450"/>
            <a:r>
              <a:rPr lang="da-DK"/>
              <a:t>Klik for at redigere teksttypografierne i masteren</a:t>
            </a:r>
          </a:p>
        </p:txBody>
      </p:sp>
      <p:sp>
        <p:nvSpPr>
          <p:cNvPr id="5" name="Pladsholder til tekst 6">
            <a:extLst>
              <a:ext uri="{FF2B5EF4-FFF2-40B4-BE49-F238E27FC236}">
                <a16:creationId xmlns:a16="http://schemas.microsoft.com/office/drawing/2014/main" id="{29B2FAC6-BF26-045F-8DCE-F4BFC0851276}"/>
              </a:ext>
            </a:extLst>
          </p:cNvPr>
          <p:cNvSpPr>
            <a:spLocks noGrp="1"/>
          </p:cNvSpPr>
          <p:nvPr>
            <p:ph type="body" sz="quarter" idx="18"/>
          </p:nvPr>
        </p:nvSpPr>
        <p:spPr>
          <a:xfrm>
            <a:off x="186110" y="4728638"/>
            <a:ext cx="219600" cy="219600"/>
          </a:xfrm>
          <a:blipFill>
            <a:blip r:embed="rId2"/>
            <a:stretch>
              <a:fillRect/>
            </a:stretch>
          </a:blipFill>
        </p:spPr>
        <p:txBody>
          <a:bodyPr/>
          <a:lstStyle>
            <a:lvl1pPr marL="0" indent="0">
              <a:buNone/>
              <a:defRPr>
                <a:noFill/>
              </a:defRPr>
            </a:lvl1pPr>
          </a:lstStyle>
          <a:p>
            <a:pPr lvl="0"/>
            <a:r>
              <a:rPr lang="da-DK"/>
              <a:t>Klik for at redigere teksttypografierne i masteren</a:t>
            </a:r>
          </a:p>
        </p:txBody>
      </p:sp>
      <p:sp>
        <p:nvSpPr>
          <p:cNvPr id="7" name="Tekstfelt 6">
            <a:extLst>
              <a:ext uri="{FF2B5EF4-FFF2-40B4-BE49-F238E27FC236}">
                <a16:creationId xmlns:a16="http://schemas.microsoft.com/office/drawing/2014/main" id="{1F27B77A-47CB-1461-047F-56640092E97C}"/>
              </a:ext>
            </a:extLst>
          </p:cNvPr>
          <p:cNvSpPr txBox="1"/>
          <p:nvPr userDrawn="1"/>
        </p:nvSpPr>
        <p:spPr>
          <a:xfrm>
            <a:off x="-383241" y="3610535"/>
            <a:ext cx="0" cy="0"/>
          </a:xfrm>
          <a:prstGeom prst="rect">
            <a:avLst/>
          </a:prstGeom>
          <a:noFill/>
        </p:spPr>
        <p:txBody>
          <a:bodyPr wrap="none" rtlCol="0">
            <a:noAutofit/>
          </a:bodyPr>
          <a:lstStyle/>
          <a:p>
            <a:pPr algn="l"/>
            <a:endParaRPr lang="en-GB" sz="900">
              <a:latin typeface="Source Sans Pro Light" panose="020B0403030403020204" pitchFamily="34" charset="0"/>
              <a:cs typeface="Arial"/>
            </a:endParaRPr>
          </a:p>
        </p:txBody>
      </p:sp>
    </p:spTree>
    <p:extLst>
      <p:ext uri="{BB962C8B-B14F-4D97-AF65-F5344CB8AC3E}">
        <p14:creationId xmlns:p14="http://schemas.microsoft.com/office/powerpoint/2010/main" val="3644776860"/>
      </p:ext>
    </p:extLst>
  </p:cSld>
  <p:clrMapOvr>
    <a:masterClrMapping/>
  </p:clrMapOvr>
  <p:extLst>
    <p:ext uri="{DCECCB84-F9BA-43D5-87BE-67443E8EF086}">
      <p15:sldGuideLst xmlns:p15="http://schemas.microsoft.com/office/powerpoint/2012/main">
        <p15:guide id="1" pos="636" userDrawn="1">
          <p15:clr>
            <a:srgbClr val="FBAE40"/>
          </p15:clr>
        </p15:guide>
        <p15:guide id="2" orient="horz" pos="593"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orger.dk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4" name="Picture 3" descr="A logo with a crown on it&#10;&#10;Description automatically generated">
            <a:extLst>
              <a:ext uri="{FF2B5EF4-FFF2-40B4-BE49-F238E27FC236}">
                <a16:creationId xmlns:a16="http://schemas.microsoft.com/office/drawing/2014/main" id="{F246919F-0D79-F358-57DD-7E1402D506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1783" y="209188"/>
            <a:ext cx="2137345" cy="305335"/>
          </a:xfrm>
          <a:prstGeom prst="rect">
            <a:avLst/>
          </a:prstGeom>
        </p:spPr>
      </p:pic>
      <p:sp>
        <p:nvSpPr>
          <p:cNvPr id="3" name="TextBox 1">
            <a:extLst>
              <a:ext uri="{FF2B5EF4-FFF2-40B4-BE49-F238E27FC236}">
                <a16:creationId xmlns:a16="http://schemas.microsoft.com/office/drawing/2014/main" id="{B7671AF2-8DC3-1888-3FA5-9F16ED28C3AA}"/>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2505601701"/>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orger.dk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3" name="Picture 2">
            <a:extLst>
              <a:ext uri="{FF2B5EF4-FFF2-40B4-BE49-F238E27FC236}">
                <a16:creationId xmlns:a16="http://schemas.microsoft.com/office/drawing/2014/main" id="{7C475E0B-718E-FF80-8B3F-26D7F9B56084}"/>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1784" y="209188"/>
            <a:ext cx="2137343" cy="305335"/>
          </a:xfrm>
          <a:prstGeom prst="rect">
            <a:avLst/>
          </a:prstGeom>
        </p:spPr>
      </p:pic>
      <p:sp>
        <p:nvSpPr>
          <p:cNvPr id="6" name="TextBox 1">
            <a:extLst>
              <a:ext uri="{FF2B5EF4-FFF2-40B4-BE49-F238E27FC236}">
                <a16:creationId xmlns:a16="http://schemas.microsoft.com/office/drawing/2014/main" id="{BE819E2E-33F7-432A-D4B6-935E690F38DB}"/>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668903022"/>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igital Post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7" name="Picture 6" descr="A logo with a crown on it&#10;&#10;Description automatically generated">
            <a:extLst>
              <a:ext uri="{FF2B5EF4-FFF2-40B4-BE49-F238E27FC236}">
                <a16:creationId xmlns:a16="http://schemas.microsoft.com/office/drawing/2014/main" id="{AB0B0ECC-5405-9BC0-47C7-E62422A4712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4813" y="207967"/>
            <a:ext cx="2150000" cy="307143"/>
          </a:xfrm>
          <a:prstGeom prst="rect">
            <a:avLst/>
          </a:prstGeom>
        </p:spPr>
      </p:pic>
      <p:sp>
        <p:nvSpPr>
          <p:cNvPr id="3" name="TextBox 1">
            <a:extLst>
              <a:ext uri="{FF2B5EF4-FFF2-40B4-BE49-F238E27FC236}">
                <a16:creationId xmlns:a16="http://schemas.microsoft.com/office/drawing/2014/main" id="{CE70F30D-8308-9BAA-20A0-76973E181BA5}"/>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1202257652"/>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gital Post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4" name="Picture 3">
            <a:extLst>
              <a:ext uri="{FF2B5EF4-FFF2-40B4-BE49-F238E27FC236}">
                <a16:creationId xmlns:a16="http://schemas.microsoft.com/office/drawing/2014/main" id="{B618DB2B-2262-BB0A-780A-B3B11740F76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4813" y="207967"/>
            <a:ext cx="2150000" cy="307142"/>
          </a:xfrm>
          <a:prstGeom prst="rect">
            <a:avLst/>
          </a:prstGeom>
        </p:spPr>
      </p:pic>
      <p:sp>
        <p:nvSpPr>
          <p:cNvPr id="3" name="TextBox 1">
            <a:extLst>
              <a:ext uri="{FF2B5EF4-FFF2-40B4-BE49-F238E27FC236}">
                <a16:creationId xmlns:a16="http://schemas.microsoft.com/office/drawing/2014/main" id="{6C5811E8-1E56-32D4-E71B-5544561DFE55}"/>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1367275828"/>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MitID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978683" y="387710"/>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7" name="Picture 6" descr="A logo with a crown on it&#10;&#10;Description automatically generated">
            <a:extLst>
              <a:ext uri="{FF2B5EF4-FFF2-40B4-BE49-F238E27FC236}">
                <a16:creationId xmlns:a16="http://schemas.microsoft.com/office/drawing/2014/main" id="{FE83A7B7-DD0E-E9ED-7085-42258D60F70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5001" y="207900"/>
            <a:ext cx="2150000" cy="307143"/>
          </a:xfrm>
          <a:prstGeom prst="rect">
            <a:avLst/>
          </a:prstGeom>
        </p:spPr>
      </p:pic>
      <p:sp>
        <p:nvSpPr>
          <p:cNvPr id="3" name="TextBox 1">
            <a:extLst>
              <a:ext uri="{FF2B5EF4-FFF2-40B4-BE49-F238E27FC236}">
                <a16:creationId xmlns:a16="http://schemas.microsoft.com/office/drawing/2014/main" id="{2AE2A07C-1452-06D8-8BEA-29C24118E7D4}"/>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3292021676"/>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MitID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3" name="Picture 2">
            <a:extLst>
              <a:ext uri="{FF2B5EF4-FFF2-40B4-BE49-F238E27FC236}">
                <a16:creationId xmlns:a16="http://schemas.microsoft.com/office/drawing/2014/main" id="{B6773088-F904-305E-B07C-C0C1AD136B1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5001" y="207901"/>
            <a:ext cx="2150000" cy="307142"/>
          </a:xfrm>
          <a:prstGeom prst="rect">
            <a:avLst/>
          </a:prstGeom>
        </p:spPr>
      </p:pic>
      <p:sp>
        <p:nvSpPr>
          <p:cNvPr id="4" name="TextBox 1">
            <a:extLst>
              <a:ext uri="{FF2B5EF4-FFF2-40B4-BE49-F238E27FC236}">
                <a16:creationId xmlns:a16="http://schemas.microsoft.com/office/drawing/2014/main" id="{BF3D9D61-36C1-389C-8BD5-77F014F2FFEC}"/>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1989232766"/>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MitID Erhverv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978683" y="387710"/>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4" name="Picture 3" descr="A logo with a crown on it&#10;&#10;Description automatically generated">
            <a:extLst>
              <a:ext uri="{FF2B5EF4-FFF2-40B4-BE49-F238E27FC236}">
                <a16:creationId xmlns:a16="http://schemas.microsoft.com/office/drawing/2014/main" id="{AEC092CD-7A5A-A8E9-64F2-E9A960EA998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5001" y="207900"/>
            <a:ext cx="2150000" cy="307143"/>
          </a:xfrm>
          <a:prstGeom prst="rect">
            <a:avLst/>
          </a:prstGeom>
        </p:spPr>
      </p:pic>
      <p:sp>
        <p:nvSpPr>
          <p:cNvPr id="3" name="TextBox 1">
            <a:extLst>
              <a:ext uri="{FF2B5EF4-FFF2-40B4-BE49-F238E27FC236}">
                <a16:creationId xmlns:a16="http://schemas.microsoft.com/office/drawing/2014/main" id="{1448603D-0338-C172-50C3-37A4F733BAA4}"/>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3289343531"/>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MitID Erhverv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4" name="Picture 3">
            <a:extLst>
              <a:ext uri="{FF2B5EF4-FFF2-40B4-BE49-F238E27FC236}">
                <a16:creationId xmlns:a16="http://schemas.microsoft.com/office/drawing/2014/main" id="{F59C0FE2-C77D-F582-2D59-9DC1D8EBEC0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5001" y="207901"/>
            <a:ext cx="2150000" cy="307142"/>
          </a:xfrm>
          <a:prstGeom prst="rect">
            <a:avLst/>
          </a:prstGeom>
        </p:spPr>
      </p:pic>
      <p:sp>
        <p:nvSpPr>
          <p:cNvPr id="3" name="TextBox 1">
            <a:extLst>
              <a:ext uri="{FF2B5EF4-FFF2-40B4-BE49-F238E27FC236}">
                <a16:creationId xmlns:a16="http://schemas.microsoft.com/office/drawing/2014/main" id="{9A2FC0E8-C238-D09D-5D75-A3B457FBF307}"/>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601847491"/>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Nemkonto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978683" y="387710"/>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6" name="Picture 5" descr="A logo with a crown on it&#10;&#10;Description automatically generated">
            <a:extLst>
              <a:ext uri="{FF2B5EF4-FFF2-40B4-BE49-F238E27FC236}">
                <a16:creationId xmlns:a16="http://schemas.microsoft.com/office/drawing/2014/main" id="{3C0DD04C-FDC6-ECF8-36D2-1F0874E8C86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5000" y="207900"/>
            <a:ext cx="2150000" cy="307143"/>
          </a:xfrm>
          <a:prstGeom prst="rect">
            <a:avLst/>
          </a:prstGeom>
        </p:spPr>
      </p:pic>
      <p:sp>
        <p:nvSpPr>
          <p:cNvPr id="3" name="TextBox 1">
            <a:extLst>
              <a:ext uri="{FF2B5EF4-FFF2-40B4-BE49-F238E27FC236}">
                <a16:creationId xmlns:a16="http://schemas.microsoft.com/office/drawing/2014/main" id="{9091ED0A-7381-040A-27F5-7FE3C4E155CD}"/>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250143123"/>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Nemkonto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3" name="Picture 2">
            <a:extLst>
              <a:ext uri="{FF2B5EF4-FFF2-40B4-BE49-F238E27FC236}">
                <a16:creationId xmlns:a16="http://schemas.microsoft.com/office/drawing/2014/main" id="{148FF818-ED63-1988-B443-DC23A878F6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5000" y="207901"/>
            <a:ext cx="2150000" cy="307142"/>
          </a:xfrm>
          <a:prstGeom prst="rect">
            <a:avLst/>
          </a:prstGeom>
        </p:spPr>
      </p:pic>
      <p:sp>
        <p:nvSpPr>
          <p:cNvPr id="4" name="TextBox 1">
            <a:extLst>
              <a:ext uri="{FF2B5EF4-FFF2-40B4-BE49-F238E27FC236}">
                <a16:creationId xmlns:a16="http://schemas.microsoft.com/office/drawing/2014/main" id="{889FC669-94C0-1C86-1DA1-A298AA8E396C}"/>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2789403995"/>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Highlights (3 rækker)">
    <p:bg>
      <p:bgPr>
        <a:solidFill>
          <a:schemeClr val="bg1"/>
        </a:solidFill>
        <a:effectLst/>
      </p:bgPr>
    </p:bg>
    <p:spTree>
      <p:nvGrpSpPr>
        <p:cNvPr id="1" name=""/>
        <p:cNvGrpSpPr/>
        <p:nvPr/>
      </p:nvGrpSpPr>
      <p:grpSpPr>
        <a:xfrm>
          <a:off x="0" y="0"/>
          <a:ext cx="0" cy="0"/>
          <a:chOff x="0" y="0"/>
          <a:chExt cx="0" cy="0"/>
        </a:xfrm>
      </p:grpSpPr>
      <p:sp>
        <p:nvSpPr>
          <p:cNvPr id="6" name="Pladsholder til billede 5">
            <a:extLst>
              <a:ext uri="{FF2B5EF4-FFF2-40B4-BE49-F238E27FC236}">
                <a16:creationId xmlns:a16="http://schemas.microsoft.com/office/drawing/2014/main" id="{DD8828A6-E585-6B4F-A1C8-1DBE6955925F}"/>
              </a:ext>
            </a:extLst>
          </p:cNvPr>
          <p:cNvSpPr>
            <a:spLocks noGrp="1" noChangeAspect="1"/>
          </p:cNvSpPr>
          <p:nvPr>
            <p:ph type="pic" sz="quarter" idx="10" hasCustomPrompt="1"/>
          </p:nvPr>
        </p:nvSpPr>
        <p:spPr>
          <a:xfrm>
            <a:off x="1035859" y="2068107"/>
            <a:ext cx="288000" cy="288000"/>
          </a:xfr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Ikon</a:t>
            </a:r>
          </a:p>
        </p:txBody>
      </p:sp>
      <p:sp>
        <p:nvSpPr>
          <p:cNvPr id="4" name="Pladsholder til tekst 3">
            <a:extLst>
              <a:ext uri="{FF2B5EF4-FFF2-40B4-BE49-F238E27FC236}">
                <a16:creationId xmlns:a16="http://schemas.microsoft.com/office/drawing/2014/main" id="{C496093B-37A6-AD4C-9138-3E8BD436EBD5}"/>
              </a:ext>
            </a:extLst>
          </p:cNvPr>
          <p:cNvSpPr>
            <a:spLocks noGrp="1"/>
          </p:cNvSpPr>
          <p:nvPr>
            <p:ph type="body" sz="quarter" idx="15"/>
          </p:nvPr>
        </p:nvSpPr>
        <p:spPr>
          <a:xfrm>
            <a:off x="1488482" y="2067694"/>
            <a:ext cx="3003513" cy="144413"/>
          </a:xfrm>
        </p:spPr>
        <p:txBody>
          <a:bodyPr rIns="0" anchor="b"/>
          <a:lstStyle>
            <a:lvl1pPr marL="0" indent="0" algn="l">
              <a:buNone/>
              <a:defRPr sz="1000" b="1"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2" name="Pladsholder til tekst 6">
            <a:extLst>
              <a:ext uri="{FF2B5EF4-FFF2-40B4-BE49-F238E27FC236}">
                <a16:creationId xmlns:a16="http://schemas.microsoft.com/office/drawing/2014/main" id="{62788691-1556-FA1E-C496-6C79B160F7D5}"/>
              </a:ext>
            </a:extLst>
          </p:cNvPr>
          <p:cNvSpPr>
            <a:spLocks noGrp="1"/>
          </p:cNvSpPr>
          <p:nvPr>
            <p:ph type="body" sz="quarter" idx="18"/>
          </p:nvPr>
        </p:nvSpPr>
        <p:spPr>
          <a:xfrm>
            <a:off x="186110" y="4728638"/>
            <a:ext cx="219600" cy="219600"/>
          </a:xfrm>
          <a:blipFill>
            <a:blip r:embed="rId2"/>
            <a:stretch>
              <a:fillRect/>
            </a:stretch>
          </a:blipFill>
        </p:spPr>
        <p:txBody>
          <a:bodyPr/>
          <a:lstStyle>
            <a:lvl1pPr marL="0" indent="0">
              <a:buNone/>
              <a:defRPr>
                <a:noFill/>
              </a:defRPr>
            </a:lvl1pPr>
          </a:lstStyle>
          <a:p>
            <a:pPr lvl="0"/>
            <a:r>
              <a:rPr lang="da-DK"/>
              <a:t>Klik for at redigere teksttypografierne i masteren</a:t>
            </a:r>
          </a:p>
        </p:txBody>
      </p:sp>
      <p:sp>
        <p:nvSpPr>
          <p:cNvPr id="5" name="Pladsholder til tekst 3">
            <a:extLst>
              <a:ext uri="{FF2B5EF4-FFF2-40B4-BE49-F238E27FC236}">
                <a16:creationId xmlns:a16="http://schemas.microsoft.com/office/drawing/2014/main" id="{08EF0261-14D0-1383-03E9-C9E3A0AA53CF}"/>
              </a:ext>
            </a:extLst>
          </p:cNvPr>
          <p:cNvSpPr>
            <a:spLocks noGrp="1"/>
          </p:cNvSpPr>
          <p:nvPr>
            <p:ph type="body" sz="quarter" idx="19"/>
          </p:nvPr>
        </p:nvSpPr>
        <p:spPr>
          <a:xfrm>
            <a:off x="1488482" y="2212108"/>
            <a:ext cx="3003513" cy="287634"/>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8" name="Pladsholder til billede 5">
            <a:extLst>
              <a:ext uri="{FF2B5EF4-FFF2-40B4-BE49-F238E27FC236}">
                <a16:creationId xmlns:a16="http://schemas.microsoft.com/office/drawing/2014/main" id="{8342E6BB-C322-8D89-32E3-B526E872C5EC}"/>
              </a:ext>
            </a:extLst>
          </p:cNvPr>
          <p:cNvSpPr>
            <a:spLocks noGrp="1" noChangeAspect="1"/>
          </p:cNvSpPr>
          <p:nvPr>
            <p:ph type="pic" sz="quarter" idx="20" hasCustomPrompt="1"/>
          </p:nvPr>
        </p:nvSpPr>
        <p:spPr>
          <a:xfrm>
            <a:off x="1035859" y="2811074"/>
            <a:ext cx="288000" cy="288000"/>
          </a:xfr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Ikon</a:t>
            </a:r>
          </a:p>
        </p:txBody>
      </p:sp>
      <p:sp>
        <p:nvSpPr>
          <p:cNvPr id="9" name="Pladsholder til tekst 3">
            <a:extLst>
              <a:ext uri="{FF2B5EF4-FFF2-40B4-BE49-F238E27FC236}">
                <a16:creationId xmlns:a16="http://schemas.microsoft.com/office/drawing/2014/main" id="{5A97597D-99B1-6A4F-5117-8B426C40DF78}"/>
              </a:ext>
            </a:extLst>
          </p:cNvPr>
          <p:cNvSpPr>
            <a:spLocks noGrp="1"/>
          </p:cNvSpPr>
          <p:nvPr>
            <p:ph type="body" sz="quarter" idx="21"/>
          </p:nvPr>
        </p:nvSpPr>
        <p:spPr>
          <a:xfrm>
            <a:off x="1488482" y="2810661"/>
            <a:ext cx="3003513" cy="144413"/>
          </a:xfrm>
        </p:spPr>
        <p:txBody>
          <a:bodyPr rIns="0" anchor="b"/>
          <a:lstStyle>
            <a:lvl1pPr marL="0" indent="0" algn="l">
              <a:buNone/>
              <a:defRPr sz="1000" b="1"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10" name="Pladsholder til tekst 3">
            <a:extLst>
              <a:ext uri="{FF2B5EF4-FFF2-40B4-BE49-F238E27FC236}">
                <a16:creationId xmlns:a16="http://schemas.microsoft.com/office/drawing/2014/main" id="{4BDB334A-1458-0AC0-AFF1-0739E96E898E}"/>
              </a:ext>
            </a:extLst>
          </p:cNvPr>
          <p:cNvSpPr>
            <a:spLocks noGrp="1"/>
          </p:cNvSpPr>
          <p:nvPr>
            <p:ph type="body" sz="quarter" idx="22"/>
          </p:nvPr>
        </p:nvSpPr>
        <p:spPr>
          <a:xfrm>
            <a:off x="1488482" y="2955075"/>
            <a:ext cx="3003513" cy="287634"/>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11" name="Pladsholder til billede 5">
            <a:extLst>
              <a:ext uri="{FF2B5EF4-FFF2-40B4-BE49-F238E27FC236}">
                <a16:creationId xmlns:a16="http://schemas.microsoft.com/office/drawing/2014/main" id="{C4ABC68E-A13B-FAFF-E2EB-F53E9D240F22}"/>
              </a:ext>
            </a:extLst>
          </p:cNvPr>
          <p:cNvSpPr>
            <a:spLocks noGrp="1" noChangeAspect="1"/>
          </p:cNvSpPr>
          <p:nvPr>
            <p:ph type="pic" sz="quarter" idx="23" hasCustomPrompt="1"/>
          </p:nvPr>
        </p:nvSpPr>
        <p:spPr>
          <a:xfrm>
            <a:off x="1035859" y="3552442"/>
            <a:ext cx="288000" cy="288000"/>
          </a:xfr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Ikon</a:t>
            </a:r>
          </a:p>
        </p:txBody>
      </p:sp>
      <p:sp>
        <p:nvSpPr>
          <p:cNvPr id="12" name="Pladsholder til tekst 3">
            <a:extLst>
              <a:ext uri="{FF2B5EF4-FFF2-40B4-BE49-F238E27FC236}">
                <a16:creationId xmlns:a16="http://schemas.microsoft.com/office/drawing/2014/main" id="{64FF8A76-B404-0C8F-8C0B-30B839A46D76}"/>
              </a:ext>
            </a:extLst>
          </p:cNvPr>
          <p:cNvSpPr>
            <a:spLocks noGrp="1"/>
          </p:cNvSpPr>
          <p:nvPr>
            <p:ph type="body" sz="quarter" idx="24"/>
          </p:nvPr>
        </p:nvSpPr>
        <p:spPr>
          <a:xfrm>
            <a:off x="1488482" y="3552029"/>
            <a:ext cx="3003513" cy="144413"/>
          </a:xfrm>
        </p:spPr>
        <p:txBody>
          <a:bodyPr rIns="0" anchor="b"/>
          <a:lstStyle>
            <a:lvl1pPr marL="0" indent="0" algn="l">
              <a:buNone/>
              <a:defRPr sz="1000" b="1"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13" name="Pladsholder til tekst 3">
            <a:extLst>
              <a:ext uri="{FF2B5EF4-FFF2-40B4-BE49-F238E27FC236}">
                <a16:creationId xmlns:a16="http://schemas.microsoft.com/office/drawing/2014/main" id="{E18EE8C3-6589-A11A-1EB5-56F8C0C09F49}"/>
              </a:ext>
            </a:extLst>
          </p:cNvPr>
          <p:cNvSpPr>
            <a:spLocks noGrp="1"/>
          </p:cNvSpPr>
          <p:nvPr>
            <p:ph type="body" sz="quarter" idx="25"/>
          </p:nvPr>
        </p:nvSpPr>
        <p:spPr>
          <a:xfrm>
            <a:off x="1488482" y="3696443"/>
            <a:ext cx="3003513" cy="287634"/>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14" name="Pladsholder til billede 5">
            <a:extLst>
              <a:ext uri="{FF2B5EF4-FFF2-40B4-BE49-F238E27FC236}">
                <a16:creationId xmlns:a16="http://schemas.microsoft.com/office/drawing/2014/main" id="{01C77357-C65B-5A9E-B615-A92026CCF59E}"/>
              </a:ext>
            </a:extLst>
          </p:cNvPr>
          <p:cNvSpPr>
            <a:spLocks noGrp="1" noChangeAspect="1"/>
          </p:cNvSpPr>
          <p:nvPr>
            <p:ph type="pic" sz="quarter" idx="26" hasCustomPrompt="1"/>
          </p:nvPr>
        </p:nvSpPr>
        <p:spPr>
          <a:xfrm>
            <a:off x="5219552" y="2068107"/>
            <a:ext cx="288000" cy="288000"/>
          </a:xfr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Ikon</a:t>
            </a:r>
          </a:p>
        </p:txBody>
      </p:sp>
      <p:sp>
        <p:nvSpPr>
          <p:cNvPr id="15" name="Pladsholder til tekst 3">
            <a:extLst>
              <a:ext uri="{FF2B5EF4-FFF2-40B4-BE49-F238E27FC236}">
                <a16:creationId xmlns:a16="http://schemas.microsoft.com/office/drawing/2014/main" id="{90180E4D-07F7-B5B5-617E-41F68236FDA6}"/>
              </a:ext>
            </a:extLst>
          </p:cNvPr>
          <p:cNvSpPr>
            <a:spLocks noGrp="1"/>
          </p:cNvSpPr>
          <p:nvPr>
            <p:ph type="body" sz="quarter" idx="27"/>
          </p:nvPr>
        </p:nvSpPr>
        <p:spPr>
          <a:xfrm>
            <a:off x="5672175" y="2067694"/>
            <a:ext cx="3003513" cy="144413"/>
          </a:xfrm>
        </p:spPr>
        <p:txBody>
          <a:bodyPr rIns="0" anchor="b"/>
          <a:lstStyle>
            <a:lvl1pPr marL="0" indent="0" algn="l">
              <a:buNone/>
              <a:defRPr sz="1000" b="1"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16" name="Pladsholder til tekst 3">
            <a:extLst>
              <a:ext uri="{FF2B5EF4-FFF2-40B4-BE49-F238E27FC236}">
                <a16:creationId xmlns:a16="http://schemas.microsoft.com/office/drawing/2014/main" id="{34CF6966-E382-F0AE-7D87-947D9FBC362B}"/>
              </a:ext>
            </a:extLst>
          </p:cNvPr>
          <p:cNvSpPr>
            <a:spLocks noGrp="1"/>
          </p:cNvSpPr>
          <p:nvPr>
            <p:ph type="body" sz="quarter" idx="28"/>
          </p:nvPr>
        </p:nvSpPr>
        <p:spPr>
          <a:xfrm>
            <a:off x="5672175" y="2212108"/>
            <a:ext cx="3003513" cy="287634"/>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17" name="Pladsholder til billede 5">
            <a:extLst>
              <a:ext uri="{FF2B5EF4-FFF2-40B4-BE49-F238E27FC236}">
                <a16:creationId xmlns:a16="http://schemas.microsoft.com/office/drawing/2014/main" id="{2CEFD869-52FC-2D91-50C5-1E9A468D1D17}"/>
              </a:ext>
            </a:extLst>
          </p:cNvPr>
          <p:cNvSpPr>
            <a:spLocks noGrp="1" noChangeAspect="1"/>
          </p:cNvSpPr>
          <p:nvPr>
            <p:ph type="pic" sz="quarter" idx="29" hasCustomPrompt="1"/>
          </p:nvPr>
        </p:nvSpPr>
        <p:spPr>
          <a:xfrm>
            <a:off x="5219552" y="2811074"/>
            <a:ext cx="288000" cy="288000"/>
          </a:xfr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Ikon</a:t>
            </a:r>
          </a:p>
        </p:txBody>
      </p:sp>
      <p:sp>
        <p:nvSpPr>
          <p:cNvPr id="18" name="Pladsholder til tekst 3">
            <a:extLst>
              <a:ext uri="{FF2B5EF4-FFF2-40B4-BE49-F238E27FC236}">
                <a16:creationId xmlns:a16="http://schemas.microsoft.com/office/drawing/2014/main" id="{96EA9739-1B5C-0189-6141-912AACF32E26}"/>
              </a:ext>
            </a:extLst>
          </p:cNvPr>
          <p:cNvSpPr>
            <a:spLocks noGrp="1"/>
          </p:cNvSpPr>
          <p:nvPr>
            <p:ph type="body" sz="quarter" idx="30"/>
          </p:nvPr>
        </p:nvSpPr>
        <p:spPr>
          <a:xfrm>
            <a:off x="5672175" y="2810661"/>
            <a:ext cx="3003513" cy="144413"/>
          </a:xfrm>
        </p:spPr>
        <p:txBody>
          <a:bodyPr rIns="0" anchor="b"/>
          <a:lstStyle>
            <a:lvl1pPr marL="0" indent="0" algn="l">
              <a:buNone/>
              <a:defRPr sz="1000" b="1"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19" name="Pladsholder til tekst 3">
            <a:extLst>
              <a:ext uri="{FF2B5EF4-FFF2-40B4-BE49-F238E27FC236}">
                <a16:creationId xmlns:a16="http://schemas.microsoft.com/office/drawing/2014/main" id="{573F324B-1AD1-A5F2-6C40-8A7D76AC6A76}"/>
              </a:ext>
            </a:extLst>
          </p:cNvPr>
          <p:cNvSpPr>
            <a:spLocks noGrp="1"/>
          </p:cNvSpPr>
          <p:nvPr>
            <p:ph type="body" sz="quarter" idx="31"/>
          </p:nvPr>
        </p:nvSpPr>
        <p:spPr>
          <a:xfrm>
            <a:off x="5672175" y="2955075"/>
            <a:ext cx="3003513" cy="287634"/>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20" name="Pladsholder til billede 5">
            <a:extLst>
              <a:ext uri="{FF2B5EF4-FFF2-40B4-BE49-F238E27FC236}">
                <a16:creationId xmlns:a16="http://schemas.microsoft.com/office/drawing/2014/main" id="{611F40D4-8CDB-5EDC-7BAD-B03042BDBD6A}"/>
              </a:ext>
            </a:extLst>
          </p:cNvPr>
          <p:cNvSpPr>
            <a:spLocks noGrp="1" noChangeAspect="1"/>
          </p:cNvSpPr>
          <p:nvPr>
            <p:ph type="pic" sz="quarter" idx="32" hasCustomPrompt="1"/>
          </p:nvPr>
        </p:nvSpPr>
        <p:spPr>
          <a:xfrm>
            <a:off x="5219552" y="3552442"/>
            <a:ext cx="288000" cy="288000"/>
          </a:xfr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Ikon</a:t>
            </a:r>
          </a:p>
        </p:txBody>
      </p:sp>
      <p:sp>
        <p:nvSpPr>
          <p:cNvPr id="21" name="Pladsholder til tekst 3">
            <a:extLst>
              <a:ext uri="{FF2B5EF4-FFF2-40B4-BE49-F238E27FC236}">
                <a16:creationId xmlns:a16="http://schemas.microsoft.com/office/drawing/2014/main" id="{EC03F92A-66B6-FC8B-CDA8-DA851552E31F}"/>
              </a:ext>
            </a:extLst>
          </p:cNvPr>
          <p:cNvSpPr>
            <a:spLocks noGrp="1"/>
          </p:cNvSpPr>
          <p:nvPr>
            <p:ph type="body" sz="quarter" idx="33"/>
          </p:nvPr>
        </p:nvSpPr>
        <p:spPr>
          <a:xfrm>
            <a:off x="5672175" y="3552029"/>
            <a:ext cx="3003513" cy="144413"/>
          </a:xfrm>
        </p:spPr>
        <p:txBody>
          <a:bodyPr rIns="0" anchor="b"/>
          <a:lstStyle>
            <a:lvl1pPr marL="0" indent="0" algn="l">
              <a:buNone/>
              <a:defRPr sz="1000" b="1"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22" name="Pladsholder til tekst 3">
            <a:extLst>
              <a:ext uri="{FF2B5EF4-FFF2-40B4-BE49-F238E27FC236}">
                <a16:creationId xmlns:a16="http://schemas.microsoft.com/office/drawing/2014/main" id="{D6FEAE5D-F3EC-05C0-19FD-9C5F35A48EF8}"/>
              </a:ext>
            </a:extLst>
          </p:cNvPr>
          <p:cNvSpPr>
            <a:spLocks noGrp="1"/>
          </p:cNvSpPr>
          <p:nvPr>
            <p:ph type="body" sz="quarter" idx="34"/>
          </p:nvPr>
        </p:nvSpPr>
        <p:spPr>
          <a:xfrm>
            <a:off x="5672175" y="3696443"/>
            <a:ext cx="3003513" cy="287634"/>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23" name="Titel 1">
            <a:extLst>
              <a:ext uri="{FF2B5EF4-FFF2-40B4-BE49-F238E27FC236}">
                <a16:creationId xmlns:a16="http://schemas.microsoft.com/office/drawing/2014/main" id="{486BAFFE-8C09-B4E1-113D-5655D6AEF262}"/>
              </a:ext>
            </a:extLst>
          </p:cNvPr>
          <p:cNvSpPr>
            <a:spLocks noGrp="1"/>
          </p:cNvSpPr>
          <p:nvPr>
            <p:ph type="title"/>
          </p:nvPr>
        </p:nvSpPr>
        <p:spPr>
          <a:xfrm>
            <a:off x="1009650" y="951222"/>
            <a:ext cx="2991910" cy="900448"/>
          </a:xfrm>
        </p:spPr>
        <p:txBody>
          <a:bodyPr/>
          <a:lstStyle/>
          <a:p>
            <a:r>
              <a:rPr lang="da-DK"/>
              <a:t>Klik for at redigere titeltypografien i masteren</a:t>
            </a:r>
            <a:endParaRPr lang="en-GB"/>
          </a:p>
        </p:txBody>
      </p:sp>
      <p:sp>
        <p:nvSpPr>
          <p:cNvPr id="24" name="Pladsholder til tekst 5">
            <a:extLst>
              <a:ext uri="{FF2B5EF4-FFF2-40B4-BE49-F238E27FC236}">
                <a16:creationId xmlns:a16="http://schemas.microsoft.com/office/drawing/2014/main" id="{BD12AD24-B17D-7407-348F-63C4241969DB}"/>
              </a:ext>
            </a:extLst>
          </p:cNvPr>
          <p:cNvSpPr>
            <a:spLocks noGrp="1"/>
          </p:cNvSpPr>
          <p:nvPr>
            <p:ph type="body" sz="quarter" idx="11"/>
          </p:nvPr>
        </p:nvSpPr>
        <p:spPr>
          <a:xfrm>
            <a:off x="1009779" y="735323"/>
            <a:ext cx="2992548" cy="144462"/>
          </a:xfrm>
        </p:spPr>
        <p:txBody>
          <a:bodyPr vert="horz" lIns="14400" tIns="0" rIns="0" bIns="0" rtlCol="0">
            <a:noAutofit/>
          </a:bodyPr>
          <a:lstStyle>
            <a:lvl1pPr marL="0" indent="0">
              <a:buNone/>
              <a:defRPr lang="en-GB" sz="1000" cap="all" dirty="0">
                <a:solidFill>
                  <a:srgbClr val="878787"/>
                </a:solidFill>
                <a:latin typeface="Neue Haas Grotesk Text Pro" panose="020B0504020202020204" pitchFamily="34" charset="77"/>
              </a:defRPr>
            </a:lvl1pPr>
          </a:lstStyle>
          <a:p>
            <a:pPr marL="171450" lvl="0" indent="-171450"/>
            <a:r>
              <a:rPr lang="da-DK"/>
              <a:t>Klik for at redigere teksttypografierne i masteren</a:t>
            </a:r>
          </a:p>
        </p:txBody>
      </p:sp>
    </p:spTree>
    <p:extLst>
      <p:ext uri="{BB962C8B-B14F-4D97-AF65-F5344CB8AC3E}">
        <p14:creationId xmlns:p14="http://schemas.microsoft.com/office/powerpoint/2010/main" val="417279518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NemLog-in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6" name="Picture 5" descr="A black background with purple text&#10;&#10;Description automatically generated">
            <a:extLst>
              <a:ext uri="{FF2B5EF4-FFF2-40B4-BE49-F238E27FC236}">
                <a16:creationId xmlns:a16="http://schemas.microsoft.com/office/drawing/2014/main" id="{E2E035C2-1559-7C0B-51B6-D2844FB8ABEF}"/>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b="5300"/>
          <a:stretch/>
        </p:blipFill>
        <p:spPr>
          <a:xfrm>
            <a:off x="405000" y="207900"/>
            <a:ext cx="2150000" cy="290864"/>
          </a:xfrm>
          <a:prstGeom prst="rect">
            <a:avLst/>
          </a:prstGeom>
        </p:spPr>
      </p:pic>
      <p:sp>
        <p:nvSpPr>
          <p:cNvPr id="3" name="TextBox 1">
            <a:extLst>
              <a:ext uri="{FF2B5EF4-FFF2-40B4-BE49-F238E27FC236}">
                <a16:creationId xmlns:a16="http://schemas.microsoft.com/office/drawing/2014/main" id="{56BFAB81-170D-8268-37A8-8C5036AEC405}"/>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74674542"/>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NemLog-in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4" name="Picture 3">
            <a:extLst>
              <a:ext uri="{FF2B5EF4-FFF2-40B4-BE49-F238E27FC236}">
                <a16:creationId xmlns:a16="http://schemas.microsoft.com/office/drawing/2014/main" id="{C465B008-198D-4F8C-8187-8BB55A2A9865}"/>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5000" y="207901"/>
            <a:ext cx="2150000" cy="307142"/>
          </a:xfrm>
          <a:prstGeom prst="rect">
            <a:avLst/>
          </a:prstGeom>
        </p:spPr>
      </p:pic>
      <p:sp>
        <p:nvSpPr>
          <p:cNvPr id="3" name="TextBox 1">
            <a:extLst>
              <a:ext uri="{FF2B5EF4-FFF2-40B4-BE49-F238E27FC236}">
                <a16:creationId xmlns:a16="http://schemas.microsoft.com/office/drawing/2014/main" id="{B5068DCF-317C-6F8A-6998-D19705121BCE}"/>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1069615433"/>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ikkerdigital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4" name="Picture 3" descr="A logo with a crown on it&#10;&#10;Description automatically generated">
            <a:extLst>
              <a:ext uri="{FF2B5EF4-FFF2-40B4-BE49-F238E27FC236}">
                <a16:creationId xmlns:a16="http://schemas.microsoft.com/office/drawing/2014/main" id="{A21B514E-3A5C-F020-F1CE-29A71CBECF1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5001" y="207900"/>
            <a:ext cx="2150000" cy="307143"/>
          </a:xfrm>
          <a:prstGeom prst="rect">
            <a:avLst/>
          </a:prstGeom>
        </p:spPr>
      </p:pic>
      <p:sp>
        <p:nvSpPr>
          <p:cNvPr id="3" name="TextBox 1">
            <a:extLst>
              <a:ext uri="{FF2B5EF4-FFF2-40B4-BE49-F238E27FC236}">
                <a16:creationId xmlns:a16="http://schemas.microsoft.com/office/drawing/2014/main" id="{A39681EE-1004-00C0-869F-BAE156E56FAA}"/>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584159839"/>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ikkerdigital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11" name="Picture 10">
            <a:extLst>
              <a:ext uri="{FF2B5EF4-FFF2-40B4-BE49-F238E27FC236}">
                <a16:creationId xmlns:a16="http://schemas.microsoft.com/office/drawing/2014/main" id="{2F5CF440-4268-2D3A-7B7C-350EFD4B940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5001" y="207901"/>
            <a:ext cx="2150000" cy="307142"/>
          </a:xfrm>
          <a:prstGeom prst="rect">
            <a:avLst/>
          </a:prstGeom>
        </p:spPr>
      </p:pic>
      <p:sp>
        <p:nvSpPr>
          <p:cNvPr id="3" name="TextBox 1">
            <a:extLst>
              <a:ext uri="{FF2B5EF4-FFF2-40B4-BE49-F238E27FC236}">
                <a16:creationId xmlns:a16="http://schemas.microsoft.com/office/drawing/2014/main" id="{40167067-95C6-EAA2-5269-633398F09F96}"/>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626093817"/>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CD22E9-9AE9-424B-A7A1-AFD0F990FCCC}"/>
              </a:ext>
            </a:extLst>
          </p:cNvPr>
          <p:cNvSpPr>
            <a:spLocks noGrp="1"/>
          </p:cNvSpPr>
          <p:nvPr>
            <p:ph type="title" hasCustomPrompt="1"/>
          </p:nvPr>
        </p:nvSpPr>
        <p:spPr>
          <a:xfrm>
            <a:off x="405000" y="675000"/>
            <a:ext cx="4099135" cy="621000"/>
          </a:xfrm>
        </p:spPr>
        <p:txBody>
          <a:bodyPr/>
          <a:lstStyle>
            <a:lvl1pPr>
              <a:defRPr/>
            </a:lvl1pPr>
          </a:lstStyle>
          <a:p>
            <a:r>
              <a:rPr lang="da-DK"/>
              <a:t>Klik for at tilføje agenda titel</a:t>
            </a:r>
          </a:p>
        </p:txBody>
      </p:sp>
      <p:sp>
        <p:nvSpPr>
          <p:cNvPr id="7" name="Text Placeholder 2"/>
          <p:cNvSpPr>
            <a:spLocks noGrp="1"/>
          </p:cNvSpPr>
          <p:nvPr>
            <p:ph type="body" sz="quarter" idx="13" hasCustomPrompt="1"/>
          </p:nvPr>
        </p:nvSpPr>
        <p:spPr>
          <a:xfrm>
            <a:off x="405000" y="1431000"/>
            <a:ext cx="4099135" cy="3172500"/>
          </a:xfrm>
        </p:spPr>
        <p:txBody>
          <a:bodyPr/>
          <a:lstStyle>
            <a:lvl1pPr marL="135000" indent="-135000">
              <a:spcAft>
                <a:spcPts val="900"/>
              </a:spcAft>
              <a:buFont typeface="Arial" panose="020B0604020202020204" pitchFamily="34" charset="0"/>
              <a:buChar char="•"/>
              <a:defRPr b="0">
                <a:latin typeface="+mn-lt"/>
              </a:defRPr>
            </a:lvl1pPr>
            <a:lvl2pPr marL="135000" indent="-135000">
              <a:spcBef>
                <a:spcPts val="0"/>
              </a:spcBef>
              <a:spcAft>
                <a:spcPts val="900"/>
              </a:spcAft>
              <a:buFont typeface="Arial" panose="020B0604020202020204" pitchFamily="34" charset="0"/>
              <a:buChar char="•"/>
              <a:defRPr sz="1200" b="0">
                <a:latin typeface="+mn-lt"/>
              </a:defRPr>
            </a:lvl2pPr>
            <a:lvl3pPr marL="135000" indent="-135000">
              <a:spcBef>
                <a:spcPts val="0"/>
              </a:spcBef>
              <a:spcAft>
                <a:spcPts val="900"/>
              </a:spcAft>
              <a:buFont typeface="Arial" panose="020B0604020202020204" pitchFamily="34" charset="0"/>
              <a:buChar char="•"/>
              <a:defRPr sz="1200" b="0">
                <a:latin typeface="+mn-lt"/>
              </a:defRPr>
            </a:lvl3pPr>
            <a:lvl4pPr marL="135000" indent="-135000">
              <a:spcBef>
                <a:spcPts val="0"/>
              </a:spcBef>
              <a:spcAft>
                <a:spcPts val="900"/>
              </a:spcAft>
              <a:buFont typeface="Arial" panose="020B0604020202020204" pitchFamily="34" charset="0"/>
              <a:buChar char="•"/>
              <a:defRPr sz="1200" b="0">
                <a:latin typeface="+mn-lt"/>
              </a:defRPr>
            </a:lvl4pPr>
            <a:lvl5pPr marL="135000" indent="-135000">
              <a:spcBef>
                <a:spcPts val="0"/>
              </a:spcBef>
              <a:spcAft>
                <a:spcPts val="900"/>
              </a:spcAft>
              <a:buFont typeface="Arial" panose="020B0604020202020204" pitchFamily="34" charset="0"/>
              <a:buChar char="•"/>
              <a:defRPr sz="1200" b="0">
                <a:latin typeface="+mn-lt"/>
              </a:defRPr>
            </a:lvl5pPr>
            <a:lvl6pPr marL="135000" indent="-135000">
              <a:spcBef>
                <a:spcPts val="0"/>
              </a:spcBef>
              <a:spcAft>
                <a:spcPts val="900"/>
              </a:spcAft>
              <a:buFont typeface="Arial" panose="020B0604020202020204" pitchFamily="34" charset="0"/>
              <a:buChar char="•"/>
              <a:defRPr sz="1200" b="0">
                <a:latin typeface="+mn-lt"/>
              </a:defRPr>
            </a:lvl6pPr>
            <a:lvl7pPr marL="135000" indent="-135000">
              <a:spcBef>
                <a:spcPts val="0"/>
              </a:spcBef>
              <a:spcAft>
                <a:spcPts val="900"/>
              </a:spcAft>
              <a:buFont typeface="Arial" panose="020B0604020202020204" pitchFamily="34" charset="0"/>
              <a:buChar char="•"/>
              <a:defRPr sz="1200" b="0">
                <a:latin typeface="+mn-lt"/>
              </a:defRPr>
            </a:lvl7pPr>
            <a:lvl8pPr marL="135000" indent="-135000">
              <a:spcBef>
                <a:spcPts val="0"/>
              </a:spcBef>
              <a:spcAft>
                <a:spcPts val="900"/>
              </a:spcAft>
              <a:buFont typeface="Arial" panose="020B0604020202020204" pitchFamily="34" charset="0"/>
              <a:buChar char="•"/>
              <a:defRPr sz="1200" b="0">
                <a:latin typeface="+mn-lt"/>
              </a:defRPr>
            </a:lvl8pPr>
            <a:lvl9pPr marL="135000" indent="-135000">
              <a:spcBef>
                <a:spcPts val="0"/>
              </a:spcBef>
              <a:spcAft>
                <a:spcPts val="900"/>
              </a:spcAft>
              <a:buFont typeface="Arial" panose="020B0604020202020204" pitchFamily="34" charset="0"/>
              <a:buChar char="•"/>
              <a:defRPr sz="1200" b="0">
                <a:latin typeface="+mn-lt"/>
              </a:defRPr>
            </a:lvl9pPr>
          </a:lstStyle>
          <a:p>
            <a:pPr lvl="0"/>
            <a:r>
              <a:rPr lang="da-DK" noProof="0"/>
              <a:t>Klik for at tilføje agendapunkt</a:t>
            </a:r>
          </a:p>
          <a:p>
            <a:pPr lvl="1"/>
            <a:r>
              <a:rPr lang="da-DK" noProof="0"/>
              <a:t>Anden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16" name="Pladsholder til dato 15">
            <a:extLst>
              <a:ext uri="{FF2B5EF4-FFF2-40B4-BE49-F238E27FC236}">
                <a16:creationId xmlns:a16="http://schemas.microsoft.com/office/drawing/2014/main" id="{07B7D8D3-77D2-E785-81E3-AB119F5B3A7C}"/>
              </a:ext>
            </a:extLst>
          </p:cNvPr>
          <p:cNvSpPr>
            <a:spLocks noGrp="1"/>
          </p:cNvSpPr>
          <p:nvPr>
            <p:ph type="dt" sz="half" idx="19"/>
          </p:nvPr>
        </p:nvSpPr>
        <p:spPr/>
        <p:txBody>
          <a:bodyPr/>
          <a:lstStyle/>
          <a:p>
            <a:fld id="{61BEDC24-6319-4BBB-9782-63587D1632F0}" type="datetime2">
              <a:rPr lang="da-DK" smtClean="0"/>
              <a:t>11. december 2025</a:t>
            </a:fld>
            <a:endParaRPr lang="da-DK"/>
          </a:p>
        </p:txBody>
      </p:sp>
      <p:sp>
        <p:nvSpPr>
          <p:cNvPr id="17" name="Pladsholder til sidefod 16">
            <a:extLst>
              <a:ext uri="{FF2B5EF4-FFF2-40B4-BE49-F238E27FC236}">
                <a16:creationId xmlns:a16="http://schemas.microsoft.com/office/drawing/2014/main" id="{19E82096-1CE6-E092-C8ED-9A675CC7FFC6}"/>
              </a:ext>
            </a:extLst>
          </p:cNvPr>
          <p:cNvSpPr>
            <a:spLocks noGrp="1"/>
          </p:cNvSpPr>
          <p:nvPr>
            <p:ph type="ftr" sz="quarter" idx="20"/>
          </p:nvPr>
        </p:nvSpPr>
        <p:spPr/>
        <p:txBody>
          <a:bodyPr/>
          <a:lstStyle/>
          <a:p>
            <a:r>
              <a:rPr lang="da-DK"/>
              <a:t>Digitaliseringsstyrelsen</a:t>
            </a:r>
          </a:p>
        </p:txBody>
      </p:sp>
      <p:sp>
        <p:nvSpPr>
          <p:cNvPr id="18" name="Pladsholder til slidenummer 17">
            <a:extLst>
              <a:ext uri="{FF2B5EF4-FFF2-40B4-BE49-F238E27FC236}">
                <a16:creationId xmlns:a16="http://schemas.microsoft.com/office/drawing/2014/main" id="{385BC0ED-51CA-C2C1-3A79-5B97AB7EB508}"/>
              </a:ext>
            </a:extLst>
          </p:cNvPr>
          <p:cNvSpPr>
            <a:spLocks noGrp="1"/>
          </p:cNvSpPr>
          <p:nvPr>
            <p:ph type="sldNum" sz="quarter" idx="21"/>
          </p:nvPr>
        </p:nvSpPr>
        <p:spPr/>
        <p:txBody>
          <a:bodyPr/>
          <a:lstStyle/>
          <a:p>
            <a:fld id="{24C8C45C-947F-4981-8B3F-4F32E973C901}" type="slidenum">
              <a:rPr lang="da-DK" smtClean="0"/>
              <a:pPr/>
              <a:t>‹nr.›</a:t>
            </a:fld>
            <a:endParaRPr lang="da-DK"/>
          </a:p>
        </p:txBody>
      </p:sp>
      <p:sp>
        <p:nvSpPr>
          <p:cNvPr id="5" name="Mikro grafik 1">
            <a:extLst>
              <a:ext uri="{FF2B5EF4-FFF2-40B4-BE49-F238E27FC236}">
                <a16:creationId xmlns:a16="http://schemas.microsoft.com/office/drawing/2014/main" id="{B7391C28-918F-1989-0558-6E9FBDFF6FEF}"/>
              </a:ext>
            </a:extLst>
          </p:cNvPr>
          <p:cNvSpPr/>
          <p:nvPr userDrawn="1"/>
        </p:nvSpPr>
        <p:spPr>
          <a:xfrm>
            <a:off x="4816131" y="575232"/>
            <a:ext cx="4124069" cy="3344379"/>
          </a:xfrm>
          <a:custGeom>
            <a:avLst/>
            <a:gdLst>
              <a:gd name="connsiteX0" fmla="*/ 6423906 w 9114518"/>
              <a:gd name="connsiteY0" fmla="*/ 7111086 h 7391342"/>
              <a:gd name="connsiteX1" fmla="*/ 6633262 w 9114518"/>
              <a:gd name="connsiteY1" fmla="*/ 7111086 h 7391342"/>
              <a:gd name="connsiteX2" fmla="*/ 6633262 w 9114518"/>
              <a:gd name="connsiteY2" fmla="*/ 7286668 h 7391342"/>
              <a:gd name="connsiteX3" fmla="*/ 6423906 w 9114518"/>
              <a:gd name="connsiteY3" fmla="*/ 7286668 h 7391342"/>
              <a:gd name="connsiteX4" fmla="*/ 3371709 w 9114518"/>
              <a:gd name="connsiteY4" fmla="*/ 6959141 h 7391342"/>
              <a:gd name="connsiteX5" fmla="*/ 4286770 w 9114518"/>
              <a:gd name="connsiteY5" fmla="*/ 6959141 h 7391342"/>
              <a:gd name="connsiteX6" fmla="*/ 4286770 w 9114518"/>
              <a:gd name="connsiteY6" fmla="*/ 7067193 h 7391342"/>
              <a:gd name="connsiteX7" fmla="*/ 3371709 w 9114518"/>
              <a:gd name="connsiteY7" fmla="*/ 7067193 h 7391342"/>
              <a:gd name="connsiteX8" fmla="*/ 3371709 w 9114518"/>
              <a:gd name="connsiteY8" fmla="*/ 6606288 h 7391342"/>
              <a:gd name="connsiteX9" fmla="*/ 4286770 w 9114518"/>
              <a:gd name="connsiteY9" fmla="*/ 6606288 h 7391342"/>
              <a:gd name="connsiteX10" fmla="*/ 4286770 w 9114518"/>
              <a:gd name="connsiteY10" fmla="*/ 6714340 h 7391342"/>
              <a:gd name="connsiteX11" fmla="*/ 3371709 w 9114518"/>
              <a:gd name="connsiteY11" fmla="*/ 6714340 h 7391342"/>
              <a:gd name="connsiteX12" fmla="*/ 5418710 w 9114518"/>
              <a:gd name="connsiteY12" fmla="*/ 6084039 h 7391342"/>
              <a:gd name="connsiteX13" fmla="*/ 5796891 w 9114518"/>
              <a:gd name="connsiteY13" fmla="*/ 6084039 h 7391342"/>
              <a:gd name="connsiteX14" fmla="*/ 5796891 w 9114518"/>
              <a:gd name="connsiteY14" fmla="*/ 6180559 h 7391342"/>
              <a:gd name="connsiteX15" fmla="*/ 5796891 w 9114518"/>
              <a:gd name="connsiteY15" fmla="*/ 7291809 h 7391342"/>
              <a:gd name="connsiteX16" fmla="*/ 5796891 w 9114518"/>
              <a:gd name="connsiteY16" fmla="*/ 7388329 h 7391342"/>
              <a:gd name="connsiteX17" fmla="*/ 5418710 w 9114518"/>
              <a:gd name="connsiteY17" fmla="*/ 7388329 h 7391342"/>
              <a:gd name="connsiteX18" fmla="*/ 5418710 w 9114518"/>
              <a:gd name="connsiteY18" fmla="*/ 7291809 h 7391342"/>
              <a:gd name="connsiteX19" fmla="*/ 5680394 w 9114518"/>
              <a:gd name="connsiteY19" fmla="*/ 7291809 h 7391342"/>
              <a:gd name="connsiteX20" fmla="*/ 5680394 w 9114518"/>
              <a:gd name="connsiteY20" fmla="*/ 6180559 h 7391342"/>
              <a:gd name="connsiteX21" fmla="*/ 5418710 w 9114518"/>
              <a:gd name="connsiteY21" fmla="*/ 6180559 h 7391342"/>
              <a:gd name="connsiteX22" fmla="*/ 4939629 w 9114518"/>
              <a:gd name="connsiteY22" fmla="*/ 6084039 h 7391342"/>
              <a:gd name="connsiteX23" fmla="*/ 5317797 w 9114518"/>
              <a:gd name="connsiteY23" fmla="*/ 6084039 h 7391342"/>
              <a:gd name="connsiteX24" fmla="*/ 5317797 w 9114518"/>
              <a:gd name="connsiteY24" fmla="*/ 6180559 h 7391342"/>
              <a:gd name="connsiteX25" fmla="*/ 5056113 w 9114518"/>
              <a:gd name="connsiteY25" fmla="*/ 6180559 h 7391342"/>
              <a:gd name="connsiteX26" fmla="*/ 5056113 w 9114518"/>
              <a:gd name="connsiteY26" fmla="*/ 7291809 h 7391342"/>
              <a:gd name="connsiteX27" fmla="*/ 5317797 w 9114518"/>
              <a:gd name="connsiteY27" fmla="*/ 7291809 h 7391342"/>
              <a:gd name="connsiteX28" fmla="*/ 5317797 w 9114518"/>
              <a:gd name="connsiteY28" fmla="*/ 7388329 h 7391342"/>
              <a:gd name="connsiteX29" fmla="*/ 4939629 w 9114518"/>
              <a:gd name="connsiteY29" fmla="*/ 7388329 h 7391342"/>
              <a:gd name="connsiteX30" fmla="*/ 4939629 w 9114518"/>
              <a:gd name="connsiteY30" fmla="*/ 7291809 h 7391342"/>
              <a:gd name="connsiteX31" fmla="*/ 4939629 w 9114518"/>
              <a:gd name="connsiteY31" fmla="*/ 6180559 h 7391342"/>
              <a:gd name="connsiteX32" fmla="*/ 8646856 w 9114518"/>
              <a:gd name="connsiteY32" fmla="*/ 6077851 h 7391342"/>
              <a:gd name="connsiteX33" fmla="*/ 8698064 w 9114518"/>
              <a:gd name="connsiteY33" fmla="*/ 6079573 h 7391342"/>
              <a:gd name="connsiteX34" fmla="*/ 8745644 w 9114518"/>
              <a:gd name="connsiteY34" fmla="*/ 6084693 h 7391342"/>
              <a:gd name="connsiteX35" fmla="*/ 8789712 w 9114518"/>
              <a:gd name="connsiteY35" fmla="*/ 6093139 h 7391342"/>
              <a:gd name="connsiteX36" fmla="*/ 8830382 w 9114518"/>
              <a:gd name="connsiteY36" fmla="*/ 6104840 h 7391342"/>
              <a:gd name="connsiteX37" fmla="*/ 8867774 w 9114518"/>
              <a:gd name="connsiteY37" fmla="*/ 6119725 h 7391342"/>
              <a:gd name="connsiteX38" fmla="*/ 8902000 w 9114518"/>
              <a:gd name="connsiteY38" fmla="*/ 6137723 h 7391342"/>
              <a:gd name="connsiteX39" fmla="*/ 8961424 w 9114518"/>
              <a:gd name="connsiteY39" fmla="*/ 6182774 h 7391342"/>
              <a:gd name="connsiteX40" fmla="*/ 9009582 w 9114518"/>
              <a:gd name="connsiteY40" fmla="*/ 6239424 h 7391342"/>
              <a:gd name="connsiteX41" fmla="*/ 9029726 w 9114518"/>
              <a:gd name="connsiteY41" fmla="*/ 6271921 h 7391342"/>
              <a:gd name="connsiteX42" fmla="*/ 9047402 w 9114518"/>
              <a:gd name="connsiteY42" fmla="*/ 6307104 h 7391342"/>
              <a:gd name="connsiteX43" fmla="*/ 9062724 w 9114518"/>
              <a:gd name="connsiteY43" fmla="*/ 6344902 h 7391342"/>
              <a:gd name="connsiteX44" fmla="*/ 9075810 w 9114518"/>
              <a:gd name="connsiteY44" fmla="*/ 6385245 h 7391342"/>
              <a:gd name="connsiteX45" fmla="*/ 9086774 w 9114518"/>
              <a:gd name="connsiteY45" fmla="*/ 6428061 h 7391342"/>
              <a:gd name="connsiteX46" fmla="*/ 9095734 w 9114518"/>
              <a:gd name="connsiteY46" fmla="*/ 6473278 h 7391342"/>
              <a:gd name="connsiteX47" fmla="*/ 9102806 w 9114518"/>
              <a:gd name="connsiteY47" fmla="*/ 6520827 h 7391342"/>
              <a:gd name="connsiteX48" fmla="*/ 9108104 w 9114518"/>
              <a:gd name="connsiteY48" fmla="*/ 6570635 h 7391342"/>
              <a:gd name="connsiteX49" fmla="*/ 9111744 w 9114518"/>
              <a:gd name="connsiteY49" fmla="*/ 6622632 h 7391342"/>
              <a:gd name="connsiteX50" fmla="*/ 9113844 w 9114518"/>
              <a:gd name="connsiteY50" fmla="*/ 6676747 h 7391342"/>
              <a:gd name="connsiteX51" fmla="*/ 9114518 w 9114518"/>
              <a:gd name="connsiteY51" fmla="*/ 6732908 h 7391342"/>
              <a:gd name="connsiteX52" fmla="*/ 9113876 w 9114518"/>
              <a:gd name="connsiteY52" fmla="*/ 6789310 h 7391342"/>
              <a:gd name="connsiteX53" fmla="*/ 9111870 w 9114518"/>
              <a:gd name="connsiteY53" fmla="*/ 6843665 h 7391342"/>
              <a:gd name="connsiteX54" fmla="*/ 9108370 w 9114518"/>
              <a:gd name="connsiteY54" fmla="*/ 6895900 h 7391342"/>
              <a:gd name="connsiteX55" fmla="*/ 9103252 w 9114518"/>
              <a:gd name="connsiteY55" fmla="*/ 6945943 h 7391342"/>
              <a:gd name="connsiteX56" fmla="*/ 9096392 w 9114518"/>
              <a:gd name="connsiteY56" fmla="*/ 6993721 h 7391342"/>
              <a:gd name="connsiteX57" fmla="*/ 9087662 w 9114518"/>
              <a:gd name="connsiteY57" fmla="*/ 7039164 h 7391342"/>
              <a:gd name="connsiteX58" fmla="*/ 9076936 w 9114518"/>
              <a:gd name="connsiteY58" fmla="*/ 7082197 h 7391342"/>
              <a:gd name="connsiteX59" fmla="*/ 9064090 w 9114518"/>
              <a:gd name="connsiteY59" fmla="*/ 7122750 h 7391342"/>
              <a:gd name="connsiteX60" fmla="*/ 9048998 w 9114518"/>
              <a:gd name="connsiteY60" fmla="*/ 7160750 h 7391342"/>
              <a:gd name="connsiteX61" fmla="*/ 9031532 w 9114518"/>
              <a:gd name="connsiteY61" fmla="*/ 7196125 h 7391342"/>
              <a:gd name="connsiteX62" fmla="*/ 9011568 w 9114518"/>
              <a:gd name="connsiteY62" fmla="*/ 7228803 h 7391342"/>
              <a:gd name="connsiteX63" fmla="*/ 8963644 w 9114518"/>
              <a:gd name="connsiteY63" fmla="*/ 7285777 h 7391342"/>
              <a:gd name="connsiteX64" fmla="*/ 8904216 w 9114518"/>
              <a:gd name="connsiteY64" fmla="*/ 7331095 h 7391342"/>
              <a:gd name="connsiteX65" fmla="*/ 8869874 w 9114518"/>
              <a:gd name="connsiteY65" fmla="*/ 7349203 h 7391342"/>
              <a:gd name="connsiteX66" fmla="*/ 8832280 w 9114518"/>
              <a:gd name="connsiteY66" fmla="*/ 7364181 h 7391342"/>
              <a:gd name="connsiteX67" fmla="*/ 8791306 w 9114518"/>
              <a:gd name="connsiteY67" fmla="*/ 7375956 h 7391342"/>
              <a:gd name="connsiteX68" fmla="*/ 8746828 w 9114518"/>
              <a:gd name="connsiteY68" fmla="*/ 7384456 h 7391342"/>
              <a:gd name="connsiteX69" fmla="*/ 8698720 w 9114518"/>
              <a:gd name="connsiteY69" fmla="*/ 7389609 h 7391342"/>
              <a:gd name="connsiteX70" fmla="*/ 8646856 w 9114518"/>
              <a:gd name="connsiteY70" fmla="*/ 7391342 h 7391342"/>
              <a:gd name="connsiteX71" fmla="*/ 8646856 w 9114518"/>
              <a:gd name="connsiteY71" fmla="*/ 7293421 h 7391342"/>
              <a:gd name="connsiteX72" fmla="*/ 8697104 w 9114518"/>
              <a:gd name="connsiteY72" fmla="*/ 7291162 h 7391342"/>
              <a:gd name="connsiteX73" fmla="*/ 8742536 w 9114518"/>
              <a:gd name="connsiteY73" fmla="*/ 7284467 h 7391342"/>
              <a:gd name="connsiteX74" fmla="*/ 8783376 w 9114518"/>
              <a:gd name="connsiteY74" fmla="*/ 7273454 h 7391342"/>
              <a:gd name="connsiteX75" fmla="*/ 8819856 w 9114518"/>
              <a:gd name="connsiteY75" fmla="*/ 7258243 h 7391342"/>
              <a:gd name="connsiteX76" fmla="*/ 8880650 w 9114518"/>
              <a:gd name="connsiteY76" fmla="*/ 7215706 h 7391342"/>
              <a:gd name="connsiteX77" fmla="*/ 8926746 w 9114518"/>
              <a:gd name="connsiteY77" fmla="*/ 7157813 h 7391342"/>
              <a:gd name="connsiteX78" fmla="*/ 8944856 w 9114518"/>
              <a:gd name="connsiteY78" fmla="*/ 7123407 h 7391342"/>
              <a:gd name="connsiteX79" fmla="*/ 8959978 w 9114518"/>
              <a:gd name="connsiteY79" fmla="*/ 7085520 h 7391342"/>
              <a:gd name="connsiteX80" fmla="*/ 8972340 w 9114518"/>
              <a:gd name="connsiteY80" fmla="*/ 7044272 h 7391342"/>
              <a:gd name="connsiteX81" fmla="*/ 8982174 w 9114518"/>
              <a:gd name="connsiteY81" fmla="*/ 6999784 h 7391342"/>
              <a:gd name="connsiteX82" fmla="*/ 8989706 w 9114518"/>
              <a:gd name="connsiteY82" fmla="*/ 6952173 h 7391342"/>
              <a:gd name="connsiteX83" fmla="*/ 8995166 w 9114518"/>
              <a:gd name="connsiteY83" fmla="*/ 6901561 h 7391342"/>
              <a:gd name="connsiteX84" fmla="*/ 8998782 w 9114518"/>
              <a:gd name="connsiteY84" fmla="*/ 6848066 h 7391342"/>
              <a:gd name="connsiteX85" fmla="*/ 9000784 w 9114518"/>
              <a:gd name="connsiteY85" fmla="*/ 6791809 h 7391342"/>
              <a:gd name="connsiteX86" fmla="*/ 9001400 w 9114518"/>
              <a:gd name="connsiteY86" fmla="*/ 6732908 h 7391342"/>
              <a:gd name="connsiteX87" fmla="*/ 9000750 w 9114518"/>
              <a:gd name="connsiteY87" fmla="*/ 6674585 h 7391342"/>
              <a:gd name="connsiteX88" fmla="*/ 8998658 w 9114518"/>
              <a:gd name="connsiteY88" fmla="*/ 6618871 h 7391342"/>
              <a:gd name="connsiteX89" fmla="*/ 8994906 w 9114518"/>
              <a:gd name="connsiteY89" fmla="*/ 6565885 h 7391342"/>
              <a:gd name="connsiteX90" fmla="*/ 8989276 w 9114518"/>
              <a:gd name="connsiteY90" fmla="*/ 6515745 h 7391342"/>
              <a:gd name="connsiteX91" fmla="*/ 8981556 w 9114518"/>
              <a:gd name="connsiteY91" fmla="*/ 6468573 h 7391342"/>
              <a:gd name="connsiteX92" fmla="*/ 8971524 w 9114518"/>
              <a:gd name="connsiteY92" fmla="*/ 6424488 h 7391342"/>
              <a:gd name="connsiteX93" fmla="*/ 8958968 w 9114518"/>
              <a:gd name="connsiteY93" fmla="*/ 6383608 h 7391342"/>
              <a:gd name="connsiteX94" fmla="*/ 8943670 w 9114518"/>
              <a:gd name="connsiteY94" fmla="*/ 6346054 h 7391342"/>
              <a:gd name="connsiteX95" fmla="*/ 8925412 w 9114518"/>
              <a:gd name="connsiteY95" fmla="*/ 6311946 h 7391342"/>
              <a:gd name="connsiteX96" fmla="*/ 8879156 w 9114518"/>
              <a:gd name="connsiteY96" fmla="*/ 6254543 h 7391342"/>
              <a:gd name="connsiteX97" fmla="*/ 8818464 w 9114518"/>
              <a:gd name="connsiteY97" fmla="*/ 6212357 h 7391342"/>
              <a:gd name="connsiteX98" fmla="*/ 8782166 w 9114518"/>
              <a:gd name="connsiteY98" fmla="*/ 6197269 h 7391342"/>
              <a:gd name="connsiteX99" fmla="*/ 8741608 w 9114518"/>
              <a:gd name="connsiteY99" fmla="*/ 6186344 h 7391342"/>
              <a:gd name="connsiteX100" fmla="*/ 8696578 w 9114518"/>
              <a:gd name="connsiteY100" fmla="*/ 6179701 h 7391342"/>
              <a:gd name="connsiteX101" fmla="*/ 8646856 w 9114518"/>
              <a:gd name="connsiteY101" fmla="*/ 6177460 h 7391342"/>
              <a:gd name="connsiteX102" fmla="*/ 8553970 w 9114518"/>
              <a:gd name="connsiteY102" fmla="*/ 6077851 h 7391342"/>
              <a:gd name="connsiteX103" fmla="*/ 8553970 w 9114518"/>
              <a:gd name="connsiteY103" fmla="*/ 6177460 h 7391342"/>
              <a:gd name="connsiteX104" fmla="*/ 8504528 w 9114518"/>
              <a:gd name="connsiteY104" fmla="*/ 6179701 h 7391342"/>
              <a:gd name="connsiteX105" fmla="*/ 8459744 w 9114518"/>
              <a:gd name="connsiteY105" fmla="*/ 6186344 h 7391342"/>
              <a:gd name="connsiteX106" fmla="*/ 8419404 w 9114518"/>
              <a:gd name="connsiteY106" fmla="*/ 6197269 h 7391342"/>
              <a:gd name="connsiteX107" fmla="*/ 8383292 w 9114518"/>
              <a:gd name="connsiteY107" fmla="*/ 6212357 h 7391342"/>
              <a:gd name="connsiteX108" fmla="*/ 8322900 w 9114518"/>
              <a:gd name="connsiteY108" fmla="*/ 6254543 h 7391342"/>
              <a:gd name="connsiteX109" fmla="*/ 8276848 w 9114518"/>
              <a:gd name="connsiteY109" fmla="*/ 6311946 h 7391342"/>
              <a:gd name="connsiteX110" fmla="*/ 8258666 w 9114518"/>
              <a:gd name="connsiteY110" fmla="*/ 6346054 h 7391342"/>
              <a:gd name="connsiteX111" fmla="*/ 8243424 w 9114518"/>
              <a:gd name="connsiteY111" fmla="*/ 6383608 h 7391342"/>
              <a:gd name="connsiteX112" fmla="*/ 8230912 w 9114518"/>
              <a:gd name="connsiteY112" fmla="*/ 6424488 h 7391342"/>
              <a:gd name="connsiteX113" fmla="*/ 8220912 w 9114518"/>
              <a:gd name="connsiteY113" fmla="*/ 6468573 h 7391342"/>
              <a:gd name="connsiteX114" fmla="*/ 8213212 w 9114518"/>
              <a:gd name="connsiteY114" fmla="*/ 6515745 h 7391342"/>
              <a:gd name="connsiteX115" fmla="*/ 8207596 w 9114518"/>
              <a:gd name="connsiteY115" fmla="*/ 6565885 h 7391342"/>
              <a:gd name="connsiteX116" fmla="*/ 8203850 w 9114518"/>
              <a:gd name="connsiteY116" fmla="*/ 6618871 h 7391342"/>
              <a:gd name="connsiteX117" fmla="*/ 8201760 w 9114518"/>
              <a:gd name="connsiteY117" fmla="*/ 6674585 h 7391342"/>
              <a:gd name="connsiteX118" fmla="*/ 8201110 w 9114518"/>
              <a:gd name="connsiteY118" fmla="*/ 6732908 h 7391342"/>
              <a:gd name="connsiteX119" fmla="*/ 8201744 w 9114518"/>
              <a:gd name="connsiteY119" fmla="*/ 6791809 h 7391342"/>
              <a:gd name="connsiteX120" fmla="*/ 8203788 w 9114518"/>
              <a:gd name="connsiteY120" fmla="*/ 6848066 h 7391342"/>
              <a:gd name="connsiteX121" fmla="*/ 8207466 w 9114518"/>
              <a:gd name="connsiteY121" fmla="*/ 6901561 h 7391342"/>
              <a:gd name="connsiteX122" fmla="*/ 8212998 w 9114518"/>
              <a:gd name="connsiteY122" fmla="*/ 6952173 h 7391342"/>
              <a:gd name="connsiteX123" fmla="*/ 8220604 w 9114518"/>
              <a:gd name="connsiteY123" fmla="*/ 6999784 h 7391342"/>
              <a:gd name="connsiteX124" fmla="*/ 8230504 w 9114518"/>
              <a:gd name="connsiteY124" fmla="*/ 7044272 h 7391342"/>
              <a:gd name="connsiteX125" fmla="*/ 8242920 w 9114518"/>
              <a:gd name="connsiteY125" fmla="*/ 7085520 h 7391342"/>
              <a:gd name="connsiteX126" fmla="*/ 8258072 w 9114518"/>
              <a:gd name="connsiteY126" fmla="*/ 7123407 h 7391342"/>
              <a:gd name="connsiteX127" fmla="*/ 8276182 w 9114518"/>
              <a:gd name="connsiteY127" fmla="*/ 7157813 h 7391342"/>
              <a:gd name="connsiteX128" fmla="*/ 8322152 w 9114518"/>
              <a:gd name="connsiteY128" fmla="*/ 7215706 h 7391342"/>
              <a:gd name="connsiteX129" fmla="*/ 8382596 w 9114518"/>
              <a:gd name="connsiteY129" fmla="*/ 7258243 h 7391342"/>
              <a:gd name="connsiteX130" fmla="*/ 8418798 w 9114518"/>
              <a:gd name="connsiteY130" fmla="*/ 7273454 h 7391342"/>
              <a:gd name="connsiteX131" fmla="*/ 8459280 w 9114518"/>
              <a:gd name="connsiteY131" fmla="*/ 7284467 h 7391342"/>
              <a:gd name="connsiteX132" fmla="*/ 8504264 w 9114518"/>
              <a:gd name="connsiteY132" fmla="*/ 7291162 h 7391342"/>
              <a:gd name="connsiteX133" fmla="*/ 8553970 w 9114518"/>
              <a:gd name="connsiteY133" fmla="*/ 7293421 h 7391342"/>
              <a:gd name="connsiteX134" fmla="*/ 8553970 w 9114518"/>
              <a:gd name="connsiteY134" fmla="*/ 7391342 h 7391342"/>
              <a:gd name="connsiteX135" fmla="*/ 8502324 w 9114518"/>
              <a:gd name="connsiteY135" fmla="*/ 7389609 h 7391342"/>
              <a:gd name="connsiteX136" fmla="*/ 8454390 w 9114518"/>
              <a:gd name="connsiteY136" fmla="*/ 7384456 h 7391342"/>
              <a:gd name="connsiteX137" fmla="*/ 8410050 w 9114518"/>
              <a:gd name="connsiteY137" fmla="*/ 7375956 h 7391342"/>
              <a:gd name="connsiteX138" fmla="*/ 8369176 w 9114518"/>
              <a:gd name="connsiteY138" fmla="*/ 7364181 h 7391342"/>
              <a:gd name="connsiteX139" fmla="*/ 8331650 w 9114518"/>
              <a:gd name="connsiteY139" fmla="*/ 7349203 h 7391342"/>
              <a:gd name="connsiteX140" fmla="*/ 8297346 w 9114518"/>
              <a:gd name="connsiteY140" fmla="*/ 7331095 h 7391342"/>
              <a:gd name="connsiteX141" fmla="*/ 8237920 w 9114518"/>
              <a:gd name="connsiteY141" fmla="*/ 7285777 h 7391342"/>
              <a:gd name="connsiteX142" fmla="*/ 8189918 w 9114518"/>
              <a:gd name="connsiteY142" fmla="*/ 7228803 h 7391342"/>
              <a:gd name="connsiteX143" fmla="*/ 8169894 w 9114518"/>
              <a:gd name="connsiteY143" fmla="*/ 7196125 h 7391342"/>
              <a:gd name="connsiteX144" fmla="*/ 8152358 w 9114518"/>
              <a:gd name="connsiteY144" fmla="*/ 7160750 h 7391342"/>
              <a:gd name="connsiteX145" fmla="*/ 8137190 w 9114518"/>
              <a:gd name="connsiteY145" fmla="*/ 7122750 h 7391342"/>
              <a:gd name="connsiteX146" fmla="*/ 8124264 w 9114518"/>
              <a:gd name="connsiteY146" fmla="*/ 7082197 h 7391342"/>
              <a:gd name="connsiteX147" fmla="*/ 8113458 w 9114518"/>
              <a:gd name="connsiteY147" fmla="*/ 7039164 h 7391342"/>
              <a:gd name="connsiteX148" fmla="*/ 8104652 w 9114518"/>
              <a:gd name="connsiteY148" fmla="*/ 6993721 h 7391342"/>
              <a:gd name="connsiteX149" fmla="*/ 8097722 w 9114518"/>
              <a:gd name="connsiteY149" fmla="*/ 6945943 h 7391342"/>
              <a:gd name="connsiteX150" fmla="*/ 8092544 w 9114518"/>
              <a:gd name="connsiteY150" fmla="*/ 6895900 h 7391342"/>
              <a:gd name="connsiteX151" fmla="*/ 8088998 w 9114518"/>
              <a:gd name="connsiteY151" fmla="*/ 6843665 h 7391342"/>
              <a:gd name="connsiteX152" fmla="*/ 8086960 w 9114518"/>
              <a:gd name="connsiteY152" fmla="*/ 6789310 h 7391342"/>
              <a:gd name="connsiteX153" fmla="*/ 8086308 w 9114518"/>
              <a:gd name="connsiteY153" fmla="*/ 6732908 h 7391342"/>
              <a:gd name="connsiteX154" fmla="*/ 8086982 w 9114518"/>
              <a:gd name="connsiteY154" fmla="*/ 6676747 h 7391342"/>
              <a:gd name="connsiteX155" fmla="*/ 8089082 w 9114518"/>
              <a:gd name="connsiteY155" fmla="*/ 6622632 h 7391342"/>
              <a:gd name="connsiteX156" fmla="*/ 8092722 w 9114518"/>
              <a:gd name="connsiteY156" fmla="*/ 6570635 h 7391342"/>
              <a:gd name="connsiteX157" fmla="*/ 8098020 w 9114518"/>
              <a:gd name="connsiteY157" fmla="*/ 6520827 h 7391342"/>
              <a:gd name="connsiteX158" fmla="*/ 8105090 w 9114518"/>
              <a:gd name="connsiteY158" fmla="*/ 6473278 h 7391342"/>
              <a:gd name="connsiteX159" fmla="*/ 8114050 w 9114518"/>
              <a:gd name="connsiteY159" fmla="*/ 6428061 h 7391342"/>
              <a:gd name="connsiteX160" fmla="*/ 8125014 w 9114518"/>
              <a:gd name="connsiteY160" fmla="*/ 6385245 h 7391342"/>
              <a:gd name="connsiteX161" fmla="*/ 8138100 w 9114518"/>
              <a:gd name="connsiteY161" fmla="*/ 6344902 h 7391342"/>
              <a:gd name="connsiteX162" fmla="*/ 8153424 w 9114518"/>
              <a:gd name="connsiteY162" fmla="*/ 6307104 h 7391342"/>
              <a:gd name="connsiteX163" fmla="*/ 8171098 w 9114518"/>
              <a:gd name="connsiteY163" fmla="*/ 6271921 h 7391342"/>
              <a:gd name="connsiteX164" fmla="*/ 8191242 w 9114518"/>
              <a:gd name="connsiteY164" fmla="*/ 6239424 h 7391342"/>
              <a:gd name="connsiteX165" fmla="*/ 8239400 w 9114518"/>
              <a:gd name="connsiteY165" fmla="*/ 6182774 h 7391342"/>
              <a:gd name="connsiteX166" fmla="*/ 8298824 w 9114518"/>
              <a:gd name="connsiteY166" fmla="*/ 6137723 h 7391342"/>
              <a:gd name="connsiteX167" fmla="*/ 8333052 w 9114518"/>
              <a:gd name="connsiteY167" fmla="*/ 6119725 h 7391342"/>
              <a:gd name="connsiteX168" fmla="*/ 8370442 w 9114518"/>
              <a:gd name="connsiteY168" fmla="*/ 6104840 h 7391342"/>
              <a:gd name="connsiteX169" fmla="*/ 8411114 w 9114518"/>
              <a:gd name="connsiteY169" fmla="*/ 6093139 h 7391342"/>
              <a:gd name="connsiteX170" fmla="*/ 8455182 w 9114518"/>
              <a:gd name="connsiteY170" fmla="*/ 6084693 h 7391342"/>
              <a:gd name="connsiteX171" fmla="*/ 8502762 w 9114518"/>
              <a:gd name="connsiteY171" fmla="*/ 6079573 h 7391342"/>
              <a:gd name="connsiteX172" fmla="*/ 1425338 w 9114518"/>
              <a:gd name="connsiteY172" fmla="*/ 6077851 h 7391342"/>
              <a:gd name="connsiteX173" fmla="*/ 1476547 w 9114518"/>
              <a:gd name="connsiteY173" fmla="*/ 6079573 h 7391342"/>
              <a:gd name="connsiteX174" fmla="*/ 1524127 w 9114518"/>
              <a:gd name="connsiteY174" fmla="*/ 6084693 h 7391342"/>
              <a:gd name="connsiteX175" fmla="*/ 1568196 w 9114518"/>
              <a:gd name="connsiteY175" fmla="*/ 6093139 h 7391342"/>
              <a:gd name="connsiteX176" fmla="*/ 1608868 w 9114518"/>
              <a:gd name="connsiteY176" fmla="*/ 6104840 h 7391342"/>
              <a:gd name="connsiteX177" fmla="*/ 1646259 w 9114518"/>
              <a:gd name="connsiteY177" fmla="*/ 6119725 h 7391342"/>
              <a:gd name="connsiteX178" fmla="*/ 1680486 w 9114518"/>
              <a:gd name="connsiteY178" fmla="*/ 6137723 h 7391342"/>
              <a:gd name="connsiteX179" fmla="*/ 1739910 w 9114518"/>
              <a:gd name="connsiteY179" fmla="*/ 6182774 h 7391342"/>
              <a:gd name="connsiteX180" fmla="*/ 1788068 w 9114518"/>
              <a:gd name="connsiteY180" fmla="*/ 6239424 h 7391342"/>
              <a:gd name="connsiteX181" fmla="*/ 1808212 w 9114518"/>
              <a:gd name="connsiteY181" fmla="*/ 6271921 h 7391342"/>
              <a:gd name="connsiteX182" fmla="*/ 1825887 w 9114518"/>
              <a:gd name="connsiteY182" fmla="*/ 6307104 h 7391342"/>
              <a:gd name="connsiteX183" fmla="*/ 1841209 w 9114518"/>
              <a:gd name="connsiteY183" fmla="*/ 6344902 h 7391342"/>
              <a:gd name="connsiteX184" fmla="*/ 1854294 w 9114518"/>
              <a:gd name="connsiteY184" fmla="*/ 6385245 h 7391342"/>
              <a:gd name="connsiteX185" fmla="*/ 1865258 w 9114518"/>
              <a:gd name="connsiteY185" fmla="*/ 6428061 h 7391342"/>
              <a:gd name="connsiteX186" fmla="*/ 1874218 w 9114518"/>
              <a:gd name="connsiteY186" fmla="*/ 6473278 h 7391342"/>
              <a:gd name="connsiteX187" fmla="*/ 1881288 w 9114518"/>
              <a:gd name="connsiteY187" fmla="*/ 6520827 h 7391342"/>
              <a:gd name="connsiteX188" fmla="*/ 1886585 w 9114518"/>
              <a:gd name="connsiteY188" fmla="*/ 6570635 h 7391342"/>
              <a:gd name="connsiteX189" fmla="*/ 1890226 w 9114518"/>
              <a:gd name="connsiteY189" fmla="*/ 6622632 h 7391342"/>
              <a:gd name="connsiteX190" fmla="*/ 1892325 w 9114518"/>
              <a:gd name="connsiteY190" fmla="*/ 6676747 h 7391342"/>
              <a:gd name="connsiteX191" fmla="*/ 1892999 w 9114518"/>
              <a:gd name="connsiteY191" fmla="*/ 6732908 h 7391342"/>
              <a:gd name="connsiteX192" fmla="*/ 1892357 w 9114518"/>
              <a:gd name="connsiteY192" fmla="*/ 6789310 h 7391342"/>
              <a:gd name="connsiteX193" fmla="*/ 1890350 w 9114518"/>
              <a:gd name="connsiteY193" fmla="*/ 6843665 h 7391342"/>
              <a:gd name="connsiteX194" fmla="*/ 1886851 w 9114518"/>
              <a:gd name="connsiteY194" fmla="*/ 6895900 h 7391342"/>
              <a:gd name="connsiteX195" fmla="*/ 1881734 w 9114518"/>
              <a:gd name="connsiteY195" fmla="*/ 6945943 h 7391342"/>
              <a:gd name="connsiteX196" fmla="*/ 1874873 w 9114518"/>
              <a:gd name="connsiteY196" fmla="*/ 6993721 h 7391342"/>
              <a:gd name="connsiteX197" fmla="*/ 1866143 w 9114518"/>
              <a:gd name="connsiteY197" fmla="*/ 7039164 h 7391342"/>
              <a:gd name="connsiteX198" fmla="*/ 1855418 w 9114518"/>
              <a:gd name="connsiteY198" fmla="*/ 7082197 h 7391342"/>
              <a:gd name="connsiteX199" fmla="*/ 1842572 w 9114518"/>
              <a:gd name="connsiteY199" fmla="*/ 7122750 h 7391342"/>
              <a:gd name="connsiteX200" fmla="*/ 1827479 w 9114518"/>
              <a:gd name="connsiteY200" fmla="*/ 7160750 h 7391342"/>
              <a:gd name="connsiteX201" fmla="*/ 1810014 w 9114518"/>
              <a:gd name="connsiteY201" fmla="*/ 7196125 h 7391342"/>
              <a:gd name="connsiteX202" fmla="*/ 1790050 w 9114518"/>
              <a:gd name="connsiteY202" fmla="*/ 7228803 h 7391342"/>
              <a:gd name="connsiteX203" fmla="*/ 1742125 w 9114518"/>
              <a:gd name="connsiteY203" fmla="*/ 7285777 h 7391342"/>
              <a:gd name="connsiteX204" fmla="*/ 1682698 w 9114518"/>
              <a:gd name="connsiteY204" fmla="*/ 7331095 h 7391342"/>
              <a:gd name="connsiteX205" fmla="*/ 1648356 w 9114518"/>
              <a:gd name="connsiteY205" fmla="*/ 7349203 h 7391342"/>
              <a:gd name="connsiteX206" fmla="*/ 1610762 w 9114518"/>
              <a:gd name="connsiteY206" fmla="*/ 7364181 h 7391342"/>
              <a:gd name="connsiteX207" fmla="*/ 1569788 w 9114518"/>
              <a:gd name="connsiteY207" fmla="*/ 7375956 h 7391342"/>
              <a:gd name="connsiteX208" fmla="*/ 1525310 w 9114518"/>
              <a:gd name="connsiteY208" fmla="*/ 7384456 h 7391342"/>
              <a:gd name="connsiteX209" fmla="*/ 1477202 w 9114518"/>
              <a:gd name="connsiteY209" fmla="*/ 7389609 h 7391342"/>
              <a:gd name="connsiteX210" fmla="*/ 1425338 w 9114518"/>
              <a:gd name="connsiteY210" fmla="*/ 7391342 h 7391342"/>
              <a:gd name="connsiteX211" fmla="*/ 1425338 w 9114518"/>
              <a:gd name="connsiteY211" fmla="*/ 7293421 h 7391342"/>
              <a:gd name="connsiteX212" fmla="*/ 1475586 w 9114518"/>
              <a:gd name="connsiteY212" fmla="*/ 7291162 h 7391342"/>
              <a:gd name="connsiteX213" fmla="*/ 1521017 w 9114518"/>
              <a:gd name="connsiteY213" fmla="*/ 7284467 h 7391342"/>
              <a:gd name="connsiteX214" fmla="*/ 1561858 w 9114518"/>
              <a:gd name="connsiteY214" fmla="*/ 7273454 h 7391342"/>
              <a:gd name="connsiteX215" fmla="*/ 1598338 w 9114518"/>
              <a:gd name="connsiteY215" fmla="*/ 7258243 h 7391342"/>
              <a:gd name="connsiteX216" fmla="*/ 1659131 w 9114518"/>
              <a:gd name="connsiteY216" fmla="*/ 7215706 h 7391342"/>
              <a:gd name="connsiteX217" fmla="*/ 1705228 w 9114518"/>
              <a:gd name="connsiteY217" fmla="*/ 7157813 h 7391342"/>
              <a:gd name="connsiteX218" fmla="*/ 1723337 w 9114518"/>
              <a:gd name="connsiteY218" fmla="*/ 7123407 h 7391342"/>
              <a:gd name="connsiteX219" fmla="*/ 1738459 w 9114518"/>
              <a:gd name="connsiteY219" fmla="*/ 7085520 h 7391342"/>
              <a:gd name="connsiteX220" fmla="*/ 1750822 w 9114518"/>
              <a:gd name="connsiteY220" fmla="*/ 7044272 h 7391342"/>
              <a:gd name="connsiteX221" fmla="*/ 1760655 w 9114518"/>
              <a:gd name="connsiteY221" fmla="*/ 6999784 h 7391342"/>
              <a:gd name="connsiteX222" fmla="*/ 1768187 w 9114518"/>
              <a:gd name="connsiteY222" fmla="*/ 6952173 h 7391342"/>
              <a:gd name="connsiteX223" fmla="*/ 1773647 w 9114518"/>
              <a:gd name="connsiteY223" fmla="*/ 6901561 h 7391342"/>
              <a:gd name="connsiteX224" fmla="*/ 1777263 w 9114518"/>
              <a:gd name="connsiteY224" fmla="*/ 6848066 h 7391342"/>
              <a:gd name="connsiteX225" fmla="*/ 1779265 w 9114518"/>
              <a:gd name="connsiteY225" fmla="*/ 6791809 h 7391342"/>
              <a:gd name="connsiteX226" fmla="*/ 1779882 w 9114518"/>
              <a:gd name="connsiteY226" fmla="*/ 6732908 h 7391342"/>
              <a:gd name="connsiteX227" fmla="*/ 1779232 w 9114518"/>
              <a:gd name="connsiteY227" fmla="*/ 6674585 h 7391342"/>
              <a:gd name="connsiteX228" fmla="*/ 1777140 w 9114518"/>
              <a:gd name="connsiteY228" fmla="*/ 6618871 h 7391342"/>
              <a:gd name="connsiteX229" fmla="*/ 1773387 w 9114518"/>
              <a:gd name="connsiteY229" fmla="*/ 6565885 h 7391342"/>
              <a:gd name="connsiteX230" fmla="*/ 1767758 w 9114518"/>
              <a:gd name="connsiteY230" fmla="*/ 6515745 h 7391342"/>
              <a:gd name="connsiteX231" fmla="*/ 1760037 w 9114518"/>
              <a:gd name="connsiteY231" fmla="*/ 6468573 h 7391342"/>
              <a:gd name="connsiteX232" fmla="*/ 1750006 w 9114518"/>
              <a:gd name="connsiteY232" fmla="*/ 6424488 h 7391342"/>
              <a:gd name="connsiteX233" fmla="*/ 1737450 w 9114518"/>
              <a:gd name="connsiteY233" fmla="*/ 6383608 h 7391342"/>
              <a:gd name="connsiteX234" fmla="*/ 1722151 w 9114518"/>
              <a:gd name="connsiteY234" fmla="*/ 6346054 h 7391342"/>
              <a:gd name="connsiteX235" fmla="*/ 1703894 w 9114518"/>
              <a:gd name="connsiteY235" fmla="*/ 6311946 h 7391342"/>
              <a:gd name="connsiteX236" fmla="*/ 1657637 w 9114518"/>
              <a:gd name="connsiteY236" fmla="*/ 6254543 h 7391342"/>
              <a:gd name="connsiteX237" fmla="*/ 1596946 w 9114518"/>
              <a:gd name="connsiteY237" fmla="*/ 6212357 h 7391342"/>
              <a:gd name="connsiteX238" fmla="*/ 1560647 w 9114518"/>
              <a:gd name="connsiteY238" fmla="*/ 6197269 h 7391342"/>
              <a:gd name="connsiteX239" fmla="*/ 1520090 w 9114518"/>
              <a:gd name="connsiteY239" fmla="*/ 6186344 h 7391342"/>
              <a:gd name="connsiteX240" fmla="*/ 1475059 w 9114518"/>
              <a:gd name="connsiteY240" fmla="*/ 6179701 h 7391342"/>
              <a:gd name="connsiteX241" fmla="*/ 1425338 w 9114518"/>
              <a:gd name="connsiteY241" fmla="*/ 6177460 h 7391342"/>
              <a:gd name="connsiteX242" fmla="*/ 1332420 w 9114518"/>
              <a:gd name="connsiteY242" fmla="*/ 6077851 h 7391342"/>
              <a:gd name="connsiteX243" fmla="*/ 1332420 w 9114518"/>
              <a:gd name="connsiteY243" fmla="*/ 6177460 h 7391342"/>
              <a:gd name="connsiteX244" fmla="*/ 1282980 w 9114518"/>
              <a:gd name="connsiteY244" fmla="*/ 6179701 h 7391342"/>
              <a:gd name="connsiteX245" fmla="*/ 1238197 w 9114518"/>
              <a:gd name="connsiteY245" fmla="*/ 6186344 h 7391342"/>
              <a:gd name="connsiteX246" fmla="*/ 1197858 w 9114518"/>
              <a:gd name="connsiteY246" fmla="*/ 6197269 h 7391342"/>
              <a:gd name="connsiteX247" fmla="*/ 1161747 w 9114518"/>
              <a:gd name="connsiteY247" fmla="*/ 6212357 h 7391342"/>
              <a:gd name="connsiteX248" fmla="*/ 1101354 w 9114518"/>
              <a:gd name="connsiteY248" fmla="*/ 6254543 h 7391342"/>
              <a:gd name="connsiteX249" fmla="*/ 1055303 w 9114518"/>
              <a:gd name="connsiteY249" fmla="*/ 6311946 h 7391342"/>
              <a:gd name="connsiteX250" fmla="*/ 1037120 w 9114518"/>
              <a:gd name="connsiteY250" fmla="*/ 6346054 h 7391342"/>
              <a:gd name="connsiteX251" fmla="*/ 1021878 w 9114518"/>
              <a:gd name="connsiteY251" fmla="*/ 6383608 h 7391342"/>
              <a:gd name="connsiteX252" fmla="*/ 1009365 w 9114518"/>
              <a:gd name="connsiteY252" fmla="*/ 6424488 h 7391342"/>
              <a:gd name="connsiteX253" fmla="*/ 999365 w 9114518"/>
              <a:gd name="connsiteY253" fmla="*/ 6468573 h 7391342"/>
              <a:gd name="connsiteX254" fmla="*/ 991664 w 9114518"/>
              <a:gd name="connsiteY254" fmla="*/ 6515745 h 7391342"/>
              <a:gd name="connsiteX255" fmla="*/ 986047 w 9114518"/>
              <a:gd name="connsiteY255" fmla="*/ 6565885 h 7391342"/>
              <a:gd name="connsiteX256" fmla="*/ 982301 w 9114518"/>
              <a:gd name="connsiteY256" fmla="*/ 6618871 h 7391342"/>
              <a:gd name="connsiteX257" fmla="*/ 980210 w 9114518"/>
              <a:gd name="connsiteY257" fmla="*/ 6674585 h 7391342"/>
              <a:gd name="connsiteX258" fmla="*/ 979561 w 9114518"/>
              <a:gd name="connsiteY258" fmla="*/ 6732908 h 7391342"/>
              <a:gd name="connsiteX259" fmla="*/ 980194 w 9114518"/>
              <a:gd name="connsiteY259" fmla="*/ 6791809 h 7391342"/>
              <a:gd name="connsiteX260" fmla="*/ 982239 w 9114518"/>
              <a:gd name="connsiteY260" fmla="*/ 6848066 h 7391342"/>
              <a:gd name="connsiteX261" fmla="*/ 985918 w 9114518"/>
              <a:gd name="connsiteY261" fmla="*/ 6901561 h 7391342"/>
              <a:gd name="connsiteX262" fmla="*/ 991450 w 9114518"/>
              <a:gd name="connsiteY262" fmla="*/ 6952173 h 7391342"/>
              <a:gd name="connsiteX263" fmla="*/ 999056 w 9114518"/>
              <a:gd name="connsiteY263" fmla="*/ 6999784 h 7391342"/>
              <a:gd name="connsiteX264" fmla="*/ 1008957 w 9114518"/>
              <a:gd name="connsiteY264" fmla="*/ 7044272 h 7391342"/>
              <a:gd name="connsiteX265" fmla="*/ 1021374 w 9114518"/>
              <a:gd name="connsiteY265" fmla="*/ 7085520 h 7391342"/>
              <a:gd name="connsiteX266" fmla="*/ 1036527 w 9114518"/>
              <a:gd name="connsiteY266" fmla="*/ 7123407 h 7391342"/>
              <a:gd name="connsiteX267" fmla="*/ 1054636 w 9114518"/>
              <a:gd name="connsiteY267" fmla="*/ 7157813 h 7391342"/>
              <a:gd name="connsiteX268" fmla="*/ 1100607 w 9114518"/>
              <a:gd name="connsiteY268" fmla="*/ 7215706 h 7391342"/>
              <a:gd name="connsiteX269" fmla="*/ 1161051 w 9114518"/>
              <a:gd name="connsiteY269" fmla="*/ 7258243 h 7391342"/>
              <a:gd name="connsiteX270" fmla="*/ 1197253 w 9114518"/>
              <a:gd name="connsiteY270" fmla="*/ 7273454 h 7391342"/>
              <a:gd name="connsiteX271" fmla="*/ 1237734 w 9114518"/>
              <a:gd name="connsiteY271" fmla="*/ 7284467 h 7391342"/>
              <a:gd name="connsiteX272" fmla="*/ 1282716 w 9114518"/>
              <a:gd name="connsiteY272" fmla="*/ 7291162 h 7391342"/>
              <a:gd name="connsiteX273" fmla="*/ 1332420 w 9114518"/>
              <a:gd name="connsiteY273" fmla="*/ 7293421 h 7391342"/>
              <a:gd name="connsiteX274" fmla="*/ 1332420 w 9114518"/>
              <a:gd name="connsiteY274" fmla="*/ 7391342 h 7391342"/>
              <a:gd name="connsiteX275" fmla="*/ 1280774 w 9114518"/>
              <a:gd name="connsiteY275" fmla="*/ 7389609 h 7391342"/>
              <a:gd name="connsiteX276" fmla="*/ 1232841 w 9114518"/>
              <a:gd name="connsiteY276" fmla="*/ 7384456 h 7391342"/>
              <a:gd name="connsiteX277" fmla="*/ 1188500 w 9114518"/>
              <a:gd name="connsiteY277" fmla="*/ 7375956 h 7391342"/>
              <a:gd name="connsiteX278" fmla="*/ 1147627 w 9114518"/>
              <a:gd name="connsiteY278" fmla="*/ 7364181 h 7391342"/>
              <a:gd name="connsiteX279" fmla="*/ 1110100 w 9114518"/>
              <a:gd name="connsiteY279" fmla="*/ 7349203 h 7391342"/>
              <a:gd name="connsiteX280" fmla="*/ 1075796 w 9114518"/>
              <a:gd name="connsiteY280" fmla="*/ 7331095 h 7391342"/>
              <a:gd name="connsiteX281" fmla="*/ 1016370 w 9114518"/>
              <a:gd name="connsiteY281" fmla="*/ 7285777 h 7391342"/>
              <a:gd name="connsiteX282" fmla="*/ 968368 w 9114518"/>
              <a:gd name="connsiteY282" fmla="*/ 7228803 h 7391342"/>
              <a:gd name="connsiteX283" fmla="*/ 948344 w 9114518"/>
              <a:gd name="connsiteY283" fmla="*/ 7196125 h 7391342"/>
              <a:gd name="connsiteX284" fmla="*/ 930809 w 9114518"/>
              <a:gd name="connsiteY284" fmla="*/ 7160750 h 7391342"/>
              <a:gd name="connsiteX285" fmla="*/ 915640 w 9114518"/>
              <a:gd name="connsiteY285" fmla="*/ 7122750 h 7391342"/>
              <a:gd name="connsiteX286" fmla="*/ 902714 w 9114518"/>
              <a:gd name="connsiteY286" fmla="*/ 7082197 h 7391342"/>
              <a:gd name="connsiteX287" fmla="*/ 891909 w 9114518"/>
              <a:gd name="connsiteY287" fmla="*/ 7039164 h 7391342"/>
              <a:gd name="connsiteX288" fmla="*/ 883103 w 9114518"/>
              <a:gd name="connsiteY288" fmla="*/ 6993721 h 7391342"/>
              <a:gd name="connsiteX289" fmla="*/ 876172 w 9114518"/>
              <a:gd name="connsiteY289" fmla="*/ 6945943 h 7391342"/>
              <a:gd name="connsiteX290" fmla="*/ 870995 w 9114518"/>
              <a:gd name="connsiteY290" fmla="*/ 6895900 h 7391342"/>
              <a:gd name="connsiteX291" fmla="*/ 867449 w 9114518"/>
              <a:gd name="connsiteY291" fmla="*/ 6843665 h 7391342"/>
              <a:gd name="connsiteX292" fmla="*/ 865411 w 9114518"/>
              <a:gd name="connsiteY292" fmla="*/ 6789310 h 7391342"/>
              <a:gd name="connsiteX293" fmla="*/ 864759 w 9114518"/>
              <a:gd name="connsiteY293" fmla="*/ 6732908 h 7391342"/>
              <a:gd name="connsiteX294" fmla="*/ 865433 w 9114518"/>
              <a:gd name="connsiteY294" fmla="*/ 6676747 h 7391342"/>
              <a:gd name="connsiteX295" fmla="*/ 867532 w 9114518"/>
              <a:gd name="connsiteY295" fmla="*/ 6622632 h 7391342"/>
              <a:gd name="connsiteX296" fmla="*/ 871172 w 9114518"/>
              <a:gd name="connsiteY296" fmla="*/ 6570635 h 7391342"/>
              <a:gd name="connsiteX297" fmla="*/ 876470 w 9114518"/>
              <a:gd name="connsiteY297" fmla="*/ 6520827 h 7391342"/>
              <a:gd name="connsiteX298" fmla="*/ 883541 w 9114518"/>
              <a:gd name="connsiteY298" fmla="*/ 6473278 h 7391342"/>
              <a:gd name="connsiteX299" fmla="*/ 892501 w 9114518"/>
              <a:gd name="connsiteY299" fmla="*/ 6428061 h 7391342"/>
              <a:gd name="connsiteX300" fmla="*/ 903465 w 9114518"/>
              <a:gd name="connsiteY300" fmla="*/ 6385245 h 7391342"/>
              <a:gd name="connsiteX301" fmla="*/ 916551 w 9114518"/>
              <a:gd name="connsiteY301" fmla="*/ 6344902 h 7391342"/>
              <a:gd name="connsiteX302" fmla="*/ 931874 w 9114518"/>
              <a:gd name="connsiteY302" fmla="*/ 6307104 h 7391342"/>
              <a:gd name="connsiteX303" fmla="*/ 949549 w 9114518"/>
              <a:gd name="connsiteY303" fmla="*/ 6271921 h 7391342"/>
              <a:gd name="connsiteX304" fmla="*/ 969693 w 9114518"/>
              <a:gd name="connsiteY304" fmla="*/ 6239424 h 7391342"/>
              <a:gd name="connsiteX305" fmla="*/ 1017851 w 9114518"/>
              <a:gd name="connsiteY305" fmla="*/ 6182774 h 7391342"/>
              <a:gd name="connsiteX306" fmla="*/ 1077275 w 9114518"/>
              <a:gd name="connsiteY306" fmla="*/ 6137723 h 7391342"/>
              <a:gd name="connsiteX307" fmla="*/ 1111502 w 9114518"/>
              <a:gd name="connsiteY307" fmla="*/ 6119725 h 7391342"/>
              <a:gd name="connsiteX308" fmla="*/ 1148893 w 9114518"/>
              <a:gd name="connsiteY308" fmla="*/ 6104840 h 7391342"/>
              <a:gd name="connsiteX309" fmla="*/ 1189565 w 9114518"/>
              <a:gd name="connsiteY309" fmla="*/ 6093139 h 7391342"/>
              <a:gd name="connsiteX310" fmla="*/ 1233632 w 9114518"/>
              <a:gd name="connsiteY310" fmla="*/ 6084693 h 7391342"/>
              <a:gd name="connsiteX311" fmla="*/ 1281212 w 9114518"/>
              <a:gd name="connsiteY311" fmla="*/ 6079573 h 7391342"/>
              <a:gd name="connsiteX312" fmla="*/ 510883 w 9114518"/>
              <a:gd name="connsiteY312" fmla="*/ 5591624 h 7391342"/>
              <a:gd name="connsiteX313" fmla="*/ 553593 w 9114518"/>
              <a:gd name="connsiteY313" fmla="*/ 5595343 h 7391342"/>
              <a:gd name="connsiteX314" fmla="*/ 586648 w 9114518"/>
              <a:gd name="connsiteY314" fmla="*/ 5608717 h 7391342"/>
              <a:gd name="connsiteX315" fmla="*/ 607989 w 9114518"/>
              <a:gd name="connsiteY315" fmla="*/ 5635070 h 7391342"/>
              <a:gd name="connsiteX316" fmla="*/ 615560 w 9114518"/>
              <a:gd name="connsiteY316" fmla="*/ 5677726 h 7391342"/>
              <a:gd name="connsiteX317" fmla="*/ 607989 w 9114518"/>
              <a:gd name="connsiteY317" fmla="*/ 5722334 h 7391342"/>
              <a:gd name="connsiteX318" fmla="*/ 586648 w 9114518"/>
              <a:gd name="connsiteY318" fmla="*/ 5749689 h 7391342"/>
              <a:gd name="connsiteX319" fmla="*/ 553593 w 9114518"/>
              <a:gd name="connsiteY319" fmla="*/ 5763433 h 7391342"/>
              <a:gd name="connsiteX320" fmla="*/ 510883 w 9114518"/>
              <a:gd name="connsiteY320" fmla="*/ 5767206 h 7391342"/>
              <a:gd name="connsiteX321" fmla="*/ 468173 w 9114518"/>
              <a:gd name="connsiteY321" fmla="*/ 5763433 h 7391342"/>
              <a:gd name="connsiteX322" fmla="*/ 435118 w 9114518"/>
              <a:gd name="connsiteY322" fmla="*/ 5749689 h 7391342"/>
              <a:gd name="connsiteX323" fmla="*/ 413777 w 9114518"/>
              <a:gd name="connsiteY323" fmla="*/ 5722334 h 7391342"/>
              <a:gd name="connsiteX324" fmla="*/ 406206 w 9114518"/>
              <a:gd name="connsiteY324" fmla="*/ 5677726 h 7391342"/>
              <a:gd name="connsiteX325" fmla="*/ 414015 w 9114518"/>
              <a:gd name="connsiteY325" fmla="*/ 5635070 h 7391342"/>
              <a:gd name="connsiteX326" fmla="*/ 435754 w 9114518"/>
              <a:gd name="connsiteY326" fmla="*/ 5608717 h 7391342"/>
              <a:gd name="connsiteX327" fmla="*/ 468888 w 9114518"/>
              <a:gd name="connsiteY327" fmla="*/ 5595343 h 7391342"/>
              <a:gd name="connsiteX328" fmla="*/ 2493379 w 9114518"/>
              <a:gd name="connsiteY328" fmla="*/ 5439680 h 7391342"/>
              <a:gd name="connsiteX329" fmla="*/ 3408440 w 9114518"/>
              <a:gd name="connsiteY329" fmla="*/ 5439680 h 7391342"/>
              <a:gd name="connsiteX330" fmla="*/ 3408440 w 9114518"/>
              <a:gd name="connsiteY330" fmla="*/ 5547731 h 7391342"/>
              <a:gd name="connsiteX331" fmla="*/ 2493379 w 9114518"/>
              <a:gd name="connsiteY331" fmla="*/ 5547731 h 7391342"/>
              <a:gd name="connsiteX332" fmla="*/ 2493379 w 9114518"/>
              <a:gd name="connsiteY332" fmla="*/ 5086827 h 7391342"/>
              <a:gd name="connsiteX333" fmla="*/ 3408440 w 9114518"/>
              <a:gd name="connsiteY333" fmla="*/ 5086827 h 7391342"/>
              <a:gd name="connsiteX334" fmla="*/ 3408440 w 9114518"/>
              <a:gd name="connsiteY334" fmla="*/ 5194878 h 7391342"/>
              <a:gd name="connsiteX335" fmla="*/ 2493379 w 9114518"/>
              <a:gd name="connsiteY335" fmla="*/ 5194878 h 7391342"/>
              <a:gd name="connsiteX336" fmla="*/ 510883 w 9114518"/>
              <a:gd name="connsiteY336" fmla="*/ 4882541 h 7391342"/>
              <a:gd name="connsiteX337" fmla="*/ 553593 w 9114518"/>
              <a:gd name="connsiteY337" fmla="*/ 4886049 h 7391342"/>
              <a:gd name="connsiteX338" fmla="*/ 586648 w 9114518"/>
              <a:gd name="connsiteY338" fmla="*/ 4899212 h 7391342"/>
              <a:gd name="connsiteX339" fmla="*/ 607989 w 9114518"/>
              <a:gd name="connsiteY339" fmla="*/ 4925987 h 7391342"/>
              <a:gd name="connsiteX340" fmla="*/ 615560 w 9114518"/>
              <a:gd name="connsiteY340" fmla="*/ 4970332 h 7391342"/>
              <a:gd name="connsiteX341" fmla="*/ 607989 w 9114518"/>
              <a:gd name="connsiteY341" fmla="*/ 5013251 h 7391342"/>
              <a:gd name="connsiteX342" fmla="*/ 586648 w 9114518"/>
              <a:gd name="connsiteY342" fmla="*/ 5040185 h 7391342"/>
              <a:gd name="connsiteX343" fmla="*/ 553593 w 9114518"/>
              <a:gd name="connsiteY343" fmla="*/ 5054139 h 7391342"/>
              <a:gd name="connsiteX344" fmla="*/ 510883 w 9114518"/>
              <a:gd name="connsiteY344" fmla="*/ 5058123 h 7391342"/>
              <a:gd name="connsiteX345" fmla="*/ 469154 w 9114518"/>
              <a:gd name="connsiteY345" fmla="*/ 5054139 h 7391342"/>
              <a:gd name="connsiteX346" fmla="*/ 436602 w 9114518"/>
              <a:gd name="connsiteY346" fmla="*/ 5040185 h 7391342"/>
              <a:gd name="connsiteX347" fmla="*/ 415446 w 9114518"/>
              <a:gd name="connsiteY347" fmla="*/ 5013251 h 7391342"/>
              <a:gd name="connsiteX348" fmla="*/ 407902 w 9114518"/>
              <a:gd name="connsiteY348" fmla="*/ 4970332 h 7391342"/>
              <a:gd name="connsiteX349" fmla="*/ 415446 w 9114518"/>
              <a:gd name="connsiteY349" fmla="*/ 4925987 h 7391342"/>
              <a:gd name="connsiteX350" fmla="*/ 436602 w 9114518"/>
              <a:gd name="connsiteY350" fmla="*/ 4899212 h 7391342"/>
              <a:gd name="connsiteX351" fmla="*/ 469154 w 9114518"/>
              <a:gd name="connsiteY351" fmla="*/ 4886049 h 7391342"/>
              <a:gd name="connsiteX352" fmla="*/ 4158261 w 9114518"/>
              <a:gd name="connsiteY352" fmla="*/ 4558390 h 7391342"/>
              <a:gd name="connsiteX353" fmla="*/ 4209470 w 9114518"/>
              <a:gd name="connsiteY353" fmla="*/ 4560112 h 7391342"/>
              <a:gd name="connsiteX354" fmla="*/ 4257050 w 9114518"/>
              <a:gd name="connsiteY354" fmla="*/ 4565232 h 7391342"/>
              <a:gd name="connsiteX355" fmla="*/ 4301119 w 9114518"/>
              <a:gd name="connsiteY355" fmla="*/ 4573678 h 7391342"/>
              <a:gd name="connsiteX356" fmla="*/ 4341791 w 9114518"/>
              <a:gd name="connsiteY356" fmla="*/ 4585379 h 7391342"/>
              <a:gd name="connsiteX357" fmla="*/ 4379182 w 9114518"/>
              <a:gd name="connsiteY357" fmla="*/ 4600264 h 7391342"/>
              <a:gd name="connsiteX358" fmla="*/ 4413410 w 9114518"/>
              <a:gd name="connsiteY358" fmla="*/ 4618262 h 7391342"/>
              <a:gd name="connsiteX359" fmla="*/ 4472834 w 9114518"/>
              <a:gd name="connsiteY359" fmla="*/ 4663313 h 7391342"/>
              <a:gd name="connsiteX360" fmla="*/ 4520992 w 9114518"/>
              <a:gd name="connsiteY360" fmla="*/ 4719963 h 7391342"/>
              <a:gd name="connsiteX361" fmla="*/ 4541136 w 9114518"/>
              <a:gd name="connsiteY361" fmla="*/ 4752460 h 7391342"/>
              <a:gd name="connsiteX362" fmla="*/ 4558811 w 9114518"/>
              <a:gd name="connsiteY362" fmla="*/ 4787643 h 7391342"/>
              <a:gd name="connsiteX363" fmla="*/ 4574133 w 9114518"/>
              <a:gd name="connsiteY363" fmla="*/ 4825441 h 7391342"/>
              <a:gd name="connsiteX364" fmla="*/ 4587218 w 9114518"/>
              <a:gd name="connsiteY364" fmla="*/ 4865784 h 7391342"/>
              <a:gd name="connsiteX365" fmla="*/ 4598182 w 9114518"/>
              <a:gd name="connsiteY365" fmla="*/ 4908599 h 7391342"/>
              <a:gd name="connsiteX366" fmla="*/ 4607142 w 9114518"/>
              <a:gd name="connsiteY366" fmla="*/ 4953817 h 7391342"/>
              <a:gd name="connsiteX367" fmla="*/ 4614212 w 9114518"/>
              <a:gd name="connsiteY367" fmla="*/ 5001365 h 7391342"/>
              <a:gd name="connsiteX368" fmla="*/ 4619509 w 9114518"/>
              <a:gd name="connsiteY368" fmla="*/ 5051174 h 7391342"/>
              <a:gd name="connsiteX369" fmla="*/ 4623150 w 9114518"/>
              <a:gd name="connsiteY369" fmla="*/ 5103171 h 7391342"/>
              <a:gd name="connsiteX370" fmla="*/ 4625249 w 9114518"/>
              <a:gd name="connsiteY370" fmla="*/ 5157286 h 7391342"/>
              <a:gd name="connsiteX371" fmla="*/ 4625923 w 9114518"/>
              <a:gd name="connsiteY371" fmla="*/ 5213447 h 7391342"/>
              <a:gd name="connsiteX372" fmla="*/ 4625281 w 9114518"/>
              <a:gd name="connsiteY372" fmla="*/ 5269849 h 7391342"/>
              <a:gd name="connsiteX373" fmla="*/ 4623274 w 9114518"/>
              <a:gd name="connsiteY373" fmla="*/ 5324204 h 7391342"/>
              <a:gd name="connsiteX374" fmla="*/ 4619775 w 9114518"/>
              <a:gd name="connsiteY374" fmla="*/ 5376438 h 7391342"/>
              <a:gd name="connsiteX375" fmla="*/ 4614658 w 9114518"/>
              <a:gd name="connsiteY375" fmla="*/ 5426481 h 7391342"/>
              <a:gd name="connsiteX376" fmla="*/ 4607797 w 9114518"/>
              <a:gd name="connsiteY376" fmla="*/ 5474260 h 7391342"/>
              <a:gd name="connsiteX377" fmla="*/ 4599067 w 9114518"/>
              <a:gd name="connsiteY377" fmla="*/ 5519702 h 7391342"/>
              <a:gd name="connsiteX378" fmla="*/ 4588342 w 9114518"/>
              <a:gd name="connsiteY378" fmla="*/ 5562735 h 7391342"/>
              <a:gd name="connsiteX379" fmla="*/ 4575496 w 9114518"/>
              <a:gd name="connsiteY379" fmla="*/ 5603288 h 7391342"/>
              <a:gd name="connsiteX380" fmla="*/ 4560403 w 9114518"/>
              <a:gd name="connsiteY380" fmla="*/ 5641288 h 7391342"/>
              <a:gd name="connsiteX381" fmla="*/ 4542938 w 9114518"/>
              <a:gd name="connsiteY381" fmla="*/ 5676663 h 7391342"/>
              <a:gd name="connsiteX382" fmla="*/ 4522974 w 9114518"/>
              <a:gd name="connsiteY382" fmla="*/ 5709341 h 7391342"/>
              <a:gd name="connsiteX383" fmla="*/ 4475049 w 9114518"/>
              <a:gd name="connsiteY383" fmla="*/ 5766315 h 7391342"/>
              <a:gd name="connsiteX384" fmla="*/ 4415622 w 9114518"/>
              <a:gd name="connsiteY384" fmla="*/ 5811633 h 7391342"/>
              <a:gd name="connsiteX385" fmla="*/ 4381279 w 9114518"/>
              <a:gd name="connsiteY385" fmla="*/ 5829741 h 7391342"/>
              <a:gd name="connsiteX386" fmla="*/ 4343685 w 9114518"/>
              <a:gd name="connsiteY386" fmla="*/ 5844719 h 7391342"/>
              <a:gd name="connsiteX387" fmla="*/ 4302711 w 9114518"/>
              <a:gd name="connsiteY387" fmla="*/ 5856494 h 7391342"/>
              <a:gd name="connsiteX388" fmla="*/ 4258233 w 9114518"/>
              <a:gd name="connsiteY388" fmla="*/ 5864994 h 7391342"/>
              <a:gd name="connsiteX389" fmla="*/ 4210125 w 9114518"/>
              <a:gd name="connsiteY389" fmla="*/ 5870147 h 7391342"/>
              <a:gd name="connsiteX390" fmla="*/ 4158261 w 9114518"/>
              <a:gd name="connsiteY390" fmla="*/ 5871880 h 7391342"/>
              <a:gd name="connsiteX391" fmla="*/ 4158261 w 9114518"/>
              <a:gd name="connsiteY391" fmla="*/ 5773960 h 7391342"/>
              <a:gd name="connsiteX392" fmla="*/ 4208509 w 9114518"/>
              <a:gd name="connsiteY392" fmla="*/ 5771701 h 7391342"/>
              <a:gd name="connsiteX393" fmla="*/ 4253940 w 9114518"/>
              <a:gd name="connsiteY393" fmla="*/ 5765006 h 7391342"/>
              <a:gd name="connsiteX394" fmla="*/ 4294781 w 9114518"/>
              <a:gd name="connsiteY394" fmla="*/ 5753993 h 7391342"/>
              <a:gd name="connsiteX395" fmla="*/ 4331261 w 9114518"/>
              <a:gd name="connsiteY395" fmla="*/ 5738782 h 7391342"/>
              <a:gd name="connsiteX396" fmla="*/ 4392054 w 9114518"/>
              <a:gd name="connsiteY396" fmla="*/ 5696245 h 7391342"/>
              <a:gd name="connsiteX397" fmla="*/ 4438152 w 9114518"/>
              <a:gd name="connsiteY397" fmla="*/ 5638352 h 7391342"/>
              <a:gd name="connsiteX398" fmla="*/ 4456261 w 9114518"/>
              <a:gd name="connsiteY398" fmla="*/ 5603946 h 7391342"/>
              <a:gd name="connsiteX399" fmla="*/ 4471383 w 9114518"/>
              <a:gd name="connsiteY399" fmla="*/ 5566059 h 7391342"/>
              <a:gd name="connsiteX400" fmla="*/ 4483746 w 9114518"/>
              <a:gd name="connsiteY400" fmla="*/ 5524811 h 7391342"/>
              <a:gd name="connsiteX401" fmla="*/ 4493579 w 9114518"/>
              <a:gd name="connsiteY401" fmla="*/ 5480323 h 7391342"/>
              <a:gd name="connsiteX402" fmla="*/ 4501111 w 9114518"/>
              <a:gd name="connsiteY402" fmla="*/ 5432712 h 7391342"/>
              <a:gd name="connsiteX403" fmla="*/ 4506571 w 9114518"/>
              <a:gd name="connsiteY403" fmla="*/ 5382100 h 7391342"/>
              <a:gd name="connsiteX404" fmla="*/ 4510187 w 9114518"/>
              <a:gd name="connsiteY404" fmla="*/ 5328605 h 7391342"/>
              <a:gd name="connsiteX405" fmla="*/ 4512189 w 9114518"/>
              <a:gd name="connsiteY405" fmla="*/ 5272348 h 7391342"/>
              <a:gd name="connsiteX406" fmla="*/ 4512806 w 9114518"/>
              <a:gd name="connsiteY406" fmla="*/ 5213447 h 7391342"/>
              <a:gd name="connsiteX407" fmla="*/ 4512156 w 9114518"/>
              <a:gd name="connsiteY407" fmla="*/ 5155124 h 7391342"/>
              <a:gd name="connsiteX408" fmla="*/ 4510064 w 9114518"/>
              <a:gd name="connsiteY408" fmla="*/ 5099410 h 7391342"/>
              <a:gd name="connsiteX409" fmla="*/ 4506311 w 9114518"/>
              <a:gd name="connsiteY409" fmla="*/ 5046423 h 7391342"/>
              <a:gd name="connsiteX410" fmla="*/ 4500682 w 9114518"/>
              <a:gd name="connsiteY410" fmla="*/ 4996284 h 7391342"/>
              <a:gd name="connsiteX411" fmla="*/ 4492961 w 9114518"/>
              <a:gd name="connsiteY411" fmla="*/ 4949112 h 7391342"/>
              <a:gd name="connsiteX412" fmla="*/ 4482930 w 9114518"/>
              <a:gd name="connsiteY412" fmla="*/ 4905026 h 7391342"/>
              <a:gd name="connsiteX413" fmla="*/ 4470374 w 9114518"/>
              <a:gd name="connsiteY413" fmla="*/ 4864147 h 7391342"/>
              <a:gd name="connsiteX414" fmla="*/ 4455075 w 9114518"/>
              <a:gd name="connsiteY414" fmla="*/ 4826593 h 7391342"/>
              <a:gd name="connsiteX415" fmla="*/ 4436818 w 9114518"/>
              <a:gd name="connsiteY415" fmla="*/ 4792484 h 7391342"/>
              <a:gd name="connsiteX416" fmla="*/ 4390560 w 9114518"/>
              <a:gd name="connsiteY416" fmla="*/ 4735082 h 7391342"/>
              <a:gd name="connsiteX417" fmla="*/ 4329869 w 9114518"/>
              <a:gd name="connsiteY417" fmla="*/ 4692895 h 7391342"/>
              <a:gd name="connsiteX418" fmla="*/ 4293570 w 9114518"/>
              <a:gd name="connsiteY418" fmla="*/ 4677807 h 7391342"/>
              <a:gd name="connsiteX419" fmla="*/ 4253013 w 9114518"/>
              <a:gd name="connsiteY419" fmla="*/ 4666882 h 7391342"/>
              <a:gd name="connsiteX420" fmla="*/ 4207982 w 9114518"/>
              <a:gd name="connsiteY420" fmla="*/ 4660239 h 7391342"/>
              <a:gd name="connsiteX421" fmla="*/ 4158261 w 9114518"/>
              <a:gd name="connsiteY421" fmla="*/ 4657998 h 7391342"/>
              <a:gd name="connsiteX422" fmla="*/ 4065343 w 9114518"/>
              <a:gd name="connsiteY422" fmla="*/ 4558390 h 7391342"/>
              <a:gd name="connsiteX423" fmla="*/ 4065343 w 9114518"/>
              <a:gd name="connsiteY423" fmla="*/ 4657998 h 7391342"/>
              <a:gd name="connsiteX424" fmla="*/ 4015903 w 9114518"/>
              <a:gd name="connsiteY424" fmla="*/ 4660239 h 7391342"/>
              <a:gd name="connsiteX425" fmla="*/ 3971120 w 9114518"/>
              <a:gd name="connsiteY425" fmla="*/ 4666882 h 7391342"/>
              <a:gd name="connsiteX426" fmla="*/ 3930781 w 9114518"/>
              <a:gd name="connsiteY426" fmla="*/ 4677807 h 7391342"/>
              <a:gd name="connsiteX427" fmla="*/ 3894670 w 9114518"/>
              <a:gd name="connsiteY427" fmla="*/ 4692895 h 7391342"/>
              <a:gd name="connsiteX428" fmla="*/ 3834276 w 9114518"/>
              <a:gd name="connsiteY428" fmla="*/ 4735082 h 7391342"/>
              <a:gd name="connsiteX429" fmla="*/ 3788225 w 9114518"/>
              <a:gd name="connsiteY429" fmla="*/ 4792484 h 7391342"/>
              <a:gd name="connsiteX430" fmla="*/ 3770042 w 9114518"/>
              <a:gd name="connsiteY430" fmla="*/ 4826593 h 7391342"/>
              <a:gd name="connsiteX431" fmla="*/ 3754800 w 9114518"/>
              <a:gd name="connsiteY431" fmla="*/ 4864147 h 7391342"/>
              <a:gd name="connsiteX432" fmla="*/ 3742287 w 9114518"/>
              <a:gd name="connsiteY432" fmla="*/ 4905026 h 7391342"/>
              <a:gd name="connsiteX433" fmla="*/ 3732287 w 9114518"/>
              <a:gd name="connsiteY433" fmla="*/ 4949112 h 7391342"/>
              <a:gd name="connsiteX434" fmla="*/ 3724586 w 9114518"/>
              <a:gd name="connsiteY434" fmla="*/ 4996284 h 7391342"/>
              <a:gd name="connsiteX435" fmla="*/ 3718969 w 9114518"/>
              <a:gd name="connsiteY435" fmla="*/ 5046423 h 7391342"/>
              <a:gd name="connsiteX436" fmla="*/ 3715223 w 9114518"/>
              <a:gd name="connsiteY436" fmla="*/ 5099410 h 7391342"/>
              <a:gd name="connsiteX437" fmla="*/ 3713132 w 9114518"/>
              <a:gd name="connsiteY437" fmla="*/ 5155124 h 7391342"/>
              <a:gd name="connsiteX438" fmla="*/ 3712483 w 9114518"/>
              <a:gd name="connsiteY438" fmla="*/ 5213447 h 7391342"/>
              <a:gd name="connsiteX439" fmla="*/ 3713116 w 9114518"/>
              <a:gd name="connsiteY439" fmla="*/ 5272348 h 7391342"/>
              <a:gd name="connsiteX440" fmla="*/ 3715161 w 9114518"/>
              <a:gd name="connsiteY440" fmla="*/ 5328605 h 7391342"/>
              <a:gd name="connsiteX441" fmla="*/ 3718840 w 9114518"/>
              <a:gd name="connsiteY441" fmla="*/ 5382100 h 7391342"/>
              <a:gd name="connsiteX442" fmla="*/ 3724372 w 9114518"/>
              <a:gd name="connsiteY442" fmla="*/ 5432712 h 7391342"/>
              <a:gd name="connsiteX443" fmla="*/ 3731978 w 9114518"/>
              <a:gd name="connsiteY443" fmla="*/ 5480323 h 7391342"/>
              <a:gd name="connsiteX444" fmla="*/ 3741879 w 9114518"/>
              <a:gd name="connsiteY444" fmla="*/ 5524811 h 7391342"/>
              <a:gd name="connsiteX445" fmla="*/ 3754296 w 9114518"/>
              <a:gd name="connsiteY445" fmla="*/ 5566059 h 7391342"/>
              <a:gd name="connsiteX446" fmla="*/ 3769449 w 9114518"/>
              <a:gd name="connsiteY446" fmla="*/ 5603946 h 7391342"/>
              <a:gd name="connsiteX447" fmla="*/ 3787558 w 9114518"/>
              <a:gd name="connsiteY447" fmla="*/ 5638352 h 7391342"/>
              <a:gd name="connsiteX448" fmla="*/ 3833530 w 9114518"/>
              <a:gd name="connsiteY448" fmla="*/ 5696245 h 7391342"/>
              <a:gd name="connsiteX449" fmla="*/ 3893974 w 9114518"/>
              <a:gd name="connsiteY449" fmla="*/ 5738782 h 7391342"/>
              <a:gd name="connsiteX450" fmla="*/ 3930176 w 9114518"/>
              <a:gd name="connsiteY450" fmla="*/ 5753993 h 7391342"/>
              <a:gd name="connsiteX451" fmla="*/ 3970657 w 9114518"/>
              <a:gd name="connsiteY451" fmla="*/ 5765006 h 7391342"/>
              <a:gd name="connsiteX452" fmla="*/ 4015639 w 9114518"/>
              <a:gd name="connsiteY452" fmla="*/ 5771701 h 7391342"/>
              <a:gd name="connsiteX453" fmla="*/ 4065343 w 9114518"/>
              <a:gd name="connsiteY453" fmla="*/ 5773960 h 7391342"/>
              <a:gd name="connsiteX454" fmla="*/ 4065343 w 9114518"/>
              <a:gd name="connsiteY454" fmla="*/ 5871880 h 7391342"/>
              <a:gd name="connsiteX455" fmla="*/ 4013697 w 9114518"/>
              <a:gd name="connsiteY455" fmla="*/ 5870147 h 7391342"/>
              <a:gd name="connsiteX456" fmla="*/ 3965764 w 9114518"/>
              <a:gd name="connsiteY456" fmla="*/ 5864994 h 7391342"/>
              <a:gd name="connsiteX457" fmla="*/ 3921423 w 9114518"/>
              <a:gd name="connsiteY457" fmla="*/ 5856494 h 7391342"/>
              <a:gd name="connsiteX458" fmla="*/ 3880550 w 9114518"/>
              <a:gd name="connsiteY458" fmla="*/ 5844719 h 7391342"/>
              <a:gd name="connsiteX459" fmla="*/ 3843023 w 9114518"/>
              <a:gd name="connsiteY459" fmla="*/ 5829741 h 7391342"/>
              <a:gd name="connsiteX460" fmla="*/ 3808718 w 9114518"/>
              <a:gd name="connsiteY460" fmla="*/ 5811633 h 7391342"/>
              <a:gd name="connsiteX461" fmla="*/ 3749292 w 9114518"/>
              <a:gd name="connsiteY461" fmla="*/ 5766315 h 7391342"/>
              <a:gd name="connsiteX462" fmla="*/ 3701290 w 9114518"/>
              <a:gd name="connsiteY462" fmla="*/ 5709341 h 7391342"/>
              <a:gd name="connsiteX463" fmla="*/ 3681266 w 9114518"/>
              <a:gd name="connsiteY463" fmla="*/ 5676663 h 7391342"/>
              <a:gd name="connsiteX464" fmla="*/ 3663731 w 9114518"/>
              <a:gd name="connsiteY464" fmla="*/ 5641288 h 7391342"/>
              <a:gd name="connsiteX465" fmla="*/ 3648562 w 9114518"/>
              <a:gd name="connsiteY465" fmla="*/ 5603288 h 7391342"/>
              <a:gd name="connsiteX466" fmla="*/ 3635636 w 9114518"/>
              <a:gd name="connsiteY466" fmla="*/ 5562735 h 7391342"/>
              <a:gd name="connsiteX467" fmla="*/ 3624831 w 9114518"/>
              <a:gd name="connsiteY467" fmla="*/ 5519702 h 7391342"/>
              <a:gd name="connsiteX468" fmla="*/ 3616025 w 9114518"/>
              <a:gd name="connsiteY468" fmla="*/ 5474260 h 7391342"/>
              <a:gd name="connsiteX469" fmla="*/ 3609094 w 9114518"/>
              <a:gd name="connsiteY469" fmla="*/ 5426481 h 7391342"/>
              <a:gd name="connsiteX470" fmla="*/ 3603917 w 9114518"/>
              <a:gd name="connsiteY470" fmla="*/ 5376438 h 7391342"/>
              <a:gd name="connsiteX471" fmla="*/ 3600371 w 9114518"/>
              <a:gd name="connsiteY471" fmla="*/ 5324204 h 7391342"/>
              <a:gd name="connsiteX472" fmla="*/ 3598333 w 9114518"/>
              <a:gd name="connsiteY472" fmla="*/ 5269849 h 7391342"/>
              <a:gd name="connsiteX473" fmla="*/ 3597681 w 9114518"/>
              <a:gd name="connsiteY473" fmla="*/ 5213447 h 7391342"/>
              <a:gd name="connsiteX474" fmla="*/ 3598355 w 9114518"/>
              <a:gd name="connsiteY474" fmla="*/ 5157286 h 7391342"/>
              <a:gd name="connsiteX475" fmla="*/ 3600454 w 9114518"/>
              <a:gd name="connsiteY475" fmla="*/ 5103171 h 7391342"/>
              <a:gd name="connsiteX476" fmla="*/ 3604094 w 9114518"/>
              <a:gd name="connsiteY476" fmla="*/ 5051174 h 7391342"/>
              <a:gd name="connsiteX477" fmla="*/ 3609392 w 9114518"/>
              <a:gd name="connsiteY477" fmla="*/ 5001365 h 7391342"/>
              <a:gd name="connsiteX478" fmla="*/ 3616463 w 9114518"/>
              <a:gd name="connsiteY478" fmla="*/ 4953817 h 7391342"/>
              <a:gd name="connsiteX479" fmla="*/ 3625423 w 9114518"/>
              <a:gd name="connsiteY479" fmla="*/ 4908599 h 7391342"/>
              <a:gd name="connsiteX480" fmla="*/ 3636387 w 9114518"/>
              <a:gd name="connsiteY480" fmla="*/ 4865784 h 7391342"/>
              <a:gd name="connsiteX481" fmla="*/ 3649473 w 9114518"/>
              <a:gd name="connsiteY481" fmla="*/ 4825441 h 7391342"/>
              <a:gd name="connsiteX482" fmla="*/ 3664796 w 9114518"/>
              <a:gd name="connsiteY482" fmla="*/ 4787643 h 7391342"/>
              <a:gd name="connsiteX483" fmla="*/ 3682471 w 9114518"/>
              <a:gd name="connsiteY483" fmla="*/ 4752460 h 7391342"/>
              <a:gd name="connsiteX484" fmla="*/ 3702615 w 9114518"/>
              <a:gd name="connsiteY484" fmla="*/ 4719963 h 7391342"/>
              <a:gd name="connsiteX485" fmla="*/ 3750773 w 9114518"/>
              <a:gd name="connsiteY485" fmla="*/ 4663313 h 7391342"/>
              <a:gd name="connsiteX486" fmla="*/ 3810197 w 9114518"/>
              <a:gd name="connsiteY486" fmla="*/ 4618262 h 7391342"/>
              <a:gd name="connsiteX487" fmla="*/ 3844425 w 9114518"/>
              <a:gd name="connsiteY487" fmla="*/ 4600264 h 7391342"/>
              <a:gd name="connsiteX488" fmla="*/ 3881816 w 9114518"/>
              <a:gd name="connsiteY488" fmla="*/ 4585379 h 7391342"/>
              <a:gd name="connsiteX489" fmla="*/ 3922488 w 9114518"/>
              <a:gd name="connsiteY489" fmla="*/ 4573678 h 7391342"/>
              <a:gd name="connsiteX490" fmla="*/ 3966555 w 9114518"/>
              <a:gd name="connsiteY490" fmla="*/ 4565232 h 7391342"/>
              <a:gd name="connsiteX491" fmla="*/ 4014135 w 9114518"/>
              <a:gd name="connsiteY491" fmla="*/ 4560112 h 7391342"/>
              <a:gd name="connsiteX492" fmla="*/ 0 w 9114518"/>
              <a:gd name="connsiteY492" fmla="*/ 3920215 h 7391342"/>
              <a:gd name="connsiteX493" fmla="*/ 915049 w 9114518"/>
              <a:gd name="connsiteY493" fmla="*/ 3920215 h 7391342"/>
              <a:gd name="connsiteX494" fmla="*/ 915049 w 9114518"/>
              <a:gd name="connsiteY494" fmla="*/ 4028265 h 7391342"/>
              <a:gd name="connsiteX495" fmla="*/ 0 w 9114518"/>
              <a:gd name="connsiteY495" fmla="*/ 4028265 h 7391342"/>
              <a:gd name="connsiteX496" fmla="*/ 0 w 9114518"/>
              <a:gd name="connsiteY496" fmla="*/ 3567362 h 7391342"/>
              <a:gd name="connsiteX497" fmla="*/ 915049 w 9114518"/>
              <a:gd name="connsiteY497" fmla="*/ 3567362 h 7391342"/>
              <a:gd name="connsiteX498" fmla="*/ 915049 w 9114518"/>
              <a:gd name="connsiteY498" fmla="*/ 3675412 h 7391342"/>
              <a:gd name="connsiteX499" fmla="*/ 0 w 9114518"/>
              <a:gd name="connsiteY499" fmla="*/ 3675412 h 7391342"/>
              <a:gd name="connsiteX500" fmla="*/ 1617156 w 9114518"/>
              <a:gd name="connsiteY500" fmla="*/ 3046199 h 7391342"/>
              <a:gd name="connsiteX501" fmla="*/ 1995337 w 9114518"/>
              <a:gd name="connsiteY501" fmla="*/ 3046199 h 7391342"/>
              <a:gd name="connsiteX502" fmla="*/ 1995337 w 9114518"/>
              <a:gd name="connsiteY502" fmla="*/ 3141449 h 7391342"/>
              <a:gd name="connsiteX503" fmla="*/ 1995337 w 9114518"/>
              <a:gd name="connsiteY503" fmla="*/ 4252699 h 7391342"/>
              <a:gd name="connsiteX504" fmla="*/ 1995337 w 9114518"/>
              <a:gd name="connsiteY504" fmla="*/ 4349219 h 7391342"/>
              <a:gd name="connsiteX505" fmla="*/ 1617156 w 9114518"/>
              <a:gd name="connsiteY505" fmla="*/ 4349219 h 7391342"/>
              <a:gd name="connsiteX506" fmla="*/ 1617156 w 9114518"/>
              <a:gd name="connsiteY506" fmla="*/ 4252699 h 7391342"/>
              <a:gd name="connsiteX507" fmla="*/ 1878853 w 9114518"/>
              <a:gd name="connsiteY507" fmla="*/ 4252699 h 7391342"/>
              <a:gd name="connsiteX508" fmla="*/ 1878853 w 9114518"/>
              <a:gd name="connsiteY508" fmla="*/ 3141449 h 7391342"/>
              <a:gd name="connsiteX509" fmla="*/ 1617156 w 9114518"/>
              <a:gd name="connsiteY509" fmla="*/ 3141449 h 7391342"/>
              <a:gd name="connsiteX510" fmla="*/ 1138061 w 9114518"/>
              <a:gd name="connsiteY510" fmla="*/ 3046199 h 7391342"/>
              <a:gd name="connsiteX511" fmla="*/ 1516242 w 9114518"/>
              <a:gd name="connsiteY511" fmla="*/ 3046199 h 7391342"/>
              <a:gd name="connsiteX512" fmla="*/ 1516242 w 9114518"/>
              <a:gd name="connsiteY512" fmla="*/ 3141449 h 7391342"/>
              <a:gd name="connsiteX513" fmla="*/ 1254558 w 9114518"/>
              <a:gd name="connsiteY513" fmla="*/ 3141449 h 7391342"/>
              <a:gd name="connsiteX514" fmla="*/ 1254558 w 9114518"/>
              <a:gd name="connsiteY514" fmla="*/ 4252699 h 7391342"/>
              <a:gd name="connsiteX515" fmla="*/ 1516242 w 9114518"/>
              <a:gd name="connsiteY515" fmla="*/ 4252699 h 7391342"/>
              <a:gd name="connsiteX516" fmla="*/ 1516242 w 9114518"/>
              <a:gd name="connsiteY516" fmla="*/ 4349219 h 7391342"/>
              <a:gd name="connsiteX517" fmla="*/ 1138061 w 9114518"/>
              <a:gd name="connsiteY517" fmla="*/ 4349219 h 7391342"/>
              <a:gd name="connsiteX518" fmla="*/ 1138061 w 9114518"/>
              <a:gd name="connsiteY518" fmla="*/ 4252699 h 7391342"/>
              <a:gd name="connsiteX519" fmla="*/ 1138061 w 9114518"/>
              <a:gd name="connsiteY519" fmla="*/ 3141449 h 7391342"/>
              <a:gd name="connsiteX520" fmla="*/ 3641480 w 9114518"/>
              <a:gd name="connsiteY520" fmla="*/ 3038926 h 7391342"/>
              <a:gd name="connsiteX521" fmla="*/ 3692687 w 9114518"/>
              <a:gd name="connsiteY521" fmla="*/ 3040648 h 7391342"/>
              <a:gd name="connsiteX522" fmla="*/ 3740267 w 9114518"/>
              <a:gd name="connsiteY522" fmla="*/ 3045768 h 7391342"/>
              <a:gd name="connsiteX523" fmla="*/ 3784335 w 9114518"/>
              <a:gd name="connsiteY523" fmla="*/ 3054214 h 7391342"/>
              <a:gd name="connsiteX524" fmla="*/ 3825006 w 9114518"/>
              <a:gd name="connsiteY524" fmla="*/ 3065915 h 7391342"/>
              <a:gd name="connsiteX525" fmla="*/ 3862397 w 9114518"/>
              <a:gd name="connsiteY525" fmla="*/ 3080800 h 7391342"/>
              <a:gd name="connsiteX526" fmla="*/ 3896625 w 9114518"/>
              <a:gd name="connsiteY526" fmla="*/ 3098798 h 7391342"/>
              <a:gd name="connsiteX527" fmla="*/ 3956049 w 9114518"/>
              <a:gd name="connsiteY527" fmla="*/ 3143849 h 7391342"/>
              <a:gd name="connsiteX528" fmla="*/ 4004207 w 9114518"/>
              <a:gd name="connsiteY528" fmla="*/ 3200499 h 7391342"/>
              <a:gd name="connsiteX529" fmla="*/ 4024351 w 9114518"/>
              <a:gd name="connsiteY529" fmla="*/ 3232996 h 7391342"/>
              <a:gd name="connsiteX530" fmla="*/ 4042026 w 9114518"/>
              <a:gd name="connsiteY530" fmla="*/ 3268179 h 7391342"/>
              <a:gd name="connsiteX531" fmla="*/ 4057349 w 9114518"/>
              <a:gd name="connsiteY531" fmla="*/ 3305977 h 7391342"/>
              <a:gd name="connsiteX532" fmla="*/ 4070435 w 9114518"/>
              <a:gd name="connsiteY532" fmla="*/ 3346320 h 7391342"/>
              <a:gd name="connsiteX533" fmla="*/ 4081399 w 9114518"/>
              <a:gd name="connsiteY533" fmla="*/ 3389137 h 7391342"/>
              <a:gd name="connsiteX534" fmla="*/ 4090359 w 9114518"/>
              <a:gd name="connsiteY534" fmla="*/ 3434354 h 7391342"/>
              <a:gd name="connsiteX535" fmla="*/ 4097430 w 9114518"/>
              <a:gd name="connsiteY535" fmla="*/ 3481903 h 7391342"/>
              <a:gd name="connsiteX536" fmla="*/ 4102728 w 9114518"/>
              <a:gd name="connsiteY536" fmla="*/ 3531711 h 7391342"/>
              <a:gd name="connsiteX537" fmla="*/ 4106368 w 9114518"/>
              <a:gd name="connsiteY537" fmla="*/ 3583708 h 7391342"/>
              <a:gd name="connsiteX538" fmla="*/ 4108468 w 9114518"/>
              <a:gd name="connsiteY538" fmla="*/ 3637823 h 7391342"/>
              <a:gd name="connsiteX539" fmla="*/ 4109142 w 9114518"/>
              <a:gd name="connsiteY539" fmla="*/ 3693984 h 7391342"/>
              <a:gd name="connsiteX540" fmla="*/ 4108500 w 9114518"/>
              <a:gd name="connsiteY540" fmla="*/ 3750386 h 7391342"/>
              <a:gd name="connsiteX541" fmla="*/ 4106493 w 9114518"/>
              <a:gd name="connsiteY541" fmla="*/ 3804741 h 7391342"/>
              <a:gd name="connsiteX542" fmla="*/ 4102994 w 9114518"/>
              <a:gd name="connsiteY542" fmla="*/ 3856976 h 7391342"/>
              <a:gd name="connsiteX543" fmla="*/ 4097877 w 9114518"/>
              <a:gd name="connsiteY543" fmla="*/ 3907019 h 7391342"/>
              <a:gd name="connsiteX544" fmla="*/ 4091016 w 9114518"/>
              <a:gd name="connsiteY544" fmla="*/ 3954797 h 7391342"/>
              <a:gd name="connsiteX545" fmla="*/ 4082286 w 9114518"/>
              <a:gd name="connsiteY545" fmla="*/ 4000240 h 7391342"/>
              <a:gd name="connsiteX546" fmla="*/ 4071561 w 9114518"/>
              <a:gd name="connsiteY546" fmla="*/ 4043273 h 7391342"/>
              <a:gd name="connsiteX547" fmla="*/ 4058715 w 9114518"/>
              <a:gd name="connsiteY547" fmla="*/ 4083826 h 7391342"/>
              <a:gd name="connsiteX548" fmla="*/ 4043622 w 9114518"/>
              <a:gd name="connsiteY548" fmla="*/ 4121826 h 7391342"/>
              <a:gd name="connsiteX549" fmla="*/ 4026157 w 9114518"/>
              <a:gd name="connsiteY549" fmla="*/ 4157201 h 7391342"/>
              <a:gd name="connsiteX550" fmla="*/ 4006193 w 9114518"/>
              <a:gd name="connsiteY550" fmla="*/ 4189879 h 7391342"/>
              <a:gd name="connsiteX551" fmla="*/ 3958268 w 9114518"/>
              <a:gd name="connsiteY551" fmla="*/ 4246853 h 7391342"/>
              <a:gd name="connsiteX552" fmla="*/ 3898841 w 9114518"/>
              <a:gd name="connsiteY552" fmla="*/ 4292171 h 7391342"/>
              <a:gd name="connsiteX553" fmla="*/ 3864498 w 9114518"/>
              <a:gd name="connsiteY553" fmla="*/ 4310279 h 7391342"/>
              <a:gd name="connsiteX554" fmla="*/ 3826904 w 9114518"/>
              <a:gd name="connsiteY554" fmla="*/ 4325257 h 7391342"/>
              <a:gd name="connsiteX555" fmla="*/ 3785930 w 9114518"/>
              <a:gd name="connsiteY555" fmla="*/ 4337032 h 7391342"/>
              <a:gd name="connsiteX556" fmla="*/ 3741452 w 9114518"/>
              <a:gd name="connsiteY556" fmla="*/ 4345532 h 7391342"/>
              <a:gd name="connsiteX557" fmla="*/ 3693344 w 9114518"/>
              <a:gd name="connsiteY557" fmla="*/ 4350685 h 7391342"/>
              <a:gd name="connsiteX558" fmla="*/ 3641480 w 9114518"/>
              <a:gd name="connsiteY558" fmla="*/ 4352418 h 7391342"/>
              <a:gd name="connsiteX559" fmla="*/ 3641480 w 9114518"/>
              <a:gd name="connsiteY559" fmla="*/ 4254498 h 7391342"/>
              <a:gd name="connsiteX560" fmla="*/ 3691728 w 9114518"/>
              <a:gd name="connsiteY560" fmla="*/ 4252239 h 7391342"/>
              <a:gd name="connsiteX561" fmla="*/ 3737159 w 9114518"/>
              <a:gd name="connsiteY561" fmla="*/ 4245544 h 7391342"/>
              <a:gd name="connsiteX562" fmla="*/ 3778000 w 9114518"/>
              <a:gd name="connsiteY562" fmla="*/ 4234531 h 7391342"/>
              <a:gd name="connsiteX563" fmla="*/ 3814480 w 9114518"/>
              <a:gd name="connsiteY563" fmla="*/ 4219320 h 7391342"/>
              <a:gd name="connsiteX564" fmla="*/ 3875274 w 9114518"/>
              <a:gd name="connsiteY564" fmla="*/ 4176783 h 7391342"/>
              <a:gd name="connsiteX565" fmla="*/ 3921371 w 9114518"/>
              <a:gd name="connsiteY565" fmla="*/ 4118890 h 7391342"/>
              <a:gd name="connsiteX566" fmla="*/ 3939480 w 9114518"/>
              <a:gd name="connsiteY566" fmla="*/ 4084484 h 7391342"/>
              <a:gd name="connsiteX567" fmla="*/ 3954602 w 9114518"/>
              <a:gd name="connsiteY567" fmla="*/ 4046597 h 7391342"/>
              <a:gd name="connsiteX568" fmla="*/ 3966965 w 9114518"/>
              <a:gd name="connsiteY568" fmla="*/ 4005349 h 7391342"/>
              <a:gd name="connsiteX569" fmla="*/ 3976798 w 9114518"/>
              <a:gd name="connsiteY569" fmla="*/ 3960860 h 7391342"/>
              <a:gd name="connsiteX570" fmla="*/ 3984330 w 9114518"/>
              <a:gd name="connsiteY570" fmla="*/ 3913250 h 7391342"/>
              <a:gd name="connsiteX571" fmla="*/ 3989790 w 9114518"/>
              <a:gd name="connsiteY571" fmla="*/ 3862638 h 7391342"/>
              <a:gd name="connsiteX572" fmla="*/ 3993406 w 9114518"/>
              <a:gd name="connsiteY572" fmla="*/ 3809143 h 7391342"/>
              <a:gd name="connsiteX573" fmla="*/ 3995408 w 9114518"/>
              <a:gd name="connsiteY573" fmla="*/ 3752885 h 7391342"/>
              <a:gd name="connsiteX574" fmla="*/ 3996025 w 9114518"/>
              <a:gd name="connsiteY574" fmla="*/ 3693984 h 7391342"/>
              <a:gd name="connsiteX575" fmla="*/ 3995375 w 9114518"/>
              <a:gd name="connsiteY575" fmla="*/ 3635662 h 7391342"/>
              <a:gd name="connsiteX576" fmla="*/ 3993282 w 9114518"/>
              <a:gd name="connsiteY576" fmla="*/ 3579947 h 7391342"/>
              <a:gd name="connsiteX577" fmla="*/ 3989529 w 9114518"/>
              <a:gd name="connsiteY577" fmla="*/ 3526961 h 7391342"/>
              <a:gd name="connsiteX578" fmla="*/ 3983900 w 9114518"/>
              <a:gd name="connsiteY578" fmla="*/ 3476822 h 7391342"/>
              <a:gd name="connsiteX579" fmla="*/ 3976178 w 9114518"/>
              <a:gd name="connsiteY579" fmla="*/ 3429650 h 7391342"/>
              <a:gd name="connsiteX580" fmla="*/ 3966147 w 9114518"/>
              <a:gd name="connsiteY580" fmla="*/ 3385563 h 7391342"/>
              <a:gd name="connsiteX581" fmla="*/ 3953590 w 9114518"/>
              <a:gd name="connsiteY581" fmla="*/ 3344684 h 7391342"/>
              <a:gd name="connsiteX582" fmla="*/ 3938291 w 9114518"/>
              <a:gd name="connsiteY582" fmla="*/ 3307130 h 7391342"/>
              <a:gd name="connsiteX583" fmla="*/ 3920033 w 9114518"/>
              <a:gd name="connsiteY583" fmla="*/ 3273021 h 7391342"/>
              <a:gd name="connsiteX584" fmla="*/ 3873774 w 9114518"/>
              <a:gd name="connsiteY584" fmla="*/ 3215619 h 7391342"/>
              <a:gd name="connsiteX585" fmla="*/ 3813084 w 9114518"/>
              <a:gd name="connsiteY585" fmla="*/ 3173432 h 7391342"/>
              <a:gd name="connsiteX586" fmla="*/ 3776785 w 9114518"/>
              <a:gd name="connsiteY586" fmla="*/ 3158344 h 7391342"/>
              <a:gd name="connsiteX587" fmla="*/ 3736230 w 9114518"/>
              <a:gd name="connsiteY587" fmla="*/ 3147419 h 7391342"/>
              <a:gd name="connsiteX588" fmla="*/ 3691200 w 9114518"/>
              <a:gd name="connsiteY588" fmla="*/ 3140776 h 7391342"/>
              <a:gd name="connsiteX589" fmla="*/ 3641480 w 9114518"/>
              <a:gd name="connsiteY589" fmla="*/ 3138535 h 7391342"/>
              <a:gd name="connsiteX590" fmla="*/ 3548584 w 9114518"/>
              <a:gd name="connsiteY590" fmla="*/ 3038926 h 7391342"/>
              <a:gd name="connsiteX591" fmla="*/ 3548584 w 9114518"/>
              <a:gd name="connsiteY591" fmla="*/ 3138535 h 7391342"/>
              <a:gd name="connsiteX592" fmla="*/ 3499144 w 9114518"/>
              <a:gd name="connsiteY592" fmla="*/ 3140776 h 7391342"/>
              <a:gd name="connsiteX593" fmla="*/ 3454362 w 9114518"/>
              <a:gd name="connsiteY593" fmla="*/ 3147419 h 7391342"/>
              <a:gd name="connsiteX594" fmla="*/ 3414023 w 9114518"/>
              <a:gd name="connsiteY594" fmla="*/ 3158344 h 7391342"/>
              <a:gd name="connsiteX595" fmla="*/ 3377913 w 9114518"/>
              <a:gd name="connsiteY595" fmla="*/ 3173432 h 7391342"/>
              <a:gd name="connsiteX596" fmla="*/ 3317522 w 9114518"/>
              <a:gd name="connsiteY596" fmla="*/ 3215619 h 7391342"/>
              <a:gd name="connsiteX597" fmla="*/ 3271471 w 9114518"/>
              <a:gd name="connsiteY597" fmla="*/ 3273021 h 7391342"/>
              <a:gd name="connsiteX598" fmla="*/ 3253289 w 9114518"/>
              <a:gd name="connsiteY598" fmla="*/ 3307130 h 7391342"/>
              <a:gd name="connsiteX599" fmla="*/ 3238049 w 9114518"/>
              <a:gd name="connsiteY599" fmla="*/ 3344684 h 7391342"/>
              <a:gd name="connsiteX600" fmla="*/ 3225536 w 9114518"/>
              <a:gd name="connsiteY600" fmla="*/ 3385563 h 7391342"/>
              <a:gd name="connsiteX601" fmla="*/ 3215537 w 9114518"/>
              <a:gd name="connsiteY601" fmla="*/ 3429650 h 7391342"/>
              <a:gd name="connsiteX602" fmla="*/ 3207836 w 9114518"/>
              <a:gd name="connsiteY602" fmla="*/ 3476822 h 7391342"/>
              <a:gd name="connsiteX603" fmla="*/ 3202221 w 9114518"/>
              <a:gd name="connsiteY603" fmla="*/ 3526961 h 7391342"/>
              <a:gd name="connsiteX604" fmla="*/ 3198475 w 9114518"/>
              <a:gd name="connsiteY604" fmla="*/ 3579947 h 7391342"/>
              <a:gd name="connsiteX605" fmla="*/ 3196384 w 9114518"/>
              <a:gd name="connsiteY605" fmla="*/ 3635662 h 7391342"/>
              <a:gd name="connsiteX606" fmla="*/ 3195735 w 9114518"/>
              <a:gd name="connsiteY606" fmla="*/ 3693984 h 7391342"/>
              <a:gd name="connsiteX607" fmla="*/ 3196368 w 9114518"/>
              <a:gd name="connsiteY607" fmla="*/ 3752885 h 7391342"/>
              <a:gd name="connsiteX608" fmla="*/ 3198413 w 9114518"/>
              <a:gd name="connsiteY608" fmla="*/ 3809143 h 7391342"/>
              <a:gd name="connsiteX609" fmla="*/ 3202091 w 9114518"/>
              <a:gd name="connsiteY609" fmla="*/ 3862638 h 7391342"/>
              <a:gd name="connsiteX610" fmla="*/ 3207622 w 9114518"/>
              <a:gd name="connsiteY610" fmla="*/ 3913250 h 7391342"/>
              <a:gd name="connsiteX611" fmla="*/ 3215228 w 9114518"/>
              <a:gd name="connsiteY611" fmla="*/ 3960860 h 7391342"/>
              <a:gd name="connsiteX612" fmla="*/ 3225128 w 9114518"/>
              <a:gd name="connsiteY612" fmla="*/ 4005349 h 7391342"/>
              <a:gd name="connsiteX613" fmla="*/ 3237544 w 9114518"/>
              <a:gd name="connsiteY613" fmla="*/ 4046597 h 7391342"/>
              <a:gd name="connsiteX614" fmla="*/ 3252696 w 9114518"/>
              <a:gd name="connsiteY614" fmla="*/ 4084484 h 7391342"/>
              <a:gd name="connsiteX615" fmla="*/ 3270804 w 9114518"/>
              <a:gd name="connsiteY615" fmla="*/ 4118890 h 7391342"/>
              <a:gd name="connsiteX616" fmla="*/ 3316774 w 9114518"/>
              <a:gd name="connsiteY616" fmla="*/ 4176783 h 7391342"/>
              <a:gd name="connsiteX617" fmla="*/ 3377217 w 9114518"/>
              <a:gd name="connsiteY617" fmla="*/ 4219320 h 7391342"/>
              <a:gd name="connsiteX618" fmla="*/ 3413418 w 9114518"/>
              <a:gd name="connsiteY618" fmla="*/ 4234531 h 7391342"/>
              <a:gd name="connsiteX619" fmla="*/ 3453899 w 9114518"/>
              <a:gd name="connsiteY619" fmla="*/ 4245544 h 7391342"/>
              <a:gd name="connsiteX620" fmla="*/ 3498881 w 9114518"/>
              <a:gd name="connsiteY620" fmla="*/ 4252239 h 7391342"/>
              <a:gd name="connsiteX621" fmla="*/ 3548584 w 9114518"/>
              <a:gd name="connsiteY621" fmla="*/ 4254498 h 7391342"/>
              <a:gd name="connsiteX622" fmla="*/ 3548584 w 9114518"/>
              <a:gd name="connsiteY622" fmla="*/ 4352418 h 7391342"/>
              <a:gd name="connsiteX623" fmla="*/ 3496940 w 9114518"/>
              <a:gd name="connsiteY623" fmla="*/ 4350685 h 7391342"/>
              <a:gd name="connsiteX624" fmla="*/ 3449008 w 9114518"/>
              <a:gd name="connsiteY624" fmla="*/ 4345532 h 7391342"/>
              <a:gd name="connsiteX625" fmla="*/ 3404668 w 9114518"/>
              <a:gd name="connsiteY625" fmla="*/ 4337032 h 7391342"/>
              <a:gd name="connsiteX626" fmla="*/ 3363796 w 9114518"/>
              <a:gd name="connsiteY626" fmla="*/ 4325257 h 7391342"/>
              <a:gd name="connsiteX627" fmla="*/ 3326270 w 9114518"/>
              <a:gd name="connsiteY627" fmla="*/ 4310279 h 7391342"/>
              <a:gd name="connsiteX628" fmla="*/ 3291967 w 9114518"/>
              <a:gd name="connsiteY628" fmla="*/ 4292171 h 7391342"/>
              <a:gd name="connsiteX629" fmla="*/ 3232542 w 9114518"/>
              <a:gd name="connsiteY629" fmla="*/ 4246853 h 7391342"/>
              <a:gd name="connsiteX630" fmla="*/ 3184540 w 9114518"/>
              <a:gd name="connsiteY630" fmla="*/ 4189879 h 7391342"/>
              <a:gd name="connsiteX631" fmla="*/ 3164517 w 9114518"/>
              <a:gd name="connsiteY631" fmla="*/ 4157201 h 7391342"/>
              <a:gd name="connsiteX632" fmla="*/ 3146982 w 9114518"/>
              <a:gd name="connsiteY632" fmla="*/ 4121826 h 7391342"/>
              <a:gd name="connsiteX633" fmla="*/ 3131813 w 9114518"/>
              <a:gd name="connsiteY633" fmla="*/ 4083826 h 7391342"/>
              <a:gd name="connsiteX634" fmla="*/ 3118888 w 9114518"/>
              <a:gd name="connsiteY634" fmla="*/ 4043273 h 7391342"/>
              <a:gd name="connsiteX635" fmla="*/ 3108083 w 9114518"/>
              <a:gd name="connsiteY635" fmla="*/ 4000240 h 7391342"/>
              <a:gd name="connsiteX636" fmla="*/ 3099276 w 9114518"/>
              <a:gd name="connsiteY636" fmla="*/ 3954797 h 7391342"/>
              <a:gd name="connsiteX637" fmla="*/ 3092346 w 9114518"/>
              <a:gd name="connsiteY637" fmla="*/ 3907019 h 7391342"/>
              <a:gd name="connsiteX638" fmla="*/ 3087169 w 9114518"/>
              <a:gd name="connsiteY638" fmla="*/ 3856976 h 7391342"/>
              <a:gd name="connsiteX639" fmla="*/ 3083623 w 9114518"/>
              <a:gd name="connsiteY639" fmla="*/ 3804741 h 7391342"/>
              <a:gd name="connsiteX640" fmla="*/ 3081585 w 9114518"/>
              <a:gd name="connsiteY640" fmla="*/ 3750386 h 7391342"/>
              <a:gd name="connsiteX641" fmla="*/ 3080933 w 9114518"/>
              <a:gd name="connsiteY641" fmla="*/ 3693984 h 7391342"/>
              <a:gd name="connsiteX642" fmla="*/ 3081606 w 9114518"/>
              <a:gd name="connsiteY642" fmla="*/ 3637823 h 7391342"/>
              <a:gd name="connsiteX643" fmla="*/ 3083706 w 9114518"/>
              <a:gd name="connsiteY643" fmla="*/ 3583708 h 7391342"/>
              <a:gd name="connsiteX644" fmla="*/ 3087346 w 9114518"/>
              <a:gd name="connsiteY644" fmla="*/ 3531711 h 7391342"/>
              <a:gd name="connsiteX645" fmla="*/ 3092643 w 9114518"/>
              <a:gd name="connsiteY645" fmla="*/ 3481903 h 7391342"/>
              <a:gd name="connsiteX646" fmla="*/ 3099713 w 9114518"/>
              <a:gd name="connsiteY646" fmla="*/ 3434354 h 7391342"/>
              <a:gd name="connsiteX647" fmla="*/ 3108673 w 9114518"/>
              <a:gd name="connsiteY647" fmla="*/ 3389137 h 7391342"/>
              <a:gd name="connsiteX648" fmla="*/ 3119637 w 9114518"/>
              <a:gd name="connsiteY648" fmla="*/ 3346320 h 7391342"/>
              <a:gd name="connsiteX649" fmla="*/ 3132722 w 9114518"/>
              <a:gd name="connsiteY649" fmla="*/ 3305977 h 7391342"/>
              <a:gd name="connsiteX650" fmla="*/ 3148044 w 9114518"/>
              <a:gd name="connsiteY650" fmla="*/ 3268179 h 7391342"/>
              <a:gd name="connsiteX651" fmla="*/ 3165718 w 9114518"/>
              <a:gd name="connsiteY651" fmla="*/ 3232996 h 7391342"/>
              <a:gd name="connsiteX652" fmla="*/ 3185862 w 9114518"/>
              <a:gd name="connsiteY652" fmla="*/ 3200499 h 7391342"/>
              <a:gd name="connsiteX653" fmla="*/ 3234018 w 9114518"/>
              <a:gd name="connsiteY653" fmla="*/ 3143849 h 7391342"/>
              <a:gd name="connsiteX654" fmla="*/ 3293441 w 9114518"/>
              <a:gd name="connsiteY654" fmla="*/ 3098798 h 7391342"/>
              <a:gd name="connsiteX655" fmla="*/ 3327668 w 9114518"/>
              <a:gd name="connsiteY655" fmla="*/ 3080800 h 7391342"/>
              <a:gd name="connsiteX656" fmla="*/ 3365059 w 9114518"/>
              <a:gd name="connsiteY656" fmla="*/ 3065915 h 7391342"/>
              <a:gd name="connsiteX657" fmla="*/ 3405730 w 9114518"/>
              <a:gd name="connsiteY657" fmla="*/ 3054214 h 7391342"/>
              <a:gd name="connsiteX658" fmla="*/ 3449797 w 9114518"/>
              <a:gd name="connsiteY658" fmla="*/ 3045768 h 7391342"/>
              <a:gd name="connsiteX659" fmla="*/ 3497376 w 9114518"/>
              <a:gd name="connsiteY659" fmla="*/ 3040648 h 7391342"/>
              <a:gd name="connsiteX660" fmla="*/ 3678369 w 9114518"/>
              <a:gd name="connsiteY660" fmla="*/ 2400757 h 7391342"/>
              <a:gd name="connsiteX661" fmla="*/ 4593430 w 9114518"/>
              <a:gd name="connsiteY661" fmla="*/ 2400757 h 7391342"/>
              <a:gd name="connsiteX662" fmla="*/ 4593430 w 9114518"/>
              <a:gd name="connsiteY662" fmla="*/ 2508807 h 7391342"/>
              <a:gd name="connsiteX663" fmla="*/ 3678369 w 9114518"/>
              <a:gd name="connsiteY663" fmla="*/ 2508807 h 7391342"/>
              <a:gd name="connsiteX664" fmla="*/ 2579115 w 9114518"/>
              <a:gd name="connsiteY664" fmla="*/ 2400753 h 7391342"/>
              <a:gd name="connsiteX665" fmla="*/ 3494165 w 9114518"/>
              <a:gd name="connsiteY665" fmla="*/ 2400753 h 7391342"/>
              <a:gd name="connsiteX666" fmla="*/ 3494165 w 9114518"/>
              <a:gd name="connsiteY666" fmla="*/ 2508804 h 7391342"/>
              <a:gd name="connsiteX667" fmla="*/ 2579115 w 9114518"/>
              <a:gd name="connsiteY667" fmla="*/ 2508804 h 7391342"/>
              <a:gd name="connsiteX668" fmla="*/ 3678369 w 9114518"/>
              <a:gd name="connsiteY668" fmla="*/ 2047903 h 7391342"/>
              <a:gd name="connsiteX669" fmla="*/ 4593430 w 9114518"/>
              <a:gd name="connsiteY669" fmla="*/ 2047903 h 7391342"/>
              <a:gd name="connsiteX670" fmla="*/ 4593430 w 9114518"/>
              <a:gd name="connsiteY670" fmla="*/ 2155954 h 7391342"/>
              <a:gd name="connsiteX671" fmla="*/ 3678369 w 9114518"/>
              <a:gd name="connsiteY671" fmla="*/ 2155954 h 7391342"/>
              <a:gd name="connsiteX672" fmla="*/ 2579115 w 9114518"/>
              <a:gd name="connsiteY672" fmla="*/ 2047899 h 7391342"/>
              <a:gd name="connsiteX673" fmla="*/ 3494165 w 9114518"/>
              <a:gd name="connsiteY673" fmla="*/ 2047899 h 7391342"/>
              <a:gd name="connsiteX674" fmla="*/ 3494165 w 9114518"/>
              <a:gd name="connsiteY674" fmla="*/ 2155950 h 7391342"/>
              <a:gd name="connsiteX675" fmla="*/ 2579115 w 9114518"/>
              <a:gd name="connsiteY675" fmla="*/ 2155950 h 7391342"/>
              <a:gd name="connsiteX676" fmla="*/ 6202942 w 9114518"/>
              <a:gd name="connsiteY676" fmla="*/ 1519467 h 7391342"/>
              <a:gd name="connsiteX677" fmla="*/ 6254150 w 9114518"/>
              <a:gd name="connsiteY677" fmla="*/ 1521189 h 7391342"/>
              <a:gd name="connsiteX678" fmla="*/ 6301730 w 9114518"/>
              <a:gd name="connsiteY678" fmla="*/ 1526309 h 7391342"/>
              <a:gd name="connsiteX679" fmla="*/ 6345796 w 9114518"/>
              <a:gd name="connsiteY679" fmla="*/ 1534755 h 7391342"/>
              <a:gd name="connsiteX680" fmla="*/ 6386468 w 9114518"/>
              <a:gd name="connsiteY680" fmla="*/ 1546456 h 7391342"/>
              <a:gd name="connsiteX681" fmla="*/ 6423858 w 9114518"/>
              <a:gd name="connsiteY681" fmla="*/ 1561341 h 7391342"/>
              <a:gd name="connsiteX682" fmla="*/ 6458084 w 9114518"/>
              <a:gd name="connsiteY682" fmla="*/ 1579339 h 7391342"/>
              <a:gd name="connsiteX683" fmla="*/ 6517506 w 9114518"/>
              <a:gd name="connsiteY683" fmla="*/ 1624390 h 7391342"/>
              <a:gd name="connsiteX684" fmla="*/ 6565664 w 9114518"/>
              <a:gd name="connsiteY684" fmla="*/ 1681040 h 7391342"/>
              <a:gd name="connsiteX685" fmla="*/ 6585806 w 9114518"/>
              <a:gd name="connsiteY685" fmla="*/ 1713537 h 7391342"/>
              <a:gd name="connsiteX686" fmla="*/ 6603482 w 9114518"/>
              <a:gd name="connsiteY686" fmla="*/ 1748720 h 7391342"/>
              <a:gd name="connsiteX687" fmla="*/ 6618804 w 9114518"/>
              <a:gd name="connsiteY687" fmla="*/ 1786518 h 7391342"/>
              <a:gd name="connsiteX688" fmla="*/ 6631888 w 9114518"/>
              <a:gd name="connsiteY688" fmla="*/ 1826861 h 7391342"/>
              <a:gd name="connsiteX689" fmla="*/ 6642852 w 9114518"/>
              <a:gd name="connsiteY689" fmla="*/ 1869678 h 7391342"/>
              <a:gd name="connsiteX690" fmla="*/ 6651812 w 9114518"/>
              <a:gd name="connsiteY690" fmla="*/ 1914895 h 7391342"/>
              <a:gd name="connsiteX691" fmla="*/ 6658882 w 9114518"/>
              <a:gd name="connsiteY691" fmla="*/ 1962443 h 7391342"/>
              <a:gd name="connsiteX692" fmla="*/ 6664180 w 9114518"/>
              <a:gd name="connsiteY692" fmla="*/ 2012251 h 7391342"/>
              <a:gd name="connsiteX693" fmla="*/ 6667820 w 9114518"/>
              <a:gd name="connsiteY693" fmla="*/ 2064248 h 7391342"/>
              <a:gd name="connsiteX694" fmla="*/ 6669918 w 9114518"/>
              <a:gd name="connsiteY694" fmla="*/ 2118363 h 7391342"/>
              <a:gd name="connsiteX695" fmla="*/ 6670594 w 9114518"/>
              <a:gd name="connsiteY695" fmla="*/ 2174524 h 7391342"/>
              <a:gd name="connsiteX696" fmla="*/ 6669952 w 9114518"/>
              <a:gd name="connsiteY696" fmla="*/ 2230926 h 7391342"/>
              <a:gd name="connsiteX697" fmla="*/ 6667946 w 9114518"/>
              <a:gd name="connsiteY697" fmla="*/ 2285281 h 7391342"/>
              <a:gd name="connsiteX698" fmla="*/ 6664446 w 9114518"/>
              <a:gd name="connsiteY698" fmla="*/ 2337516 h 7391342"/>
              <a:gd name="connsiteX699" fmla="*/ 6659328 w 9114518"/>
              <a:gd name="connsiteY699" fmla="*/ 2387560 h 7391342"/>
              <a:gd name="connsiteX700" fmla="*/ 6652468 w 9114518"/>
              <a:gd name="connsiteY700" fmla="*/ 2435337 h 7391342"/>
              <a:gd name="connsiteX701" fmla="*/ 6643740 w 9114518"/>
              <a:gd name="connsiteY701" fmla="*/ 2480781 h 7391342"/>
              <a:gd name="connsiteX702" fmla="*/ 6633014 w 9114518"/>
              <a:gd name="connsiteY702" fmla="*/ 2523814 h 7391342"/>
              <a:gd name="connsiteX703" fmla="*/ 6620170 w 9114518"/>
              <a:gd name="connsiteY703" fmla="*/ 2564367 h 7391342"/>
              <a:gd name="connsiteX704" fmla="*/ 6605078 w 9114518"/>
              <a:gd name="connsiteY704" fmla="*/ 2602367 h 7391342"/>
              <a:gd name="connsiteX705" fmla="*/ 6587612 w 9114518"/>
              <a:gd name="connsiteY705" fmla="*/ 2637742 h 7391342"/>
              <a:gd name="connsiteX706" fmla="*/ 6567650 w 9114518"/>
              <a:gd name="connsiteY706" fmla="*/ 2670420 h 7391342"/>
              <a:gd name="connsiteX707" fmla="*/ 6519726 w 9114518"/>
              <a:gd name="connsiteY707" fmla="*/ 2727394 h 7391342"/>
              <a:gd name="connsiteX708" fmla="*/ 6460300 w 9114518"/>
              <a:gd name="connsiteY708" fmla="*/ 2772712 h 7391342"/>
              <a:gd name="connsiteX709" fmla="*/ 6425960 w 9114518"/>
              <a:gd name="connsiteY709" fmla="*/ 2790820 h 7391342"/>
              <a:gd name="connsiteX710" fmla="*/ 6388366 w 9114518"/>
              <a:gd name="connsiteY710" fmla="*/ 2805798 h 7391342"/>
              <a:gd name="connsiteX711" fmla="*/ 6347392 w 9114518"/>
              <a:gd name="connsiteY711" fmla="*/ 2817573 h 7391342"/>
              <a:gd name="connsiteX712" fmla="*/ 6302914 w 9114518"/>
              <a:gd name="connsiteY712" fmla="*/ 2826073 h 7391342"/>
              <a:gd name="connsiteX713" fmla="*/ 6254806 w 9114518"/>
              <a:gd name="connsiteY713" fmla="*/ 2831226 h 7391342"/>
              <a:gd name="connsiteX714" fmla="*/ 6202942 w 9114518"/>
              <a:gd name="connsiteY714" fmla="*/ 2832959 h 7391342"/>
              <a:gd name="connsiteX715" fmla="*/ 6202942 w 9114518"/>
              <a:gd name="connsiteY715" fmla="*/ 2735039 h 7391342"/>
              <a:gd name="connsiteX716" fmla="*/ 6253190 w 9114518"/>
              <a:gd name="connsiteY716" fmla="*/ 2732780 h 7391342"/>
              <a:gd name="connsiteX717" fmla="*/ 6298622 w 9114518"/>
              <a:gd name="connsiteY717" fmla="*/ 2726085 h 7391342"/>
              <a:gd name="connsiteX718" fmla="*/ 6339462 w 9114518"/>
              <a:gd name="connsiteY718" fmla="*/ 2715072 h 7391342"/>
              <a:gd name="connsiteX719" fmla="*/ 6375942 w 9114518"/>
              <a:gd name="connsiteY719" fmla="*/ 2699861 h 7391342"/>
              <a:gd name="connsiteX720" fmla="*/ 6436736 w 9114518"/>
              <a:gd name="connsiteY720" fmla="*/ 2657324 h 7391342"/>
              <a:gd name="connsiteX721" fmla="*/ 6482832 w 9114518"/>
              <a:gd name="connsiteY721" fmla="*/ 2599431 h 7391342"/>
              <a:gd name="connsiteX722" fmla="*/ 6500942 w 9114518"/>
              <a:gd name="connsiteY722" fmla="*/ 2565024 h 7391342"/>
              <a:gd name="connsiteX723" fmla="*/ 6516064 w 9114518"/>
              <a:gd name="connsiteY723" fmla="*/ 2527138 h 7391342"/>
              <a:gd name="connsiteX724" fmla="*/ 6528426 w 9114518"/>
              <a:gd name="connsiteY724" fmla="*/ 2485890 h 7391342"/>
              <a:gd name="connsiteX725" fmla="*/ 6538260 w 9114518"/>
              <a:gd name="connsiteY725" fmla="*/ 2441401 h 7391342"/>
              <a:gd name="connsiteX726" fmla="*/ 6545792 w 9114518"/>
              <a:gd name="connsiteY726" fmla="*/ 2393791 h 7391342"/>
              <a:gd name="connsiteX727" fmla="*/ 6551252 w 9114518"/>
              <a:gd name="connsiteY727" fmla="*/ 2343178 h 7391342"/>
              <a:gd name="connsiteX728" fmla="*/ 6554868 w 9114518"/>
              <a:gd name="connsiteY728" fmla="*/ 2289683 h 7391342"/>
              <a:gd name="connsiteX729" fmla="*/ 6556870 w 9114518"/>
              <a:gd name="connsiteY729" fmla="*/ 2233425 h 7391342"/>
              <a:gd name="connsiteX730" fmla="*/ 6557486 w 9114518"/>
              <a:gd name="connsiteY730" fmla="*/ 2174524 h 7391342"/>
              <a:gd name="connsiteX731" fmla="*/ 6556836 w 9114518"/>
              <a:gd name="connsiteY731" fmla="*/ 2116203 h 7391342"/>
              <a:gd name="connsiteX732" fmla="*/ 6554744 w 9114518"/>
              <a:gd name="connsiteY732" fmla="*/ 2060487 h 7391342"/>
              <a:gd name="connsiteX733" fmla="*/ 6550990 w 9114518"/>
              <a:gd name="connsiteY733" fmla="*/ 2007501 h 7391342"/>
              <a:gd name="connsiteX734" fmla="*/ 6545362 w 9114518"/>
              <a:gd name="connsiteY734" fmla="*/ 1957362 h 7391342"/>
              <a:gd name="connsiteX735" fmla="*/ 6537640 w 9114518"/>
              <a:gd name="connsiteY735" fmla="*/ 1910190 h 7391342"/>
              <a:gd name="connsiteX736" fmla="*/ 6527608 w 9114518"/>
              <a:gd name="connsiteY736" fmla="*/ 1866104 h 7391342"/>
              <a:gd name="connsiteX737" fmla="*/ 6515052 w 9114518"/>
              <a:gd name="connsiteY737" fmla="*/ 1825226 h 7391342"/>
              <a:gd name="connsiteX738" fmla="*/ 6499752 w 9114518"/>
              <a:gd name="connsiteY738" fmla="*/ 1787671 h 7391342"/>
              <a:gd name="connsiteX739" fmla="*/ 6481494 w 9114518"/>
              <a:gd name="connsiteY739" fmla="*/ 1753562 h 7391342"/>
              <a:gd name="connsiteX740" fmla="*/ 6435236 w 9114518"/>
              <a:gd name="connsiteY740" fmla="*/ 1696160 h 7391342"/>
              <a:gd name="connsiteX741" fmla="*/ 6374546 w 9114518"/>
              <a:gd name="connsiteY741" fmla="*/ 1653973 h 7391342"/>
              <a:gd name="connsiteX742" fmla="*/ 6338248 w 9114518"/>
              <a:gd name="connsiteY742" fmla="*/ 1638885 h 7391342"/>
              <a:gd name="connsiteX743" fmla="*/ 6297692 w 9114518"/>
              <a:gd name="connsiteY743" fmla="*/ 1627960 h 7391342"/>
              <a:gd name="connsiteX744" fmla="*/ 6252662 w 9114518"/>
              <a:gd name="connsiteY744" fmla="*/ 1621317 h 7391342"/>
              <a:gd name="connsiteX745" fmla="*/ 6202942 w 9114518"/>
              <a:gd name="connsiteY745" fmla="*/ 1619076 h 7391342"/>
              <a:gd name="connsiteX746" fmla="*/ 6110023 w 9114518"/>
              <a:gd name="connsiteY746" fmla="*/ 1519467 h 7391342"/>
              <a:gd name="connsiteX747" fmla="*/ 6110023 w 9114518"/>
              <a:gd name="connsiteY747" fmla="*/ 1619076 h 7391342"/>
              <a:gd name="connsiteX748" fmla="*/ 6060583 w 9114518"/>
              <a:gd name="connsiteY748" fmla="*/ 1621317 h 7391342"/>
              <a:gd name="connsiteX749" fmla="*/ 6015801 w 9114518"/>
              <a:gd name="connsiteY749" fmla="*/ 1627960 h 7391342"/>
              <a:gd name="connsiteX750" fmla="*/ 5975462 w 9114518"/>
              <a:gd name="connsiteY750" fmla="*/ 1638885 h 7391342"/>
              <a:gd name="connsiteX751" fmla="*/ 5939352 w 9114518"/>
              <a:gd name="connsiteY751" fmla="*/ 1653973 h 7391342"/>
              <a:gd name="connsiteX752" fmla="*/ 5878960 w 9114518"/>
              <a:gd name="connsiteY752" fmla="*/ 1696160 h 7391342"/>
              <a:gd name="connsiteX753" fmla="*/ 5832910 w 9114518"/>
              <a:gd name="connsiteY753" fmla="*/ 1753562 h 7391342"/>
              <a:gd name="connsiteX754" fmla="*/ 5814728 w 9114518"/>
              <a:gd name="connsiteY754" fmla="*/ 1787671 h 7391342"/>
              <a:gd name="connsiteX755" fmla="*/ 5799488 w 9114518"/>
              <a:gd name="connsiteY755" fmla="*/ 1825226 h 7391342"/>
              <a:gd name="connsiteX756" fmla="*/ 5786975 w 9114518"/>
              <a:gd name="connsiteY756" fmla="*/ 1866104 h 7391342"/>
              <a:gd name="connsiteX757" fmla="*/ 5776976 w 9114518"/>
              <a:gd name="connsiteY757" fmla="*/ 1910190 h 7391342"/>
              <a:gd name="connsiteX758" fmla="*/ 5769275 w 9114518"/>
              <a:gd name="connsiteY758" fmla="*/ 1957362 h 7391342"/>
              <a:gd name="connsiteX759" fmla="*/ 5763660 w 9114518"/>
              <a:gd name="connsiteY759" fmla="*/ 2007501 h 7391342"/>
              <a:gd name="connsiteX760" fmla="*/ 5759914 w 9114518"/>
              <a:gd name="connsiteY760" fmla="*/ 2060487 h 7391342"/>
              <a:gd name="connsiteX761" fmla="*/ 5757823 w 9114518"/>
              <a:gd name="connsiteY761" fmla="*/ 2116203 h 7391342"/>
              <a:gd name="connsiteX762" fmla="*/ 5757174 w 9114518"/>
              <a:gd name="connsiteY762" fmla="*/ 2174524 h 7391342"/>
              <a:gd name="connsiteX763" fmla="*/ 5757807 w 9114518"/>
              <a:gd name="connsiteY763" fmla="*/ 2233425 h 7391342"/>
              <a:gd name="connsiteX764" fmla="*/ 5759852 w 9114518"/>
              <a:gd name="connsiteY764" fmla="*/ 2289683 h 7391342"/>
              <a:gd name="connsiteX765" fmla="*/ 5763530 w 9114518"/>
              <a:gd name="connsiteY765" fmla="*/ 2343178 h 7391342"/>
              <a:gd name="connsiteX766" fmla="*/ 5769061 w 9114518"/>
              <a:gd name="connsiteY766" fmla="*/ 2393791 h 7391342"/>
              <a:gd name="connsiteX767" fmla="*/ 5776667 w 9114518"/>
              <a:gd name="connsiteY767" fmla="*/ 2441401 h 7391342"/>
              <a:gd name="connsiteX768" fmla="*/ 5786567 w 9114518"/>
              <a:gd name="connsiteY768" fmla="*/ 2485890 h 7391342"/>
              <a:gd name="connsiteX769" fmla="*/ 5798983 w 9114518"/>
              <a:gd name="connsiteY769" fmla="*/ 2527138 h 7391342"/>
              <a:gd name="connsiteX770" fmla="*/ 5814135 w 9114518"/>
              <a:gd name="connsiteY770" fmla="*/ 2565024 h 7391342"/>
              <a:gd name="connsiteX771" fmla="*/ 5832243 w 9114518"/>
              <a:gd name="connsiteY771" fmla="*/ 2599431 h 7391342"/>
              <a:gd name="connsiteX772" fmla="*/ 5878214 w 9114518"/>
              <a:gd name="connsiteY772" fmla="*/ 2657324 h 7391342"/>
              <a:gd name="connsiteX773" fmla="*/ 5938656 w 9114518"/>
              <a:gd name="connsiteY773" fmla="*/ 2699861 h 7391342"/>
              <a:gd name="connsiteX774" fmla="*/ 5974857 w 9114518"/>
              <a:gd name="connsiteY774" fmla="*/ 2715072 h 7391342"/>
              <a:gd name="connsiteX775" fmla="*/ 6015338 w 9114518"/>
              <a:gd name="connsiteY775" fmla="*/ 2726085 h 7391342"/>
              <a:gd name="connsiteX776" fmla="*/ 6060320 w 9114518"/>
              <a:gd name="connsiteY776" fmla="*/ 2732780 h 7391342"/>
              <a:gd name="connsiteX777" fmla="*/ 6110023 w 9114518"/>
              <a:gd name="connsiteY777" fmla="*/ 2735039 h 7391342"/>
              <a:gd name="connsiteX778" fmla="*/ 6110023 w 9114518"/>
              <a:gd name="connsiteY778" fmla="*/ 2832959 h 7391342"/>
              <a:gd name="connsiteX779" fmla="*/ 6058379 w 9114518"/>
              <a:gd name="connsiteY779" fmla="*/ 2831226 h 7391342"/>
              <a:gd name="connsiteX780" fmla="*/ 6010447 w 9114518"/>
              <a:gd name="connsiteY780" fmla="*/ 2826073 h 7391342"/>
              <a:gd name="connsiteX781" fmla="*/ 5966107 w 9114518"/>
              <a:gd name="connsiteY781" fmla="*/ 2817573 h 7391342"/>
              <a:gd name="connsiteX782" fmla="*/ 5925235 w 9114518"/>
              <a:gd name="connsiteY782" fmla="*/ 2805798 h 7391342"/>
              <a:gd name="connsiteX783" fmla="*/ 5887709 w 9114518"/>
              <a:gd name="connsiteY783" fmla="*/ 2790820 h 7391342"/>
              <a:gd name="connsiteX784" fmla="*/ 5853406 w 9114518"/>
              <a:gd name="connsiteY784" fmla="*/ 2772712 h 7391342"/>
              <a:gd name="connsiteX785" fmla="*/ 5793981 w 9114518"/>
              <a:gd name="connsiteY785" fmla="*/ 2727394 h 7391342"/>
              <a:gd name="connsiteX786" fmla="*/ 5745979 w 9114518"/>
              <a:gd name="connsiteY786" fmla="*/ 2670420 h 7391342"/>
              <a:gd name="connsiteX787" fmla="*/ 5725956 w 9114518"/>
              <a:gd name="connsiteY787" fmla="*/ 2637742 h 7391342"/>
              <a:gd name="connsiteX788" fmla="*/ 5708421 w 9114518"/>
              <a:gd name="connsiteY788" fmla="*/ 2602367 h 7391342"/>
              <a:gd name="connsiteX789" fmla="*/ 5693252 w 9114518"/>
              <a:gd name="connsiteY789" fmla="*/ 2564367 h 7391342"/>
              <a:gd name="connsiteX790" fmla="*/ 5680327 w 9114518"/>
              <a:gd name="connsiteY790" fmla="*/ 2523814 h 7391342"/>
              <a:gd name="connsiteX791" fmla="*/ 5669522 w 9114518"/>
              <a:gd name="connsiteY791" fmla="*/ 2480781 h 7391342"/>
              <a:gd name="connsiteX792" fmla="*/ 5660715 w 9114518"/>
              <a:gd name="connsiteY792" fmla="*/ 2435337 h 7391342"/>
              <a:gd name="connsiteX793" fmla="*/ 5653785 w 9114518"/>
              <a:gd name="connsiteY793" fmla="*/ 2387560 h 7391342"/>
              <a:gd name="connsiteX794" fmla="*/ 5648608 w 9114518"/>
              <a:gd name="connsiteY794" fmla="*/ 2337516 h 7391342"/>
              <a:gd name="connsiteX795" fmla="*/ 5645062 w 9114518"/>
              <a:gd name="connsiteY795" fmla="*/ 2285281 h 7391342"/>
              <a:gd name="connsiteX796" fmla="*/ 5643024 w 9114518"/>
              <a:gd name="connsiteY796" fmla="*/ 2230926 h 7391342"/>
              <a:gd name="connsiteX797" fmla="*/ 5642372 w 9114518"/>
              <a:gd name="connsiteY797" fmla="*/ 2174524 h 7391342"/>
              <a:gd name="connsiteX798" fmla="*/ 5643045 w 9114518"/>
              <a:gd name="connsiteY798" fmla="*/ 2118363 h 7391342"/>
              <a:gd name="connsiteX799" fmla="*/ 5645145 w 9114518"/>
              <a:gd name="connsiteY799" fmla="*/ 2064248 h 7391342"/>
              <a:gd name="connsiteX800" fmla="*/ 5648785 w 9114518"/>
              <a:gd name="connsiteY800" fmla="*/ 2012251 h 7391342"/>
              <a:gd name="connsiteX801" fmla="*/ 5654082 w 9114518"/>
              <a:gd name="connsiteY801" fmla="*/ 1962443 h 7391342"/>
              <a:gd name="connsiteX802" fmla="*/ 5661152 w 9114518"/>
              <a:gd name="connsiteY802" fmla="*/ 1914895 h 7391342"/>
              <a:gd name="connsiteX803" fmla="*/ 5670112 w 9114518"/>
              <a:gd name="connsiteY803" fmla="*/ 1869678 h 7391342"/>
              <a:gd name="connsiteX804" fmla="*/ 5681076 w 9114518"/>
              <a:gd name="connsiteY804" fmla="*/ 1826861 h 7391342"/>
              <a:gd name="connsiteX805" fmla="*/ 5694161 w 9114518"/>
              <a:gd name="connsiteY805" fmla="*/ 1786518 h 7391342"/>
              <a:gd name="connsiteX806" fmla="*/ 5709483 w 9114518"/>
              <a:gd name="connsiteY806" fmla="*/ 1748720 h 7391342"/>
              <a:gd name="connsiteX807" fmla="*/ 5727157 w 9114518"/>
              <a:gd name="connsiteY807" fmla="*/ 1713537 h 7391342"/>
              <a:gd name="connsiteX808" fmla="*/ 5747301 w 9114518"/>
              <a:gd name="connsiteY808" fmla="*/ 1681040 h 7391342"/>
              <a:gd name="connsiteX809" fmla="*/ 5795457 w 9114518"/>
              <a:gd name="connsiteY809" fmla="*/ 1624390 h 7391342"/>
              <a:gd name="connsiteX810" fmla="*/ 5854880 w 9114518"/>
              <a:gd name="connsiteY810" fmla="*/ 1579339 h 7391342"/>
              <a:gd name="connsiteX811" fmla="*/ 5889107 w 9114518"/>
              <a:gd name="connsiteY811" fmla="*/ 1561341 h 7391342"/>
              <a:gd name="connsiteX812" fmla="*/ 5926498 w 9114518"/>
              <a:gd name="connsiteY812" fmla="*/ 1546456 h 7391342"/>
              <a:gd name="connsiteX813" fmla="*/ 5967169 w 9114518"/>
              <a:gd name="connsiteY813" fmla="*/ 1534755 h 7391342"/>
              <a:gd name="connsiteX814" fmla="*/ 6011236 w 9114518"/>
              <a:gd name="connsiteY814" fmla="*/ 1526309 h 7391342"/>
              <a:gd name="connsiteX815" fmla="*/ 6058815 w 9114518"/>
              <a:gd name="connsiteY815" fmla="*/ 1521189 h 7391342"/>
              <a:gd name="connsiteX816" fmla="*/ 4207776 w 9114518"/>
              <a:gd name="connsiteY816" fmla="*/ 1033233 h 7391342"/>
              <a:gd name="connsiteX817" fmla="*/ 4417120 w 9114518"/>
              <a:gd name="connsiteY817" fmla="*/ 1033233 h 7391342"/>
              <a:gd name="connsiteX818" fmla="*/ 4417120 w 9114518"/>
              <a:gd name="connsiteY818" fmla="*/ 1208814 h 7391342"/>
              <a:gd name="connsiteX819" fmla="*/ 4207776 w 9114518"/>
              <a:gd name="connsiteY819" fmla="*/ 1208814 h 7391342"/>
              <a:gd name="connsiteX820" fmla="*/ 5865088 w 9114518"/>
              <a:gd name="connsiteY820" fmla="*/ 881295 h 7391342"/>
              <a:gd name="connsiteX821" fmla="*/ 6780150 w 9114518"/>
              <a:gd name="connsiteY821" fmla="*/ 881295 h 7391342"/>
              <a:gd name="connsiteX822" fmla="*/ 6780150 w 9114518"/>
              <a:gd name="connsiteY822" fmla="*/ 989345 h 7391342"/>
              <a:gd name="connsiteX823" fmla="*/ 5865088 w 9114518"/>
              <a:gd name="connsiteY823" fmla="*/ 989345 h 7391342"/>
              <a:gd name="connsiteX824" fmla="*/ 5865088 w 9114518"/>
              <a:gd name="connsiteY824" fmla="*/ 528441 h 7391342"/>
              <a:gd name="connsiteX825" fmla="*/ 6780150 w 9114518"/>
              <a:gd name="connsiteY825" fmla="*/ 528441 h 7391342"/>
              <a:gd name="connsiteX826" fmla="*/ 6780150 w 9114518"/>
              <a:gd name="connsiteY826" fmla="*/ 636492 h 7391342"/>
              <a:gd name="connsiteX827" fmla="*/ 5865088 w 9114518"/>
              <a:gd name="connsiteY827" fmla="*/ 636492 h 7391342"/>
              <a:gd name="connsiteX828" fmla="*/ 7862878 w 9114518"/>
              <a:gd name="connsiteY828" fmla="*/ 7089 h 7391342"/>
              <a:gd name="connsiteX829" fmla="*/ 8241058 w 9114518"/>
              <a:gd name="connsiteY829" fmla="*/ 7089 h 7391342"/>
              <a:gd name="connsiteX830" fmla="*/ 8241058 w 9114518"/>
              <a:gd name="connsiteY830" fmla="*/ 103609 h 7391342"/>
              <a:gd name="connsiteX831" fmla="*/ 7979374 w 9114518"/>
              <a:gd name="connsiteY831" fmla="*/ 103609 h 7391342"/>
              <a:gd name="connsiteX832" fmla="*/ 7979374 w 9114518"/>
              <a:gd name="connsiteY832" fmla="*/ 1213589 h 7391342"/>
              <a:gd name="connsiteX833" fmla="*/ 8241058 w 9114518"/>
              <a:gd name="connsiteY833" fmla="*/ 1213589 h 7391342"/>
              <a:gd name="connsiteX834" fmla="*/ 8241058 w 9114518"/>
              <a:gd name="connsiteY834" fmla="*/ 1310109 h 7391342"/>
              <a:gd name="connsiteX835" fmla="*/ 7862878 w 9114518"/>
              <a:gd name="connsiteY835" fmla="*/ 1310109 h 7391342"/>
              <a:gd name="connsiteX836" fmla="*/ 7862878 w 9114518"/>
              <a:gd name="connsiteY836" fmla="*/ 1213589 h 7391342"/>
              <a:gd name="connsiteX837" fmla="*/ 7862878 w 9114518"/>
              <a:gd name="connsiteY837" fmla="*/ 103609 h 7391342"/>
              <a:gd name="connsiteX838" fmla="*/ 3051834 w 9114518"/>
              <a:gd name="connsiteY838" fmla="*/ 2 h 7391342"/>
              <a:gd name="connsiteX839" fmla="*/ 3051834 w 9114518"/>
              <a:gd name="connsiteY839" fmla="*/ 99613 h 7391342"/>
              <a:gd name="connsiteX840" fmla="*/ 3002394 w 9114518"/>
              <a:gd name="connsiteY840" fmla="*/ 101852 h 7391342"/>
              <a:gd name="connsiteX841" fmla="*/ 2957611 w 9114518"/>
              <a:gd name="connsiteY841" fmla="*/ 108497 h 7391342"/>
              <a:gd name="connsiteX842" fmla="*/ 2917272 w 9114518"/>
              <a:gd name="connsiteY842" fmla="*/ 119421 h 7391342"/>
              <a:gd name="connsiteX843" fmla="*/ 2881161 w 9114518"/>
              <a:gd name="connsiteY843" fmla="*/ 134509 h 7391342"/>
              <a:gd name="connsiteX844" fmla="*/ 2820768 w 9114518"/>
              <a:gd name="connsiteY844" fmla="*/ 176694 h 7391342"/>
              <a:gd name="connsiteX845" fmla="*/ 2774716 w 9114518"/>
              <a:gd name="connsiteY845" fmla="*/ 234098 h 7391342"/>
              <a:gd name="connsiteX846" fmla="*/ 2756533 w 9114518"/>
              <a:gd name="connsiteY846" fmla="*/ 268206 h 7391342"/>
              <a:gd name="connsiteX847" fmla="*/ 2741291 w 9114518"/>
              <a:gd name="connsiteY847" fmla="*/ 305760 h 7391342"/>
              <a:gd name="connsiteX848" fmla="*/ 2728778 w 9114518"/>
              <a:gd name="connsiteY848" fmla="*/ 346640 h 7391342"/>
              <a:gd name="connsiteX849" fmla="*/ 2718778 w 9114518"/>
              <a:gd name="connsiteY849" fmla="*/ 390725 h 7391342"/>
              <a:gd name="connsiteX850" fmla="*/ 2711077 w 9114518"/>
              <a:gd name="connsiteY850" fmla="*/ 437898 h 7391342"/>
              <a:gd name="connsiteX851" fmla="*/ 2705460 w 9114518"/>
              <a:gd name="connsiteY851" fmla="*/ 488037 h 7391342"/>
              <a:gd name="connsiteX852" fmla="*/ 2701714 w 9114518"/>
              <a:gd name="connsiteY852" fmla="*/ 541024 h 7391342"/>
              <a:gd name="connsiteX853" fmla="*/ 2699623 w 9114518"/>
              <a:gd name="connsiteY853" fmla="*/ 596738 h 7391342"/>
              <a:gd name="connsiteX854" fmla="*/ 2698974 w 9114518"/>
              <a:gd name="connsiteY854" fmla="*/ 655061 h 7391342"/>
              <a:gd name="connsiteX855" fmla="*/ 2699607 w 9114518"/>
              <a:gd name="connsiteY855" fmla="*/ 713962 h 7391342"/>
              <a:gd name="connsiteX856" fmla="*/ 2701652 w 9114518"/>
              <a:gd name="connsiteY856" fmla="*/ 770219 h 7391342"/>
              <a:gd name="connsiteX857" fmla="*/ 2705331 w 9114518"/>
              <a:gd name="connsiteY857" fmla="*/ 823713 h 7391342"/>
              <a:gd name="connsiteX858" fmla="*/ 2710863 w 9114518"/>
              <a:gd name="connsiteY858" fmla="*/ 874325 h 7391342"/>
              <a:gd name="connsiteX859" fmla="*/ 2718469 w 9114518"/>
              <a:gd name="connsiteY859" fmla="*/ 921936 h 7391342"/>
              <a:gd name="connsiteX860" fmla="*/ 2728370 w 9114518"/>
              <a:gd name="connsiteY860" fmla="*/ 966424 h 7391342"/>
              <a:gd name="connsiteX861" fmla="*/ 2740787 w 9114518"/>
              <a:gd name="connsiteY861" fmla="*/ 1007672 h 7391342"/>
              <a:gd name="connsiteX862" fmla="*/ 2755940 w 9114518"/>
              <a:gd name="connsiteY862" fmla="*/ 1045559 h 7391342"/>
              <a:gd name="connsiteX863" fmla="*/ 2774049 w 9114518"/>
              <a:gd name="connsiteY863" fmla="*/ 1079966 h 7391342"/>
              <a:gd name="connsiteX864" fmla="*/ 2820020 w 9114518"/>
              <a:gd name="connsiteY864" fmla="*/ 1137858 h 7391342"/>
              <a:gd name="connsiteX865" fmla="*/ 2880465 w 9114518"/>
              <a:gd name="connsiteY865" fmla="*/ 1180395 h 7391342"/>
              <a:gd name="connsiteX866" fmla="*/ 2916667 w 9114518"/>
              <a:gd name="connsiteY866" fmla="*/ 1195607 h 7391342"/>
              <a:gd name="connsiteX867" fmla="*/ 2957148 w 9114518"/>
              <a:gd name="connsiteY867" fmla="*/ 1206620 h 7391342"/>
              <a:gd name="connsiteX868" fmla="*/ 3002130 w 9114518"/>
              <a:gd name="connsiteY868" fmla="*/ 1213314 h 7391342"/>
              <a:gd name="connsiteX869" fmla="*/ 3051834 w 9114518"/>
              <a:gd name="connsiteY869" fmla="*/ 1215573 h 7391342"/>
              <a:gd name="connsiteX870" fmla="*/ 3051834 w 9114518"/>
              <a:gd name="connsiteY870" fmla="*/ 1313495 h 7391342"/>
              <a:gd name="connsiteX871" fmla="*/ 3000188 w 9114518"/>
              <a:gd name="connsiteY871" fmla="*/ 1311761 h 7391342"/>
              <a:gd name="connsiteX872" fmla="*/ 2952255 w 9114518"/>
              <a:gd name="connsiteY872" fmla="*/ 1306609 h 7391342"/>
              <a:gd name="connsiteX873" fmla="*/ 2907914 w 9114518"/>
              <a:gd name="connsiteY873" fmla="*/ 1298108 h 7391342"/>
              <a:gd name="connsiteX874" fmla="*/ 2867041 w 9114518"/>
              <a:gd name="connsiteY874" fmla="*/ 1286333 h 7391342"/>
              <a:gd name="connsiteX875" fmla="*/ 2829514 w 9114518"/>
              <a:gd name="connsiteY875" fmla="*/ 1271355 h 7391342"/>
              <a:gd name="connsiteX876" fmla="*/ 2795209 w 9114518"/>
              <a:gd name="connsiteY876" fmla="*/ 1253247 h 7391342"/>
              <a:gd name="connsiteX877" fmla="*/ 2735783 w 9114518"/>
              <a:gd name="connsiteY877" fmla="*/ 1207930 h 7391342"/>
              <a:gd name="connsiteX878" fmla="*/ 2687781 w 9114518"/>
              <a:gd name="connsiteY878" fmla="*/ 1150955 h 7391342"/>
              <a:gd name="connsiteX879" fmla="*/ 2667757 w 9114518"/>
              <a:gd name="connsiteY879" fmla="*/ 1118277 h 7391342"/>
              <a:gd name="connsiteX880" fmla="*/ 2650222 w 9114518"/>
              <a:gd name="connsiteY880" fmla="*/ 1082902 h 7391342"/>
              <a:gd name="connsiteX881" fmla="*/ 2635053 w 9114518"/>
              <a:gd name="connsiteY881" fmla="*/ 1044902 h 7391342"/>
              <a:gd name="connsiteX882" fmla="*/ 2622127 w 9114518"/>
              <a:gd name="connsiteY882" fmla="*/ 1004349 h 7391342"/>
              <a:gd name="connsiteX883" fmla="*/ 2611322 w 9114518"/>
              <a:gd name="connsiteY883" fmla="*/ 961316 h 7391342"/>
              <a:gd name="connsiteX884" fmla="*/ 2602516 w 9114518"/>
              <a:gd name="connsiteY884" fmla="*/ 915873 h 7391342"/>
              <a:gd name="connsiteX885" fmla="*/ 2595585 w 9114518"/>
              <a:gd name="connsiteY885" fmla="*/ 868095 h 7391342"/>
              <a:gd name="connsiteX886" fmla="*/ 2590408 w 9114518"/>
              <a:gd name="connsiteY886" fmla="*/ 818052 h 7391342"/>
              <a:gd name="connsiteX887" fmla="*/ 2586862 w 9114518"/>
              <a:gd name="connsiteY887" fmla="*/ 765818 h 7391342"/>
              <a:gd name="connsiteX888" fmla="*/ 2584824 w 9114518"/>
              <a:gd name="connsiteY888" fmla="*/ 711463 h 7391342"/>
              <a:gd name="connsiteX889" fmla="*/ 2584172 w 9114518"/>
              <a:gd name="connsiteY889" fmla="*/ 655061 h 7391342"/>
              <a:gd name="connsiteX890" fmla="*/ 2584846 w 9114518"/>
              <a:gd name="connsiteY890" fmla="*/ 598899 h 7391342"/>
              <a:gd name="connsiteX891" fmla="*/ 2586945 w 9114518"/>
              <a:gd name="connsiteY891" fmla="*/ 544784 h 7391342"/>
              <a:gd name="connsiteX892" fmla="*/ 2590585 w 9114518"/>
              <a:gd name="connsiteY892" fmla="*/ 492788 h 7391342"/>
              <a:gd name="connsiteX893" fmla="*/ 2595883 w 9114518"/>
              <a:gd name="connsiteY893" fmla="*/ 442980 h 7391342"/>
              <a:gd name="connsiteX894" fmla="*/ 2602954 w 9114518"/>
              <a:gd name="connsiteY894" fmla="*/ 395431 h 7391342"/>
              <a:gd name="connsiteX895" fmla="*/ 2611914 w 9114518"/>
              <a:gd name="connsiteY895" fmla="*/ 350213 h 7391342"/>
              <a:gd name="connsiteX896" fmla="*/ 2622878 w 9114518"/>
              <a:gd name="connsiteY896" fmla="*/ 307398 h 7391342"/>
              <a:gd name="connsiteX897" fmla="*/ 2635964 w 9114518"/>
              <a:gd name="connsiteY897" fmla="*/ 267054 h 7391342"/>
              <a:gd name="connsiteX898" fmla="*/ 2651287 w 9114518"/>
              <a:gd name="connsiteY898" fmla="*/ 229257 h 7391342"/>
              <a:gd name="connsiteX899" fmla="*/ 2668962 w 9114518"/>
              <a:gd name="connsiteY899" fmla="*/ 194074 h 7391342"/>
              <a:gd name="connsiteX900" fmla="*/ 2689106 w 9114518"/>
              <a:gd name="connsiteY900" fmla="*/ 161576 h 7391342"/>
              <a:gd name="connsiteX901" fmla="*/ 2737264 w 9114518"/>
              <a:gd name="connsiteY901" fmla="*/ 104925 h 7391342"/>
              <a:gd name="connsiteX902" fmla="*/ 2796688 w 9114518"/>
              <a:gd name="connsiteY902" fmla="*/ 59876 h 7391342"/>
              <a:gd name="connsiteX903" fmla="*/ 2830916 w 9114518"/>
              <a:gd name="connsiteY903" fmla="*/ 41878 h 7391342"/>
              <a:gd name="connsiteX904" fmla="*/ 2868307 w 9114518"/>
              <a:gd name="connsiteY904" fmla="*/ 26992 h 7391342"/>
              <a:gd name="connsiteX905" fmla="*/ 2908979 w 9114518"/>
              <a:gd name="connsiteY905" fmla="*/ 15290 h 7391342"/>
              <a:gd name="connsiteX906" fmla="*/ 2953046 w 9114518"/>
              <a:gd name="connsiteY906" fmla="*/ 6845 h 7391342"/>
              <a:gd name="connsiteX907" fmla="*/ 3000626 w 9114518"/>
              <a:gd name="connsiteY907" fmla="*/ 1724 h 7391342"/>
              <a:gd name="connsiteX908" fmla="*/ 8336918 w 9114518"/>
              <a:gd name="connsiteY908" fmla="*/ 1 h 7391342"/>
              <a:gd name="connsiteX909" fmla="*/ 8388126 w 9114518"/>
              <a:gd name="connsiteY909" fmla="*/ 1723 h 7391342"/>
              <a:gd name="connsiteX910" fmla="*/ 8435706 w 9114518"/>
              <a:gd name="connsiteY910" fmla="*/ 6843 h 7391342"/>
              <a:gd name="connsiteX911" fmla="*/ 8479774 w 9114518"/>
              <a:gd name="connsiteY911" fmla="*/ 15289 h 7391342"/>
              <a:gd name="connsiteX912" fmla="*/ 8520444 w 9114518"/>
              <a:gd name="connsiteY912" fmla="*/ 26990 h 7391342"/>
              <a:gd name="connsiteX913" fmla="*/ 8557834 w 9114518"/>
              <a:gd name="connsiteY913" fmla="*/ 41875 h 7391342"/>
              <a:gd name="connsiteX914" fmla="*/ 8592062 w 9114518"/>
              <a:gd name="connsiteY914" fmla="*/ 59873 h 7391342"/>
              <a:gd name="connsiteX915" fmla="*/ 8651484 w 9114518"/>
              <a:gd name="connsiteY915" fmla="*/ 104924 h 7391342"/>
              <a:gd name="connsiteX916" fmla="*/ 8699640 w 9114518"/>
              <a:gd name="connsiteY916" fmla="*/ 161574 h 7391342"/>
              <a:gd name="connsiteX917" fmla="*/ 8719784 w 9114518"/>
              <a:gd name="connsiteY917" fmla="*/ 194071 h 7391342"/>
              <a:gd name="connsiteX918" fmla="*/ 8737458 w 9114518"/>
              <a:gd name="connsiteY918" fmla="*/ 229254 h 7391342"/>
              <a:gd name="connsiteX919" fmla="*/ 8752780 w 9114518"/>
              <a:gd name="connsiteY919" fmla="*/ 267052 h 7391342"/>
              <a:gd name="connsiteX920" fmla="*/ 8765866 w 9114518"/>
              <a:gd name="connsiteY920" fmla="*/ 307395 h 7391342"/>
              <a:gd name="connsiteX921" fmla="*/ 8776830 w 9114518"/>
              <a:gd name="connsiteY921" fmla="*/ 350211 h 7391342"/>
              <a:gd name="connsiteX922" fmla="*/ 8785788 w 9114518"/>
              <a:gd name="connsiteY922" fmla="*/ 395428 h 7391342"/>
              <a:gd name="connsiteX923" fmla="*/ 8792860 w 9114518"/>
              <a:gd name="connsiteY923" fmla="*/ 442977 h 7391342"/>
              <a:gd name="connsiteX924" fmla="*/ 8798158 w 9114518"/>
              <a:gd name="connsiteY924" fmla="*/ 492785 h 7391342"/>
              <a:gd name="connsiteX925" fmla="*/ 8801798 w 9114518"/>
              <a:gd name="connsiteY925" fmla="*/ 544782 h 7391342"/>
              <a:gd name="connsiteX926" fmla="*/ 8803896 w 9114518"/>
              <a:gd name="connsiteY926" fmla="*/ 598897 h 7391342"/>
              <a:gd name="connsiteX927" fmla="*/ 8804570 w 9114518"/>
              <a:gd name="connsiteY927" fmla="*/ 655058 h 7391342"/>
              <a:gd name="connsiteX928" fmla="*/ 8803930 w 9114518"/>
              <a:gd name="connsiteY928" fmla="*/ 711460 h 7391342"/>
              <a:gd name="connsiteX929" fmla="*/ 8801922 w 9114518"/>
              <a:gd name="connsiteY929" fmla="*/ 765815 h 7391342"/>
              <a:gd name="connsiteX930" fmla="*/ 8798422 w 9114518"/>
              <a:gd name="connsiteY930" fmla="*/ 818050 h 7391342"/>
              <a:gd name="connsiteX931" fmla="*/ 8793306 w 9114518"/>
              <a:gd name="connsiteY931" fmla="*/ 868094 h 7391342"/>
              <a:gd name="connsiteX932" fmla="*/ 8786446 w 9114518"/>
              <a:gd name="connsiteY932" fmla="*/ 915872 h 7391342"/>
              <a:gd name="connsiteX933" fmla="*/ 8777716 w 9114518"/>
              <a:gd name="connsiteY933" fmla="*/ 961315 h 7391342"/>
              <a:gd name="connsiteX934" fmla="*/ 8766992 w 9114518"/>
              <a:gd name="connsiteY934" fmla="*/ 1004348 h 7391342"/>
              <a:gd name="connsiteX935" fmla="*/ 8754146 w 9114518"/>
              <a:gd name="connsiteY935" fmla="*/ 1044900 h 7391342"/>
              <a:gd name="connsiteX936" fmla="*/ 8739054 w 9114518"/>
              <a:gd name="connsiteY936" fmla="*/ 1082901 h 7391342"/>
              <a:gd name="connsiteX937" fmla="*/ 8721590 w 9114518"/>
              <a:gd name="connsiteY937" fmla="*/ 1118276 h 7391342"/>
              <a:gd name="connsiteX938" fmla="*/ 8701628 w 9114518"/>
              <a:gd name="connsiteY938" fmla="*/ 1150954 h 7391342"/>
              <a:gd name="connsiteX939" fmla="*/ 8653704 w 9114518"/>
              <a:gd name="connsiteY939" fmla="*/ 1207928 h 7391342"/>
              <a:gd name="connsiteX940" fmla="*/ 8594278 w 9114518"/>
              <a:gd name="connsiteY940" fmla="*/ 1253246 h 7391342"/>
              <a:gd name="connsiteX941" fmla="*/ 8559936 w 9114518"/>
              <a:gd name="connsiteY941" fmla="*/ 1271354 h 7391342"/>
              <a:gd name="connsiteX942" fmla="*/ 8522342 w 9114518"/>
              <a:gd name="connsiteY942" fmla="*/ 1286332 h 7391342"/>
              <a:gd name="connsiteX943" fmla="*/ 8481370 w 9114518"/>
              <a:gd name="connsiteY943" fmla="*/ 1298107 h 7391342"/>
              <a:gd name="connsiteX944" fmla="*/ 8436892 w 9114518"/>
              <a:gd name="connsiteY944" fmla="*/ 1306607 h 7391342"/>
              <a:gd name="connsiteX945" fmla="*/ 8388784 w 9114518"/>
              <a:gd name="connsiteY945" fmla="*/ 1311760 h 7391342"/>
              <a:gd name="connsiteX946" fmla="*/ 8336918 w 9114518"/>
              <a:gd name="connsiteY946" fmla="*/ 1313493 h 7391342"/>
              <a:gd name="connsiteX947" fmla="*/ 8336918 w 9114518"/>
              <a:gd name="connsiteY947" fmla="*/ 1215572 h 7391342"/>
              <a:gd name="connsiteX948" fmla="*/ 8387168 w 9114518"/>
              <a:gd name="connsiteY948" fmla="*/ 1213313 h 7391342"/>
              <a:gd name="connsiteX949" fmla="*/ 8432598 w 9114518"/>
              <a:gd name="connsiteY949" fmla="*/ 1206618 h 7391342"/>
              <a:gd name="connsiteX950" fmla="*/ 8473438 w 9114518"/>
              <a:gd name="connsiteY950" fmla="*/ 1195605 h 7391342"/>
              <a:gd name="connsiteX951" fmla="*/ 8509918 w 9114518"/>
              <a:gd name="connsiteY951" fmla="*/ 1180394 h 7391342"/>
              <a:gd name="connsiteX952" fmla="*/ 8570710 w 9114518"/>
              <a:gd name="connsiteY952" fmla="*/ 1137857 h 7391342"/>
              <a:gd name="connsiteX953" fmla="*/ 8616804 w 9114518"/>
              <a:gd name="connsiteY953" fmla="*/ 1079964 h 7391342"/>
              <a:gd name="connsiteX954" fmla="*/ 8634912 w 9114518"/>
              <a:gd name="connsiteY954" fmla="*/ 1045558 h 7391342"/>
              <a:gd name="connsiteX955" fmla="*/ 8650034 w 9114518"/>
              <a:gd name="connsiteY955" fmla="*/ 1007671 h 7391342"/>
              <a:gd name="connsiteX956" fmla="*/ 8662396 w 9114518"/>
              <a:gd name="connsiteY956" fmla="*/ 966423 h 7391342"/>
              <a:gd name="connsiteX957" fmla="*/ 8672228 w 9114518"/>
              <a:gd name="connsiteY957" fmla="*/ 921934 h 7391342"/>
              <a:gd name="connsiteX958" fmla="*/ 8679760 w 9114518"/>
              <a:gd name="connsiteY958" fmla="*/ 874323 h 7391342"/>
              <a:gd name="connsiteX959" fmla="*/ 8685218 w 9114518"/>
              <a:gd name="connsiteY959" fmla="*/ 823711 h 7391342"/>
              <a:gd name="connsiteX960" fmla="*/ 8688834 w 9114518"/>
              <a:gd name="connsiteY960" fmla="*/ 770216 h 7391342"/>
              <a:gd name="connsiteX961" fmla="*/ 8690836 w 9114518"/>
              <a:gd name="connsiteY961" fmla="*/ 713959 h 7391342"/>
              <a:gd name="connsiteX962" fmla="*/ 8691452 w 9114518"/>
              <a:gd name="connsiteY962" fmla="*/ 655058 h 7391342"/>
              <a:gd name="connsiteX963" fmla="*/ 8690804 w 9114518"/>
              <a:gd name="connsiteY963" fmla="*/ 596735 h 7391342"/>
              <a:gd name="connsiteX964" fmla="*/ 8688710 w 9114518"/>
              <a:gd name="connsiteY964" fmla="*/ 541021 h 7391342"/>
              <a:gd name="connsiteX965" fmla="*/ 8684958 w 9114518"/>
              <a:gd name="connsiteY965" fmla="*/ 488035 h 7391342"/>
              <a:gd name="connsiteX966" fmla="*/ 8679330 w 9114518"/>
              <a:gd name="connsiteY966" fmla="*/ 437895 h 7391342"/>
              <a:gd name="connsiteX967" fmla="*/ 8671608 w 9114518"/>
              <a:gd name="connsiteY967" fmla="*/ 390723 h 7391342"/>
              <a:gd name="connsiteX968" fmla="*/ 8661578 w 9114518"/>
              <a:gd name="connsiteY968" fmla="*/ 346638 h 7391342"/>
              <a:gd name="connsiteX969" fmla="*/ 8649022 w 9114518"/>
              <a:gd name="connsiteY969" fmla="*/ 305758 h 7391342"/>
              <a:gd name="connsiteX970" fmla="*/ 8633724 w 9114518"/>
              <a:gd name="connsiteY970" fmla="*/ 268204 h 7391342"/>
              <a:gd name="connsiteX971" fmla="*/ 8615466 w 9114518"/>
              <a:gd name="connsiteY971" fmla="*/ 234096 h 7391342"/>
              <a:gd name="connsiteX972" fmla="*/ 8569210 w 9114518"/>
              <a:gd name="connsiteY972" fmla="*/ 176693 h 7391342"/>
              <a:gd name="connsiteX973" fmla="*/ 8508522 w 9114518"/>
              <a:gd name="connsiteY973" fmla="*/ 134507 h 7391342"/>
              <a:gd name="connsiteX974" fmla="*/ 8472224 w 9114518"/>
              <a:gd name="connsiteY974" fmla="*/ 119419 h 7391342"/>
              <a:gd name="connsiteX975" fmla="*/ 8431668 w 9114518"/>
              <a:gd name="connsiteY975" fmla="*/ 108494 h 7391342"/>
              <a:gd name="connsiteX976" fmla="*/ 8386640 w 9114518"/>
              <a:gd name="connsiteY976" fmla="*/ 101851 h 7391342"/>
              <a:gd name="connsiteX977" fmla="*/ 8336918 w 9114518"/>
              <a:gd name="connsiteY977" fmla="*/ 99610 h 7391342"/>
              <a:gd name="connsiteX978" fmla="*/ 3144752 w 9114518"/>
              <a:gd name="connsiteY978" fmla="*/ 0 h 7391342"/>
              <a:gd name="connsiteX979" fmla="*/ 3195959 w 9114518"/>
              <a:gd name="connsiteY979" fmla="*/ 1722 h 7391342"/>
              <a:gd name="connsiteX980" fmla="*/ 3243539 w 9114518"/>
              <a:gd name="connsiteY980" fmla="*/ 6842 h 7391342"/>
              <a:gd name="connsiteX981" fmla="*/ 3287606 w 9114518"/>
              <a:gd name="connsiteY981" fmla="*/ 15288 h 7391342"/>
              <a:gd name="connsiteX982" fmla="*/ 3328277 w 9114518"/>
              <a:gd name="connsiteY982" fmla="*/ 26989 h 7391342"/>
              <a:gd name="connsiteX983" fmla="*/ 3365667 w 9114518"/>
              <a:gd name="connsiteY983" fmla="*/ 41874 h 7391342"/>
              <a:gd name="connsiteX984" fmla="*/ 3399895 w 9114518"/>
              <a:gd name="connsiteY984" fmla="*/ 59872 h 7391342"/>
              <a:gd name="connsiteX985" fmla="*/ 3459317 w 9114518"/>
              <a:gd name="connsiteY985" fmla="*/ 104923 h 7391342"/>
              <a:gd name="connsiteX986" fmla="*/ 3507474 w 9114518"/>
              <a:gd name="connsiteY986" fmla="*/ 161573 h 7391342"/>
              <a:gd name="connsiteX987" fmla="*/ 3527617 w 9114518"/>
              <a:gd name="connsiteY987" fmla="*/ 194070 h 7391342"/>
              <a:gd name="connsiteX988" fmla="*/ 3545292 w 9114518"/>
              <a:gd name="connsiteY988" fmla="*/ 229253 h 7391342"/>
              <a:gd name="connsiteX989" fmla="*/ 3560614 w 9114518"/>
              <a:gd name="connsiteY989" fmla="*/ 267051 h 7391342"/>
              <a:gd name="connsiteX990" fmla="*/ 3573699 w 9114518"/>
              <a:gd name="connsiteY990" fmla="*/ 307394 h 7391342"/>
              <a:gd name="connsiteX991" fmla="*/ 3584663 w 9114518"/>
              <a:gd name="connsiteY991" fmla="*/ 350210 h 7391342"/>
              <a:gd name="connsiteX992" fmla="*/ 3593622 w 9114518"/>
              <a:gd name="connsiteY992" fmla="*/ 395427 h 7391342"/>
              <a:gd name="connsiteX993" fmla="*/ 3600693 w 9114518"/>
              <a:gd name="connsiteY993" fmla="*/ 442977 h 7391342"/>
              <a:gd name="connsiteX994" fmla="*/ 3605990 w 9114518"/>
              <a:gd name="connsiteY994" fmla="*/ 492785 h 7391342"/>
              <a:gd name="connsiteX995" fmla="*/ 3609630 w 9114518"/>
              <a:gd name="connsiteY995" fmla="*/ 544782 h 7391342"/>
              <a:gd name="connsiteX996" fmla="*/ 3611729 w 9114518"/>
              <a:gd name="connsiteY996" fmla="*/ 598897 h 7391342"/>
              <a:gd name="connsiteX997" fmla="*/ 3612403 w 9114518"/>
              <a:gd name="connsiteY997" fmla="*/ 655058 h 7391342"/>
              <a:gd name="connsiteX998" fmla="*/ 3611762 w 9114518"/>
              <a:gd name="connsiteY998" fmla="*/ 711460 h 7391342"/>
              <a:gd name="connsiteX999" fmla="*/ 3609755 w 9114518"/>
              <a:gd name="connsiteY999" fmla="*/ 765815 h 7391342"/>
              <a:gd name="connsiteX1000" fmla="*/ 3606255 w 9114518"/>
              <a:gd name="connsiteY1000" fmla="*/ 818050 h 7391342"/>
              <a:gd name="connsiteX1001" fmla="*/ 3601138 w 9114518"/>
              <a:gd name="connsiteY1001" fmla="*/ 868093 h 7391342"/>
              <a:gd name="connsiteX1002" fmla="*/ 3594278 w 9114518"/>
              <a:gd name="connsiteY1002" fmla="*/ 915871 h 7391342"/>
              <a:gd name="connsiteX1003" fmla="*/ 3585548 w 9114518"/>
              <a:gd name="connsiteY1003" fmla="*/ 961314 h 7391342"/>
              <a:gd name="connsiteX1004" fmla="*/ 3574823 w 9114518"/>
              <a:gd name="connsiteY1004" fmla="*/ 1004347 h 7391342"/>
              <a:gd name="connsiteX1005" fmla="*/ 3561977 w 9114518"/>
              <a:gd name="connsiteY1005" fmla="*/ 1044900 h 7391342"/>
              <a:gd name="connsiteX1006" fmla="*/ 3546884 w 9114518"/>
              <a:gd name="connsiteY1006" fmla="*/ 1082900 h 7391342"/>
              <a:gd name="connsiteX1007" fmla="*/ 3529420 w 9114518"/>
              <a:gd name="connsiteY1007" fmla="*/ 1118275 h 7391342"/>
              <a:gd name="connsiteX1008" fmla="*/ 3509456 w 9114518"/>
              <a:gd name="connsiteY1008" fmla="*/ 1150953 h 7391342"/>
              <a:gd name="connsiteX1009" fmla="*/ 3461532 w 9114518"/>
              <a:gd name="connsiteY1009" fmla="*/ 1207927 h 7391342"/>
              <a:gd name="connsiteX1010" fmla="*/ 3402106 w 9114518"/>
              <a:gd name="connsiteY1010" fmla="*/ 1253245 h 7391342"/>
              <a:gd name="connsiteX1011" fmla="*/ 3367764 w 9114518"/>
              <a:gd name="connsiteY1011" fmla="*/ 1271353 h 7391342"/>
              <a:gd name="connsiteX1012" fmla="*/ 3330171 w 9114518"/>
              <a:gd name="connsiteY1012" fmla="*/ 1286331 h 7391342"/>
              <a:gd name="connsiteX1013" fmla="*/ 3289198 w 9114518"/>
              <a:gd name="connsiteY1013" fmla="*/ 1298106 h 7391342"/>
              <a:gd name="connsiteX1014" fmla="*/ 3244722 w 9114518"/>
              <a:gd name="connsiteY1014" fmla="*/ 1306606 h 7391342"/>
              <a:gd name="connsiteX1015" fmla="*/ 3196615 w 9114518"/>
              <a:gd name="connsiteY1015" fmla="*/ 1311759 h 7391342"/>
              <a:gd name="connsiteX1016" fmla="*/ 3144752 w 9114518"/>
              <a:gd name="connsiteY1016" fmla="*/ 1313492 h 7391342"/>
              <a:gd name="connsiteX1017" fmla="*/ 3144752 w 9114518"/>
              <a:gd name="connsiteY1017" fmla="*/ 1215571 h 7391342"/>
              <a:gd name="connsiteX1018" fmla="*/ 3194999 w 9114518"/>
              <a:gd name="connsiteY1018" fmla="*/ 1213312 h 7391342"/>
              <a:gd name="connsiteX1019" fmla="*/ 3240428 w 9114518"/>
              <a:gd name="connsiteY1019" fmla="*/ 1206617 h 7391342"/>
              <a:gd name="connsiteX1020" fmla="*/ 3281267 w 9114518"/>
              <a:gd name="connsiteY1020" fmla="*/ 1195604 h 7391342"/>
              <a:gd name="connsiteX1021" fmla="*/ 3317746 w 9114518"/>
              <a:gd name="connsiteY1021" fmla="*/ 1180393 h 7391342"/>
              <a:gd name="connsiteX1022" fmla="*/ 3378538 w 9114518"/>
              <a:gd name="connsiteY1022" fmla="*/ 1137856 h 7391342"/>
              <a:gd name="connsiteX1023" fmla="*/ 3424634 w 9114518"/>
              <a:gd name="connsiteY1023" fmla="*/ 1079963 h 7391342"/>
              <a:gd name="connsiteX1024" fmla="*/ 3442743 w 9114518"/>
              <a:gd name="connsiteY1024" fmla="*/ 1045557 h 7391342"/>
              <a:gd name="connsiteX1025" fmla="*/ 3457864 w 9114518"/>
              <a:gd name="connsiteY1025" fmla="*/ 1007670 h 7391342"/>
              <a:gd name="connsiteX1026" fmla="*/ 3470227 w 9114518"/>
              <a:gd name="connsiteY1026" fmla="*/ 966422 h 7391342"/>
              <a:gd name="connsiteX1027" fmla="*/ 3480060 w 9114518"/>
              <a:gd name="connsiteY1027" fmla="*/ 921934 h 7391342"/>
              <a:gd name="connsiteX1028" fmla="*/ 3487591 w 9114518"/>
              <a:gd name="connsiteY1028" fmla="*/ 874323 h 7391342"/>
              <a:gd name="connsiteX1029" fmla="*/ 3493051 w 9114518"/>
              <a:gd name="connsiteY1029" fmla="*/ 823711 h 7391342"/>
              <a:gd name="connsiteX1030" fmla="*/ 3496668 w 9114518"/>
              <a:gd name="connsiteY1030" fmla="*/ 770216 h 7391342"/>
              <a:gd name="connsiteX1031" fmla="*/ 3498670 w 9114518"/>
              <a:gd name="connsiteY1031" fmla="*/ 713959 h 7391342"/>
              <a:gd name="connsiteX1032" fmla="*/ 3499286 w 9114518"/>
              <a:gd name="connsiteY1032" fmla="*/ 655058 h 7391342"/>
              <a:gd name="connsiteX1033" fmla="*/ 3498637 w 9114518"/>
              <a:gd name="connsiteY1033" fmla="*/ 596735 h 7391342"/>
              <a:gd name="connsiteX1034" fmla="*/ 3496544 w 9114518"/>
              <a:gd name="connsiteY1034" fmla="*/ 541021 h 7391342"/>
              <a:gd name="connsiteX1035" fmla="*/ 3492792 w 9114518"/>
              <a:gd name="connsiteY1035" fmla="*/ 488034 h 7391342"/>
              <a:gd name="connsiteX1036" fmla="*/ 3487163 w 9114518"/>
              <a:gd name="connsiteY1036" fmla="*/ 437895 h 7391342"/>
              <a:gd name="connsiteX1037" fmla="*/ 3479442 w 9114518"/>
              <a:gd name="connsiteY1037" fmla="*/ 390722 h 7391342"/>
              <a:gd name="connsiteX1038" fmla="*/ 3469411 w 9114518"/>
              <a:gd name="connsiteY1038" fmla="*/ 346637 h 7391342"/>
              <a:gd name="connsiteX1039" fmla="*/ 3456855 w 9114518"/>
              <a:gd name="connsiteY1039" fmla="*/ 305757 h 7391342"/>
              <a:gd name="connsiteX1040" fmla="*/ 3441557 w 9114518"/>
              <a:gd name="connsiteY1040" fmla="*/ 268203 h 7391342"/>
              <a:gd name="connsiteX1041" fmla="*/ 3423300 w 9114518"/>
              <a:gd name="connsiteY1041" fmla="*/ 234095 h 7391342"/>
              <a:gd name="connsiteX1042" fmla="*/ 3377044 w 9114518"/>
              <a:gd name="connsiteY1042" fmla="*/ 176692 h 7391342"/>
              <a:gd name="connsiteX1043" fmla="*/ 3316354 w 9114518"/>
              <a:gd name="connsiteY1043" fmla="*/ 134506 h 7391342"/>
              <a:gd name="connsiteX1044" fmla="*/ 3280057 w 9114518"/>
              <a:gd name="connsiteY1044" fmla="*/ 119418 h 7391342"/>
              <a:gd name="connsiteX1045" fmla="*/ 3239501 w 9114518"/>
              <a:gd name="connsiteY1045" fmla="*/ 108493 h 7391342"/>
              <a:gd name="connsiteX1046" fmla="*/ 3194472 w 9114518"/>
              <a:gd name="connsiteY1046" fmla="*/ 101850 h 7391342"/>
              <a:gd name="connsiteX1047" fmla="*/ 3144752 w 9114518"/>
              <a:gd name="connsiteY1047" fmla="*/ 99609 h 739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Lst>
            <a:rect l="l" t="t" r="r" b="b"/>
            <a:pathLst>
              <a:path w="9114518" h="7391342">
                <a:moveTo>
                  <a:pt x="6423906" y="7111086"/>
                </a:moveTo>
                <a:lnTo>
                  <a:pt x="6633262" y="7111086"/>
                </a:lnTo>
                <a:lnTo>
                  <a:pt x="6633262" y="7286668"/>
                </a:lnTo>
                <a:lnTo>
                  <a:pt x="6423906" y="7286668"/>
                </a:lnTo>
                <a:close/>
                <a:moveTo>
                  <a:pt x="3371709" y="6959141"/>
                </a:moveTo>
                <a:lnTo>
                  <a:pt x="4286770" y="6959141"/>
                </a:lnTo>
                <a:lnTo>
                  <a:pt x="4286770" y="7067193"/>
                </a:lnTo>
                <a:lnTo>
                  <a:pt x="3371709" y="7067193"/>
                </a:lnTo>
                <a:close/>
                <a:moveTo>
                  <a:pt x="3371709" y="6606288"/>
                </a:moveTo>
                <a:lnTo>
                  <a:pt x="4286770" y="6606288"/>
                </a:lnTo>
                <a:lnTo>
                  <a:pt x="4286770" y="6714340"/>
                </a:lnTo>
                <a:lnTo>
                  <a:pt x="3371709" y="6714340"/>
                </a:lnTo>
                <a:close/>
                <a:moveTo>
                  <a:pt x="5418710" y="6084039"/>
                </a:moveTo>
                <a:lnTo>
                  <a:pt x="5796891" y="6084039"/>
                </a:lnTo>
                <a:lnTo>
                  <a:pt x="5796891" y="6180559"/>
                </a:lnTo>
                <a:lnTo>
                  <a:pt x="5796891" y="7291809"/>
                </a:lnTo>
                <a:lnTo>
                  <a:pt x="5796891" y="7388329"/>
                </a:lnTo>
                <a:lnTo>
                  <a:pt x="5418710" y="7388329"/>
                </a:lnTo>
                <a:lnTo>
                  <a:pt x="5418710" y="7291809"/>
                </a:lnTo>
                <a:lnTo>
                  <a:pt x="5680394" y="7291809"/>
                </a:lnTo>
                <a:lnTo>
                  <a:pt x="5680394" y="6180559"/>
                </a:lnTo>
                <a:lnTo>
                  <a:pt x="5418710" y="6180559"/>
                </a:lnTo>
                <a:close/>
                <a:moveTo>
                  <a:pt x="4939629" y="6084039"/>
                </a:moveTo>
                <a:lnTo>
                  <a:pt x="5317797" y="6084039"/>
                </a:lnTo>
                <a:lnTo>
                  <a:pt x="5317797" y="6180559"/>
                </a:lnTo>
                <a:lnTo>
                  <a:pt x="5056113" y="6180559"/>
                </a:lnTo>
                <a:lnTo>
                  <a:pt x="5056113" y="7291809"/>
                </a:lnTo>
                <a:lnTo>
                  <a:pt x="5317797" y="7291809"/>
                </a:lnTo>
                <a:lnTo>
                  <a:pt x="5317797" y="7388329"/>
                </a:lnTo>
                <a:lnTo>
                  <a:pt x="4939629" y="7388329"/>
                </a:lnTo>
                <a:lnTo>
                  <a:pt x="4939629" y="7291809"/>
                </a:lnTo>
                <a:lnTo>
                  <a:pt x="4939629" y="6180559"/>
                </a:lnTo>
                <a:close/>
                <a:moveTo>
                  <a:pt x="8646856" y="6077851"/>
                </a:moveTo>
                <a:lnTo>
                  <a:pt x="8698064" y="6079573"/>
                </a:lnTo>
                <a:lnTo>
                  <a:pt x="8745644" y="6084693"/>
                </a:lnTo>
                <a:lnTo>
                  <a:pt x="8789712" y="6093139"/>
                </a:lnTo>
                <a:lnTo>
                  <a:pt x="8830382" y="6104840"/>
                </a:lnTo>
                <a:lnTo>
                  <a:pt x="8867774" y="6119725"/>
                </a:lnTo>
                <a:lnTo>
                  <a:pt x="8902000" y="6137723"/>
                </a:lnTo>
                <a:lnTo>
                  <a:pt x="8961424" y="6182774"/>
                </a:lnTo>
                <a:lnTo>
                  <a:pt x="9009582" y="6239424"/>
                </a:lnTo>
                <a:lnTo>
                  <a:pt x="9029726" y="6271921"/>
                </a:lnTo>
                <a:lnTo>
                  <a:pt x="9047402" y="6307104"/>
                </a:lnTo>
                <a:lnTo>
                  <a:pt x="9062724" y="6344902"/>
                </a:lnTo>
                <a:lnTo>
                  <a:pt x="9075810" y="6385245"/>
                </a:lnTo>
                <a:lnTo>
                  <a:pt x="9086774" y="6428061"/>
                </a:lnTo>
                <a:lnTo>
                  <a:pt x="9095734" y="6473278"/>
                </a:lnTo>
                <a:lnTo>
                  <a:pt x="9102806" y="6520827"/>
                </a:lnTo>
                <a:lnTo>
                  <a:pt x="9108104" y="6570635"/>
                </a:lnTo>
                <a:lnTo>
                  <a:pt x="9111744" y="6622632"/>
                </a:lnTo>
                <a:lnTo>
                  <a:pt x="9113844" y="6676747"/>
                </a:lnTo>
                <a:lnTo>
                  <a:pt x="9114518" y="6732908"/>
                </a:lnTo>
                <a:lnTo>
                  <a:pt x="9113876" y="6789310"/>
                </a:lnTo>
                <a:lnTo>
                  <a:pt x="9111870" y="6843665"/>
                </a:lnTo>
                <a:lnTo>
                  <a:pt x="9108370" y="6895900"/>
                </a:lnTo>
                <a:lnTo>
                  <a:pt x="9103252" y="6945943"/>
                </a:lnTo>
                <a:lnTo>
                  <a:pt x="9096392" y="6993721"/>
                </a:lnTo>
                <a:lnTo>
                  <a:pt x="9087662" y="7039164"/>
                </a:lnTo>
                <a:lnTo>
                  <a:pt x="9076936" y="7082197"/>
                </a:lnTo>
                <a:lnTo>
                  <a:pt x="9064090" y="7122750"/>
                </a:lnTo>
                <a:lnTo>
                  <a:pt x="9048998" y="7160750"/>
                </a:lnTo>
                <a:lnTo>
                  <a:pt x="9031532" y="7196125"/>
                </a:lnTo>
                <a:lnTo>
                  <a:pt x="9011568" y="7228803"/>
                </a:lnTo>
                <a:lnTo>
                  <a:pt x="8963644" y="7285777"/>
                </a:lnTo>
                <a:lnTo>
                  <a:pt x="8904216" y="7331095"/>
                </a:lnTo>
                <a:lnTo>
                  <a:pt x="8869874" y="7349203"/>
                </a:lnTo>
                <a:lnTo>
                  <a:pt x="8832280" y="7364181"/>
                </a:lnTo>
                <a:lnTo>
                  <a:pt x="8791306" y="7375956"/>
                </a:lnTo>
                <a:lnTo>
                  <a:pt x="8746828" y="7384456"/>
                </a:lnTo>
                <a:lnTo>
                  <a:pt x="8698720" y="7389609"/>
                </a:lnTo>
                <a:lnTo>
                  <a:pt x="8646856" y="7391342"/>
                </a:lnTo>
                <a:lnTo>
                  <a:pt x="8646856" y="7293421"/>
                </a:lnTo>
                <a:lnTo>
                  <a:pt x="8697104" y="7291162"/>
                </a:lnTo>
                <a:lnTo>
                  <a:pt x="8742536" y="7284467"/>
                </a:lnTo>
                <a:lnTo>
                  <a:pt x="8783376" y="7273454"/>
                </a:lnTo>
                <a:lnTo>
                  <a:pt x="8819856" y="7258243"/>
                </a:lnTo>
                <a:lnTo>
                  <a:pt x="8880650" y="7215706"/>
                </a:lnTo>
                <a:lnTo>
                  <a:pt x="8926746" y="7157813"/>
                </a:lnTo>
                <a:lnTo>
                  <a:pt x="8944856" y="7123407"/>
                </a:lnTo>
                <a:lnTo>
                  <a:pt x="8959978" y="7085520"/>
                </a:lnTo>
                <a:lnTo>
                  <a:pt x="8972340" y="7044272"/>
                </a:lnTo>
                <a:lnTo>
                  <a:pt x="8982174" y="6999784"/>
                </a:lnTo>
                <a:lnTo>
                  <a:pt x="8989706" y="6952173"/>
                </a:lnTo>
                <a:lnTo>
                  <a:pt x="8995166" y="6901561"/>
                </a:lnTo>
                <a:lnTo>
                  <a:pt x="8998782" y="6848066"/>
                </a:lnTo>
                <a:lnTo>
                  <a:pt x="9000784" y="6791809"/>
                </a:lnTo>
                <a:lnTo>
                  <a:pt x="9001400" y="6732908"/>
                </a:lnTo>
                <a:lnTo>
                  <a:pt x="9000750" y="6674585"/>
                </a:lnTo>
                <a:lnTo>
                  <a:pt x="8998658" y="6618871"/>
                </a:lnTo>
                <a:lnTo>
                  <a:pt x="8994906" y="6565885"/>
                </a:lnTo>
                <a:lnTo>
                  <a:pt x="8989276" y="6515745"/>
                </a:lnTo>
                <a:lnTo>
                  <a:pt x="8981556" y="6468573"/>
                </a:lnTo>
                <a:lnTo>
                  <a:pt x="8971524" y="6424488"/>
                </a:lnTo>
                <a:lnTo>
                  <a:pt x="8958968" y="6383608"/>
                </a:lnTo>
                <a:lnTo>
                  <a:pt x="8943670" y="6346054"/>
                </a:lnTo>
                <a:lnTo>
                  <a:pt x="8925412" y="6311946"/>
                </a:lnTo>
                <a:lnTo>
                  <a:pt x="8879156" y="6254543"/>
                </a:lnTo>
                <a:lnTo>
                  <a:pt x="8818464" y="6212357"/>
                </a:lnTo>
                <a:lnTo>
                  <a:pt x="8782166" y="6197269"/>
                </a:lnTo>
                <a:lnTo>
                  <a:pt x="8741608" y="6186344"/>
                </a:lnTo>
                <a:lnTo>
                  <a:pt x="8696578" y="6179701"/>
                </a:lnTo>
                <a:lnTo>
                  <a:pt x="8646856" y="6177460"/>
                </a:lnTo>
                <a:close/>
                <a:moveTo>
                  <a:pt x="8553970" y="6077851"/>
                </a:moveTo>
                <a:lnTo>
                  <a:pt x="8553970" y="6177460"/>
                </a:lnTo>
                <a:lnTo>
                  <a:pt x="8504528" y="6179701"/>
                </a:lnTo>
                <a:lnTo>
                  <a:pt x="8459744" y="6186344"/>
                </a:lnTo>
                <a:lnTo>
                  <a:pt x="8419404" y="6197269"/>
                </a:lnTo>
                <a:lnTo>
                  <a:pt x="8383292" y="6212357"/>
                </a:lnTo>
                <a:lnTo>
                  <a:pt x="8322900" y="6254543"/>
                </a:lnTo>
                <a:lnTo>
                  <a:pt x="8276848" y="6311946"/>
                </a:lnTo>
                <a:lnTo>
                  <a:pt x="8258666" y="6346054"/>
                </a:lnTo>
                <a:lnTo>
                  <a:pt x="8243424" y="6383608"/>
                </a:lnTo>
                <a:lnTo>
                  <a:pt x="8230912" y="6424488"/>
                </a:lnTo>
                <a:lnTo>
                  <a:pt x="8220912" y="6468573"/>
                </a:lnTo>
                <a:lnTo>
                  <a:pt x="8213212" y="6515745"/>
                </a:lnTo>
                <a:lnTo>
                  <a:pt x="8207596" y="6565885"/>
                </a:lnTo>
                <a:lnTo>
                  <a:pt x="8203850" y="6618871"/>
                </a:lnTo>
                <a:lnTo>
                  <a:pt x="8201760" y="6674585"/>
                </a:lnTo>
                <a:lnTo>
                  <a:pt x="8201110" y="6732908"/>
                </a:lnTo>
                <a:lnTo>
                  <a:pt x="8201744" y="6791809"/>
                </a:lnTo>
                <a:lnTo>
                  <a:pt x="8203788" y="6848066"/>
                </a:lnTo>
                <a:lnTo>
                  <a:pt x="8207466" y="6901561"/>
                </a:lnTo>
                <a:lnTo>
                  <a:pt x="8212998" y="6952173"/>
                </a:lnTo>
                <a:lnTo>
                  <a:pt x="8220604" y="6999784"/>
                </a:lnTo>
                <a:lnTo>
                  <a:pt x="8230504" y="7044272"/>
                </a:lnTo>
                <a:lnTo>
                  <a:pt x="8242920" y="7085520"/>
                </a:lnTo>
                <a:lnTo>
                  <a:pt x="8258072" y="7123407"/>
                </a:lnTo>
                <a:lnTo>
                  <a:pt x="8276182" y="7157813"/>
                </a:lnTo>
                <a:lnTo>
                  <a:pt x="8322152" y="7215706"/>
                </a:lnTo>
                <a:lnTo>
                  <a:pt x="8382596" y="7258243"/>
                </a:lnTo>
                <a:lnTo>
                  <a:pt x="8418798" y="7273454"/>
                </a:lnTo>
                <a:lnTo>
                  <a:pt x="8459280" y="7284467"/>
                </a:lnTo>
                <a:lnTo>
                  <a:pt x="8504264" y="7291162"/>
                </a:lnTo>
                <a:lnTo>
                  <a:pt x="8553970" y="7293421"/>
                </a:lnTo>
                <a:lnTo>
                  <a:pt x="8553970" y="7391342"/>
                </a:lnTo>
                <a:lnTo>
                  <a:pt x="8502324" y="7389609"/>
                </a:lnTo>
                <a:lnTo>
                  <a:pt x="8454390" y="7384456"/>
                </a:lnTo>
                <a:lnTo>
                  <a:pt x="8410050" y="7375956"/>
                </a:lnTo>
                <a:lnTo>
                  <a:pt x="8369176" y="7364181"/>
                </a:lnTo>
                <a:lnTo>
                  <a:pt x="8331650" y="7349203"/>
                </a:lnTo>
                <a:lnTo>
                  <a:pt x="8297346" y="7331095"/>
                </a:lnTo>
                <a:lnTo>
                  <a:pt x="8237920" y="7285777"/>
                </a:lnTo>
                <a:lnTo>
                  <a:pt x="8189918" y="7228803"/>
                </a:lnTo>
                <a:lnTo>
                  <a:pt x="8169894" y="7196125"/>
                </a:lnTo>
                <a:lnTo>
                  <a:pt x="8152358" y="7160750"/>
                </a:lnTo>
                <a:lnTo>
                  <a:pt x="8137190" y="7122750"/>
                </a:lnTo>
                <a:lnTo>
                  <a:pt x="8124264" y="7082197"/>
                </a:lnTo>
                <a:lnTo>
                  <a:pt x="8113458" y="7039164"/>
                </a:lnTo>
                <a:lnTo>
                  <a:pt x="8104652" y="6993721"/>
                </a:lnTo>
                <a:lnTo>
                  <a:pt x="8097722" y="6945943"/>
                </a:lnTo>
                <a:lnTo>
                  <a:pt x="8092544" y="6895900"/>
                </a:lnTo>
                <a:lnTo>
                  <a:pt x="8088998" y="6843665"/>
                </a:lnTo>
                <a:lnTo>
                  <a:pt x="8086960" y="6789310"/>
                </a:lnTo>
                <a:lnTo>
                  <a:pt x="8086308" y="6732908"/>
                </a:lnTo>
                <a:lnTo>
                  <a:pt x="8086982" y="6676747"/>
                </a:lnTo>
                <a:lnTo>
                  <a:pt x="8089082" y="6622632"/>
                </a:lnTo>
                <a:lnTo>
                  <a:pt x="8092722" y="6570635"/>
                </a:lnTo>
                <a:lnTo>
                  <a:pt x="8098020" y="6520827"/>
                </a:lnTo>
                <a:lnTo>
                  <a:pt x="8105090" y="6473278"/>
                </a:lnTo>
                <a:lnTo>
                  <a:pt x="8114050" y="6428061"/>
                </a:lnTo>
                <a:lnTo>
                  <a:pt x="8125014" y="6385245"/>
                </a:lnTo>
                <a:lnTo>
                  <a:pt x="8138100" y="6344902"/>
                </a:lnTo>
                <a:lnTo>
                  <a:pt x="8153424" y="6307104"/>
                </a:lnTo>
                <a:lnTo>
                  <a:pt x="8171098" y="6271921"/>
                </a:lnTo>
                <a:lnTo>
                  <a:pt x="8191242" y="6239424"/>
                </a:lnTo>
                <a:lnTo>
                  <a:pt x="8239400" y="6182774"/>
                </a:lnTo>
                <a:lnTo>
                  <a:pt x="8298824" y="6137723"/>
                </a:lnTo>
                <a:lnTo>
                  <a:pt x="8333052" y="6119725"/>
                </a:lnTo>
                <a:lnTo>
                  <a:pt x="8370442" y="6104840"/>
                </a:lnTo>
                <a:lnTo>
                  <a:pt x="8411114" y="6093139"/>
                </a:lnTo>
                <a:lnTo>
                  <a:pt x="8455182" y="6084693"/>
                </a:lnTo>
                <a:lnTo>
                  <a:pt x="8502762" y="6079573"/>
                </a:lnTo>
                <a:close/>
                <a:moveTo>
                  <a:pt x="1425338" y="6077851"/>
                </a:moveTo>
                <a:lnTo>
                  <a:pt x="1476547" y="6079573"/>
                </a:lnTo>
                <a:lnTo>
                  <a:pt x="1524127" y="6084693"/>
                </a:lnTo>
                <a:lnTo>
                  <a:pt x="1568196" y="6093139"/>
                </a:lnTo>
                <a:lnTo>
                  <a:pt x="1608868" y="6104840"/>
                </a:lnTo>
                <a:lnTo>
                  <a:pt x="1646259" y="6119725"/>
                </a:lnTo>
                <a:lnTo>
                  <a:pt x="1680486" y="6137723"/>
                </a:lnTo>
                <a:lnTo>
                  <a:pt x="1739910" y="6182774"/>
                </a:lnTo>
                <a:lnTo>
                  <a:pt x="1788068" y="6239424"/>
                </a:lnTo>
                <a:lnTo>
                  <a:pt x="1808212" y="6271921"/>
                </a:lnTo>
                <a:lnTo>
                  <a:pt x="1825887" y="6307104"/>
                </a:lnTo>
                <a:lnTo>
                  <a:pt x="1841209" y="6344902"/>
                </a:lnTo>
                <a:lnTo>
                  <a:pt x="1854294" y="6385245"/>
                </a:lnTo>
                <a:lnTo>
                  <a:pt x="1865258" y="6428061"/>
                </a:lnTo>
                <a:lnTo>
                  <a:pt x="1874218" y="6473278"/>
                </a:lnTo>
                <a:lnTo>
                  <a:pt x="1881288" y="6520827"/>
                </a:lnTo>
                <a:lnTo>
                  <a:pt x="1886585" y="6570635"/>
                </a:lnTo>
                <a:lnTo>
                  <a:pt x="1890226" y="6622632"/>
                </a:lnTo>
                <a:lnTo>
                  <a:pt x="1892325" y="6676747"/>
                </a:lnTo>
                <a:lnTo>
                  <a:pt x="1892999" y="6732908"/>
                </a:lnTo>
                <a:lnTo>
                  <a:pt x="1892357" y="6789310"/>
                </a:lnTo>
                <a:lnTo>
                  <a:pt x="1890350" y="6843665"/>
                </a:lnTo>
                <a:lnTo>
                  <a:pt x="1886851" y="6895900"/>
                </a:lnTo>
                <a:lnTo>
                  <a:pt x="1881734" y="6945943"/>
                </a:lnTo>
                <a:lnTo>
                  <a:pt x="1874873" y="6993721"/>
                </a:lnTo>
                <a:lnTo>
                  <a:pt x="1866143" y="7039164"/>
                </a:lnTo>
                <a:lnTo>
                  <a:pt x="1855418" y="7082197"/>
                </a:lnTo>
                <a:lnTo>
                  <a:pt x="1842572" y="7122750"/>
                </a:lnTo>
                <a:lnTo>
                  <a:pt x="1827479" y="7160750"/>
                </a:lnTo>
                <a:lnTo>
                  <a:pt x="1810014" y="7196125"/>
                </a:lnTo>
                <a:lnTo>
                  <a:pt x="1790050" y="7228803"/>
                </a:lnTo>
                <a:lnTo>
                  <a:pt x="1742125" y="7285777"/>
                </a:lnTo>
                <a:lnTo>
                  <a:pt x="1682698" y="7331095"/>
                </a:lnTo>
                <a:lnTo>
                  <a:pt x="1648356" y="7349203"/>
                </a:lnTo>
                <a:lnTo>
                  <a:pt x="1610762" y="7364181"/>
                </a:lnTo>
                <a:lnTo>
                  <a:pt x="1569788" y="7375956"/>
                </a:lnTo>
                <a:lnTo>
                  <a:pt x="1525310" y="7384456"/>
                </a:lnTo>
                <a:lnTo>
                  <a:pt x="1477202" y="7389609"/>
                </a:lnTo>
                <a:lnTo>
                  <a:pt x="1425338" y="7391342"/>
                </a:lnTo>
                <a:lnTo>
                  <a:pt x="1425338" y="7293421"/>
                </a:lnTo>
                <a:lnTo>
                  <a:pt x="1475586" y="7291162"/>
                </a:lnTo>
                <a:lnTo>
                  <a:pt x="1521017" y="7284467"/>
                </a:lnTo>
                <a:lnTo>
                  <a:pt x="1561858" y="7273454"/>
                </a:lnTo>
                <a:lnTo>
                  <a:pt x="1598338" y="7258243"/>
                </a:lnTo>
                <a:lnTo>
                  <a:pt x="1659131" y="7215706"/>
                </a:lnTo>
                <a:lnTo>
                  <a:pt x="1705228" y="7157813"/>
                </a:lnTo>
                <a:lnTo>
                  <a:pt x="1723337" y="7123407"/>
                </a:lnTo>
                <a:lnTo>
                  <a:pt x="1738459" y="7085520"/>
                </a:lnTo>
                <a:lnTo>
                  <a:pt x="1750822" y="7044272"/>
                </a:lnTo>
                <a:lnTo>
                  <a:pt x="1760655" y="6999784"/>
                </a:lnTo>
                <a:lnTo>
                  <a:pt x="1768187" y="6952173"/>
                </a:lnTo>
                <a:lnTo>
                  <a:pt x="1773647" y="6901561"/>
                </a:lnTo>
                <a:lnTo>
                  <a:pt x="1777263" y="6848066"/>
                </a:lnTo>
                <a:lnTo>
                  <a:pt x="1779265" y="6791809"/>
                </a:lnTo>
                <a:lnTo>
                  <a:pt x="1779882" y="6732908"/>
                </a:lnTo>
                <a:lnTo>
                  <a:pt x="1779232" y="6674585"/>
                </a:lnTo>
                <a:lnTo>
                  <a:pt x="1777140" y="6618871"/>
                </a:lnTo>
                <a:lnTo>
                  <a:pt x="1773387" y="6565885"/>
                </a:lnTo>
                <a:lnTo>
                  <a:pt x="1767758" y="6515745"/>
                </a:lnTo>
                <a:lnTo>
                  <a:pt x="1760037" y="6468573"/>
                </a:lnTo>
                <a:lnTo>
                  <a:pt x="1750006" y="6424488"/>
                </a:lnTo>
                <a:lnTo>
                  <a:pt x="1737450" y="6383608"/>
                </a:lnTo>
                <a:lnTo>
                  <a:pt x="1722151" y="6346054"/>
                </a:lnTo>
                <a:lnTo>
                  <a:pt x="1703894" y="6311946"/>
                </a:lnTo>
                <a:lnTo>
                  <a:pt x="1657637" y="6254543"/>
                </a:lnTo>
                <a:lnTo>
                  <a:pt x="1596946" y="6212357"/>
                </a:lnTo>
                <a:lnTo>
                  <a:pt x="1560647" y="6197269"/>
                </a:lnTo>
                <a:lnTo>
                  <a:pt x="1520090" y="6186344"/>
                </a:lnTo>
                <a:lnTo>
                  <a:pt x="1475059" y="6179701"/>
                </a:lnTo>
                <a:lnTo>
                  <a:pt x="1425338" y="6177460"/>
                </a:lnTo>
                <a:close/>
                <a:moveTo>
                  <a:pt x="1332420" y="6077851"/>
                </a:moveTo>
                <a:lnTo>
                  <a:pt x="1332420" y="6177460"/>
                </a:lnTo>
                <a:lnTo>
                  <a:pt x="1282980" y="6179701"/>
                </a:lnTo>
                <a:lnTo>
                  <a:pt x="1238197" y="6186344"/>
                </a:lnTo>
                <a:lnTo>
                  <a:pt x="1197858" y="6197269"/>
                </a:lnTo>
                <a:lnTo>
                  <a:pt x="1161747" y="6212357"/>
                </a:lnTo>
                <a:lnTo>
                  <a:pt x="1101354" y="6254543"/>
                </a:lnTo>
                <a:lnTo>
                  <a:pt x="1055303" y="6311946"/>
                </a:lnTo>
                <a:lnTo>
                  <a:pt x="1037120" y="6346054"/>
                </a:lnTo>
                <a:lnTo>
                  <a:pt x="1021878" y="6383608"/>
                </a:lnTo>
                <a:lnTo>
                  <a:pt x="1009365" y="6424488"/>
                </a:lnTo>
                <a:lnTo>
                  <a:pt x="999365" y="6468573"/>
                </a:lnTo>
                <a:lnTo>
                  <a:pt x="991664" y="6515745"/>
                </a:lnTo>
                <a:lnTo>
                  <a:pt x="986047" y="6565885"/>
                </a:lnTo>
                <a:lnTo>
                  <a:pt x="982301" y="6618871"/>
                </a:lnTo>
                <a:lnTo>
                  <a:pt x="980210" y="6674585"/>
                </a:lnTo>
                <a:lnTo>
                  <a:pt x="979561" y="6732908"/>
                </a:lnTo>
                <a:lnTo>
                  <a:pt x="980194" y="6791809"/>
                </a:lnTo>
                <a:lnTo>
                  <a:pt x="982239" y="6848066"/>
                </a:lnTo>
                <a:lnTo>
                  <a:pt x="985918" y="6901561"/>
                </a:lnTo>
                <a:lnTo>
                  <a:pt x="991450" y="6952173"/>
                </a:lnTo>
                <a:lnTo>
                  <a:pt x="999056" y="6999784"/>
                </a:lnTo>
                <a:lnTo>
                  <a:pt x="1008957" y="7044272"/>
                </a:lnTo>
                <a:lnTo>
                  <a:pt x="1021374" y="7085520"/>
                </a:lnTo>
                <a:lnTo>
                  <a:pt x="1036527" y="7123407"/>
                </a:lnTo>
                <a:lnTo>
                  <a:pt x="1054636" y="7157813"/>
                </a:lnTo>
                <a:lnTo>
                  <a:pt x="1100607" y="7215706"/>
                </a:lnTo>
                <a:lnTo>
                  <a:pt x="1161051" y="7258243"/>
                </a:lnTo>
                <a:lnTo>
                  <a:pt x="1197253" y="7273454"/>
                </a:lnTo>
                <a:lnTo>
                  <a:pt x="1237734" y="7284467"/>
                </a:lnTo>
                <a:lnTo>
                  <a:pt x="1282716" y="7291162"/>
                </a:lnTo>
                <a:lnTo>
                  <a:pt x="1332420" y="7293421"/>
                </a:lnTo>
                <a:lnTo>
                  <a:pt x="1332420" y="7391342"/>
                </a:lnTo>
                <a:lnTo>
                  <a:pt x="1280774" y="7389609"/>
                </a:lnTo>
                <a:lnTo>
                  <a:pt x="1232841" y="7384456"/>
                </a:lnTo>
                <a:lnTo>
                  <a:pt x="1188500" y="7375956"/>
                </a:lnTo>
                <a:lnTo>
                  <a:pt x="1147627" y="7364181"/>
                </a:lnTo>
                <a:lnTo>
                  <a:pt x="1110100" y="7349203"/>
                </a:lnTo>
                <a:lnTo>
                  <a:pt x="1075796" y="7331095"/>
                </a:lnTo>
                <a:lnTo>
                  <a:pt x="1016370" y="7285777"/>
                </a:lnTo>
                <a:lnTo>
                  <a:pt x="968368" y="7228803"/>
                </a:lnTo>
                <a:lnTo>
                  <a:pt x="948344" y="7196125"/>
                </a:lnTo>
                <a:lnTo>
                  <a:pt x="930809" y="7160750"/>
                </a:lnTo>
                <a:lnTo>
                  <a:pt x="915640" y="7122750"/>
                </a:lnTo>
                <a:lnTo>
                  <a:pt x="902714" y="7082197"/>
                </a:lnTo>
                <a:lnTo>
                  <a:pt x="891909" y="7039164"/>
                </a:lnTo>
                <a:lnTo>
                  <a:pt x="883103" y="6993721"/>
                </a:lnTo>
                <a:lnTo>
                  <a:pt x="876172" y="6945943"/>
                </a:lnTo>
                <a:lnTo>
                  <a:pt x="870995" y="6895900"/>
                </a:lnTo>
                <a:lnTo>
                  <a:pt x="867449" y="6843665"/>
                </a:lnTo>
                <a:lnTo>
                  <a:pt x="865411" y="6789310"/>
                </a:lnTo>
                <a:lnTo>
                  <a:pt x="864759" y="6732908"/>
                </a:lnTo>
                <a:lnTo>
                  <a:pt x="865433" y="6676747"/>
                </a:lnTo>
                <a:lnTo>
                  <a:pt x="867532" y="6622632"/>
                </a:lnTo>
                <a:lnTo>
                  <a:pt x="871172" y="6570635"/>
                </a:lnTo>
                <a:lnTo>
                  <a:pt x="876470" y="6520827"/>
                </a:lnTo>
                <a:lnTo>
                  <a:pt x="883541" y="6473278"/>
                </a:lnTo>
                <a:lnTo>
                  <a:pt x="892501" y="6428061"/>
                </a:lnTo>
                <a:lnTo>
                  <a:pt x="903465" y="6385245"/>
                </a:lnTo>
                <a:lnTo>
                  <a:pt x="916551" y="6344902"/>
                </a:lnTo>
                <a:lnTo>
                  <a:pt x="931874" y="6307104"/>
                </a:lnTo>
                <a:lnTo>
                  <a:pt x="949549" y="6271921"/>
                </a:lnTo>
                <a:lnTo>
                  <a:pt x="969693" y="6239424"/>
                </a:lnTo>
                <a:lnTo>
                  <a:pt x="1017851" y="6182774"/>
                </a:lnTo>
                <a:lnTo>
                  <a:pt x="1077275" y="6137723"/>
                </a:lnTo>
                <a:lnTo>
                  <a:pt x="1111502" y="6119725"/>
                </a:lnTo>
                <a:lnTo>
                  <a:pt x="1148893" y="6104840"/>
                </a:lnTo>
                <a:lnTo>
                  <a:pt x="1189565" y="6093139"/>
                </a:lnTo>
                <a:lnTo>
                  <a:pt x="1233632" y="6084693"/>
                </a:lnTo>
                <a:lnTo>
                  <a:pt x="1281212" y="6079573"/>
                </a:lnTo>
                <a:close/>
                <a:moveTo>
                  <a:pt x="510883" y="5591624"/>
                </a:moveTo>
                <a:lnTo>
                  <a:pt x="553593" y="5595343"/>
                </a:lnTo>
                <a:lnTo>
                  <a:pt x="586648" y="5608717"/>
                </a:lnTo>
                <a:lnTo>
                  <a:pt x="607989" y="5635070"/>
                </a:lnTo>
                <a:lnTo>
                  <a:pt x="615560" y="5677726"/>
                </a:lnTo>
                <a:lnTo>
                  <a:pt x="607989" y="5722334"/>
                </a:lnTo>
                <a:lnTo>
                  <a:pt x="586648" y="5749689"/>
                </a:lnTo>
                <a:lnTo>
                  <a:pt x="553593" y="5763433"/>
                </a:lnTo>
                <a:lnTo>
                  <a:pt x="510883" y="5767206"/>
                </a:lnTo>
                <a:lnTo>
                  <a:pt x="468173" y="5763433"/>
                </a:lnTo>
                <a:lnTo>
                  <a:pt x="435118" y="5749689"/>
                </a:lnTo>
                <a:lnTo>
                  <a:pt x="413777" y="5722334"/>
                </a:lnTo>
                <a:lnTo>
                  <a:pt x="406206" y="5677726"/>
                </a:lnTo>
                <a:lnTo>
                  <a:pt x="414015" y="5635070"/>
                </a:lnTo>
                <a:lnTo>
                  <a:pt x="435754" y="5608717"/>
                </a:lnTo>
                <a:lnTo>
                  <a:pt x="468888" y="5595343"/>
                </a:lnTo>
                <a:close/>
                <a:moveTo>
                  <a:pt x="2493379" y="5439680"/>
                </a:moveTo>
                <a:lnTo>
                  <a:pt x="3408440" y="5439680"/>
                </a:lnTo>
                <a:lnTo>
                  <a:pt x="3408440" y="5547731"/>
                </a:lnTo>
                <a:lnTo>
                  <a:pt x="2493379" y="5547731"/>
                </a:lnTo>
                <a:close/>
                <a:moveTo>
                  <a:pt x="2493379" y="5086827"/>
                </a:moveTo>
                <a:lnTo>
                  <a:pt x="3408440" y="5086827"/>
                </a:lnTo>
                <a:lnTo>
                  <a:pt x="3408440" y="5194878"/>
                </a:lnTo>
                <a:lnTo>
                  <a:pt x="2493379" y="5194878"/>
                </a:lnTo>
                <a:close/>
                <a:moveTo>
                  <a:pt x="510883" y="4882541"/>
                </a:moveTo>
                <a:lnTo>
                  <a:pt x="553593" y="4886049"/>
                </a:lnTo>
                <a:lnTo>
                  <a:pt x="586648" y="4899212"/>
                </a:lnTo>
                <a:lnTo>
                  <a:pt x="607989" y="4925987"/>
                </a:lnTo>
                <a:lnTo>
                  <a:pt x="615560" y="4970332"/>
                </a:lnTo>
                <a:lnTo>
                  <a:pt x="607989" y="5013251"/>
                </a:lnTo>
                <a:lnTo>
                  <a:pt x="586648" y="5040185"/>
                </a:lnTo>
                <a:lnTo>
                  <a:pt x="553593" y="5054139"/>
                </a:lnTo>
                <a:lnTo>
                  <a:pt x="510883" y="5058123"/>
                </a:lnTo>
                <a:lnTo>
                  <a:pt x="469154" y="5054139"/>
                </a:lnTo>
                <a:lnTo>
                  <a:pt x="436602" y="5040185"/>
                </a:lnTo>
                <a:lnTo>
                  <a:pt x="415446" y="5013251"/>
                </a:lnTo>
                <a:lnTo>
                  <a:pt x="407902" y="4970332"/>
                </a:lnTo>
                <a:lnTo>
                  <a:pt x="415446" y="4925987"/>
                </a:lnTo>
                <a:lnTo>
                  <a:pt x="436602" y="4899212"/>
                </a:lnTo>
                <a:lnTo>
                  <a:pt x="469154" y="4886049"/>
                </a:lnTo>
                <a:close/>
                <a:moveTo>
                  <a:pt x="4158261" y="4558390"/>
                </a:moveTo>
                <a:lnTo>
                  <a:pt x="4209470" y="4560112"/>
                </a:lnTo>
                <a:lnTo>
                  <a:pt x="4257050" y="4565232"/>
                </a:lnTo>
                <a:lnTo>
                  <a:pt x="4301119" y="4573678"/>
                </a:lnTo>
                <a:lnTo>
                  <a:pt x="4341791" y="4585379"/>
                </a:lnTo>
                <a:lnTo>
                  <a:pt x="4379182" y="4600264"/>
                </a:lnTo>
                <a:lnTo>
                  <a:pt x="4413410" y="4618262"/>
                </a:lnTo>
                <a:lnTo>
                  <a:pt x="4472834" y="4663313"/>
                </a:lnTo>
                <a:lnTo>
                  <a:pt x="4520992" y="4719963"/>
                </a:lnTo>
                <a:lnTo>
                  <a:pt x="4541136" y="4752460"/>
                </a:lnTo>
                <a:lnTo>
                  <a:pt x="4558811" y="4787643"/>
                </a:lnTo>
                <a:lnTo>
                  <a:pt x="4574133" y="4825441"/>
                </a:lnTo>
                <a:lnTo>
                  <a:pt x="4587218" y="4865784"/>
                </a:lnTo>
                <a:lnTo>
                  <a:pt x="4598182" y="4908599"/>
                </a:lnTo>
                <a:lnTo>
                  <a:pt x="4607142" y="4953817"/>
                </a:lnTo>
                <a:lnTo>
                  <a:pt x="4614212" y="5001365"/>
                </a:lnTo>
                <a:lnTo>
                  <a:pt x="4619509" y="5051174"/>
                </a:lnTo>
                <a:lnTo>
                  <a:pt x="4623150" y="5103171"/>
                </a:lnTo>
                <a:lnTo>
                  <a:pt x="4625249" y="5157286"/>
                </a:lnTo>
                <a:lnTo>
                  <a:pt x="4625923" y="5213447"/>
                </a:lnTo>
                <a:lnTo>
                  <a:pt x="4625281" y="5269849"/>
                </a:lnTo>
                <a:lnTo>
                  <a:pt x="4623274" y="5324204"/>
                </a:lnTo>
                <a:lnTo>
                  <a:pt x="4619775" y="5376438"/>
                </a:lnTo>
                <a:lnTo>
                  <a:pt x="4614658" y="5426481"/>
                </a:lnTo>
                <a:lnTo>
                  <a:pt x="4607797" y="5474260"/>
                </a:lnTo>
                <a:lnTo>
                  <a:pt x="4599067" y="5519702"/>
                </a:lnTo>
                <a:lnTo>
                  <a:pt x="4588342" y="5562735"/>
                </a:lnTo>
                <a:lnTo>
                  <a:pt x="4575496" y="5603288"/>
                </a:lnTo>
                <a:lnTo>
                  <a:pt x="4560403" y="5641288"/>
                </a:lnTo>
                <a:lnTo>
                  <a:pt x="4542938" y="5676663"/>
                </a:lnTo>
                <a:lnTo>
                  <a:pt x="4522974" y="5709341"/>
                </a:lnTo>
                <a:lnTo>
                  <a:pt x="4475049" y="5766315"/>
                </a:lnTo>
                <a:lnTo>
                  <a:pt x="4415622" y="5811633"/>
                </a:lnTo>
                <a:lnTo>
                  <a:pt x="4381279" y="5829741"/>
                </a:lnTo>
                <a:lnTo>
                  <a:pt x="4343685" y="5844719"/>
                </a:lnTo>
                <a:lnTo>
                  <a:pt x="4302711" y="5856494"/>
                </a:lnTo>
                <a:lnTo>
                  <a:pt x="4258233" y="5864994"/>
                </a:lnTo>
                <a:lnTo>
                  <a:pt x="4210125" y="5870147"/>
                </a:lnTo>
                <a:lnTo>
                  <a:pt x="4158261" y="5871880"/>
                </a:lnTo>
                <a:lnTo>
                  <a:pt x="4158261" y="5773960"/>
                </a:lnTo>
                <a:lnTo>
                  <a:pt x="4208509" y="5771701"/>
                </a:lnTo>
                <a:lnTo>
                  <a:pt x="4253940" y="5765006"/>
                </a:lnTo>
                <a:lnTo>
                  <a:pt x="4294781" y="5753993"/>
                </a:lnTo>
                <a:lnTo>
                  <a:pt x="4331261" y="5738782"/>
                </a:lnTo>
                <a:lnTo>
                  <a:pt x="4392054" y="5696245"/>
                </a:lnTo>
                <a:lnTo>
                  <a:pt x="4438152" y="5638352"/>
                </a:lnTo>
                <a:lnTo>
                  <a:pt x="4456261" y="5603946"/>
                </a:lnTo>
                <a:lnTo>
                  <a:pt x="4471383" y="5566059"/>
                </a:lnTo>
                <a:lnTo>
                  <a:pt x="4483746" y="5524811"/>
                </a:lnTo>
                <a:lnTo>
                  <a:pt x="4493579" y="5480323"/>
                </a:lnTo>
                <a:lnTo>
                  <a:pt x="4501111" y="5432712"/>
                </a:lnTo>
                <a:lnTo>
                  <a:pt x="4506571" y="5382100"/>
                </a:lnTo>
                <a:lnTo>
                  <a:pt x="4510187" y="5328605"/>
                </a:lnTo>
                <a:lnTo>
                  <a:pt x="4512189" y="5272348"/>
                </a:lnTo>
                <a:lnTo>
                  <a:pt x="4512806" y="5213447"/>
                </a:lnTo>
                <a:lnTo>
                  <a:pt x="4512156" y="5155124"/>
                </a:lnTo>
                <a:lnTo>
                  <a:pt x="4510064" y="5099410"/>
                </a:lnTo>
                <a:lnTo>
                  <a:pt x="4506311" y="5046423"/>
                </a:lnTo>
                <a:lnTo>
                  <a:pt x="4500682" y="4996284"/>
                </a:lnTo>
                <a:lnTo>
                  <a:pt x="4492961" y="4949112"/>
                </a:lnTo>
                <a:lnTo>
                  <a:pt x="4482930" y="4905026"/>
                </a:lnTo>
                <a:lnTo>
                  <a:pt x="4470374" y="4864147"/>
                </a:lnTo>
                <a:lnTo>
                  <a:pt x="4455075" y="4826593"/>
                </a:lnTo>
                <a:lnTo>
                  <a:pt x="4436818" y="4792484"/>
                </a:lnTo>
                <a:lnTo>
                  <a:pt x="4390560" y="4735082"/>
                </a:lnTo>
                <a:lnTo>
                  <a:pt x="4329869" y="4692895"/>
                </a:lnTo>
                <a:lnTo>
                  <a:pt x="4293570" y="4677807"/>
                </a:lnTo>
                <a:lnTo>
                  <a:pt x="4253013" y="4666882"/>
                </a:lnTo>
                <a:lnTo>
                  <a:pt x="4207982" y="4660239"/>
                </a:lnTo>
                <a:lnTo>
                  <a:pt x="4158261" y="4657998"/>
                </a:lnTo>
                <a:close/>
                <a:moveTo>
                  <a:pt x="4065343" y="4558390"/>
                </a:moveTo>
                <a:lnTo>
                  <a:pt x="4065343" y="4657998"/>
                </a:lnTo>
                <a:lnTo>
                  <a:pt x="4015903" y="4660239"/>
                </a:lnTo>
                <a:lnTo>
                  <a:pt x="3971120" y="4666882"/>
                </a:lnTo>
                <a:lnTo>
                  <a:pt x="3930781" y="4677807"/>
                </a:lnTo>
                <a:lnTo>
                  <a:pt x="3894670" y="4692895"/>
                </a:lnTo>
                <a:lnTo>
                  <a:pt x="3834276" y="4735082"/>
                </a:lnTo>
                <a:lnTo>
                  <a:pt x="3788225" y="4792484"/>
                </a:lnTo>
                <a:lnTo>
                  <a:pt x="3770042" y="4826593"/>
                </a:lnTo>
                <a:lnTo>
                  <a:pt x="3754800" y="4864147"/>
                </a:lnTo>
                <a:lnTo>
                  <a:pt x="3742287" y="4905026"/>
                </a:lnTo>
                <a:lnTo>
                  <a:pt x="3732287" y="4949112"/>
                </a:lnTo>
                <a:lnTo>
                  <a:pt x="3724586" y="4996284"/>
                </a:lnTo>
                <a:lnTo>
                  <a:pt x="3718969" y="5046423"/>
                </a:lnTo>
                <a:lnTo>
                  <a:pt x="3715223" y="5099410"/>
                </a:lnTo>
                <a:lnTo>
                  <a:pt x="3713132" y="5155124"/>
                </a:lnTo>
                <a:lnTo>
                  <a:pt x="3712483" y="5213447"/>
                </a:lnTo>
                <a:lnTo>
                  <a:pt x="3713116" y="5272348"/>
                </a:lnTo>
                <a:lnTo>
                  <a:pt x="3715161" y="5328605"/>
                </a:lnTo>
                <a:lnTo>
                  <a:pt x="3718840" y="5382100"/>
                </a:lnTo>
                <a:lnTo>
                  <a:pt x="3724372" y="5432712"/>
                </a:lnTo>
                <a:lnTo>
                  <a:pt x="3731978" y="5480323"/>
                </a:lnTo>
                <a:lnTo>
                  <a:pt x="3741879" y="5524811"/>
                </a:lnTo>
                <a:lnTo>
                  <a:pt x="3754296" y="5566059"/>
                </a:lnTo>
                <a:lnTo>
                  <a:pt x="3769449" y="5603946"/>
                </a:lnTo>
                <a:lnTo>
                  <a:pt x="3787558" y="5638352"/>
                </a:lnTo>
                <a:lnTo>
                  <a:pt x="3833530" y="5696245"/>
                </a:lnTo>
                <a:lnTo>
                  <a:pt x="3893974" y="5738782"/>
                </a:lnTo>
                <a:lnTo>
                  <a:pt x="3930176" y="5753993"/>
                </a:lnTo>
                <a:lnTo>
                  <a:pt x="3970657" y="5765006"/>
                </a:lnTo>
                <a:lnTo>
                  <a:pt x="4015639" y="5771701"/>
                </a:lnTo>
                <a:lnTo>
                  <a:pt x="4065343" y="5773960"/>
                </a:lnTo>
                <a:lnTo>
                  <a:pt x="4065343" y="5871880"/>
                </a:lnTo>
                <a:lnTo>
                  <a:pt x="4013697" y="5870147"/>
                </a:lnTo>
                <a:lnTo>
                  <a:pt x="3965764" y="5864994"/>
                </a:lnTo>
                <a:lnTo>
                  <a:pt x="3921423" y="5856494"/>
                </a:lnTo>
                <a:lnTo>
                  <a:pt x="3880550" y="5844719"/>
                </a:lnTo>
                <a:lnTo>
                  <a:pt x="3843023" y="5829741"/>
                </a:lnTo>
                <a:lnTo>
                  <a:pt x="3808718" y="5811633"/>
                </a:lnTo>
                <a:lnTo>
                  <a:pt x="3749292" y="5766315"/>
                </a:lnTo>
                <a:lnTo>
                  <a:pt x="3701290" y="5709341"/>
                </a:lnTo>
                <a:lnTo>
                  <a:pt x="3681266" y="5676663"/>
                </a:lnTo>
                <a:lnTo>
                  <a:pt x="3663731" y="5641288"/>
                </a:lnTo>
                <a:lnTo>
                  <a:pt x="3648562" y="5603288"/>
                </a:lnTo>
                <a:lnTo>
                  <a:pt x="3635636" y="5562735"/>
                </a:lnTo>
                <a:lnTo>
                  <a:pt x="3624831" y="5519702"/>
                </a:lnTo>
                <a:lnTo>
                  <a:pt x="3616025" y="5474260"/>
                </a:lnTo>
                <a:lnTo>
                  <a:pt x="3609094" y="5426481"/>
                </a:lnTo>
                <a:lnTo>
                  <a:pt x="3603917" y="5376438"/>
                </a:lnTo>
                <a:lnTo>
                  <a:pt x="3600371" y="5324204"/>
                </a:lnTo>
                <a:lnTo>
                  <a:pt x="3598333" y="5269849"/>
                </a:lnTo>
                <a:lnTo>
                  <a:pt x="3597681" y="5213447"/>
                </a:lnTo>
                <a:lnTo>
                  <a:pt x="3598355" y="5157286"/>
                </a:lnTo>
                <a:lnTo>
                  <a:pt x="3600454" y="5103171"/>
                </a:lnTo>
                <a:lnTo>
                  <a:pt x="3604094" y="5051174"/>
                </a:lnTo>
                <a:lnTo>
                  <a:pt x="3609392" y="5001365"/>
                </a:lnTo>
                <a:lnTo>
                  <a:pt x="3616463" y="4953817"/>
                </a:lnTo>
                <a:lnTo>
                  <a:pt x="3625423" y="4908599"/>
                </a:lnTo>
                <a:lnTo>
                  <a:pt x="3636387" y="4865784"/>
                </a:lnTo>
                <a:lnTo>
                  <a:pt x="3649473" y="4825441"/>
                </a:lnTo>
                <a:lnTo>
                  <a:pt x="3664796" y="4787643"/>
                </a:lnTo>
                <a:lnTo>
                  <a:pt x="3682471" y="4752460"/>
                </a:lnTo>
                <a:lnTo>
                  <a:pt x="3702615" y="4719963"/>
                </a:lnTo>
                <a:lnTo>
                  <a:pt x="3750773" y="4663313"/>
                </a:lnTo>
                <a:lnTo>
                  <a:pt x="3810197" y="4618262"/>
                </a:lnTo>
                <a:lnTo>
                  <a:pt x="3844425" y="4600264"/>
                </a:lnTo>
                <a:lnTo>
                  <a:pt x="3881816" y="4585379"/>
                </a:lnTo>
                <a:lnTo>
                  <a:pt x="3922488" y="4573678"/>
                </a:lnTo>
                <a:lnTo>
                  <a:pt x="3966555" y="4565232"/>
                </a:lnTo>
                <a:lnTo>
                  <a:pt x="4014135" y="4560112"/>
                </a:lnTo>
                <a:close/>
                <a:moveTo>
                  <a:pt x="0" y="3920215"/>
                </a:moveTo>
                <a:lnTo>
                  <a:pt x="915049" y="3920215"/>
                </a:lnTo>
                <a:lnTo>
                  <a:pt x="915049" y="4028265"/>
                </a:lnTo>
                <a:lnTo>
                  <a:pt x="0" y="4028265"/>
                </a:lnTo>
                <a:close/>
                <a:moveTo>
                  <a:pt x="0" y="3567362"/>
                </a:moveTo>
                <a:lnTo>
                  <a:pt x="915049" y="3567362"/>
                </a:lnTo>
                <a:lnTo>
                  <a:pt x="915049" y="3675412"/>
                </a:lnTo>
                <a:lnTo>
                  <a:pt x="0" y="3675412"/>
                </a:lnTo>
                <a:close/>
                <a:moveTo>
                  <a:pt x="1617156" y="3046199"/>
                </a:moveTo>
                <a:lnTo>
                  <a:pt x="1995337" y="3046199"/>
                </a:lnTo>
                <a:lnTo>
                  <a:pt x="1995337" y="3141449"/>
                </a:lnTo>
                <a:lnTo>
                  <a:pt x="1995337" y="4252699"/>
                </a:lnTo>
                <a:lnTo>
                  <a:pt x="1995337" y="4349219"/>
                </a:lnTo>
                <a:lnTo>
                  <a:pt x="1617156" y="4349219"/>
                </a:lnTo>
                <a:lnTo>
                  <a:pt x="1617156" y="4252699"/>
                </a:lnTo>
                <a:lnTo>
                  <a:pt x="1878853" y="4252699"/>
                </a:lnTo>
                <a:lnTo>
                  <a:pt x="1878853" y="3141449"/>
                </a:lnTo>
                <a:lnTo>
                  <a:pt x="1617156" y="3141449"/>
                </a:lnTo>
                <a:close/>
                <a:moveTo>
                  <a:pt x="1138061" y="3046199"/>
                </a:moveTo>
                <a:lnTo>
                  <a:pt x="1516242" y="3046199"/>
                </a:lnTo>
                <a:lnTo>
                  <a:pt x="1516242" y="3141449"/>
                </a:lnTo>
                <a:lnTo>
                  <a:pt x="1254558" y="3141449"/>
                </a:lnTo>
                <a:lnTo>
                  <a:pt x="1254558" y="4252699"/>
                </a:lnTo>
                <a:lnTo>
                  <a:pt x="1516242" y="4252699"/>
                </a:lnTo>
                <a:lnTo>
                  <a:pt x="1516242" y="4349219"/>
                </a:lnTo>
                <a:lnTo>
                  <a:pt x="1138061" y="4349219"/>
                </a:lnTo>
                <a:lnTo>
                  <a:pt x="1138061" y="4252699"/>
                </a:lnTo>
                <a:lnTo>
                  <a:pt x="1138061" y="3141449"/>
                </a:lnTo>
                <a:close/>
                <a:moveTo>
                  <a:pt x="3641480" y="3038926"/>
                </a:moveTo>
                <a:lnTo>
                  <a:pt x="3692687" y="3040648"/>
                </a:lnTo>
                <a:lnTo>
                  <a:pt x="3740267" y="3045768"/>
                </a:lnTo>
                <a:lnTo>
                  <a:pt x="3784335" y="3054214"/>
                </a:lnTo>
                <a:lnTo>
                  <a:pt x="3825006" y="3065915"/>
                </a:lnTo>
                <a:lnTo>
                  <a:pt x="3862397" y="3080800"/>
                </a:lnTo>
                <a:lnTo>
                  <a:pt x="3896625" y="3098798"/>
                </a:lnTo>
                <a:lnTo>
                  <a:pt x="3956049" y="3143849"/>
                </a:lnTo>
                <a:lnTo>
                  <a:pt x="4004207" y="3200499"/>
                </a:lnTo>
                <a:lnTo>
                  <a:pt x="4024351" y="3232996"/>
                </a:lnTo>
                <a:lnTo>
                  <a:pt x="4042026" y="3268179"/>
                </a:lnTo>
                <a:lnTo>
                  <a:pt x="4057349" y="3305977"/>
                </a:lnTo>
                <a:lnTo>
                  <a:pt x="4070435" y="3346320"/>
                </a:lnTo>
                <a:lnTo>
                  <a:pt x="4081399" y="3389137"/>
                </a:lnTo>
                <a:lnTo>
                  <a:pt x="4090359" y="3434354"/>
                </a:lnTo>
                <a:lnTo>
                  <a:pt x="4097430" y="3481903"/>
                </a:lnTo>
                <a:lnTo>
                  <a:pt x="4102728" y="3531711"/>
                </a:lnTo>
                <a:lnTo>
                  <a:pt x="4106368" y="3583708"/>
                </a:lnTo>
                <a:lnTo>
                  <a:pt x="4108468" y="3637823"/>
                </a:lnTo>
                <a:lnTo>
                  <a:pt x="4109142" y="3693984"/>
                </a:lnTo>
                <a:lnTo>
                  <a:pt x="4108500" y="3750386"/>
                </a:lnTo>
                <a:lnTo>
                  <a:pt x="4106493" y="3804741"/>
                </a:lnTo>
                <a:lnTo>
                  <a:pt x="4102994" y="3856976"/>
                </a:lnTo>
                <a:lnTo>
                  <a:pt x="4097877" y="3907019"/>
                </a:lnTo>
                <a:lnTo>
                  <a:pt x="4091016" y="3954797"/>
                </a:lnTo>
                <a:lnTo>
                  <a:pt x="4082286" y="4000240"/>
                </a:lnTo>
                <a:lnTo>
                  <a:pt x="4071561" y="4043273"/>
                </a:lnTo>
                <a:lnTo>
                  <a:pt x="4058715" y="4083826"/>
                </a:lnTo>
                <a:lnTo>
                  <a:pt x="4043622" y="4121826"/>
                </a:lnTo>
                <a:lnTo>
                  <a:pt x="4026157" y="4157201"/>
                </a:lnTo>
                <a:lnTo>
                  <a:pt x="4006193" y="4189879"/>
                </a:lnTo>
                <a:lnTo>
                  <a:pt x="3958268" y="4246853"/>
                </a:lnTo>
                <a:lnTo>
                  <a:pt x="3898841" y="4292171"/>
                </a:lnTo>
                <a:lnTo>
                  <a:pt x="3864498" y="4310279"/>
                </a:lnTo>
                <a:lnTo>
                  <a:pt x="3826904" y="4325257"/>
                </a:lnTo>
                <a:lnTo>
                  <a:pt x="3785930" y="4337032"/>
                </a:lnTo>
                <a:lnTo>
                  <a:pt x="3741452" y="4345532"/>
                </a:lnTo>
                <a:lnTo>
                  <a:pt x="3693344" y="4350685"/>
                </a:lnTo>
                <a:lnTo>
                  <a:pt x="3641480" y="4352418"/>
                </a:lnTo>
                <a:lnTo>
                  <a:pt x="3641480" y="4254498"/>
                </a:lnTo>
                <a:lnTo>
                  <a:pt x="3691728" y="4252239"/>
                </a:lnTo>
                <a:lnTo>
                  <a:pt x="3737159" y="4245544"/>
                </a:lnTo>
                <a:lnTo>
                  <a:pt x="3778000" y="4234531"/>
                </a:lnTo>
                <a:lnTo>
                  <a:pt x="3814480" y="4219320"/>
                </a:lnTo>
                <a:lnTo>
                  <a:pt x="3875274" y="4176783"/>
                </a:lnTo>
                <a:lnTo>
                  <a:pt x="3921371" y="4118890"/>
                </a:lnTo>
                <a:lnTo>
                  <a:pt x="3939480" y="4084484"/>
                </a:lnTo>
                <a:lnTo>
                  <a:pt x="3954602" y="4046597"/>
                </a:lnTo>
                <a:lnTo>
                  <a:pt x="3966965" y="4005349"/>
                </a:lnTo>
                <a:lnTo>
                  <a:pt x="3976798" y="3960860"/>
                </a:lnTo>
                <a:lnTo>
                  <a:pt x="3984330" y="3913250"/>
                </a:lnTo>
                <a:lnTo>
                  <a:pt x="3989790" y="3862638"/>
                </a:lnTo>
                <a:lnTo>
                  <a:pt x="3993406" y="3809143"/>
                </a:lnTo>
                <a:lnTo>
                  <a:pt x="3995408" y="3752885"/>
                </a:lnTo>
                <a:lnTo>
                  <a:pt x="3996025" y="3693984"/>
                </a:lnTo>
                <a:lnTo>
                  <a:pt x="3995375" y="3635662"/>
                </a:lnTo>
                <a:lnTo>
                  <a:pt x="3993282" y="3579947"/>
                </a:lnTo>
                <a:lnTo>
                  <a:pt x="3989529" y="3526961"/>
                </a:lnTo>
                <a:lnTo>
                  <a:pt x="3983900" y="3476822"/>
                </a:lnTo>
                <a:lnTo>
                  <a:pt x="3976178" y="3429650"/>
                </a:lnTo>
                <a:lnTo>
                  <a:pt x="3966147" y="3385563"/>
                </a:lnTo>
                <a:lnTo>
                  <a:pt x="3953590" y="3344684"/>
                </a:lnTo>
                <a:lnTo>
                  <a:pt x="3938291" y="3307130"/>
                </a:lnTo>
                <a:lnTo>
                  <a:pt x="3920033" y="3273021"/>
                </a:lnTo>
                <a:lnTo>
                  <a:pt x="3873774" y="3215619"/>
                </a:lnTo>
                <a:lnTo>
                  <a:pt x="3813084" y="3173432"/>
                </a:lnTo>
                <a:lnTo>
                  <a:pt x="3776785" y="3158344"/>
                </a:lnTo>
                <a:lnTo>
                  <a:pt x="3736230" y="3147419"/>
                </a:lnTo>
                <a:lnTo>
                  <a:pt x="3691200" y="3140776"/>
                </a:lnTo>
                <a:lnTo>
                  <a:pt x="3641480" y="3138535"/>
                </a:lnTo>
                <a:close/>
                <a:moveTo>
                  <a:pt x="3548584" y="3038926"/>
                </a:moveTo>
                <a:lnTo>
                  <a:pt x="3548584" y="3138535"/>
                </a:lnTo>
                <a:lnTo>
                  <a:pt x="3499144" y="3140776"/>
                </a:lnTo>
                <a:lnTo>
                  <a:pt x="3454362" y="3147419"/>
                </a:lnTo>
                <a:lnTo>
                  <a:pt x="3414023" y="3158344"/>
                </a:lnTo>
                <a:lnTo>
                  <a:pt x="3377913" y="3173432"/>
                </a:lnTo>
                <a:lnTo>
                  <a:pt x="3317522" y="3215619"/>
                </a:lnTo>
                <a:lnTo>
                  <a:pt x="3271471" y="3273021"/>
                </a:lnTo>
                <a:lnTo>
                  <a:pt x="3253289" y="3307130"/>
                </a:lnTo>
                <a:lnTo>
                  <a:pt x="3238049" y="3344684"/>
                </a:lnTo>
                <a:lnTo>
                  <a:pt x="3225536" y="3385563"/>
                </a:lnTo>
                <a:lnTo>
                  <a:pt x="3215537" y="3429650"/>
                </a:lnTo>
                <a:lnTo>
                  <a:pt x="3207836" y="3476822"/>
                </a:lnTo>
                <a:lnTo>
                  <a:pt x="3202221" y="3526961"/>
                </a:lnTo>
                <a:lnTo>
                  <a:pt x="3198475" y="3579947"/>
                </a:lnTo>
                <a:lnTo>
                  <a:pt x="3196384" y="3635662"/>
                </a:lnTo>
                <a:lnTo>
                  <a:pt x="3195735" y="3693984"/>
                </a:lnTo>
                <a:lnTo>
                  <a:pt x="3196368" y="3752885"/>
                </a:lnTo>
                <a:lnTo>
                  <a:pt x="3198413" y="3809143"/>
                </a:lnTo>
                <a:lnTo>
                  <a:pt x="3202091" y="3862638"/>
                </a:lnTo>
                <a:lnTo>
                  <a:pt x="3207622" y="3913250"/>
                </a:lnTo>
                <a:lnTo>
                  <a:pt x="3215228" y="3960860"/>
                </a:lnTo>
                <a:lnTo>
                  <a:pt x="3225128" y="4005349"/>
                </a:lnTo>
                <a:lnTo>
                  <a:pt x="3237544" y="4046597"/>
                </a:lnTo>
                <a:lnTo>
                  <a:pt x="3252696" y="4084484"/>
                </a:lnTo>
                <a:lnTo>
                  <a:pt x="3270804" y="4118890"/>
                </a:lnTo>
                <a:lnTo>
                  <a:pt x="3316774" y="4176783"/>
                </a:lnTo>
                <a:lnTo>
                  <a:pt x="3377217" y="4219320"/>
                </a:lnTo>
                <a:lnTo>
                  <a:pt x="3413418" y="4234531"/>
                </a:lnTo>
                <a:lnTo>
                  <a:pt x="3453899" y="4245544"/>
                </a:lnTo>
                <a:lnTo>
                  <a:pt x="3498881" y="4252239"/>
                </a:lnTo>
                <a:lnTo>
                  <a:pt x="3548584" y="4254498"/>
                </a:lnTo>
                <a:lnTo>
                  <a:pt x="3548584" y="4352418"/>
                </a:lnTo>
                <a:lnTo>
                  <a:pt x="3496940" y="4350685"/>
                </a:lnTo>
                <a:lnTo>
                  <a:pt x="3449008" y="4345532"/>
                </a:lnTo>
                <a:lnTo>
                  <a:pt x="3404668" y="4337032"/>
                </a:lnTo>
                <a:lnTo>
                  <a:pt x="3363796" y="4325257"/>
                </a:lnTo>
                <a:lnTo>
                  <a:pt x="3326270" y="4310279"/>
                </a:lnTo>
                <a:lnTo>
                  <a:pt x="3291967" y="4292171"/>
                </a:lnTo>
                <a:lnTo>
                  <a:pt x="3232542" y="4246853"/>
                </a:lnTo>
                <a:lnTo>
                  <a:pt x="3184540" y="4189879"/>
                </a:lnTo>
                <a:lnTo>
                  <a:pt x="3164517" y="4157201"/>
                </a:lnTo>
                <a:lnTo>
                  <a:pt x="3146982" y="4121826"/>
                </a:lnTo>
                <a:lnTo>
                  <a:pt x="3131813" y="4083826"/>
                </a:lnTo>
                <a:lnTo>
                  <a:pt x="3118888" y="4043273"/>
                </a:lnTo>
                <a:lnTo>
                  <a:pt x="3108083" y="4000240"/>
                </a:lnTo>
                <a:lnTo>
                  <a:pt x="3099276" y="3954797"/>
                </a:lnTo>
                <a:lnTo>
                  <a:pt x="3092346" y="3907019"/>
                </a:lnTo>
                <a:lnTo>
                  <a:pt x="3087169" y="3856976"/>
                </a:lnTo>
                <a:lnTo>
                  <a:pt x="3083623" y="3804741"/>
                </a:lnTo>
                <a:lnTo>
                  <a:pt x="3081585" y="3750386"/>
                </a:lnTo>
                <a:lnTo>
                  <a:pt x="3080933" y="3693984"/>
                </a:lnTo>
                <a:lnTo>
                  <a:pt x="3081606" y="3637823"/>
                </a:lnTo>
                <a:lnTo>
                  <a:pt x="3083706" y="3583708"/>
                </a:lnTo>
                <a:lnTo>
                  <a:pt x="3087346" y="3531711"/>
                </a:lnTo>
                <a:lnTo>
                  <a:pt x="3092643" y="3481903"/>
                </a:lnTo>
                <a:lnTo>
                  <a:pt x="3099713" y="3434354"/>
                </a:lnTo>
                <a:lnTo>
                  <a:pt x="3108673" y="3389137"/>
                </a:lnTo>
                <a:lnTo>
                  <a:pt x="3119637" y="3346320"/>
                </a:lnTo>
                <a:lnTo>
                  <a:pt x="3132722" y="3305977"/>
                </a:lnTo>
                <a:lnTo>
                  <a:pt x="3148044" y="3268179"/>
                </a:lnTo>
                <a:lnTo>
                  <a:pt x="3165718" y="3232996"/>
                </a:lnTo>
                <a:lnTo>
                  <a:pt x="3185862" y="3200499"/>
                </a:lnTo>
                <a:lnTo>
                  <a:pt x="3234018" y="3143849"/>
                </a:lnTo>
                <a:lnTo>
                  <a:pt x="3293441" y="3098798"/>
                </a:lnTo>
                <a:lnTo>
                  <a:pt x="3327668" y="3080800"/>
                </a:lnTo>
                <a:lnTo>
                  <a:pt x="3365059" y="3065915"/>
                </a:lnTo>
                <a:lnTo>
                  <a:pt x="3405730" y="3054214"/>
                </a:lnTo>
                <a:lnTo>
                  <a:pt x="3449797" y="3045768"/>
                </a:lnTo>
                <a:lnTo>
                  <a:pt x="3497376" y="3040648"/>
                </a:lnTo>
                <a:close/>
                <a:moveTo>
                  <a:pt x="3678369" y="2400757"/>
                </a:moveTo>
                <a:lnTo>
                  <a:pt x="4593430" y="2400757"/>
                </a:lnTo>
                <a:lnTo>
                  <a:pt x="4593430" y="2508807"/>
                </a:lnTo>
                <a:lnTo>
                  <a:pt x="3678369" y="2508807"/>
                </a:lnTo>
                <a:close/>
                <a:moveTo>
                  <a:pt x="2579115" y="2400753"/>
                </a:moveTo>
                <a:lnTo>
                  <a:pt x="3494165" y="2400753"/>
                </a:lnTo>
                <a:lnTo>
                  <a:pt x="3494165" y="2508804"/>
                </a:lnTo>
                <a:lnTo>
                  <a:pt x="2579115" y="2508804"/>
                </a:lnTo>
                <a:close/>
                <a:moveTo>
                  <a:pt x="3678369" y="2047903"/>
                </a:moveTo>
                <a:lnTo>
                  <a:pt x="4593430" y="2047903"/>
                </a:lnTo>
                <a:lnTo>
                  <a:pt x="4593430" y="2155954"/>
                </a:lnTo>
                <a:lnTo>
                  <a:pt x="3678369" y="2155954"/>
                </a:lnTo>
                <a:close/>
                <a:moveTo>
                  <a:pt x="2579115" y="2047899"/>
                </a:moveTo>
                <a:lnTo>
                  <a:pt x="3494165" y="2047899"/>
                </a:lnTo>
                <a:lnTo>
                  <a:pt x="3494165" y="2155950"/>
                </a:lnTo>
                <a:lnTo>
                  <a:pt x="2579115" y="2155950"/>
                </a:lnTo>
                <a:close/>
                <a:moveTo>
                  <a:pt x="6202942" y="1519467"/>
                </a:moveTo>
                <a:lnTo>
                  <a:pt x="6254150" y="1521189"/>
                </a:lnTo>
                <a:lnTo>
                  <a:pt x="6301730" y="1526309"/>
                </a:lnTo>
                <a:lnTo>
                  <a:pt x="6345796" y="1534755"/>
                </a:lnTo>
                <a:lnTo>
                  <a:pt x="6386468" y="1546456"/>
                </a:lnTo>
                <a:lnTo>
                  <a:pt x="6423858" y="1561341"/>
                </a:lnTo>
                <a:lnTo>
                  <a:pt x="6458084" y="1579339"/>
                </a:lnTo>
                <a:lnTo>
                  <a:pt x="6517506" y="1624390"/>
                </a:lnTo>
                <a:lnTo>
                  <a:pt x="6565664" y="1681040"/>
                </a:lnTo>
                <a:lnTo>
                  <a:pt x="6585806" y="1713537"/>
                </a:lnTo>
                <a:lnTo>
                  <a:pt x="6603482" y="1748720"/>
                </a:lnTo>
                <a:lnTo>
                  <a:pt x="6618804" y="1786518"/>
                </a:lnTo>
                <a:lnTo>
                  <a:pt x="6631888" y="1826861"/>
                </a:lnTo>
                <a:lnTo>
                  <a:pt x="6642852" y="1869678"/>
                </a:lnTo>
                <a:lnTo>
                  <a:pt x="6651812" y="1914895"/>
                </a:lnTo>
                <a:lnTo>
                  <a:pt x="6658882" y="1962443"/>
                </a:lnTo>
                <a:lnTo>
                  <a:pt x="6664180" y="2012251"/>
                </a:lnTo>
                <a:lnTo>
                  <a:pt x="6667820" y="2064248"/>
                </a:lnTo>
                <a:lnTo>
                  <a:pt x="6669918" y="2118363"/>
                </a:lnTo>
                <a:lnTo>
                  <a:pt x="6670594" y="2174524"/>
                </a:lnTo>
                <a:lnTo>
                  <a:pt x="6669952" y="2230926"/>
                </a:lnTo>
                <a:lnTo>
                  <a:pt x="6667946" y="2285281"/>
                </a:lnTo>
                <a:lnTo>
                  <a:pt x="6664446" y="2337516"/>
                </a:lnTo>
                <a:lnTo>
                  <a:pt x="6659328" y="2387560"/>
                </a:lnTo>
                <a:lnTo>
                  <a:pt x="6652468" y="2435337"/>
                </a:lnTo>
                <a:lnTo>
                  <a:pt x="6643740" y="2480781"/>
                </a:lnTo>
                <a:lnTo>
                  <a:pt x="6633014" y="2523814"/>
                </a:lnTo>
                <a:lnTo>
                  <a:pt x="6620170" y="2564367"/>
                </a:lnTo>
                <a:lnTo>
                  <a:pt x="6605078" y="2602367"/>
                </a:lnTo>
                <a:lnTo>
                  <a:pt x="6587612" y="2637742"/>
                </a:lnTo>
                <a:lnTo>
                  <a:pt x="6567650" y="2670420"/>
                </a:lnTo>
                <a:lnTo>
                  <a:pt x="6519726" y="2727394"/>
                </a:lnTo>
                <a:lnTo>
                  <a:pt x="6460300" y="2772712"/>
                </a:lnTo>
                <a:lnTo>
                  <a:pt x="6425960" y="2790820"/>
                </a:lnTo>
                <a:lnTo>
                  <a:pt x="6388366" y="2805798"/>
                </a:lnTo>
                <a:lnTo>
                  <a:pt x="6347392" y="2817573"/>
                </a:lnTo>
                <a:lnTo>
                  <a:pt x="6302914" y="2826073"/>
                </a:lnTo>
                <a:lnTo>
                  <a:pt x="6254806" y="2831226"/>
                </a:lnTo>
                <a:lnTo>
                  <a:pt x="6202942" y="2832959"/>
                </a:lnTo>
                <a:lnTo>
                  <a:pt x="6202942" y="2735039"/>
                </a:lnTo>
                <a:lnTo>
                  <a:pt x="6253190" y="2732780"/>
                </a:lnTo>
                <a:lnTo>
                  <a:pt x="6298622" y="2726085"/>
                </a:lnTo>
                <a:lnTo>
                  <a:pt x="6339462" y="2715072"/>
                </a:lnTo>
                <a:lnTo>
                  <a:pt x="6375942" y="2699861"/>
                </a:lnTo>
                <a:lnTo>
                  <a:pt x="6436736" y="2657324"/>
                </a:lnTo>
                <a:lnTo>
                  <a:pt x="6482832" y="2599431"/>
                </a:lnTo>
                <a:lnTo>
                  <a:pt x="6500942" y="2565024"/>
                </a:lnTo>
                <a:lnTo>
                  <a:pt x="6516064" y="2527138"/>
                </a:lnTo>
                <a:lnTo>
                  <a:pt x="6528426" y="2485890"/>
                </a:lnTo>
                <a:lnTo>
                  <a:pt x="6538260" y="2441401"/>
                </a:lnTo>
                <a:lnTo>
                  <a:pt x="6545792" y="2393791"/>
                </a:lnTo>
                <a:lnTo>
                  <a:pt x="6551252" y="2343178"/>
                </a:lnTo>
                <a:lnTo>
                  <a:pt x="6554868" y="2289683"/>
                </a:lnTo>
                <a:lnTo>
                  <a:pt x="6556870" y="2233425"/>
                </a:lnTo>
                <a:lnTo>
                  <a:pt x="6557486" y="2174524"/>
                </a:lnTo>
                <a:lnTo>
                  <a:pt x="6556836" y="2116203"/>
                </a:lnTo>
                <a:lnTo>
                  <a:pt x="6554744" y="2060487"/>
                </a:lnTo>
                <a:lnTo>
                  <a:pt x="6550990" y="2007501"/>
                </a:lnTo>
                <a:lnTo>
                  <a:pt x="6545362" y="1957362"/>
                </a:lnTo>
                <a:lnTo>
                  <a:pt x="6537640" y="1910190"/>
                </a:lnTo>
                <a:lnTo>
                  <a:pt x="6527608" y="1866104"/>
                </a:lnTo>
                <a:lnTo>
                  <a:pt x="6515052" y="1825226"/>
                </a:lnTo>
                <a:lnTo>
                  <a:pt x="6499752" y="1787671"/>
                </a:lnTo>
                <a:lnTo>
                  <a:pt x="6481494" y="1753562"/>
                </a:lnTo>
                <a:lnTo>
                  <a:pt x="6435236" y="1696160"/>
                </a:lnTo>
                <a:lnTo>
                  <a:pt x="6374546" y="1653973"/>
                </a:lnTo>
                <a:lnTo>
                  <a:pt x="6338248" y="1638885"/>
                </a:lnTo>
                <a:lnTo>
                  <a:pt x="6297692" y="1627960"/>
                </a:lnTo>
                <a:lnTo>
                  <a:pt x="6252662" y="1621317"/>
                </a:lnTo>
                <a:lnTo>
                  <a:pt x="6202942" y="1619076"/>
                </a:lnTo>
                <a:close/>
                <a:moveTo>
                  <a:pt x="6110023" y="1519467"/>
                </a:moveTo>
                <a:lnTo>
                  <a:pt x="6110023" y="1619076"/>
                </a:lnTo>
                <a:lnTo>
                  <a:pt x="6060583" y="1621317"/>
                </a:lnTo>
                <a:lnTo>
                  <a:pt x="6015801" y="1627960"/>
                </a:lnTo>
                <a:lnTo>
                  <a:pt x="5975462" y="1638885"/>
                </a:lnTo>
                <a:lnTo>
                  <a:pt x="5939352" y="1653973"/>
                </a:lnTo>
                <a:lnTo>
                  <a:pt x="5878960" y="1696160"/>
                </a:lnTo>
                <a:lnTo>
                  <a:pt x="5832910" y="1753562"/>
                </a:lnTo>
                <a:lnTo>
                  <a:pt x="5814728" y="1787671"/>
                </a:lnTo>
                <a:lnTo>
                  <a:pt x="5799488" y="1825226"/>
                </a:lnTo>
                <a:lnTo>
                  <a:pt x="5786975" y="1866104"/>
                </a:lnTo>
                <a:lnTo>
                  <a:pt x="5776976" y="1910190"/>
                </a:lnTo>
                <a:lnTo>
                  <a:pt x="5769275" y="1957362"/>
                </a:lnTo>
                <a:lnTo>
                  <a:pt x="5763660" y="2007501"/>
                </a:lnTo>
                <a:lnTo>
                  <a:pt x="5759914" y="2060487"/>
                </a:lnTo>
                <a:lnTo>
                  <a:pt x="5757823" y="2116203"/>
                </a:lnTo>
                <a:lnTo>
                  <a:pt x="5757174" y="2174524"/>
                </a:lnTo>
                <a:lnTo>
                  <a:pt x="5757807" y="2233425"/>
                </a:lnTo>
                <a:lnTo>
                  <a:pt x="5759852" y="2289683"/>
                </a:lnTo>
                <a:lnTo>
                  <a:pt x="5763530" y="2343178"/>
                </a:lnTo>
                <a:lnTo>
                  <a:pt x="5769061" y="2393791"/>
                </a:lnTo>
                <a:lnTo>
                  <a:pt x="5776667" y="2441401"/>
                </a:lnTo>
                <a:lnTo>
                  <a:pt x="5786567" y="2485890"/>
                </a:lnTo>
                <a:lnTo>
                  <a:pt x="5798983" y="2527138"/>
                </a:lnTo>
                <a:lnTo>
                  <a:pt x="5814135" y="2565024"/>
                </a:lnTo>
                <a:lnTo>
                  <a:pt x="5832243" y="2599431"/>
                </a:lnTo>
                <a:lnTo>
                  <a:pt x="5878214" y="2657324"/>
                </a:lnTo>
                <a:lnTo>
                  <a:pt x="5938656" y="2699861"/>
                </a:lnTo>
                <a:lnTo>
                  <a:pt x="5974857" y="2715072"/>
                </a:lnTo>
                <a:lnTo>
                  <a:pt x="6015338" y="2726085"/>
                </a:lnTo>
                <a:lnTo>
                  <a:pt x="6060320" y="2732780"/>
                </a:lnTo>
                <a:lnTo>
                  <a:pt x="6110023" y="2735039"/>
                </a:lnTo>
                <a:lnTo>
                  <a:pt x="6110023" y="2832959"/>
                </a:lnTo>
                <a:lnTo>
                  <a:pt x="6058379" y="2831226"/>
                </a:lnTo>
                <a:lnTo>
                  <a:pt x="6010447" y="2826073"/>
                </a:lnTo>
                <a:lnTo>
                  <a:pt x="5966107" y="2817573"/>
                </a:lnTo>
                <a:lnTo>
                  <a:pt x="5925235" y="2805798"/>
                </a:lnTo>
                <a:lnTo>
                  <a:pt x="5887709" y="2790820"/>
                </a:lnTo>
                <a:lnTo>
                  <a:pt x="5853406" y="2772712"/>
                </a:lnTo>
                <a:lnTo>
                  <a:pt x="5793981" y="2727394"/>
                </a:lnTo>
                <a:lnTo>
                  <a:pt x="5745979" y="2670420"/>
                </a:lnTo>
                <a:lnTo>
                  <a:pt x="5725956" y="2637742"/>
                </a:lnTo>
                <a:lnTo>
                  <a:pt x="5708421" y="2602367"/>
                </a:lnTo>
                <a:lnTo>
                  <a:pt x="5693252" y="2564367"/>
                </a:lnTo>
                <a:lnTo>
                  <a:pt x="5680327" y="2523814"/>
                </a:lnTo>
                <a:lnTo>
                  <a:pt x="5669522" y="2480781"/>
                </a:lnTo>
                <a:lnTo>
                  <a:pt x="5660715" y="2435337"/>
                </a:lnTo>
                <a:lnTo>
                  <a:pt x="5653785" y="2387560"/>
                </a:lnTo>
                <a:lnTo>
                  <a:pt x="5648608" y="2337516"/>
                </a:lnTo>
                <a:lnTo>
                  <a:pt x="5645062" y="2285281"/>
                </a:lnTo>
                <a:lnTo>
                  <a:pt x="5643024" y="2230926"/>
                </a:lnTo>
                <a:lnTo>
                  <a:pt x="5642372" y="2174524"/>
                </a:lnTo>
                <a:lnTo>
                  <a:pt x="5643045" y="2118363"/>
                </a:lnTo>
                <a:lnTo>
                  <a:pt x="5645145" y="2064248"/>
                </a:lnTo>
                <a:lnTo>
                  <a:pt x="5648785" y="2012251"/>
                </a:lnTo>
                <a:lnTo>
                  <a:pt x="5654082" y="1962443"/>
                </a:lnTo>
                <a:lnTo>
                  <a:pt x="5661152" y="1914895"/>
                </a:lnTo>
                <a:lnTo>
                  <a:pt x="5670112" y="1869678"/>
                </a:lnTo>
                <a:lnTo>
                  <a:pt x="5681076" y="1826861"/>
                </a:lnTo>
                <a:lnTo>
                  <a:pt x="5694161" y="1786518"/>
                </a:lnTo>
                <a:lnTo>
                  <a:pt x="5709483" y="1748720"/>
                </a:lnTo>
                <a:lnTo>
                  <a:pt x="5727157" y="1713537"/>
                </a:lnTo>
                <a:lnTo>
                  <a:pt x="5747301" y="1681040"/>
                </a:lnTo>
                <a:lnTo>
                  <a:pt x="5795457" y="1624390"/>
                </a:lnTo>
                <a:lnTo>
                  <a:pt x="5854880" y="1579339"/>
                </a:lnTo>
                <a:lnTo>
                  <a:pt x="5889107" y="1561341"/>
                </a:lnTo>
                <a:lnTo>
                  <a:pt x="5926498" y="1546456"/>
                </a:lnTo>
                <a:lnTo>
                  <a:pt x="5967169" y="1534755"/>
                </a:lnTo>
                <a:lnTo>
                  <a:pt x="6011236" y="1526309"/>
                </a:lnTo>
                <a:lnTo>
                  <a:pt x="6058815" y="1521189"/>
                </a:lnTo>
                <a:close/>
                <a:moveTo>
                  <a:pt x="4207776" y="1033233"/>
                </a:moveTo>
                <a:lnTo>
                  <a:pt x="4417120" y="1033233"/>
                </a:lnTo>
                <a:lnTo>
                  <a:pt x="4417120" y="1208814"/>
                </a:lnTo>
                <a:lnTo>
                  <a:pt x="4207776" y="1208814"/>
                </a:lnTo>
                <a:close/>
                <a:moveTo>
                  <a:pt x="5865088" y="881295"/>
                </a:moveTo>
                <a:lnTo>
                  <a:pt x="6780150" y="881295"/>
                </a:lnTo>
                <a:lnTo>
                  <a:pt x="6780150" y="989345"/>
                </a:lnTo>
                <a:lnTo>
                  <a:pt x="5865088" y="989345"/>
                </a:lnTo>
                <a:close/>
                <a:moveTo>
                  <a:pt x="5865088" y="528441"/>
                </a:moveTo>
                <a:lnTo>
                  <a:pt x="6780150" y="528441"/>
                </a:lnTo>
                <a:lnTo>
                  <a:pt x="6780150" y="636492"/>
                </a:lnTo>
                <a:lnTo>
                  <a:pt x="5865088" y="636492"/>
                </a:lnTo>
                <a:close/>
                <a:moveTo>
                  <a:pt x="7862878" y="7089"/>
                </a:moveTo>
                <a:lnTo>
                  <a:pt x="8241058" y="7089"/>
                </a:lnTo>
                <a:lnTo>
                  <a:pt x="8241058" y="103609"/>
                </a:lnTo>
                <a:lnTo>
                  <a:pt x="7979374" y="103609"/>
                </a:lnTo>
                <a:lnTo>
                  <a:pt x="7979374" y="1213589"/>
                </a:lnTo>
                <a:lnTo>
                  <a:pt x="8241058" y="1213589"/>
                </a:lnTo>
                <a:lnTo>
                  <a:pt x="8241058" y="1310109"/>
                </a:lnTo>
                <a:lnTo>
                  <a:pt x="7862878" y="1310109"/>
                </a:lnTo>
                <a:lnTo>
                  <a:pt x="7862878" y="1213589"/>
                </a:lnTo>
                <a:lnTo>
                  <a:pt x="7862878" y="103609"/>
                </a:lnTo>
                <a:close/>
                <a:moveTo>
                  <a:pt x="3051834" y="2"/>
                </a:moveTo>
                <a:lnTo>
                  <a:pt x="3051834" y="99613"/>
                </a:lnTo>
                <a:lnTo>
                  <a:pt x="3002394" y="101852"/>
                </a:lnTo>
                <a:lnTo>
                  <a:pt x="2957611" y="108497"/>
                </a:lnTo>
                <a:lnTo>
                  <a:pt x="2917272" y="119421"/>
                </a:lnTo>
                <a:lnTo>
                  <a:pt x="2881161" y="134509"/>
                </a:lnTo>
                <a:lnTo>
                  <a:pt x="2820768" y="176694"/>
                </a:lnTo>
                <a:lnTo>
                  <a:pt x="2774716" y="234098"/>
                </a:lnTo>
                <a:lnTo>
                  <a:pt x="2756533" y="268206"/>
                </a:lnTo>
                <a:lnTo>
                  <a:pt x="2741291" y="305760"/>
                </a:lnTo>
                <a:lnTo>
                  <a:pt x="2728778" y="346640"/>
                </a:lnTo>
                <a:lnTo>
                  <a:pt x="2718778" y="390725"/>
                </a:lnTo>
                <a:lnTo>
                  <a:pt x="2711077" y="437898"/>
                </a:lnTo>
                <a:lnTo>
                  <a:pt x="2705460" y="488037"/>
                </a:lnTo>
                <a:lnTo>
                  <a:pt x="2701714" y="541024"/>
                </a:lnTo>
                <a:lnTo>
                  <a:pt x="2699623" y="596738"/>
                </a:lnTo>
                <a:lnTo>
                  <a:pt x="2698974" y="655061"/>
                </a:lnTo>
                <a:lnTo>
                  <a:pt x="2699607" y="713962"/>
                </a:lnTo>
                <a:lnTo>
                  <a:pt x="2701652" y="770219"/>
                </a:lnTo>
                <a:lnTo>
                  <a:pt x="2705331" y="823713"/>
                </a:lnTo>
                <a:lnTo>
                  <a:pt x="2710863" y="874325"/>
                </a:lnTo>
                <a:lnTo>
                  <a:pt x="2718469" y="921936"/>
                </a:lnTo>
                <a:lnTo>
                  <a:pt x="2728370" y="966424"/>
                </a:lnTo>
                <a:lnTo>
                  <a:pt x="2740787" y="1007672"/>
                </a:lnTo>
                <a:lnTo>
                  <a:pt x="2755940" y="1045559"/>
                </a:lnTo>
                <a:lnTo>
                  <a:pt x="2774049" y="1079966"/>
                </a:lnTo>
                <a:lnTo>
                  <a:pt x="2820020" y="1137858"/>
                </a:lnTo>
                <a:lnTo>
                  <a:pt x="2880465" y="1180395"/>
                </a:lnTo>
                <a:lnTo>
                  <a:pt x="2916667" y="1195607"/>
                </a:lnTo>
                <a:lnTo>
                  <a:pt x="2957148" y="1206620"/>
                </a:lnTo>
                <a:lnTo>
                  <a:pt x="3002130" y="1213314"/>
                </a:lnTo>
                <a:lnTo>
                  <a:pt x="3051834" y="1215573"/>
                </a:lnTo>
                <a:lnTo>
                  <a:pt x="3051834" y="1313495"/>
                </a:lnTo>
                <a:lnTo>
                  <a:pt x="3000188" y="1311761"/>
                </a:lnTo>
                <a:lnTo>
                  <a:pt x="2952255" y="1306609"/>
                </a:lnTo>
                <a:lnTo>
                  <a:pt x="2907914" y="1298108"/>
                </a:lnTo>
                <a:lnTo>
                  <a:pt x="2867041" y="1286333"/>
                </a:lnTo>
                <a:lnTo>
                  <a:pt x="2829514" y="1271355"/>
                </a:lnTo>
                <a:lnTo>
                  <a:pt x="2795209" y="1253247"/>
                </a:lnTo>
                <a:lnTo>
                  <a:pt x="2735783" y="1207930"/>
                </a:lnTo>
                <a:lnTo>
                  <a:pt x="2687781" y="1150955"/>
                </a:lnTo>
                <a:lnTo>
                  <a:pt x="2667757" y="1118277"/>
                </a:lnTo>
                <a:lnTo>
                  <a:pt x="2650222" y="1082902"/>
                </a:lnTo>
                <a:lnTo>
                  <a:pt x="2635053" y="1044902"/>
                </a:lnTo>
                <a:lnTo>
                  <a:pt x="2622127" y="1004349"/>
                </a:lnTo>
                <a:lnTo>
                  <a:pt x="2611322" y="961316"/>
                </a:lnTo>
                <a:lnTo>
                  <a:pt x="2602516" y="915873"/>
                </a:lnTo>
                <a:lnTo>
                  <a:pt x="2595585" y="868095"/>
                </a:lnTo>
                <a:lnTo>
                  <a:pt x="2590408" y="818052"/>
                </a:lnTo>
                <a:lnTo>
                  <a:pt x="2586862" y="765818"/>
                </a:lnTo>
                <a:lnTo>
                  <a:pt x="2584824" y="711463"/>
                </a:lnTo>
                <a:lnTo>
                  <a:pt x="2584172" y="655061"/>
                </a:lnTo>
                <a:lnTo>
                  <a:pt x="2584846" y="598899"/>
                </a:lnTo>
                <a:lnTo>
                  <a:pt x="2586945" y="544784"/>
                </a:lnTo>
                <a:lnTo>
                  <a:pt x="2590585" y="492788"/>
                </a:lnTo>
                <a:lnTo>
                  <a:pt x="2595883" y="442980"/>
                </a:lnTo>
                <a:lnTo>
                  <a:pt x="2602954" y="395431"/>
                </a:lnTo>
                <a:lnTo>
                  <a:pt x="2611914" y="350213"/>
                </a:lnTo>
                <a:lnTo>
                  <a:pt x="2622878" y="307398"/>
                </a:lnTo>
                <a:lnTo>
                  <a:pt x="2635964" y="267054"/>
                </a:lnTo>
                <a:lnTo>
                  <a:pt x="2651287" y="229257"/>
                </a:lnTo>
                <a:lnTo>
                  <a:pt x="2668962" y="194074"/>
                </a:lnTo>
                <a:lnTo>
                  <a:pt x="2689106" y="161576"/>
                </a:lnTo>
                <a:lnTo>
                  <a:pt x="2737264" y="104925"/>
                </a:lnTo>
                <a:lnTo>
                  <a:pt x="2796688" y="59876"/>
                </a:lnTo>
                <a:lnTo>
                  <a:pt x="2830916" y="41878"/>
                </a:lnTo>
                <a:lnTo>
                  <a:pt x="2868307" y="26992"/>
                </a:lnTo>
                <a:lnTo>
                  <a:pt x="2908979" y="15290"/>
                </a:lnTo>
                <a:lnTo>
                  <a:pt x="2953046" y="6845"/>
                </a:lnTo>
                <a:lnTo>
                  <a:pt x="3000626" y="1724"/>
                </a:lnTo>
                <a:close/>
                <a:moveTo>
                  <a:pt x="8336918" y="1"/>
                </a:moveTo>
                <a:lnTo>
                  <a:pt x="8388126" y="1723"/>
                </a:lnTo>
                <a:lnTo>
                  <a:pt x="8435706" y="6843"/>
                </a:lnTo>
                <a:lnTo>
                  <a:pt x="8479774" y="15289"/>
                </a:lnTo>
                <a:lnTo>
                  <a:pt x="8520444" y="26990"/>
                </a:lnTo>
                <a:lnTo>
                  <a:pt x="8557834" y="41875"/>
                </a:lnTo>
                <a:lnTo>
                  <a:pt x="8592062" y="59873"/>
                </a:lnTo>
                <a:lnTo>
                  <a:pt x="8651484" y="104924"/>
                </a:lnTo>
                <a:lnTo>
                  <a:pt x="8699640" y="161574"/>
                </a:lnTo>
                <a:lnTo>
                  <a:pt x="8719784" y="194071"/>
                </a:lnTo>
                <a:lnTo>
                  <a:pt x="8737458" y="229254"/>
                </a:lnTo>
                <a:lnTo>
                  <a:pt x="8752780" y="267052"/>
                </a:lnTo>
                <a:lnTo>
                  <a:pt x="8765866" y="307395"/>
                </a:lnTo>
                <a:lnTo>
                  <a:pt x="8776830" y="350211"/>
                </a:lnTo>
                <a:lnTo>
                  <a:pt x="8785788" y="395428"/>
                </a:lnTo>
                <a:lnTo>
                  <a:pt x="8792860" y="442977"/>
                </a:lnTo>
                <a:lnTo>
                  <a:pt x="8798158" y="492785"/>
                </a:lnTo>
                <a:lnTo>
                  <a:pt x="8801798" y="544782"/>
                </a:lnTo>
                <a:lnTo>
                  <a:pt x="8803896" y="598897"/>
                </a:lnTo>
                <a:lnTo>
                  <a:pt x="8804570" y="655058"/>
                </a:lnTo>
                <a:lnTo>
                  <a:pt x="8803930" y="711460"/>
                </a:lnTo>
                <a:lnTo>
                  <a:pt x="8801922" y="765815"/>
                </a:lnTo>
                <a:lnTo>
                  <a:pt x="8798422" y="818050"/>
                </a:lnTo>
                <a:lnTo>
                  <a:pt x="8793306" y="868094"/>
                </a:lnTo>
                <a:lnTo>
                  <a:pt x="8786446" y="915872"/>
                </a:lnTo>
                <a:lnTo>
                  <a:pt x="8777716" y="961315"/>
                </a:lnTo>
                <a:lnTo>
                  <a:pt x="8766992" y="1004348"/>
                </a:lnTo>
                <a:lnTo>
                  <a:pt x="8754146" y="1044900"/>
                </a:lnTo>
                <a:lnTo>
                  <a:pt x="8739054" y="1082901"/>
                </a:lnTo>
                <a:lnTo>
                  <a:pt x="8721590" y="1118276"/>
                </a:lnTo>
                <a:lnTo>
                  <a:pt x="8701628" y="1150954"/>
                </a:lnTo>
                <a:lnTo>
                  <a:pt x="8653704" y="1207928"/>
                </a:lnTo>
                <a:lnTo>
                  <a:pt x="8594278" y="1253246"/>
                </a:lnTo>
                <a:lnTo>
                  <a:pt x="8559936" y="1271354"/>
                </a:lnTo>
                <a:lnTo>
                  <a:pt x="8522342" y="1286332"/>
                </a:lnTo>
                <a:lnTo>
                  <a:pt x="8481370" y="1298107"/>
                </a:lnTo>
                <a:lnTo>
                  <a:pt x="8436892" y="1306607"/>
                </a:lnTo>
                <a:lnTo>
                  <a:pt x="8388784" y="1311760"/>
                </a:lnTo>
                <a:lnTo>
                  <a:pt x="8336918" y="1313493"/>
                </a:lnTo>
                <a:lnTo>
                  <a:pt x="8336918" y="1215572"/>
                </a:lnTo>
                <a:lnTo>
                  <a:pt x="8387168" y="1213313"/>
                </a:lnTo>
                <a:lnTo>
                  <a:pt x="8432598" y="1206618"/>
                </a:lnTo>
                <a:lnTo>
                  <a:pt x="8473438" y="1195605"/>
                </a:lnTo>
                <a:lnTo>
                  <a:pt x="8509918" y="1180394"/>
                </a:lnTo>
                <a:lnTo>
                  <a:pt x="8570710" y="1137857"/>
                </a:lnTo>
                <a:lnTo>
                  <a:pt x="8616804" y="1079964"/>
                </a:lnTo>
                <a:lnTo>
                  <a:pt x="8634912" y="1045558"/>
                </a:lnTo>
                <a:lnTo>
                  <a:pt x="8650034" y="1007671"/>
                </a:lnTo>
                <a:lnTo>
                  <a:pt x="8662396" y="966423"/>
                </a:lnTo>
                <a:lnTo>
                  <a:pt x="8672228" y="921934"/>
                </a:lnTo>
                <a:lnTo>
                  <a:pt x="8679760" y="874323"/>
                </a:lnTo>
                <a:lnTo>
                  <a:pt x="8685218" y="823711"/>
                </a:lnTo>
                <a:lnTo>
                  <a:pt x="8688834" y="770216"/>
                </a:lnTo>
                <a:lnTo>
                  <a:pt x="8690836" y="713959"/>
                </a:lnTo>
                <a:lnTo>
                  <a:pt x="8691452" y="655058"/>
                </a:lnTo>
                <a:lnTo>
                  <a:pt x="8690804" y="596735"/>
                </a:lnTo>
                <a:lnTo>
                  <a:pt x="8688710" y="541021"/>
                </a:lnTo>
                <a:lnTo>
                  <a:pt x="8684958" y="488035"/>
                </a:lnTo>
                <a:lnTo>
                  <a:pt x="8679330" y="437895"/>
                </a:lnTo>
                <a:lnTo>
                  <a:pt x="8671608" y="390723"/>
                </a:lnTo>
                <a:lnTo>
                  <a:pt x="8661578" y="346638"/>
                </a:lnTo>
                <a:lnTo>
                  <a:pt x="8649022" y="305758"/>
                </a:lnTo>
                <a:lnTo>
                  <a:pt x="8633724" y="268204"/>
                </a:lnTo>
                <a:lnTo>
                  <a:pt x="8615466" y="234096"/>
                </a:lnTo>
                <a:lnTo>
                  <a:pt x="8569210" y="176693"/>
                </a:lnTo>
                <a:lnTo>
                  <a:pt x="8508522" y="134507"/>
                </a:lnTo>
                <a:lnTo>
                  <a:pt x="8472224" y="119419"/>
                </a:lnTo>
                <a:lnTo>
                  <a:pt x="8431668" y="108494"/>
                </a:lnTo>
                <a:lnTo>
                  <a:pt x="8386640" y="101851"/>
                </a:lnTo>
                <a:lnTo>
                  <a:pt x="8336918" y="99610"/>
                </a:lnTo>
                <a:close/>
                <a:moveTo>
                  <a:pt x="3144752" y="0"/>
                </a:moveTo>
                <a:lnTo>
                  <a:pt x="3195959" y="1722"/>
                </a:lnTo>
                <a:lnTo>
                  <a:pt x="3243539" y="6842"/>
                </a:lnTo>
                <a:lnTo>
                  <a:pt x="3287606" y="15288"/>
                </a:lnTo>
                <a:lnTo>
                  <a:pt x="3328277" y="26989"/>
                </a:lnTo>
                <a:lnTo>
                  <a:pt x="3365667" y="41874"/>
                </a:lnTo>
                <a:lnTo>
                  <a:pt x="3399895" y="59872"/>
                </a:lnTo>
                <a:lnTo>
                  <a:pt x="3459317" y="104923"/>
                </a:lnTo>
                <a:lnTo>
                  <a:pt x="3507474" y="161573"/>
                </a:lnTo>
                <a:lnTo>
                  <a:pt x="3527617" y="194070"/>
                </a:lnTo>
                <a:lnTo>
                  <a:pt x="3545292" y="229253"/>
                </a:lnTo>
                <a:lnTo>
                  <a:pt x="3560614" y="267051"/>
                </a:lnTo>
                <a:lnTo>
                  <a:pt x="3573699" y="307394"/>
                </a:lnTo>
                <a:lnTo>
                  <a:pt x="3584663" y="350210"/>
                </a:lnTo>
                <a:lnTo>
                  <a:pt x="3593622" y="395427"/>
                </a:lnTo>
                <a:lnTo>
                  <a:pt x="3600693" y="442977"/>
                </a:lnTo>
                <a:lnTo>
                  <a:pt x="3605990" y="492785"/>
                </a:lnTo>
                <a:lnTo>
                  <a:pt x="3609630" y="544782"/>
                </a:lnTo>
                <a:lnTo>
                  <a:pt x="3611729" y="598897"/>
                </a:lnTo>
                <a:lnTo>
                  <a:pt x="3612403" y="655058"/>
                </a:lnTo>
                <a:lnTo>
                  <a:pt x="3611762" y="711460"/>
                </a:lnTo>
                <a:lnTo>
                  <a:pt x="3609755" y="765815"/>
                </a:lnTo>
                <a:lnTo>
                  <a:pt x="3606255" y="818050"/>
                </a:lnTo>
                <a:lnTo>
                  <a:pt x="3601138" y="868093"/>
                </a:lnTo>
                <a:lnTo>
                  <a:pt x="3594278" y="915871"/>
                </a:lnTo>
                <a:lnTo>
                  <a:pt x="3585548" y="961314"/>
                </a:lnTo>
                <a:lnTo>
                  <a:pt x="3574823" y="1004347"/>
                </a:lnTo>
                <a:lnTo>
                  <a:pt x="3561977" y="1044900"/>
                </a:lnTo>
                <a:lnTo>
                  <a:pt x="3546884" y="1082900"/>
                </a:lnTo>
                <a:lnTo>
                  <a:pt x="3529420" y="1118275"/>
                </a:lnTo>
                <a:lnTo>
                  <a:pt x="3509456" y="1150953"/>
                </a:lnTo>
                <a:lnTo>
                  <a:pt x="3461532" y="1207927"/>
                </a:lnTo>
                <a:lnTo>
                  <a:pt x="3402106" y="1253245"/>
                </a:lnTo>
                <a:lnTo>
                  <a:pt x="3367764" y="1271353"/>
                </a:lnTo>
                <a:lnTo>
                  <a:pt x="3330171" y="1286331"/>
                </a:lnTo>
                <a:lnTo>
                  <a:pt x="3289198" y="1298106"/>
                </a:lnTo>
                <a:lnTo>
                  <a:pt x="3244722" y="1306606"/>
                </a:lnTo>
                <a:lnTo>
                  <a:pt x="3196615" y="1311759"/>
                </a:lnTo>
                <a:lnTo>
                  <a:pt x="3144752" y="1313492"/>
                </a:lnTo>
                <a:lnTo>
                  <a:pt x="3144752" y="1215571"/>
                </a:lnTo>
                <a:lnTo>
                  <a:pt x="3194999" y="1213312"/>
                </a:lnTo>
                <a:lnTo>
                  <a:pt x="3240428" y="1206617"/>
                </a:lnTo>
                <a:lnTo>
                  <a:pt x="3281267" y="1195604"/>
                </a:lnTo>
                <a:lnTo>
                  <a:pt x="3317746" y="1180393"/>
                </a:lnTo>
                <a:lnTo>
                  <a:pt x="3378538" y="1137856"/>
                </a:lnTo>
                <a:lnTo>
                  <a:pt x="3424634" y="1079963"/>
                </a:lnTo>
                <a:lnTo>
                  <a:pt x="3442743" y="1045557"/>
                </a:lnTo>
                <a:lnTo>
                  <a:pt x="3457864" y="1007670"/>
                </a:lnTo>
                <a:lnTo>
                  <a:pt x="3470227" y="966422"/>
                </a:lnTo>
                <a:lnTo>
                  <a:pt x="3480060" y="921934"/>
                </a:lnTo>
                <a:lnTo>
                  <a:pt x="3487591" y="874323"/>
                </a:lnTo>
                <a:lnTo>
                  <a:pt x="3493051" y="823711"/>
                </a:lnTo>
                <a:lnTo>
                  <a:pt x="3496668" y="770216"/>
                </a:lnTo>
                <a:lnTo>
                  <a:pt x="3498670" y="713959"/>
                </a:lnTo>
                <a:lnTo>
                  <a:pt x="3499286" y="655058"/>
                </a:lnTo>
                <a:lnTo>
                  <a:pt x="3498637" y="596735"/>
                </a:lnTo>
                <a:lnTo>
                  <a:pt x="3496544" y="541021"/>
                </a:lnTo>
                <a:lnTo>
                  <a:pt x="3492792" y="488034"/>
                </a:lnTo>
                <a:lnTo>
                  <a:pt x="3487163" y="437895"/>
                </a:lnTo>
                <a:lnTo>
                  <a:pt x="3479442" y="390722"/>
                </a:lnTo>
                <a:lnTo>
                  <a:pt x="3469411" y="346637"/>
                </a:lnTo>
                <a:lnTo>
                  <a:pt x="3456855" y="305757"/>
                </a:lnTo>
                <a:lnTo>
                  <a:pt x="3441557" y="268203"/>
                </a:lnTo>
                <a:lnTo>
                  <a:pt x="3423300" y="234095"/>
                </a:lnTo>
                <a:lnTo>
                  <a:pt x="3377044" y="176692"/>
                </a:lnTo>
                <a:lnTo>
                  <a:pt x="3316354" y="134506"/>
                </a:lnTo>
                <a:lnTo>
                  <a:pt x="3280057" y="119418"/>
                </a:lnTo>
                <a:lnTo>
                  <a:pt x="3239501" y="108493"/>
                </a:lnTo>
                <a:lnTo>
                  <a:pt x="3194472" y="101850"/>
                </a:lnTo>
                <a:lnTo>
                  <a:pt x="3144752" y="99609"/>
                </a:lnTo>
                <a:close/>
              </a:path>
            </a:pathLst>
          </a:custGeom>
          <a:solidFill>
            <a:srgbClr val="4D7836"/>
          </a:solidFill>
        </p:spPr>
        <p:txBody>
          <a:bodyPr wrap="square" lIns="0" tIns="0" rIns="0" bIns="0" rtlCol="0">
            <a:noAutofit/>
          </a:bodyPr>
          <a:lstStyle/>
          <a:p>
            <a:endParaRPr lang="da-DK" sz="1350"/>
          </a:p>
        </p:txBody>
      </p:sp>
    </p:spTree>
    <p:extLst>
      <p:ext uri="{BB962C8B-B14F-4D97-AF65-F5344CB8AC3E}">
        <p14:creationId xmlns:p14="http://schemas.microsoft.com/office/powerpoint/2010/main" val="2540159599"/>
      </p:ext>
    </p:extLst>
  </p:cSld>
  <p:clrMapOvr>
    <a:masterClrMapping/>
  </p:clrMapOvr>
  <p:extLst>
    <p:ext uri="{DCECCB84-F9BA-43D5-87BE-67443E8EF086}">
      <p15:sldGuideLst xmlns:p15="http://schemas.microsoft.com/office/powerpoint/2012/main">
        <p15:guide id="2" orient="horz" pos="1201">
          <p15:clr>
            <a:srgbClr val="A4A3A4"/>
          </p15:clr>
        </p15:guide>
        <p15:guide id="3" orient="horz" pos="566">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2" name="Baggrund">
            <a:extLst>
              <a:ext uri="{FF2B5EF4-FFF2-40B4-BE49-F238E27FC236}">
                <a16:creationId xmlns:a16="http://schemas.microsoft.com/office/drawing/2014/main" id="{81746C71-8987-04A5-1F82-995BB745E14B}"/>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3" name="Title 2">
            <a:extLst>
              <a:ext uri="{FF2B5EF4-FFF2-40B4-BE49-F238E27FC236}">
                <a16:creationId xmlns:a16="http://schemas.microsoft.com/office/drawing/2014/main" id="{9ACD22E9-9AE9-424B-A7A1-AFD0F990FCCC}"/>
              </a:ext>
            </a:extLst>
          </p:cNvPr>
          <p:cNvSpPr>
            <a:spLocks noGrp="1"/>
          </p:cNvSpPr>
          <p:nvPr>
            <p:ph type="title" hasCustomPrompt="1"/>
          </p:nvPr>
        </p:nvSpPr>
        <p:spPr>
          <a:xfrm>
            <a:off x="405000" y="675000"/>
            <a:ext cx="4099135" cy="621000"/>
          </a:xfrm>
        </p:spPr>
        <p:txBody>
          <a:bodyPr/>
          <a:lstStyle>
            <a:lvl1pPr>
              <a:defRPr>
                <a:solidFill>
                  <a:schemeClr val="bg1"/>
                </a:solidFill>
              </a:defRPr>
            </a:lvl1pPr>
          </a:lstStyle>
          <a:p>
            <a:r>
              <a:rPr lang="da-DK"/>
              <a:t>Klik for at tilføje agenda titel</a:t>
            </a:r>
          </a:p>
        </p:txBody>
      </p:sp>
      <p:sp>
        <p:nvSpPr>
          <p:cNvPr id="7" name="Text Placeholder 2"/>
          <p:cNvSpPr>
            <a:spLocks noGrp="1"/>
          </p:cNvSpPr>
          <p:nvPr>
            <p:ph type="body" sz="quarter" idx="13" hasCustomPrompt="1"/>
          </p:nvPr>
        </p:nvSpPr>
        <p:spPr>
          <a:xfrm>
            <a:off x="405000" y="1431000"/>
            <a:ext cx="4099135" cy="3172500"/>
          </a:xfrm>
        </p:spPr>
        <p:txBody>
          <a:bodyPr/>
          <a:lstStyle>
            <a:lvl1pPr marL="135000" indent="-135000">
              <a:spcAft>
                <a:spcPts val="900"/>
              </a:spcAft>
              <a:buFont typeface="Arial" panose="020B0604020202020204" pitchFamily="34" charset="0"/>
              <a:buChar char="•"/>
              <a:defRPr b="0">
                <a:solidFill>
                  <a:schemeClr val="bg1"/>
                </a:solidFill>
                <a:latin typeface="+mn-lt"/>
              </a:defRPr>
            </a:lvl1pPr>
            <a:lvl2pPr marL="135000" indent="-135000">
              <a:spcBef>
                <a:spcPts val="0"/>
              </a:spcBef>
              <a:spcAft>
                <a:spcPts val="900"/>
              </a:spcAft>
              <a:buFont typeface="Arial" panose="020B0604020202020204" pitchFamily="34" charset="0"/>
              <a:buChar char="•"/>
              <a:defRPr sz="1200" b="0">
                <a:solidFill>
                  <a:schemeClr val="bg1"/>
                </a:solidFill>
                <a:latin typeface="+mn-lt"/>
              </a:defRPr>
            </a:lvl2pPr>
            <a:lvl3pPr marL="135000" indent="-135000">
              <a:spcBef>
                <a:spcPts val="0"/>
              </a:spcBef>
              <a:spcAft>
                <a:spcPts val="900"/>
              </a:spcAft>
              <a:buFont typeface="Arial" panose="020B0604020202020204" pitchFamily="34" charset="0"/>
              <a:buChar char="•"/>
              <a:defRPr sz="1200" b="0">
                <a:solidFill>
                  <a:schemeClr val="bg1"/>
                </a:solidFill>
                <a:latin typeface="+mn-lt"/>
              </a:defRPr>
            </a:lvl3pPr>
            <a:lvl4pPr marL="135000" indent="-135000">
              <a:spcBef>
                <a:spcPts val="0"/>
              </a:spcBef>
              <a:spcAft>
                <a:spcPts val="900"/>
              </a:spcAft>
              <a:buFont typeface="Arial" panose="020B0604020202020204" pitchFamily="34" charset="0"/>
              <a:buChar char="•"/>
              <a:defRPr sz="1200" b="0">
                <a:solidFill>
                  <a:schemeClr val="bg1"/>
                </a:solidFill>
                <a:latin typeface="+mn-lt"/>
              </a:defRPr>
            </a:lvl4pPr>
            <a:lvl5pPr marL="135000" indent="-135000">
              <a:spcBef>
                <a:spcPts val="0"/>
              </a:spcBef>
              <a:spcAft>
                <a:spcPts val="900"/>
              </a:spcAft>
              <a:buFont typeface="Arial" panose="020B0604020202020204" pitchFamily="34" charset="0"/>
              <a:buChar char="•"/>
              <a:defRPr sz="1200" b="0">
                <a:solidFill>
                  <a:schemeClr val="bg1"/>
                </a:solidFill>
                <a:latin typeface="+mn-lt"/>
              </a:defRPr>
            </a:lvl5pPr>
            <a:lvl6pPr marL="135000" indent="-135000">
              <a:spcBef>
                <a:spcPts val="0"/>
              </a:spcBef>
              <a:spcAft>
                <a:spcPts val="900"/>
              </a:spcAft>
              <a:buFont typeface="Arial" panose="020B0604020202020204" pitchFamily="34" charset="0"/>
              <a:buChar char="•"/>
              <a:defRPr sz="1200" b="0">
                <a:solidFill>
                  <a:schemeClr val="bg1"/>
                </a:solidFill>
                <a:latin typeface="+mn-lt"/>
              </a:defRPr>
            </a:lvl6pPr>
            <a:lvl7pPr marL="135000" indent="-135000">
              <a:spcBef>
                <a:spcPts val="0"/>
              </a:spcBef>
              <a:spcAft>
                <a:spcPts val="900"/>
              </a:spcAft>
              <a:buFont typeface="Arial" panose="020B0604020202020204" pitchFamily="34" charset="0"/>
              <a:buChar char="•"/>
              <a:defRPr sz="1200" b="0">
                <a:solidFill>
                  <a:schemeClr val="bg1"/>
                </a:solidFill>
                <a:latin typeface="+mn-lt"/>
              </a:defRPr>
            </a:lvl7pPr>
            <a:lvl8pPr marL="135000" indent="-135000">
              <a:spcBef>
                <a:spcPts val="0"/>
              </a:spcBef>
              <a:spcAft>
                <a:spcPts val="900"/>
              </a:spcAft>
              <a:buFont typeface="Arial" panose="020B0604020202020204" pitchFamily="34" charset="0"/>
              <a:buChar char="•"/>
              <a:defRPr sz="1200" b="0">
                <a:solidFill>
                  <a:schemeClr val="bg1"/>
                </a:solidFill>
                <a:latin typeface="+mn-lt"/>
              </a:defRPr>
            </a:lvl8pPr>
            <a:lvl9pPr marL="135000" indent="-135000">
              <a:spcBef>
                <a:spcPts val="0"/>
              </a:spcBef>
              <a:spcAft>
                <a:spcPts val="900"/>
              </a:spcAft>
              <a:buFont typeface="Arial" panose="020B0604020202020204" pitchFamily="34" charset="0"/>
              <a:buChar char="•"/>
              <a:defRPr sz="1200" b="0">
                <a:solidFill>
                  <a:schemeClr val="bg1"/>
                </a:solidFill>
                <a:latin typeface="+mn-lt"/>
              </a:defRPr>
            </a:lvl9pPr>
          </a:lstStyle>
          <a:p>
            <a:pPr lvl="0"/>
            <a:r>
              <a:rPr lang="da-DK" noProof="0"/>
              <a:t>Klik for at tilføje agendapunkt</a:t>
            </a:r>
          </a:p>
          <a:p>
            <a:pPr lvl="1"/>
            <a:r>
              <a:rPr lang="da-DK" noProof="0"/>
              <a:t>Anden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16" name="Pladsholder til dato 15">
            <a:extLst>
              <a:ext uri="{FF2B5EF4-FFF2-40B4-BE49-F238E27FC236}">
                <a16:creationId xmlns:a16="http://schemas.microsoft.com/office/drawing/2014/main" id="{07B7D8D3-77D2-E785-81E3-AB119F5B3A7C}"/>
              </a:ext>
            </a:extLst>
          </p:cNvPr>
          <p:cNvSpPr>
            <a:spLocks noGrp="1"/>
          </p:cNvSpPr>
          <p:nvPr>
            <p:ph type="dt" sz="half" idx="19"/>
          </p:nvPr>
        </p:nvSpPr>
        <p:spPr/>
        <p:txBody>
          <a:bodyPr/>
          <a:lstStyle>
            <a:lvl1pPr>
              <a:defRPr>
                <a:solidFill>
                  <a:schemeClr val="bg1"/>
                </a:solidFill>
              </a:defRPr>
            </a:lvl1pPr>
          </a:lstStyle>
          <a:p>
            <a:fld id="{61BEDC24-6319-4BBB-9782-63587D1632F0}" type="datetime2">
              <a:rPr lang="da-DK" smtClean="0"/>
              <a:pPr/>
              <a:t>11. december 2025</a:t>
            </a:fld>
            <a:endParaRPr lang="da-DK"/>
          </a:p>
        </p:txBody>
      </p:sp>
      <p:sp>
        <p:nvSpPr>
          <p:cNvPr id="17" name="Pladsholder til sidefod 16">
            <a:extLst>
              <a:ext uri="{FF2B5EF4-FFF2-40B4-BE49-F238E27FC236}">
                <a16:creationId xmlns:a16="http://schemas.microsoft.com/office/drawing/2014/main" id="{19E82096-1CE6-E092-C8ED-9A675CC7FFC6}"/>
              </a:ext>
            </a:extLst>
          </p:cNvPr>
          <p:cNvSpPr>
            <a:spLocks noGrp="1"/>
          </p:cNvSpPr>
          <p:nvPr>
            <p:ph type="ftr" sz="quarter" idx="20"/>
          </p:nvPr>
        </p:nvSpPr>
        <p:spPr/>
        <p:txBody>
          <a:bodyPr/>
          <a:lstStyle>
            <a:lvl1pPr>
              <a:defRPr>
                <a:solidFill>
                  <a:schemeClr val="bg1"/>
                </a:solidFill>
              </a:defRPr>
            </a:lvl1pPr>
          </a:lstStyle>
          <a:p>
            <a:r>
              <a:rPr lang="da-DK"/>
              <a:t>Digitaliseringsstyrelsen</a:t>
            </a:r>
          </a:p>
        </p:txBody>
      </p:sp>
      <p:sp>
        <p:nvSpPr>
          <p:cNvPr id="18" name="Pladsholder til slidenummer 17">
            <a:extLst>
              <a:ext uri="{FF2B5EF4-FFF2-40B4-BE49-F238E27FC236}">
                <a16:creationId xmlns:a16="http://schemas.microsoft.com/office/drawing/2014/main" id="{385BC0ED-51CA-C2C1-3A79-5B97AB7EB508}"/>
              </a:ext>
            </a:extLst>
          </p:cNvPr>
          <p:cNvSpPr>
            <a:spLocks noGrp="1"/>
          </p:cNvSpPr>
          <p:nvPr>
            <p:ph type="sldNum" sz="quarter" idx="21"/>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5" name="Mikro grafik 1">
            <a:extLst>
              <a:ext uri="{FF2B5EF4-FFF2-40B4-BE49-F238E27FC236}">
                <a16:creationId xmlns:a16="http://schemas.microsoft.com/office/drawing/2014/main" id="{B7391C28-918F-1989-0558-6E9FBDFF6FEF}"/>
              </a:ext>
            </a:extLst>
          </p:cNvPr>
          <p:cNvSpPr/>
          <p:nvPr userDrawn="1"/>
        </p:nvSpPr>
        <p:spPr>
          <a:xfrm>
            <a:off x="4816131" y="575232"/>
            <a:ext cx="4124069" cy="3344379"/>
          </a:xfrm>
          <a:custGeom>
            <a:avLst/>
            <a:gdLst>
              <a:gd name="connsiteX0" fmla="*/ 6423906 w 9114518"/>
              <a:gd name="connsiteY0" fmla="*/ 7111086 h 7391342"/>
              <a:gd name="connsiteX1" fmla="*/ 6633262 w 9114518"/>
              <a:gd name="connsiteY1" fmla="*/ 7111086 h 7391342"/>
              <a:gd name="connsiteX2" fmla="*/ 6633262 w 9114518"/>
              <a:gd name="connsiteY2" fmla="*/ 7286668 h 7391342"/>
              <a:gd name="connsiteX3" fmla="*/ 6423906 w 9114518"/>
              <a:gd name="connsiteY3" fmla="*/ 7286668 h 7391342"/>
              <a:gd name="connsiteX4" fmla="*/ 3371709 w 9114518"/>
              <a:gd name="connsiteY4" fmla="*/ 6959141 h 7391342"/>
              <a:gd name="connsiteX5" fmla="*/ 4286770 w 9114518"/>
              <a:gd name="connsiteY5" fmla="*/ 6959141 h 7391342"/>
              <a:gd name="connsiteX6" fmla="*/ 4286770 w 9114518"/>
              <a:gd name="connsiteY6" fmla="*/ 7067193 h 7391342"/>
              <a:gd name="connsiteX7" fmla="*/ 3371709 w 9114518"/>
              <a:gd name="connsiteY7" fmla="*/ 7067193 h 7391342"/>
              <a:gd name="connsiteX8" fmla="*/ 3371709 w 9114518"/>
              <a:gd name="connsiteY8" fmla="*/ 6606288 h 7391342"/>
              <a:gd name="connsiteX9" fmla="*/ 4286770 w 9114518"/>
              <a:gd name="connsiteY9" fmla="*/ 6606288 h 7391342"/>
              <a:gd name="connsiteX10" fmla="*/ 4286770 w 9114518"/>
              <a:gd name="connsiteY10" fmla="*/ 6714340 h 7391342"/>
              <a:gd name="connsiteX11" fmla="*/ 3371709 w 9114518"/>
              <a:gd name="connsiteY11" fmla="*/ 6714340 h 7391342"/>
              <a:gd name="connsiteX12" fmla="*/ 5418710 w 9114518"/>
              <a:gd name="connsiteY12" fmla="*/ 6084039 h 7391342"/>
              <a:gd name="connsiteX13" fmla="*/ 5796891 w 9114518"/>
              <a:gd name="connsiteY13" fmla="*/ 6084039 h 7391342"/>
              <a:gd name="connsiteX14" fmla="*/ 5796891 w 9114518"/>
              <a:gd name="connsiteY14" fmla="*/ 6180559 h 7391342"/>
              <a:gd name="connsiteX15" fmla="*/ 5796891 w 9114518"/>
              <a:gd name="connsiteY15" fmla="*/ 7291809 h 7391342"/>
              <a:gd name="connsiteX16" fmla="*/ 5796891 w 9114518"/>
              <a:gd name="connsiteY16" fmla="*/ 7388329 h 7391342"/>
              <a:gd name="connsiteX17" fmla="*/ 5418710 w 9114518"/>
              <a:gd name="connsiteY17" fmla="*/ 7388329 h 7391342"/>
              <a:gd name="connsiteX18" fmla="*/ 5418710 w 9114518"/>
              <a:gd name="connsiteY18" fmla="*/ 7291809 h 7391342"/>
              <a:gd name="connsiteX19" fmla="*/ 5680394 w 9114518"/>
              <a:gd name="connsiteY19" fmla="*/ 7291809 h 7391342"/>
              <a:gd name="connsiteX20" fmla="*/ 5680394 w 9114518"/>
              <a:gd name="connsiteY20" fmla="*/ 6180559 h 7391342"/>
              <a:gd name="connsiteX21" fmla="*/ 5418710 w 9114518"/>
              <a:gd name="connsiteY21" fmla="*/ 6180559 h 7391342"/>
              <a:gd name="connsiteX22" fmla="*/ 4939629 w 9114518"/>
              <a:gd name="connsiteY22" fmla="*/ 6084039 h 7391342"/>
              <a:gd name="connsiteX23" fmla="*/ 5317797 w 9114518"/>
              <a:gd name="connsiteY23" fmla="*/ 6084039 h 7391342"/>
              <a:gd name="connsiteX24" fmla="*/ 5317797 w 9114518"/>
              <a:gd name="connsiteY24" fmla="*/ 6180559 h 7391342"/>
              <a:gd name="connsiteX25" fmla="*/ 5056113 w 9114518"/>
              <a:gd name="connsiteY25" fmla="*/ 6180559 h 7391342"/>
              <a:gd name="connsiteX26" fmla="*/ 5056113 w 9114518"/>
              <a:gd name="connsiteY26" fmla="*/ 7291809 h 7391342"/>
              <a:gd name="connsiteX27" fmla="*/ 5317797 w 9114518"/>
              <a:gd name="connsiteY27" fmla="*/ 7291809 h 7391342"/>
              <a:gd name="connsiteX28" fmla="*/ 5317797 w 9114518"/>
              <a:gd name="connsiteY28" fmla="*/ 7388329 h 7391342"/>
              <a:gd name="connsiteX29" fmla="*/ 4939629 w 9114518"/>
              <a:gd name="connsiteY29" fmla="*/ 7388329 h 7391342"/>
              <a:gd name="connsiteX30" fmla="*/ 4939629 w 9114518"/>
              <a:gd name="connsiteY30" fmla="*/ 7291809 h 7391342"/>
              <a:gd name="connsiteX31" fmla="*/ 4939629 w 9114518"/>
              <a:gd name="connsiteY31" fmla="*/ 6180559 h 7391342"/>
              <a:gd name="connsiteX32" fmla="*/ 8646856 w 9114518"/>
              <a:gd name="connsiteY32" fmla="*/ 6077851 h 7391342"/>
              <a:gd name="connsiteX33" fmla="*/ 8698064 w 9114518"/>
              <a:gd name="connsiteY33" fmla="*/ 6079573 h 7391342"/>
              <a:gd name="connsiteX34" fmla="*/ 8745644 w 9114518"/>
              <a:gd name="connsiteY34" fmla="*/ 6084693 h 7391342"/>
              <a:gd name="connsiteX35" fmla="*/ 8789712 w 9114518"/>
              <a:gd name="connsiteY35" fmla="*/ 6093139 h 7391342"/>
              <a:gd name="connsiteX36" fmla="*/ 8830382 w 9114518"/>
              <a:gd name="connsiteY36" fmla="*/ 6104840 h 7391342"/>
              <a:gd name="connsiteX37" fmla="*/ 8867774 w 9114518"/>
              <a:gd name="connsiteY37" fmla="*/ 6119725 h 7391342"/>
              <a:gd name="connsiteX38" fmla="*/ 8902000 w 9114518"/>
              <a:gd name="connsiteY38" fmla="*/ 6137723 h 7391342"/>
              <a:gd name="connsiteX39" fmla="*/ 8961424 w 9114518"/>
              <a:gd name="connsiteY39" fmla="*/ 6182774 h 7391342"/>
              <a:gd name="connsiteX40" fmla="*/ 9009582 w 9114518"/>
              <a:gd name="connsiteY40" fmla="*/ 6239424 h 7391342"/>
              <a:gd name="connsiteX41" fmla="*/ 9029726 w 9114518"/>
              <a:gd name="connsiteY41" fmla="*/ 6271921 h 7391342"/>
              <a:gd name="connsiteX42" fmla="*/ 9047402 w 9114518"/>
              <a:gd name="connsiteY42" fmla="*/ 6307104 h 7391342"/>
              <a:gd name="connsiteX43" fmla="*/ 9062724 w 9114518"/>
              <a:gd name="connsiteY43" fmla="*/ 6344902 h 7391342"/>
              <a:gd name="connsiteX44" fmla="*/ 9075810 w 9114518"/>
              <a:gd name="connsiteY44" fmla="*/ 6385245 h 7391342"/>
              <a:gd name="connsiteX45" fmla="*/ 9086774 w 9114518"/>
              <a:gd name="connsiteY45" fmla="*/ 6428061 h 7391342"/>
              <a:gd name="connsiteX46" fmla="*/ 9095734 w 9114518"/>
              <a:gd name="connsiteY46" fmla="*/ 6473278 h 7391342"/>
              <a:gd name="connsiteX47" fmla="*/ 9102806 w 9114518"/>
              <a:gd name="connsiteY47" fmla="*/ 6520827 h 7391342"/>
              <a:gd name="connsiteX48" fmla="*/ 9108104 w 9114518"/>
              <a:gd name="connsiteY48" fmla="*/ 6570635 h 7391342"/>
              <a:gd name="connsiteX49" fmla="*/ 9111744 w 9114518"/>
              <a:gd name="connsiteY49" fmla="*/ 6622632 h 7391342"/>
              <a:gd name="connsiteX50" fmla="*/ 9113844 w 9114518"/>
              <a:gd name="connsiteY50" fmla="*/ 6676747 h 7391342"/>
              <a:gd name="connsiteX51" fmla="*/ 9114518 w 9114518"/>
              <a:gd name="connsiteY51" fmla="*/ 6732908 h 7391342"/>
              <a:gd name="connsiteX52" fmla="*/ 9113876 w 9114518"/>
              <a:gd name="connsiteY52" fmla="*/ 6789310 h 7391342"/>
              <a:gd name="connsiteX53" fmla="*/ 9111870 w 9114518"/>
              <a:gd name="connsiteY53" fmla="*/ 6843665 h 7391342"/>
              <a:gd name="connsiteX54" fmla="*/ 9108370 w 9114518"/>
              <a:gd name="connsiteY54" fmla="*/ 6895900 h 7391342"/>
              <a:gd name="connsiteX55" fmla="*/ 9103252 w 9114518"/>
              <a:gd name="connsiteY55" fmla="*/ 6945943 h 7391342"/>
              <a:gd name="connsiteX56" fmla="*/ 9096392 w 9114518"/>
              <a:gd name="connsiteY56" fmla="*/ 6993721 h 7391342"/>
              <a:gd name="connsiteX57" fmla="*/ 9087662 w 9114518"/>
              <a:gd name="connsiteY57" fmla="*/ 7039164 h 7391342"/>
              <a:gd name="connsiteX58" fmla="*/ 9076936 w 9114518"/>
              <a:gd name="connsiteY58" fmla="*/ 7082197 h 7391342"/>
              <a:gd name="connsiteX59" fmla="*/ 9064090 w 9114518"/>
              <a:gd name="connsiteY59" fmla="*/ 7122750 h 7391342"/>
              <a:gd name="connsiteX60" fmla="*/ 9048998 w 9114518"/>
              <a:gd name="connsiteY60" fmla="*/ 7160750 h 7391342"/>
              <a:gd name="connsiteX61" fmla="*/ 9031532 w 9114518"/>
              <a:gd name="connsiteY61" fmla="*/ 7196125 h 7391342"/>
              <a:gd name="connsiteX62" fmla="*/ 9011568 w 9114518"/>
              <a:gd name="connsiteY62" fmla="*/ 7228803 h 7391342"/>
              <a:gd name="connsiteX63" fmla="*/ 8963644 w 9114518"/>
              <a:gd name="connsiteY63" fmla="*/ 7285777 h 7391342"/>
              <a:gd name="connsiteX64" fmla="*/ 8904216 w 9114518"/>
              <a:gd name="connsiteY64" fmla="*/ 7331095 h 7391342"/>
              <a:gd name="connsiteX65" fmla="*/ 8869874 w 9114518"/>
              <a:gd name="connsiteY65" fmla="*/ 7349203 h 7391342"/>
              <a:gd name="connsiteX66" fmla="*/ 8832280 w 9114518"/>
              <a:gd name="connsiteY66" fmla="*/ 7364181 h 7391342"/>
              <a:gd name="connsiteX67" fmla="*/ 8791306 w 9114518"/>
              <a:gd name="connsiteY67" fmla="*/ 7375956 h 7391342"/>
              <a:gd name="connsiteX68" fmla="*/ 8746828 w 9114518"/>
              <a:gd name="connsiteY68" fmla="*/ 7384456 h 7391342"/>
              <a:gd name="connsiteX69" fmla="*/ 8698720 w 9114518"/>
              <a:gd name="connsiteY69" fmla="*/ 7389609 h 7391342"/>
              <a:gd name="connsiteX70" fmla="*/ 8646856 w 9114518"/>
              <a:gd name="connsiteY70" fmla="*/ 7391342 h 7391342"/>
              <a:gd name="connsiteX71" fmla="*/ 8646856 w 9114518"/>
              <a:gd name="connsiteY71" fmla="*/ 7293421 h 7391342"/>
              <a:gd name="connsiteX72" fmla="*/ 8697104 w 9114518"/>
              <a:gd name="connsiteY72" fmla="*/ 7291162 h 7391342"/>
              <a:gd name="connsiteX73" fmla="*/ 8742536 w 9114518"/>
              <a:gd name="connsiteY73" fmla="*/ 7284467 h 7391342"/>
              <a:gd name="connsiteX74" fmla="*/ 8783376 w 9114518"/>
              <a:gd name="connsiteY74" fmla="*/ 7273454 h 7391342"/>
              <a:gd name="connsiteX75" fmla="*/ 8819856 w 9114518"/>
              <a:gd name="connsiteY75" fmla="*/ 7258243 h 7391342"/>
              <a:gd name="connsiteX76" fmla="*/ 8880650 w 9114518"/>
              <a:gd name="connsiteY76" fmla="*/ 7215706 h 7391342"/>
              <a:gd name="connsiteX77" fmla="*/ 8926746 w 9114518"/>
              <a:gd name="connsiteY77" fmla="*/ 7157813 h 7391342"/>
              <a:gd name="connsiteX78" fmla="*/ 8944856 w 9114518"/>
              <a:gd name="connsiteY78" fmla="*/ 7123407 h 7391342"/>
              <a:gd name="connsiteX79" fmla="*/ 8959978 w 9114518"/>
              <a:gd name="connsiteY79" fmla="*/ 7085520 h 7391342"/>
              <a:gd name="connsiteX80" fmla="*/ 8972340 w 9114518"/>
              <a:gd name="connsiteY80" fmla="*/ 7044272 h 7391342"/>
              <a:gd name="connsiteX81" fmla="*/ 8982174 w 9114518"/>
              <a:gd name="connsiteY81" fmla="*/ 6999784 h 7391342"/>
              <a:gd name="connsiteX82" fmla="*/ 8989706 w 9114518"/>
              <a:gd name="connsiteY82" fmla="*/ 6952173 h 7391342"/>
              <a:gd name="connsiteX83" fmla="*/ 8995166 w 9114518"/>
              <a:gd name="connsiteY83" fmla="*/ 6901561 h 7391342"/>
              <a:gd name="connsiteX84" fmla="*/ 8998782 w 9114518"/>
              <a:gd name="connsiteY84" fmla="*/ 6848066 h 7391342"/>
              <a:gd name="connsiteX85" fmla="*/ 9000784 w 9114518"/>
              <a:gd name="connsiteY85" fmla="*/ 6791809 h 7391342"/>
              <a:gd name="connsiteX86" fmla="*/ 9001400 w 9114518"/>
              <a:gd name="connsiteY86" fmla="*/ 6732908 h 7391342"/>
              <a:gd name="connsiteX87" fmla="*/ 9000750 w 9114518"/>
              <a:gd name="connsiteY87" fmla="*/ 6674585 h 7391342"/>
              <a:gd name="connsiteX88" fmla="*/ 8998658 w 9114518"/>
              <a:gd name="connsiteY88" fmla="*/ 6618871 h 7391342"/>
              <a:gd name="connsiteX89" fmla="*/ 8994906 w 9114518"/>
              <a:gd name="connsiteY89" fmla="*/ 6565885 h 7391342"/>
              <a:gd name="connsiteX90" fmla="*/ 8989276 w 9114518"/>
              <a:gd name="connsiteY90" fmla="*/ 6515745 h 7391342"/>
              <a:gd name="connsiteX91" fmla="*/ 8981556 w 9114518"/>
              <a:gd name="connsiteY91" fmla="*/ 6468573 h 7391342"/>
              <a:gd name="connsiteX92" fmla="*/ 8971524 w 9114518"/>
              <a:gd name="connsiteY92" fmla="*/ 6424488 h 7391342"/>
              <a:gd name="connsiteX93" fmla="*/ 8958968 w 9114518"/>
              <a:gd name="connsiteY93" fmla="*/ 6383608 h 7391342"/>
              <a:gd name="connsiteX94" fmla="*/ 8943670 w 9114518"/>
              <a:gd name="connsiteY94" fmla="*/ 6346054 h 7391342"/>
              <a:gd name="connsiteX95" fmla="*/ 8925412 w 9114518"/>
              <a:gd name="connsiteY95" fmla="*/ 6311946 h 7391342"/>
              <a:gd name="connsiteX96" fmla="*/ 8879156 w 9114518"/>
              <a:gd name="connsiteY96" fmla="*/ 6254543 h 7391342"/>
              <a:gd name="connsiteX97" fmla="*/ 8818464 w 9114518"/>
              <a:gd name="connsiteY97" fmla="*/ 6212357 h 7391342"/>
              <a:gd name="connsiteX98" fmla="*/ 8782166 w 9114518"/>
              <a:gd name="connsiteY98" fmla="*/ 6197269 h 7391342"/>
              <a:gd name="connsiteX99" fmla="*/ 8741608 w 9114518"/>
              <a:gd name="connsiteY99" fmla="*/ 6186344 h 7391342"/>
              <a:gd name="connsiteX100" fmla="*/ 8696578 w 9114518"/>
              <a:gd name="connsiteY100" fmla="*/ 6179701 h 7391342"/>
              <a:gd name="connsiteX101" fmla="*/ 8646856 w 9114518"/>
              <a:gd name="connsiteY101" fmla="*/ 6177460 h 7391342"/>
              <a:gd name="connsiteX102" fmla="*/ 8553970 w 9114518"/>
              <a:gd name="connsiteY102" fmla="*/ 6077851 h 7391342"/>
              <a:gd name="connsiteX103" fmla="*/ 8553970 w 9114518"/>
              <a:gd name="connsiteY103" fmla="*/ 6177460 h 7391342"/>
              <a:gd name="connsiteX104" fmla="*/ 8504528 w 9114518"/>
              <a:gd name="connsiteY104" fmla="*/ 6179701 h 7391342"/>
              <a:gd name="connsiteX105" fmla="*/ 8459744 w 9114518"/>
              <a:gd name="connsiteY105" fmla="*/ 6186344 h 7391342"/>
              <a:gd name="connsiteX106" fmla="*/ 8419404 w 9114518"/>
              <a:gd name="connsiteY106" fmla="*/ 6197269 h 7391342"/>
              <a:gd name="connsiteX107" fmla="*/ 8383292 w 9114518"/>
              <a:gd name="connsiteY107" fmla="*/ 6212357 h 7391342"/>
              <a:gd name="connsiteX108" fmla="*/ 8322900 w 9114518"/>
              <a:gd name="connsiteY108" fmla="*/ 6254543 h 7391342"/>
              <a:gd name="connsiteX109" fmla="*/ 8276848 w 9114518"/>
              <a:gd name="connsiteY109" fmla="*/ 6311946 h 7391342"/>
              <a:gd name="connsiteX110" fmla="*/ 8258666 w 9114518"/>
              <a:gd name="connsiteY110" fmla="*/ 6346054 h 7391342"/>
              <a:gd name="connsiteX111" fmla="*/ 8243424 w 9114518"/>
              <a:gd name="connsiteY111" fmla="*/ 6383608 h 7391342"/>
              <a:gd name="connsiteX112" fmla="*/ 8230912 w 9114518"/>
              <a:gd name="connsiteY112" fmla="*/ 6424488 h 7391342"/>
              <a:gd name="connsiteX113" fmla="*/ 8220912 w 9114518"/>
              <a:gd name="connsiteY113" fmla="*/ 6468573 h 7391342"/>
              <a:gd name="connsiteX114" fmla="*/ 8213212 w 9114518"/>
              <a:gd name="connsiteY114" fmla="*/ 6515745 h 7391342"/>
              <a:gd name="connsiteX115" fmla="*/ 8207596 w 9114518"/>
              <a:gd name="connsiteY115" fmla="*/ 6565885 h 7391342"/>
              <a:gd name="connsiteX116" fmla="*/ 8203850 w 9114518"/>
              <a:gd name="connsiteY116" fmla="*/ 6618871 h 7391342"/>
              <a:gd name="connsiteX117" fmla="*/ 8201760 w 9114518"/>
              <a:gd name="connsiteY117" fmla="*/ 6674585 h 7391342"/>
              <a:gd name="connsiteX118" fmla="*/ 8201110 w 9114518"/>
              <a:gd name="connsiteY118" fmla="*/ 6732908 h 7391342"/>
              <a:gd name="connsiteX119" fmla="*/ 8201744 w 9114518"/>
              <a:gd name="connsiteY119" fmla="*/ 6791809 h 7391342"/>
              <a:gd name="connsiteX120" fmla="*/ 8203788 w 9114518"/>
              <a:gd name="connsiteY120" fmla="*/ 6848066 h 7391342"/>
              <a:gd name="connsiteX121" fmla="*/ 8207466 w 9114518"/>
              <a:gd name="connsiteY121" fmla="*/ 6901561 h 7391342"/>
              <a:gd name="connsiteX122" fmla="*/ 8212998 w 9114518"/>
              <a:gd name="connsiteY122" fmla="*/ 6952173 h 7391342"/>
              <a:gd name="connsiteX123" fmla="*/ 8220604 w 9114518"/>
              <a:gd name="connsiteY123" fmla="*/ 6999784 h 7391342"/>
              <a:gd name="connsiteX124" fmla="*/ 8230504 w 9114518"/>
              <a:gd name="connsiteY124" fmla="*/ 7044272 h 7391342"/>
              <a:gd name="connsiteX125" fmla="*/ 8242920 w 9114518"/>
              <a:gd name="connsiteY125" fmla="*/ 7085520 h 7391342"/>
              <a:gd name="connsiteX126" fmla="*/ 8258072 w 9114518"/>
              <a:gd name="connsiteY126" fmla="*/ 7123407 h 7391342"/>
              <a:gd name="connsiteX127" fmla="*/ 8276182 w 9114518"/>
              <a:gd name="connsiteY127" fmla="*/ 7157813 h 7391342"/>
              <a:gd name="connsiteX128" fmla="*/ 8322152 w 9114518"/>
              <a:gd name="connsiteY128" fmla="*/ 7215706 h 7391342"/>
              <a:gd name="connsiteX129" fmla="*/ 8382596 w 9114518"/>
              <a:gd name="connsiteY129" fmla="*/ 7258243 h 7391342"/>
              <a:gd name="connsiteX130" fmla="*/ 8418798 w 9114518"/>
              <a:gd name="connsiteY130" fmla="*/ 7273454 h 7391342"/>
              <a:gd name="connsiteX131" fmla="*/ 8459280 w 9114518"/>
              <a:gd name="connsiteY131" fmla="*/ 7284467 h 7391342"/>
              <a:gd name="connsiteX132" fmla="*/ 8504264 w 9114518"/>
              <a:gd name="connsiteY132" fmla="*/ 7291162 h 7391342"/>
              <a:gd name="connsiteX133" fmla="*/ 8553970 w 9114518"/>
              <a:gd name="connsiteY133" fmla="*/ 7293421 h 7391342"/>
              <a:gd name="connsiteX134" fmla="*/ 8553970 w 9114518"/>
              <a:gd name="connsiteY134" fmla="*/ 7391342 h 7391342"/>
              <a:gd name="connsiteX135" fmla="*/ 8502324 w 9114518"/>
              <a:gd name="connsiteY135" fmla="*/ 7389609 h 7391342"/>
              <a:gd name="connsiteX136" fmla="*/ 8454390 w 9114518"/>
              <a:gd name="connsiteY136" fmla="*/ 7384456 h 7391342"/>
              <a:gd name="connsiteX137" fmla="*/ 8410050 w 9114518"/>
              <a:gd name="connsiteY137" fmla="*/ 7375956 h 7391342"/>
              <a:gd name="connsiteX138" fmla="*/ 8369176 w 9114518"/>
              <a:gd name="connsiteY138" fmla="*/ 7364181 h 7391342"/>
              <a:gd name="connsiteX139" fmla="*/ 8331650 w 9114518"/>
              <a:gd name="connsiteY139" fmla="*/ 7349203 h 7391342"/>
              <a:gd name="connsiteX140" fmla="*/ 8297346 w 9114518"/>
              <a:gd name="connsiteY140" fmla="*/ 7331095 h 7391342"/>
              <a:gd name="connsiteX141" fmla="*/ 8237920 w 9114518"/>
              <a:gd name="connsiteY141" fmla="*/ 7285777 h 7391342"/>
              <a:gd name="connsiteX142" fmla="*/ 8189918 w 9114518"/>
              <a:gd name="connsiteY142" fmla="*/ 7228803 h 7391342"/>
              <a:gd name="connsiteX143" fmla="*/ 8169894 w 9114518"/>
              <a:gd name="connsiteY143" fmla="*/ 7196125 h 7391342"/>
              <a:gd name="connsiteX144" fmla="*/ 8152358 w 9114518"/>
              <a:gd name="connsiteY144" fmla="*/ 7160750 h 7391342"/>
              <a:gd name="connsiteX145" fmla="*/ 8137190 w 9114518"/>
              <a:gd name="connsiteY145" fmla="*/ 7122750 h 7391342"/>
              <a:gd name="connsiteX146" fmla="*/ 8124264 w 9114518"/>
              <a:gd name="connsiteY146" fmla="*/ 7082197 h 7391342"/>
              <a:gd name="connsiteX147" fmla="*/ 8113458 w 9114518"/>
              <a:gd name="connsiteY147" fmla="*/ 7039164 h 7391342"/>
              <a:gd name="connsiteX148" fmla="*/ 8104652 w 9114518"/>
              <a:gd name="connsiteY148" fmla="*/ 6993721 h 7391342"/>
              <a:gd name="connsiteX149" fmla="*/ 8097722 w 9114518"/>
              <a:gd name="connsiteY149" fmla="*/ 6945943 h 7391342"/>
              <a:gd name="connsiteX150" fmla="*/ 8092544 w 9114518"/>
              <a:gd name="connsiteY150" fmla="*/ 6895900 h 7391342"/>
              <a:gd name="connsiteX151" fmla="*/ 8088998 w 9114518"/>
              <a:gd name="connsiteY151" fmla="*/ 6843665 h 7391342"/>
              <a:gd name="connsiteX152" fmla="*/ 8086960 w 9114518"/>
              <a:gd name="connsiteY152" fmla="*/ 6789310 h 7391342"/>
              <a:gd name="connsiteX153" fmla="*/ 8086308 w 9114518"/>
              <a:gd name="connsiteY153" fmla="*/ 6732908 h 7391342"/>
              <a:gd name="connsiteX154" fmla="*/ 8086982 w 9114518"/>
              <a:gd name="connsiteY154" fmla="*/ 6676747 h 7391342"/>
              <a:gd name="connsiteX155" fmla="*/ 8089082 w 9114518"/>
              <a:gd name="connsiteY155" fmla="*/ 6622632 h 7391342"/>
              <a:gd name="connsiteX156" fmla="*/ 8092722 w 9114518"/>
              <a:gd name="connsiteY156" fmla="*/ 6570635 h 7391342"/>
              <a:gd name="connsiteX157" fmla="*/ 8098020 w 9114518"/>
              <a:gd name="connsiteY157" fmla="*/ 6520827 h 7391342"/>
              <a:gd name="connsiteX158" fmla="*/ 8105090 w 9114518"/>
              <a:gd name="connsiteY158" fmla="*/ 6473278 h 7391342"/>
              <a:gd name="connsiteX159" fmla="*/ 8114050 w 9114518"/>
              <a:gd name="connsiteY159" fmla="*/ 6428061 h 7391342"/>
              <a:gd name="connsiteX160" fmla="*/ 8125014 w 9114518"/>
              <a:gd name="connsiteY160" fmla="*/ 6385245 h 7391342"/>
              <a:gd name="connsiteX161" fmla="*/ 8138100 w 9114518"/>
              <a:gd name="connsiteY161" fmla="*/ 6344902 h 7391342"/>
              <a:gd name="connsiteX162" fmla="*/ 8153424 w 9114518"/>
              <a:gd name="connsiteY162" fmla="*/ 6307104 h 7391342"/>
              <a:gd name="connsiteX163" fmla="*/ 8171098 w 9114518"/>
              <a:gd name="connsiteY163" fmla="*/ 6271921 h 7391342"/>
              <a:gd name="connsiteX164" fmla="*/ 8191242 w 9114518"/>
              <a:gd name="connsiteY164" fmla="*/ 6239424 h 7391342"/>
              <a:gd name="connsiteX165" fmla="*/ 8239400 w 9114518"/>
              <a:gd name="connsiteY165" fmla="*/ 6182774 h 7391342"/>
              <a:gd name="connsiteX166" fmla="*/ 8298824 w 9114518"/>
              <a:gd name="connsiteY166" fmla="*/ 6137723 h 7391342"/>
              <a:gd name="connsiteX167" fmla="*/ 8333052 w 9114518"/>
              <a:gd name="connsiteY167" fmla="*/ 6119725 h 7391342"/>
              <a:gd name="connsiteX168" fmla="*/ 8370442 w 9114518"/>
              <a:gd name="connsiteY168" fmla="*/ 6104840 h 7391342"/>
              <a:gd name="connsiteX169" fmla="*/ 8411114 w 9114518"/>
              <a:gd name="connsiteY169" fmla="*/ 6093139 h 7391342"/>
              <a:gd name="connsiteX170" fmla="*/ 8455182 w 9114518"/>
              <a:gd name="connsiteY170" fmla="*/ 6084693 h 7391342"/>
              <a:gd name="connsiteX171" fmla="*/ 8502762 w 9114518"/>
              <a:gd name="connsiteY171" fmla="*/ 6079573 h 7391342"/>
              <a:gd name="connsiteX172" fmla="*/ 1425338 w 9114518"/>
              <a:gd name="connsiteY172" fmla="*/ 6077851 h 7391342"/>
              <a:gd name="connsiteX173" fmla="*/ 1476547 w 9114518"/>
              <a:gd name="connsiteY173" fmla="*/ 6079573 h 7391342"/>
              <a:gd name="connsiteX174" fmla="*/ 1524127 w 9114518"/>
              <a:gd name="connsiteY174" fmla="*/ 6084693 h 7391342"/>
              <a:gd name="connsiteX175" fmla="*/ 1568196 w 9114518"/>
              <a:gd name="connsiteY175" fmla="*/ 6093139 h 7391342"/>
              <a:gd name="connsiteX176" fmla="*/ 1608868 w 9114518"/>
              <a:gd name="connsiteY176" fmla="*/ 6104840 h 7391342"/>
              <a:gd name="connsiteX177" fmla="*/ 1646259 w 9114518"/>
              <a:gd name="connsiteY177" fmla="*/ 6119725 h 7391342"/>
              <a:gd name="connsiteX178" fmla="*/ 1680486 w 9114518"/>
              <a:gd name="connsiteY178" fmla="*/ 6137723 h 7391342"/>
              <a:gd name="connsiteX179" fmla="*/ 1739910 w 9114518"/>
              <a:gd name="connsiteY179" fmla="*/ 6182774 h 7391342"/>
              <a:gd name="connsiteX180" fmla="*/ 1788068 w 9114518"/>
              <a:gd name="connsiteY180" fmla="*/ 6239424 h 7391342"/>
              <a:gd name="connsiteX181" fmla="*/ 1808212 w 9114518"/>
              <a:gd name="connsiteY181" fmla="*/ 6271921 h 7391342"/>
              <a:gd name="connsiteX182" fmla="*/ 1825887 w 9114518"/>
              <a:gd name="connsiteY182" fmla="*/ 6307104 h 7391342"/>
              <a:gd name="connsiteX183" fmla="*/ 1841209 w 9114518"/>
              <a:gd name="connsiteY183" fmla="*/ 6344902 h 7391342"/>
              <a:gd name="connsiteX184" fmla="*/ 1854294 w 9114518"/>
              <a:gd name="connsiteY184" fmla="*/ 6385245 h 7391342"/>
              <a:gd name="connsiteX185" fmla="*/ 1865258 w 9114518"/>
              <a:gd name="connsiteY185" fmla="*/ 6428061 h 7391342"/>
              <a:gd name="connsiteX186" fmla="*/ 1874218 w 9114518"/>
              <a:gd name="connsiteY186" fmla="*/ 6473278 h 7391342"/>
              <a:gd name="connsiteX187" fmla="*/ 1881288 w 9114518"/>
              <a:gd name="connsiteY187" fmla="*/ 6520827 h 7391342"/>
              <a:gd name="connsiteX188" fmla="*/ 1886585 w 9114518"/>
              <a:gd name="connsiteY188" fmla="*/ 6570635 h 7391342"/>
              <a:gd name="connsiteX189" fmla="*/ 1890226 w 9114518"/>
              <a:gd name="connsiteY189" fmla="*/ 6622632 h 7391342"/>
              <a:gd name="connsiteX190" fmla="*/ 1892325 w 9114518"/>
              <a:gd name="connsiteY190" fmla="*/ 6676747 h 7391342"/>
              <a:gd name="connsiteX191" fmla="*/ 1892999 w 9114518"/>
              <a:gd name="connsiteY191" fmla="*/ 6732908 h 7391342"/>
              <a:gd name="connsiteX192" fmla="*/ 1892357 w 9114518"/>
              <a:gd name="connsiteY192" fmla="*/ 6789310 h 7391342"/>
              <a:gd name="connsiteX193" fmla="*/ 1890350 w 9114518"/>
              <a:gd name="connsiteY193" fmla="*/ 6843665 h 7391342"/>
              <a:gd name="connsiteX194" fmla="*/ 1886851 w 9114518"/>
              <a:gd name="connsiteY194" fmla="*/ 6895900 h 7391342"/>
              <a:gd name="connsiteX195" fmla="*/ 1881734 w 9114518"/>
              <a:gd name="connsiteY195" fmla="*/ 6945943 h 7391342"/>
              <a:gd name="connsiteX196" fmla="*/ 1874873 w 9114518"/>
              <a:gd name="connsiteY196" fmla="*/ 6993721 h 7391342"/>
              <a:gd name="connsiteX197" fmla="*/ 1866143 w 9114518"/>
              <a:gd name="connsiteY197" fmla="*/ 7039164 h 7391342"/>
              <a:gd name="connsiteX198" fmla="*/ 1855418 w 9114518"/>
              <a:gd name="connsiteY198" fmla="*/ 7082197 h 7391342"/>
              <a:gd name="connsiteX199" fmla="*/ 1842572 w 9114518"/>
              <a:gd name="connsiteY199" fmla="*/ 7122750 h 7391342"/>
              <a:gd name="connsiteX200" fmla="*/ 1827479 w 9114518"/>
              <a:gd name="connsiteY200" fmla="*/ 7160750 h 7391342"/>
              <a:gd name="connsiteX201" fmla="*/ 1810014 w 9114518"/>
              <a:gd name="connsiteY201" fmla="*/ 7196125 h 7391342"/>
              <a:gd name="connsiteX202" fmla="*/ 1790050 w 9114518"/>
              <a:gd name="connsiteY202" fmla="*/ 7228803 h 7391342"/>
              <a:gd name="connsiteX203" fmla="*/ 1742125 w 9114518"/>
              <a:gd name="connsiteY203" fmla="*/ 7285777 h 7391342"/>
              <a:gd name="connsiteX204" fmla="*/ 1682698 w 9114518"/>
              <a:gd name="connsiteY204" fmla="*/ 7331095 h 7391342"/>
              <a:gd name="connsiteX205" fmla="*/ 1648356 w 9114518"/>
              <a:gd name="connsiteY205" fmla="*/ 7349203 h 7391342"/>
              <a:gd name="connsiteX206" fmla="*/ 1610762 w 9114518"/>
              <a:gd name="connsiteY206" fmla="*/ 7364181 h 7391342"/>
              <a:gd name="connsiteX207" fmla="*/ 1569788 w 9114518"/>
              <a:gd name="connsiteY207" fmla="*/ 7375956 h 7391342"/>
              <a:gd name="connsiteX208" fmla="*/ 1525310 w 9114518"/>
              <a:gd name="connsiteY208" fmla="*/ 7384456 h 7391342"/>
              <a:gd name="connsiteX209" fmla="*/ 1477202 w 9114518"/>
              <a:gd name="connsiteY209" fmla="*/ 7389609 h 7391342"/>
              <a:gd name="connsiteX210" fmla="*/ 1425338 w 9114518"/>
              <a:gd name="connsiteY210" fmla="*/ 7391342 h 7391342"/>
              <a:gd name="connsiteX211" fmla="*/ 1425338 w 9114518"/>
              <a:gd name="connsiteY211" fmla="*/ 7293421 h 7391342"/>
              <a:gd name="connsiteX212" fmla="*/ 1475586 w 9114518"/>
              <a:gd name="connsiteY212" fmla="*/ 7291162 h 7391342"/>
              <a:gd name="connsiteX213" fmla="*/ 1521017 w 9114518"/>
              <a:gd name="connsiteY213" fmla="*/ 7284467 h 7391342"/>
              <a:gd name="connsiteX214" fmla="*/ 1561858 w 9114518"/>
              <a:gd name="connsiteY214" fmla="*/ 7273454 h 7391342"/>
              <a:gd name="connsiteX215" fmla="*/ 1598338 w 9114518"/>
              <a:gd name="connsiteY215" fmla="*/ 7258243 h 7391342"/>
              <a:gd name="connsiteX216" fmla="*/ 1659131 w 9114518"/>
              <a:gd name="connsiteY216" fmla="*/ 7215706 h 7391342"/>
              <a:gd name="connsiteX217" fmla="*/ 1705228 w 9114518"/>
              <a:gd name="connsiteY217" fmla="*/ 7157813 h 7391342"/>
              <a:gd name="connsiteX218" fmla="*/ 1723337 w 9114518"/>
              <a:gd name="connsiteY218" fmla="*/ 7123407 h 7391342"/>
              <a:gd name="connsiteX219" fmla="*/ 1738459 w 9114518"/>
              <a:gd name="connsiteY219" fmla="*/ 7085520 h 7391342"/>
              <a:gd name="connsiteX220" fmla="*/ 1750822 w 9114518"/>
              <a:gd name="connsiteY220" fmla="*/ 7044272 h 7391342"/>
              <a:gd name="connsiteX221" fmla="*/ 1760655 w 9114518"/>
              <a:gd name="connsiteY221" fmla="*/ 6999784 h 7391342"/>
              <a:gd name="connsiteX222" fmla="*/ 1768187 w 9114518"/>
              <a:gd name="connsiteY222" fmla="*/ 6952173 h 7391342"/>
              <a:gd name="connsiteX223" fmla="*/ 1773647 w 9114518"/>
              <a:gd name="connsiteY223" fmla="*/ 6901561 h 7391342"/>
              <a:gd name="connsiteX224" fmla="*/ 1777263 w 9114518"/>
              <a:gd name="connsiteY224" fmla="*/ 6848066 h 7391342"/>
              <a:gd name="connsiteX225" fmla="*/ 1779265 w 9114518"/>
              <a:gd name="connsiteY225" fmla="*/ 6791809 h 7391342"/>
              <a:gd name="connsiteX226" fmla="*/ 1779882 w 9114518"/>
              <a:gd name="connsiteY226" fmla="*/ 6732908 h 7391342"/>
              <a:gd name="connsiteX227" fmla="*/ 1779232 w 9114518"/>
              <a:gd name="connsiteY227" fmla="*/ 6674585 h 7391342"/>
              <a:gd name="connsiteX228" fmla="*/ 1777140 w 9114518"/>
              <a:gd name="connsiteY228" fmla="*/ 6618871 h 7391342"/>
              <a:gd name="connsiteX229" fmla="*/ 1773387 w 9114518"/>
              <a:gd name="connsiteY229" fmla="*/ 6565885 h 7391342"/>
              <a:gd name="connsiteX230" fmla="*/ 1767758 w 9114518"/>
              <a:gd name="connsiteY230" fmla="*/ 6515745 h 7391342"/>
              <a:gd name="connsiteX231" fmla="*/ 1760037 w 9114518"/>
              <a:gd name="connsiteY231" fmla="*/ 6468573 h 7391342"/>
              <a:gd name="connsiteX232" fmla="*/ 1750006 w 9114518"/>
              <a:gd name="connsiteY232" fmla="*/ 6424488 h 7391342"/>
              <a:gd name="connsiteX233" fmla="*/ 1737450 w 9114518"/>
              <a:gd name="connsiteY233" fmla="*/ 6383608 h 7391342"/>
              <a:gd name="connsiteX234" fmla="*/ 1722151 w 9114518"/>
              <a:gd name="connsiteY234" fmla="*/ 6346054 h 7391342"/>
              <a:gd name="connsiteX235" fmla="*/ 1703894 w 9114518"/>
              <a:gd name="connsiteY235" fmla="*/ 6311946 h 7391342"/>
              <a:gd name="connsiteX236" fmla="*/ 1657637 w 9114518"/>
              <a:gd name="connsiteY236" fmla="*/ 6254543 h 7391342"/>
              <a:gd name="connsiteX237" fmla="*/ 1596946 w 9114518"/>
              <a:gd name="connsiteY237" fmla="*/ 6212357 h 7391342"/>
              <a:gd name="connsiteX238" fmla="*/ 1560647 w 9114518"/>
              <a:gd name="connsiteY238" fmla="*/ 6197269 h 7391342"/>
              <a:gd name="connsiteX239" fmla="*/ 1520090 w 9114518"/>
              <a:gd name="connsiteY239" fmla="*/ 6186344 h 7391342"/>
              <a:gd name="connsiteX240" fmla="*/ 1475059 w 9114518"/>
              <a:gd name="connsiteY240" fmla="*/ 6179701 h 7391342"/>
              <a:gd name="connsiteX241" fmla="*/ 1425338 w 9114518"/>
              <a:gd name="connsiteY241" fmla="*/ 6177460 h 7391342"/>
              <a:gd name="connsiteX242" fmla="*/ 1332420 w 9114518"/>
              <a:gd name="connsiteY242" fmla="*/ 6077851 h 7391342"/>
              <a:gd name="connsiteX243" fmla="*/ 1332420 w 9114518"/>
              <a:gd name="connsiteY243" fmla="*/ 6177460 h 7391342"/>
              <a:gd name="connsiteX244" fmla="*/ 1282980 w 9114518"/>
              <a:gd name="connsiteY244" fmla="*/ 6179701 h 7391342"/>
              <a:gd name="connsiteX245" fmla="*/ 1238197 w 9114518"/>
              <a:gd name="connsiteY245" fmla="*/ 6186344 h 7391342"/>
              <a:gd name="connsiteX246" fmla="*/ 1197858 w 9114518"/>
              <a:gd name="connsiteY246" fmla="*/ 6197269 h 7391342"/>
              <a:gd name="connsiteX247" fmla="*/ 1161747 w 9114518"/>
              <a:gd name="connsiteY247" fmla="*/ 6212357 h 7391342"/>
              <a:gd name="connsiteX248" fmla="*/ 1101354 w 9114518"/>
              <a:gd name="connsiteY248" fmla="*/ 6254543 h 7391342"/>
              <a:gd name="connsiteX249" fmla="*/ 1055303 w 9114518"/>
              <a:gd name="connsiteY249" fmla="*/ 6311946 h 7391342"/>
              <a:gd name="connsiteX250" fmla="*/ 1037120 w 9114518"/>
              <a:gd name="connsiteY250" fmla="*/ 6346054 h 7391342"/>
              <a:gd name="connsiteX251" fmla="*/ 1021878 w 9114518"/>
              <a:gd name="connsiteY251" fmla="*/ 6383608 h 7391342"/>
              <a:gd name="connsiteX252" fmla="*/ 1009365 w 9114518"/>
              <a:gd name="connsiteY252" fmla="*/ 6424488 h 7391342"/>
              <a:gd name="connsiteX253" fmla="*/ 999365 w 9114518"/>
              <a:gd name="connsiteY253" fmla="*/ 6468573 h 7391342"/>
              <a:gd name="connsiteX254" fmla="*/ 991664 w 9114518"/>
              <a:gd name="connsiteY254" fmla="*/ 6515745 h 7391342"/>
              <a:gd name="connsiteX255" fmla="*/ 986047 w 9114518"/>
              <a:gd name="connsiteY255" fmla="*/ 6565885 h 7391342"/>
              <a:gd name="connsiteX256" fmla="*/ 982301 w 9114518"/>
              <a:gd name="connsiteY256" fmla="*/ 6618871 h 7391342"/>
              <a:gd name="connsiteX257" fmla="*/ 980210 w 9114518"/>
              <a:gd name="connsiteY257" fmla="*/ 6674585 h 7391342"/>
              <a:gd name="connsiteX258" fmla="*/ 979561 w 9114518"/>
              <a:gd name="connsiteY258" fmla="*/ 6732908 h 7391342"/>
              <a:gd name="connsiteX259" fmla="*/ 980194 w 9114518"/>
              <a:gd name="connsiteY259" fmla="*/ 6791809 h 7391342"/>
              <a:gd name="connsiteX260" fmla="*/ 982239 w 9114518"/>
              <a:gd name="connsiteY260" fmla="*/ 6848066 h 7391342"/>
              <a:gd name="connsiteX261" fmla="*/ 985918 w 9114518"/>
              <a:gd name="connsiteY261" fmla="*/ 6901561 h 7391342"/>
              <a:gd name="connsiteX262" fmla="*/ 991450 w 9114518"/>
              <a:gd name="connsiteY262" fmla="*/ 6952173 h 7391342"/>
              <a:gd name="connsiteX263" fmla="*/ 999056 w 9114518"/>
              <a:gd name="connsiteY263" fmla="*/ 6999784 h 7391342"/>
              <a:gd name="connsiteX264" fmla="*/ 1008957 w 9114518"/>
              <a:gd name="connsiteY264" fmla="*/ 7044272 h 7391342"/>
              <a:gd name="connsiteX265" fmla="*/ 1021374 w 9114518"/>
              <a:gd name="connsiteY265" fmla="*/ 7085520 h 7391342"/>
              <a:gd name="connsiteX266" fmla="*/ 1036527 w 9114518"/>
              <a:gd name="connsiteY266" fmla="*/ 7123407 h 7391342"/>
              <a:gd name="connsiteX267" fmla="*/ 1054636 w 9114518"/>
              <a:gd name="connsiteY267" fmla="*/ 7157813 h 7391342"/>
              <a:gd name="connsiteX268" fmla="*/ 1100607 w 9114518"/>
              <a:gd name="connsiteY268" fmla="*/ 7215706 h 7391342"/>
              <a:gd name="connsiteX269" fmla="*/ 1161051 w 9114518"/>
              <a:gd name="connsiteY269" fmla="*/ 7258243 h 7391342"/>
              <a:gd name="connsiteX270" fmla="*/ 1197253 w 9114518"/>
              <a:gd name="connsiteY270" fmla="*/ 7273454 h 7391342"/>
              <a:gd name="connsiteX271" fmla="*/ 1237734 w 9114518"/>
              <a:gd name="connsiteY271" fmla="*/ 7284467 h 7391342"/>
              <a:gd name="connsiteX272" fmla="*/ 1282716 w 9114518"/>
              <a:gd name="connsiteY272" fmla="*/ 7291162 h 7391342"/>
              <a:gd name="connsiteX273" fmla="*/ 1332420 w 9114518"/>
              <a:gd name="connsiteY273" fmla="*/ 7293421 h 7391342"/>
              <a:gd name="connsiteX274" fmla="*/ 1332420 w 9114518"/>
              <a:gd name="connsiteY274" fmla="*/ 7391342 h 7391342"/>
              <a:gd name="connsiteX275" fmla="*/ 1280774 w 9114518"/>
              <a:gd name="connsiteY275" fmla="*/ 7389609 h 7391342"/>
              <a:gd name="connsiteX276" fmla="*/ 1232841 w 9114518"/>
              <a:gd name="connsiteY276" fmla="*/ 7384456 h 7391342"/>
              <a:gd name="connsiteX277" fmla="*/ 1188500 w 9114518"/>
              <a:gd name="connsiteY277" fmla="*/ 7375956 h 7391342"/>
              <a:gd name="connsiteX278" fmla="*/ 1147627 w 9114518"/>
              <a:gd name="connsiteY278" fmla="*/ 7364181 h 7391342"/>
              <a:gd name="connsiteX279" fmla="*/ 1110100 w 9114518"/>
              <a:gd name="connsiteY279" fmla="*/ 7349203 h 7391342"/>
              <a:gd name="connsiteX280" fmla="*/ 1075796 w 9114518"/>
              <a:gd name="connsiteY280" fmla="*/ 7331095 h 7391342"/>
              <a:gd name="connsiteX281" fmla="*/ 1016370 w 9114518"/>
              <a:gd name="connsiteY281" fmla="*/ 7285777 h 7391342"/>
              <a:gd name="connsiteX282" fmla="*/ 968368 w 9114518"/>
              <a:gd name="connsiteY282" fmla="*/ 7228803 h 7391342"/>
              <a:gd name="connsiteX283" fmla="*/ 948344 w 9114518"/>
              <a:gd name="connsiteY283" fmla="*/ 7196125 h 7391342"/>
              <a:gd name="connsiteX284" fmla="*/ 930809 w 9114518"/>
              <a:gd name="connsiteY284" fmla="*/ 7160750 h 7391342"/>
              <a:gd name="connsiteX285" fmla="*/ 915640 w 9114518"/>
              <a:gd name="connsiteY285" fmla="*/ 7122750 h 7391342"/>
              <a:gd name="connsiteX286" fmla="*/ 902714 w 9114518"/>
              <a:gd name="connsiteY286" fmla="*/ 7082197 h 7391342"/>
              <a:gd name="connsiteX287" fmla="*/ 891909 w 9114518"/>
              <a:gd name="connsiteY287" fmla="*/ 7039164 h 7391342"/>
              <a:gd name="connsiteX288" fmla="*/ 883103 w 9114518"/>
              <a:gd name="connsiteY288" fmla="*/ 6993721 h 7391342"/>
              <a:gd name="connsiteX289" fmla="*/ 876172 w 9114518"/>
              <a:gd name="connsiteY289" fmla="*/ 6945943 h 7391342"/>
              <a:gd name="connsiteX290" fmla="*/ 870995 w 9114518"/>
              <a:gd name="connsiteY290" fmla="*/ 6895900 h 7391342"/>
              <a:gd name="connsiteX291" fmla="*/ 867449 w 9114518"/>
              <a:gd name="connsiteY291" fmla="*/ 6843665 h 7391342"/>
              <a:gd name="connsiteX292" fmla="*/ 865411 w 9114518"/>
              <a:gd name="connsiteY292" fmla="*/ 6789310 h 7391342"/>
              <a:gd name="connsiteX293" fmla="*/ 864759 w 9114518"/>
              <a:gd name="connsiteY293" fmla="*/ 6732908 h 7391342"/>
              <a:gd name="connsiteX294" fmla="*/ 865433 w 9114518"/>
              <a:gd name="connsiteY294" fmla="*/ 6676747 h 7391342"/>
              <a:gd name="connsiteX295" fmla="*/ 867532 w 9114518"/>
              <a:gd name="connsiteY295" fmla="*/ 6622632 h 7391342"/>
              <a:gd name="connsiteX296" fmla="*/ 871172 w 9114518"/>
              <a:gd name="connsiteY296" fmla="*/ 6570635 h 7391342"/>
              <a:gd name="connsiteX297" fmla="*/ 876470 w 9114518"/>
              <a:gd name="connsiteY297" fmla="*/ 6520827 h 7391342"/>
              <a:gd name="connsiteX298" fmla="*/ 883541 w 9114518"/>
              <a:gd name="connsiteY298" fmla="*/ 6473278 h 7391342"/>
              <a:gd name="connsiteX299" fmla="*/ 892501 w 9114518"/>
              <a:gd name="connsiteY299" fmla="*/ 6428061 h 7391342"/>
              <a:gd name="connsiteX300" fmla="*/ 903465 w 9114518"/>
              <a:gd name="connsiteY300" fmla="*/ 6385245 h 7391342"/>
              <a:gd name="connsiteX301" fmla="*/ 916551 w 9114518"/>
              <a:gd name="connsiteY301" fmla="*/ 6344902 h 7391342"/>
              <a:gd name="connsiteX302" fmla="*/ 931874 w 9114518"/>
              <a:gd name="connsiteY302" fmla="*/ 6307104 h 7391342"/>
              <a:gd name="connsiteX303" fmla="*/ 949549 w 9114518"/>
              <a:gd name="connsiteY303" fmla="*/ 6271921 h 7391342"/>
              <a:gd name="connsiteX304" fmla="*/ 969693 w 9114518"/>
              <a:gd name="connsiteY304" fmla="*/ 6239424 h 7391342"/>
              <a:gd name="connsiteX305" fmla="*/ 1017851 w 9114518"/>
              <a:gd name="connsiteY305" fmla="*/ 6182774 h 7391342"/>
              <a:gd name="connsiteX306" fmla="*/ 1077275 w 9114518"/>
              <a:gd name="connsiteY306" fmla="*/ 6137723 h 7391342"/>
              <a:gd name="connsiteX307" fmla="*/ 1111502 w 9114518"/>
              <a:gd name="connsiteY307" fmla="*/ 6119725 h 7391342"/>
              <a:gd name="connsiteX308" fmla="*/ 1148893 w 9114518"/>
              <a:gd name="connsiteY308" fmla="*/ 6104840 h 7391342"/>
              <a:gd name="connsiteX309" fmla="*/ 1189565 w 9114518"/>
              <a:gd name="connsiteY309" fmla="*/ 6093139 h 7391342"/>
              <a:gd name="connsiteX310" fmla="*/ 1233632 w 9114518"/>
              <a:gd name="connsiteY310" fmla="*/ 6084693 h 7391342"/>
              <a:gd name="connsiteX311" fmla="*/ 1281212 w 9114518"/>
              <a:gd name="connsiteY311" fmla="*/ 6079573 h 7391342"/>
              <a:gd name="connsiteX312" fmla="*/ 510883 w 9114518"/>
              <a:gd name="connsiteY312" fmla="*/ 5591624 h 7391342"/>
              <a:gd name="connsiteX313" fmla="*/ 553593 w 9114518"/>
              <a:gd name="connsiteY313" fmla="*/ 5595343 h 7391342"/>
              <a:gd name="connsiteX314" fmla="*/ 586648 w 9114518"/>
              <a:gd name="connsiteY314" fmla="*/ 5608717 h 7391342"/>
              <a:gd name="connsiteX315" fmla="*/ 607989 w 9114518"/>
              <a:gd name="connsiteY315" fmla="*/ 5635070 h 7391342"/>
              <a:gd name="connsiteX316" fmla="*/ 615560 w 9114518"/>
              <a:gd name="connsiteY316" fmla="*/ 5677726 h 7391342"/>
              <a:gd name="connsiteX317" fmla="*/ 607989 w 9114518"/>
              <a:gd name="connsiteY317" fmla="*/ 5722334 h 7391342"/>
              <a:gd name="connsiteX318" fmla="*/ 586648 w 9114518"/>
              <a:gd name="connsiteY318" fmla="*/ 5749689 h 7391342"/>
              <a:gd name="connsiteX319" fmla="*/ 553593 w 9114518"/>
              <a:gd name="connsiteY319" fmla="*/ 5763433 h 7391342"/>
              <a:gd name="connsiteX320" fmla="*/ 510883 w 9114518"/>
              <a:gd name="connsiteY320" fmla="*/ 5767206 h 7391342"/>
              <a:gd name="connsiteX321" fmla="*/ 468173 w 9114518"/>
              <a:gd name="connsiteY321" fmla="*/ 5763433 h 7391342"/>
              <a:gd name="connsiteX322" fmla="*/ 435118 w 9114518"/>
              <a:gd name="connsiteY322" fmla="*/ 5749689 h 7391342"/>
              <a:gd name="connsiteX323" fmla="*/ 413777 w 9114518"/>
              <a:gd name="connsiteY323" fmla="*/ 5722334 h 7391342"/>
              <a:gd name="connsiteX324" fmla="*/ 406206 w 9114518"/>
              <a:gd name="connsiteY324" fmla="*/ 5677726 h 7391342"/>
              <a:gd name="connsiteX325" fmla="*/ 414015 w 9114518"/>
              <a:gd name="connsiteY325" fmla="*/ 5635070 h 7391342"/>
              <a:gd name="connsiteX326" fmla="*/ 435754 w 9114518"/>
              <a:gd name="connsiteY326" fmla="*/ 5608717 h 7391342"/>
              <a:gd name="connsiteX327" fmla="*/ 468888 w 9114518"/>
              <a:gd name="connsiteY327" fmla="*/ 5595343 h 7391342"/>
              <a:gd name="connsiteX328" fmla="*/ 2493379 w 9114518"/>
              <a:gd name="connsiteY328" fmla="*/ 5439680 h 7391342"/>
              <a:gd name="connsiteX329" fmla="*/ 3408440 w 9114518"/>
              <a:gd name="connsiteY329" fmla="*/ 5439680 h 7391342"/>
              <a:gd name="connsiteX330" fmla="*/ 3408440 w 9114518"/>
              <a:gd name="connsiteY330" fmla="*/ 5547731 h 7391342"/>
              <a:gd name="connsiteX331" fmla="*/ 2493379 w 9114518"/>
              <a:gd name="connsiteY331" fmla="*/ 5547731 h 7391342"/>
              <a:gd name="connsiteX332" fmla="*/ 2493379 w 9114518"/>
              <a:gd name="connsiteY332" fmla="*/ 5086827 h 7391342"/>
              <a:gd name="connsiteX333" fmla="*/ 3408440 w 9114518"/>
              <a:gd name="connsiteY333" fmla="*/ 5086827 h 7391342"/>
              <a:gd name="connsiteX334" fmla="*/ 3408440 w 9114518"/>
              <a:gd name="connsiteY334" fmla="*/ 5194878 h 7391342"/>
              <a:gd name="connsiteX335" fmla="*/ 2493379 w 9114518"/>
              <a:gd name="connsiteY335" fmla="*/ 5194878 h 7391342"/>
              <a:gd name="connsiteX336" fmla="*/ 510883 w 9114518"/>
              <a:gd name="connsiteY336" fmla="*/ 4882541 h 7391342"/>
              <a:gd name="connsiteX337" fmla="*/ 553593 w 9114518"/>
              <a:gd name="connsiteY337" fmla="*/ 4886049 h 7391342"/>
              <a:gd name="connsiteX338" fmla="*/ 586648 w 9114518"/>
              <a:gd name="connsiteY338" fmla="*/ 4899212 h 7391342"/>
              <a:gd name="connsiteX339" fmla="*/ 607989 w 9114518"/>
              <a:gd name="connsiteY339" fmla="*/ 4925987 h 7391342"/>
              <a:gd name="connsiteX340" fmla="*/ 615560 w 9114518"/>
              <a:gd name="connsiteY340" fmla="*/ 4970332 h 7391342"/>
              <a:gd name="connsiteX341" fmla="*/ 607989 w 9114518"/>
              <a:gd name="connsiteY341" fmla="*/ 5013251 h 7391342"/>
              <a:gd name="connsiteX342" fmla="*/ 586648 w 9114518"/>
              <a:gd name="connsiteY342" fmla="*/ 5040185 h 7391342"/>
              <a:gd name="connsiteX343" fmla="*/ 553593 w 9114518"/>
              <a:gd name="connsiteY343" fmla="*/ 5054139 h 7391342"/>
              <a:gd name="connsiteX344" fmla="*/ 510883 w 9114518"/>
              <a:gd name="connsiteY344" fmla="*/ 5058123 h 7391342"/>
              <a:gd name="connsiteX345" fmla="*/ 469154 w 9114518"/>
              <a:gd name="connsiteY345" fmla="*/ 5054139 h 7391342"/>
              <a:gd name="connsiteX346" fmla="*/ 436602 w 9114518"/>
              <a:gd name="connsiteY346" fmla="*/ 5040185 h 7391342"/>
              <a:gd name="connsiteX347" fmla="*/ 415446 w 9114518"/>
              <a:gd name="connsiteY347" fmla="*/ 5013251 h 7391342"/>
              <a:gd name="connsiteX348" fmla="*/ 407902 w 9114518"/>
              <a:gd name="connsiteY348" fmla="*/ 4970332 h 7391342"/>
              <a:gd name="connsiteX349" fmla="*/ 415446 w 9114518"/>
              <a:gd name="connsiteY349" fmla="*/ 4925987 h 7391342"/>
              <a:gd name="connsiteX350" fmla="*/ 436602 w 9114518"/>
              <a:gd name="connsiteY350" fmla="*/ 4899212 h 7391342"/>
              <a:gd name="connsiteX351" fmla="*/ 469154 w 9114518"/>
              <a:gd name="connsiteY351" fmla="*/ 4886049 h 7391342"/>
              <a:gd name="connsiteX352" fmla="*/ 4158261 w 9114518"/>
              <a:gd name="connsiteY352" fmla="*/ 4558390 h 7391342"/>
              <a:gd name="connsiteX353" fmla="*/ 4209470 w 9114518"/>
              <a:gd name="connsiteY353" fmla="*/ 4560112 h 7391342"/>
              <a:gd name="connsiteX354" fmla="*/ 4257050 w 9114518"/>
              <a:gd name="connsiteY354" fmla="*/ 4565232 h 7391342"/>
              <a:gd name="connsiteX355" fmla="*/ 4301119 w 9114518"/>
              <a:gd name="connsiteY355" fmla="*/ 4573678 h 7391342"/>
              <a:gd name="connsiteX356" fmla="*/ 4341791 w 9114518"/>
              <a:gd name="connsiteY356" fmla="*/ 4585379 h 7391342"/>
              <a:gd name="connsiteX357" fmla="*/ 4379182 w 9114518"/>
              <a:gd name="connsiteY357" fmla="*/ 4600264 h 7391342"/>
              <a:gd name="connsiteX358" fmla="*/ 4413410 w 9114518"/>
              <a:gd name="connsiteY358" fmla="*/ 4618262 h 7391342"/>
              <a:gd name="connsiteX359" fmla="*/ 4472834 w 9114518"/>
              <a:gd name="connsiteY359" fmla="*/ 4663313 h 7391342"/>
              <a:gd name="connsiteX360" fmla="*/ 4520992 w 9114518"/>
              <a:gd name="connsiteY360" fmla="*/ 4719963 h 7391342"/>
              <a:gd name="connsiteX361" fmla="*/ 4541136 w 9114518"/>
              <a:gd name="connsiteY361" fmla="*/ 4752460 h 7391342"/>
              <a:gd name="connsiteX362" fmla="*/ 4558811 w 9114518"/>
              <a:gd name="connsiteY362" fmla="*/ 4787643 h 7391342"/>
              <a:gd name="connsiteX363" fmla="*/ 4574133 w 9114518"/>
              <a:gd name="connsiteY363" fmla="*/ 4825441 h 7391342"/>
              <a:gd name="connsiteX364" fmla="*/ 4587218 w 9114518"/>
              <a:gd name="connsiteY364" fmla="*/ 4865784 h 7391342"/>
              <a:gd name="connsiteX365" fmla="*/ 4598182 w 9114518"/>
              <a:gd name="connsiteY365" fmla="*/ 4908599 h 7391342"/>
              <a:gd name="connsiteX366" fmla="*/ 4607142 w 9114518"/>
              <a:gd name="connsiteY366" fmla="*/ 4953817 h 7391342"/>
              <a:gd name="connsiteX367" fmla="*/ 4614212 w 9114518"/>
              <a:gd name="connsiteY367" fmla="*/ 5001365 h 7391342"/>
              <a:gd name="connsiteX368" fmla="*/ 4619509 w 9114518"/>
              <a:gd name="connsiteY368" fmla="*/ 5051174 h 7391342"/>
              <a:gd name="connsiteX369" fmla="*/ 4623150 w 9114518"/>
              <a:gd name="connsiteY369" fmla="*/ 5103171 h 7391342"/>
              <a:gd name="connsiteX370" fmla="*/ 4625249 w 9114518"/>
              <a:gd name="connsiteY370" fmla="*/ 5157286 h 7391342"/>
              <a:gd name="connsiteX371" fmla="*/ 4625923 w 9114518"/>
              <a:gd name="connsiteY371" fmla="*/ 5213447 h 7391342"/>
              <a:gd name="connsiteX372" fmla="*/ 4625281 w 9114518"/>
              <a:gd name="connsiteY372" fmla="*/ 5269849 h 7391342"/>
              <a:gd name="connsiteX373" fmla="*/ 4623274 w 9114518"/>
              <a:gd name="connsiteY373" fmla="*/ 5324204 h 7391342"/>
              <a:gd name="connsiteX374" fmla="*/ 4619775 w 9114518"/>
              <a:gd name="connsiteY374" fmla="*/ 5376438 h 7391342"/>
              <a:gd name="connsiteX375" fmla="*/ 4614658 w 9114518"/>
              <a:gd name="connsiteY375" fmla="*/ 5426481 h 7391342"/>
              <a:gd name="connsiteX376" fmla="*/ 4607797 w 9114518"/>
              <a:gd name="connsiteY376" fmla="*/ 5474260 h 7391342"/>
              <a:gd name="connsiteX377" fmla="*/ 4599067 w 9114518"/>
              <a:gd name="connsiteY377" fmla="*/ 5519702 h 7391342"/>
              <a:gd name="connsiteX378" fmla="*/ 4588342 w 9114518"/>
              <a:gd name="connsiteY378" fmla="*/ 5562735 h 7391342"/>
              <a:gd name="connsiteX379" fmla="*/ 4575496 w 9114518"/>
              <a:gd name="connsiteY379" fmla="*/ 5603288 h 7391342"/>
              <a:gd name="connsiteX380" fmla="*/ 4560403 w 9114518"/>
              <a:gd name="connsiteY380" fmla="*/ 5641288 h 7391342"/>
              <a:gd name="connsiteX381" fmla="*/ 4542938 w 9114518"/>
              <a:gd name="connsiteY381" fmla="*/ 5676663 h 7391342"/>
              <a:gd name="connsiteX382" fmla="*/ 4522974 w 9114518"/>
              <a:gd name="connsiteY382" fmla="*/ 5709341 h 7391342"/>
              <a:gd name="connsiteX383" fmla="*/ 4475049 w 9114518"/>
              <a:gd name="connsiteY383" fmla="*/ 5766315 h 7391342"/>
              <a:gd name="connsiteX384" fmla="*/ 4415622 w 9114518"/>
              <a:gd name="connsiteY384" fmla="*/ 5811633 h 7391342"/>
              <a:gd name="connsiteX385" fmla="*/ 4381279 w 9114518"/>
              <a:gd name="connsiteY385" fmla="*/ 5829741 h 7391342"/>
              <a:gd name="connsiteX386" fmla="*/ 4343685 w 9114518"/>
              <a:gd name="connsiteY386" fmla="*/ 5844719 h 7391342"/>
              <a:gd name="connsiteX387" fmla="*/ 4302711 w 9114518"/>
              <a:gd name="connsiteY387" fmla="*/ 5856494 h 7391342"/>
              <a:gd name="connsiteX388" fmla="*/ 4258233 w 9114518"/>
              <a:gd name="connsiteY388" fmla="*/ 5864994 h 7391342"/>
              <a:gd name="connsiteX389" fmla="*/ 4210125 w 9114518"/>
              <a:gd name="connsiteY389" fmla="*/ 5870147 h 7391342"/>
              <a:gd name="connsiteX390" fmla="*/ 4158261 w 9114518"/>
              <a:gd name="connsiteY390" fmla="*/ 5871880 h 7391342"/>
              <a:gd name="connsiteX391" fmla="*/ 4158261 w 9114518"/>
              <a:gd name="connsiteY391" fmla="*/ 5773960 h 7391342"/>
              <a:gd name="connsiteX392" fmla="*/ 4208509 w 9114518"/>
              <a:gd name="connsiteY392" fmla="*/ 5771701 h 7391342"/>
              <a:gd name="connsiteX393" fmla="*/ 4253940 w 9114518"/>
              <a:gd name="connsiteY393" fmla="*/ 5765006 h 7391342"/>
              <a:gd name="connsiteX394" fmla="*/ 4294781 w 9114518"/>
              <a:gd name="connsiteY394" fmla="*/ 5753993 h 7391342"/>
              <a:gd name="connsiteX395" fmla="*/ 4331261 w 9114518"/>
              <a:gd name="connsiteY395" fmla="*/ 5738782 h 7391342"/>
              <a:gd name="connsiteX396" fmla="*/ 4392054 w 9114518"/>
              <a:gd name="connsiteY396" fmla="*/ 5696245 h 7391342"/>
              <a:gd name="connsiteX397" fmla="*/ 4438152 w 9114518"/>
              <a:gd name="connsiteY397" fmla="*/ 5638352 h 7391342"/>
              <a:gd name="connsiteX398" fmla="*/ 4456261 w 9114518"/>
              <a:gd name="connsiteY398" fmla="*/ 5603946 h 7391342"/>
              <a:gd name="connsiteX399" fmla="*/ 4471383 w 9114518"/>
              <a:gd name="connsiteY399" fmla="*/ 5566059 h 7391342"/>
              <a:gd name="connsiteX400" fmla="*/ 4483746 w 9114518"/>
              <a:gd name="connsiteY400" fmla="*/ 5524811 h 7391342"/>
              <a:gd name="connsiteX401" fmla="*/ 4493579 w 9114518"/>
              <a:gd name="connsiteY401" fmla="*/ 5480323 h 7391342"/>
              <a:gd name="connsiteX402" fmla="*/ 4501111 w 9114518"/>
              <a:gd name="connsiteY402" fmla="*/ 5432712 h 7391342"/>
              <a:gd name="connsiteX403" fmla="*/ 4506571 w 9114518"/>
              <a:gd name="connsiteY403" fmla="*/ 5382100 h 7391342"/>
              <a:gd name="connsiteX404" fmla="*/ 4510187 w 9114518"/>
              <a:gd name="connsiteY404" fmla="*/ 5328605 h 7391342"/>
              <a:gd name="connsiteX405" fmla="*/ 4512189 w 9114518"/>
              <a:gd name="connsiteY405" fmla="*/ 5272348 h 7391342"/>
              <a:gd name="connsiteX406" fmla="*/ 4512806 w 9114518"/>
              <a:gd name="connsiteY406" fmla="*/ 5213447 h 7391342"/>
              <a:gd name="connsiteX407" fmla="*/ 4512156 w 9114518"/>
              <a:gd name="connsiteY407" fmla="*/ 5155124 h 7391342"/>
              <a:gd name="connsiteX408" fmla="*/ 4510064 w 9114518"/>
              <a:gd name="connsiteY408" fmla="*/ 5099410 h 7391342"/>
              <a:gd name="connsiteX409" fmla="*/ 4506311 w 9114518"/>
              <a:gd name="connsiteY409" fmla="*/ 5046423 h 7391342"/>
              <a:gd name="connsiteX410" fmla="*/ 4500682 w 9114518"/>
              <a:gd name="connsiteY410" fmla="*/ 4996284 h 7391342"/>
              <a:gd name="connsiteX411" fmla="*/ 4492961 w 9114518"/>
              <a:gd name="connsiteY411" fmla="*/ 4949112 h 7391342"/>
              <a:gd name="connsiteX412" fmla="*/ 4482930 w 9114518"/>
              <a:gd name="connsiteY412" fmla="*/ 4905026 h 7391342"/>
              <a:gd name="connsiteX413" fmla="*/ 4470374 w 9114518"/>
              <a:gd name="connsiteY413" fmla="*/ 4864147 h 7391342"/>
              <a:gd name="connsiteX414" fmla="*/ 4455075 w 9114518"/>
              <a:gd name="connsiteY414" fmla="*/ 4826593 h 7391342"/>
              <a:gd name="connsiteX415" fmla="*/ 4436818 w 9114518"/>
              <a:gd name="connsiteY415" fmla="*/ 4792484 h 7391342"/>
              <a:gd name="connsiteX416" fmla="*/ 4390560 w 9114518"/>
              <a:gd name="connsiteY416" fmla="*/ 4735082 h 7391342"/>
              <a:gd name="connsiteX417" fmla="*/ 4329869 w 9114518"/>
              <a:gd name="connsiteY417" fmla="*/ 4692895 h 7391342"/>
              <a:gd name="connsiteX418" fmla="*/ 4293570 w 9114518"/>
              <a:gd name="connsiteY418" fmla="*/ 4677807 h 7391342"/>
              <a:gd name="connsiteX419" fmla="*/ 4253013 w 9114518"/>
              <a:gd name="connsiteY419" fmla="*/ 4666882 h 7391342"/>
              <a:gd name="connsiteX420" fmla="*/ 4207982 w 9114518"/>
              <a:gd name="connsiteY420" fmla="*/ 4660239 h 7391342"/>
              <a:gd name="connsiteX421" fmla="*/ 4158261 w 9114518"/>
              <a:gd name="connsiteY421" fmla="*/ 4657998 h 7391342"/>
              <a:gd name="connsiteX422" fmla="*/ 4065343 w 9114518"/>
              <a:gd name="connsiteY422" fmla="*/ 4558390 h 7391342"/>
              <a:gd name="connsiteX423" fmla="*/ 4065343 w 9114518"/>
              <a:gd name="connsiteY423" fmla="*/ 4657998 h 7391342"/>
              <a:gd name="connsiteX424" fmla="*/ 4015903 w 9114518"/>
              <a:gd name="connsiteY424" fmla="*/ 4660239 h 7391342"/>
              <a:gd name="connsiteX425" fmla="*/ 3971120 w 9114518"/>
              <a:gd name="connsiteY425" fmla="*/ 4666882 h 7391342"/>
              <a:gd name="connsiteX426" fmla="*/ 3930781 w 9114518"/>
              <a:gd name="connsiteY426" fmla="*/ 4677807 h 7391342"/>
              <a:gd name="connsiteX427" fmla="*/ 3894670 w 9114518"/>
              <a:gd name="connsiteY427" fmla="*/ 4692895 h 7391342"/>
              <a:gd name="connsiteX428" fmla="*/ 3834276 w 9114518"/>
              <a:gd name="connsiteY428" fmla="*/ 4735082 h 7391342"/>
              <a:gd name="connsiteX429" fmla="*/ 3788225 w 9114518"/>
              <a:gd name="connsiteY429" fmla="*/ 4792484 h 7391342"/>
              <a:gd name="connsiteX430" fmla="*/ 3770042 w 9114518"/>
              <a:gd name="connsiteY430" fmla="*/ 4826593 h 7391342"/>
              <a:gd name="connsiteX431" fmla="*/ 3754800 w 9114518"/>
              <a:gd name="connsiteY431" fmla="*/ 4864147 h 7391342"/>
              <a:gd name="connsiteX432" fmla="*/ 3742287 w 9114518"/>
              <a:gd name="connsiteY432" fmla="*/ 4905026 h 7391342"/>
              <a:gd name="connsiteX433" fmla="*/ 3732287 w 9114518"/>
              <a:gd name="connsiteY433" fmla="*/ 4949112 h 7391342"/>
              <a:gd name="connsiteX434" fmla="*/ 3724586 w 9114518"/>
              <a:gd name="connsiteY434" fmla="*/ 4996284 h 7391342"/>
              <a:gd name="connsiteX435" fmla="*/ 3718969 w 9114518"/>
              <a:gd name="connsiteY435" fmla="*/ 5046423 h 7391342"/>
              <a:gd name="connsiteX436" fmla="*/ 3715223 w 9114518"/>
              <a:gd name="connsiteY436" fmla="*/ 5099410 h 7391342"/>
              <a:gd name="connsiteX437" fmla="*/ 3713132 w 9114518"/>
              <a:gd name="connsiteY437" fmla="*/ 5155124 h 7391342"/>
              <a:gd name="connsiteX438" fmla="*/ 3712483 w 9114518"/>
              <a:gd name="connsiteY438" fmla="*/ 5213447 h 7391342"/>
              <a:gd name="connsiteX439" fmla="*/ 3713116 w 9114518"/>
              <a:gd name="connsiteY439" fmla="*/ 5272348 h 7391342"/>
              <a:gd name="connsiteX440" fmla="*/ 3715161 w 9114518"/>
              <a:gd name="connsiteY440" fmla="*/ 5328605 h 7391342"/>
              <a:gd name="connsiteX441" fmla="*/ 3718840 w 9114518"/>
              <a:gd name="connsiteY441" fmla="*/ 5382100 h 7391342"/>
              <a:gd name="connsiteX442" fmla="*/ 3724372 w 9114518"/>
              <a:gd name="connsiteY442" fmla="*/ 5432712 h 7391342"/>
              <a:gd name="connsiteX443" fmla="*/ 3731978 w 9114518"/>
              <a:gd name="connsiteY443" fmla="*/ 5480323 h 7391342"/>
              <a:gd name="connsiteX444" fmla="*/ 3741879 w 9114518"/>
              <a:gd name="connsiteY444" fmla="*/ 5524811 h 7391342"/>
              <a:gd name="connsiteX445" fmla="*/ 3754296 w 9114518"/>
              <a:gd name="connsiteY445" fmla="*/ 5566059 h 7391342"/>
              <a:gd name="connsiteX446" fmla="*/ 3769449 w 9114518"/>
              <a:gd name="connsiteY446" fmla="*/ 5603946 h 7391342"/>
              <a:gd name="connsiteX447" fmla="*/ 3787558 w 9114518"/>
              <a:gd name="connsiteY447" fmla="*/ 5638352 h 7391342"/>
              <a:gd name="connsiteX448" fmla="*/ 3833530 w 9114518"/>
              <a:gd name="connsiteY448" fmla="*/ 5696245 h 7391342"/>
              <a:gd name="connsiteX449" fmla="*/ 3893974 w 9114518"/>
              <a:gd name="connsiteY449" fmla="*/ 5738782 h 7391342"/>
              <a:gd name="connsiteX450" fmla="*/ 3930176 w 9114518"/>
              <a:gd name="connsiteY450" fmla="*/ 5753993 h 7391342"/>
              <a:gd name="connsiteX451" fmla="*/ 3970657 w 9114518"/>
              <a:gd name="connsiteY451" fmla="*/ 5765006 h 7391342"/>
              <a:gd name="connsiteX452" fmla="*/ 4015639 w 9114518"/>
              <a:gd name="connsiteY452" fmla="*/ 5771701 h 7391342"/>
              <a:gd name="connsiteX453" fmla="*/ 4065343 w 9114518"/>
              <a:gd name="connsiteY453" fmla="*/ 5773960 h 7391342"/>
              <a:gd name="connsiteX454" fmla="*/ 4065343 w 9114518"/>
              <a:gd name="connsiteY454" fmla="*/ 5871880 h 7391342"/>
              <a:gd name="connsiteX455" fmla="*/ 4013697 w 9114518"/>
              <a:gd name="connsiteY455" fmla="*/ 5870147 h 7391342"/>
              <a:gd name="connsiteX456" fmla="*/ 3965764 w 9114518"/>
              <a:gd name="connsiteY456" fmla="*/ 5864994 h 7391342"/>
              <a:gd name="connsiteX457" fmla="*/ 3921423 w 9114518"/>
              <a:gd name="connsiteY457" fmla="*/ 5856494 h 7391342"/>
              <a:gd name="connsiteX458" fmla="*/ 3880550 w 9114518"/>
              <a:gd name="connsiteY458" fmla="*/ 5844719 h 7391342"/>
              <a:gd name="connsiteX459" fmla="*/ 3843023 w 9114518"/>
              <a:gd name="connsiteY459" fmla="*/ 5829741 h 7391342"/>
              <a:gd name="connsiteX460" fmla="*/ 3808718 w 9114518"/>
              <a:gd name="connsiteY460" fmla="*/ 5811633 h 7391342"/>
              <a:gd name="connsiteX461" fmla="*/ 3749292 w 9114518"/>
              <a:gd name="connsiteY461" fmla="*/ 5766315 h 7391342"/>
              <a:gd name="connsiteX462" fmla="*/ 3701290 w 9114518"/>
              <a:gd name="connsiteY462" fmla="*/ 5709341 h 7391342"/>
              <a:gd name="connsiteX463" fmla="*/ 3681266 w 9114518"/>
              <a:gd name="connsiteY463" fmla="*/ 5676663 h 7391342"/>
              <a:gd name="connsiteX464" fmla="*/ 3663731 w 9114518"/>
              <a:gd name="connsiteY464" fmla="*/ 5641288 h 7391342"/>
              <a:gd name="connsiteX465" fmla="*/ 3648562 w 9114518"/>
              <a:gd name="connsiteY465" fmla="*/ 5603288 h 7391342"/>
              <a:gd name="connsiteX466" fmla="*/ 3635636 w 9114518"/>
              <a:gd name="connsiteY466" fmla="*/ 5562735 h 7391342"/>
              <a:gd name="connsiteX467" fmla="*/ 3624831 w 9114518"/>
              <a:gd name="connsiteY467" fmla="*/ 5519702 h 7391342"/>
              <a:gd name="connsiteX468" fmla="*/ 3616025 w 9114518"/>
              <a:gd name="connsiteY468" fmla="*/ 5474260 h 7391342"/>
              <a:gd name="connsiteX469" fmla="*/ 3609094 w 9114518"/>
              <a:gd name="connsiteY469" fmla="*/ 5426481 h 7391342"/>
              <a:gd name="connsiteX470" fmla="*/ 3603917 w 9114518"/>
              <a:gd name="connsiteY470" fmla="*/ 5376438 h 7391342"/>
              <a:gd name="connsiteX471" fmla="*/ 3600371 w 9114518"/>
              <a:gd name="connsiteY471" fmla="*/ 5324204 h 7391342"/>
              <a:gd name="connsiteX472" fmla="*/ 3598333 w 9114518"/>
              <a:gd name="connsiteY472" fmla="*/ 5269849 h 7391342"/>
              <a:gd name="connsiteX473" fmla="*/ 3597681 w 9114518"/>
              <a:gd name="connsiteY473" fmla="*/ 5213447 h 7391342"/>
              <a:gd name="connsiteX474" fmla="*/ 3598355 w 9114518"/>
              <a:gd name="connsiteY474" fmla="*/ 5157286 h 7391342"/>
              <a:gd name="connsiteX475" fmla="*/ 3600454 w 9114518"/>
              <a:gd name="connsiteY475" fmla="*/ 5103171 h 7391342"/>
              <a:gd name="connsiteX476" fmla="*/ 3604094 w 9114518"/>
              <a:gd name="connsiteY476" fmla="*/ 5051174 h 7391342"/>
              <a:gd name="connsiteX477" fmla="*/ 3609392 w 9114518"/>
              <a:gd name="connsiteY477" fmla="*/ 5001365 h 7391342"/>
              <a:gd name="connsiteX478" fmla="*/ 3616463 w 9114518"/>
              <a:gd name="connsiteY478" fmla="*/ 4953817 h 7391342"/>
              <a:gd name="connsiteX479" fmla="*/ 3625423 w 9114518"/>
              <a:gd name="connsiteY479" fmla="*/ 4908599 h 7391342"/>
              <a:gd name="connsiteX480" fmla="*/ 3636387 w 9114518"/>
              <a:gd name="connsiteY480" fmla="*/ 4865784 h 7391342"/>
              <a:gd name="connsiteX481" fmla="*/ 3649473 w 9114518"/>
              <a:gd name="connsiteY481" fmla="*/ 4825441 h 7391342"/>
              <a:gd name="connsiteX482" fmla="*/ 3664796 w 9114518"/>
              <a:gd name="connsiteY482" fmla="*/ 4787643 h 7391342"/>
              <a:gd name="connsiteX483" fmla="*/ 3682471 w 9114518"/>
              <a:gd name="connsiteY483" fmla="*/ 4752460 h 7391342"/>
              <a:gd name="connsiteX484" fmla="*/ 3702615 w 9114518"/>
              <a:gd name="connsiteY484" fmla="*/ 4719963 h 7391342"/>
              <a:gd name="connsiteX485" fmla="*/ 3750773 w 9114518"/>
              <a:gd name="connsiteY485" fmla="*/ 4663313 h 7391342"/>
              <a:gd name="connsiteX486" fmla="*/ 3810197 w 9114518"/>
              <a:gd name="connsiteY486" fmla="*/ 4618262 h 7391342"/>
              <a:gd name="connsiteX487" fmla="*/ 3844425 w 9114518"/>
              <a:gd name="connsiteY487" fmla="*/ 4600264 h 7391342"/>
              <a:gd name="connsiteX488" fmla="*/ 3881816 w 9114518"/>
              <a:gd name="connsiteY488" fmla="*/ 4585379 h 7391342"/>
              <a:gd name="connsiteX489" fmla="*/ 3922488 w 9114518"/>
              <a:gd name="connsiteY489" fmla="*/ 4573678 h 7391342"/>
              <a:gd name="connsiteX490" fmla="*/ 3966555 w 9114518"/>
              <a:gd name="connsiteY490" fmla="*/ 4565232 h 7391342"/>
              <a:gd name="connsiteX491" fmla="*/ 4014135 w 9114518"/>
              <a:gd name="connsiteY491" fmla="*/ 4560112 h 7391342"/>
              <a:gd name="connsiteX492" fmla="*/ 0 w 9114518"/>
              <a:gd name="connsiteY492" fmla="*/ 3920215 h 7391342"/>
              <a:gd name="connsiteX493" fmla="*/ 915049 w 9114518"/>
              <a:gd name="connsiteY493" fmla="*/ 3920215 h 7391342"/>
              <a:gd name="connsiteX494" fmla="*/ 915049 w 9114518"/>
              <a:gd name="connsiteY494" fmla="*/ 4028265 h 7391342"/>
              <a:gd name="connsiteX495" fmla="*/ 0 w 9114518"/>
              <a:gd name="connsiteY495" fmla="*/ 4028265 h 7391342"/>
              <a:gd name="connsiteX496" fmla="*/ 0 w 9114518"/>
              <a:gd name="connsiteY496" fmla="*/ 3567362 h 7391342"/>
              <a:gd name="connsiteX497" fmla="*/ 915049 w 9114518"/>
              <a:gd name="connsiteY497" fmla="*/ 3567362 h 7391342"/>
              <a:gd name="connsiteX498" fmla="*/ 915049 w 9114518"/>
              <a:gd name="connsiteY498" fmla="*/ 3675412 h 7391342"/>
              <a:gd name="connsiteX499" fmla="*/ 0 w 9114518"/>
              <a:gd name="connsiteY499" fmla="*/ 3675412 h 7391342"/>
              <a:gd name="connsiteX500" fmla="*/ 1617156 w 9114518"/>
              <a:gd name="connsiteY500" fmla="*/ 3046199 h 7391342"/>
              <a:gd name="connsiteX501" fmla="*/ 1995337 w 9114518"/>
              <a:gd name="connsiteY501" fmla="*/ 3046199 h 7391342"/>
              <a:gd name="connsiteX502" fmla="*/ 1995337 w 9114518"/>
              <a:gd name="connsiteY502" fmla="*/ 3141449 h 7391342"/>
              <a:gd name="connsiteX503" fmla="*/ 1995337 w 9114518"/>
              <a:gd name="connsiteY503" fmla="*/ 4252699 h 7391342"/>
              <a:gd name="connsiteX504" fmla="*/ 1995337 w 9114518"/>
              <a:gd name="connsiteY504" fmla="*/ 4349219 h 7391342"/>
              <a:gd name="connsiteX505" fmla="*/ 1617156 w 9114518"/>
              <a:gd name="connsiteY505" fmla="*/ 4349219 h 7391342"/>
              <a:gd name="connsiteX506" fmla="*/ 1617156 w 9114518"/>
              <a:gd name="connsiteY506" fmla="*/ 4252699 h 7391342"/>
              <a:gd name="connsiteX507" fmla="*/ 1878853 w 9114518"/>
              <a:gd name="connsiteY507" fmla="*/ 4252699 h 7391342"/>
              <a:gd name="connsiteX508" fmla="*/ 1878853 w 9114518"/>
              <a:gd name="connsiteY508" fmla="*/ 3141449 h 7391342"/>
              <a:gd name="connsiteX509" fmla="*/ 1617156 w 9114518"/>
              <a:gd name="connsiteY509" fmla="*/ 3141449 h 7391342"/>
              <a:gd name="connsiteX510" fmla="*/ 1138061 w 9114518"/>
              <a:gd name="connsiteY510" fmla="*/ 3046199 h 7391342"/>
              <a:gd name="connsiteX511" fmla="*/ 1516242 w 9114518"/>
              <a:gd name="connsiteY511" fmla="*/ 3046199 h 7391342"/>
              <a:gd name="connsiteX512" fmla="*/ 1516242 w 9114518"/>
              <a:gd name="connsiteY512" fmla="*/ 3141449 h 7391342"/>
              <a:gd name="connsiteX513" fmla="*/ 1254558 w 9114518"/>
              <a:gd name="connsiteY513" fmla="*/ 3141449 h 7391342"/>
              <a:gd name="connsiteX514" fmla="*/ 1254558 w 9114518"/>
              <a:gd name="connsiteY514" fmla="*/ 4252699 h 7391342"/>
              <a:gd name="connsiteX515" fmla="*/ 1516242 w 9114518"/>
              <a:gd name="connsiteY515" fmla="*/ 4252699 h 7391342"/>
              <a:gd name="connsiteX516" fmla="*/ 1516242 w 9114518"/>
              <a:gd name="connsiteY516" fmla="*/ 4349219 h 7391342"/>
              <a:gd name="connsiteX517" fmla="*/ 1138061 w 9114518"/>
              <a:gd name="connsiteY517" fmla="*/ 4349219 h 7391342"/>
              <a:gd name="connsiteX518" fmla="*/ 1138061 w 9114518"/>
              <a:gd name="connsiteY518" fmla="*/ 4252699 h 7391342"/>
              <a:gd name="connsiteX519" fmla="*/ 1138061 w 9114518"/>
              <a:gd name="connsiteY519" fmla="*/ 3141449 h 7391342"/>
              <a:gd name="connsiteX520" fmla="*/ 3641480 w 9114518"/>
              <a:gd name="connsiteY520" fmla="*/ 3038926 h 7391342"/>
              <a:gd name="connsiteX521" fmla="*/ 3692687 w 9114518"/>
              <a:gd name="connsiteY521" fmla="*/ 3040648 h 7391342"/>
              <a:gd name="connsiteX522" fmla="*/ 3740267 w 9114518"/>
              <a:gd name="connsiteY522" fmla="*/ 3045768 h 7391342"/>
              <a:gd name="connsiteX523" fmla="*/ 3784335 w 9114518"/>
              <a:gd name="connsiteY523" fmla="*/ 3054214 h 7391342"/>
              <a:gd name="connsiteX524" fmla="*/ 3825006 w 9114518"/>
              <a:gd name="connsiteY524" fmla="*/ 3065915 h 7391342"/>
              <a:gd name="connsiteX525" fmla="*/ 3862397 w 9114518"/>
              <a:gd name="connsiteY525" fmla="*/ 3080800 h 7391342"/>
              <a:gd name="connsiteX526" fmla="*/ 3896625 w 9114518"/>
              <a:gd name="connsiteY526" fmla="*/ 3098798 h 7391342"/>
              <a:gd name="connsiteX527" fmla="*/ 3956049 w 9114518"/>
              <a:gd name="connsiteY527" fmla="*/ 3143849 h 7391342"/>
              <a:gd name="connsiteX528" fmla="*/ 4004207 w 9114518"/>
              <a:gd name="connsiteY528" fmla="*/ 3200499 h 7391342"/>
              <a:gd name="connsiteX529" fmla="*/ 4024351 w 9114518"/>
              <a:gd name="connsiteY529" fmla="*/ 3232996 h 7391342"/>
              <a:gd name="connsiteX530" fmla="*/ 4042026 w 9114518"/>
              <a:gd name="connsiteY530" fmla="*/ 3268179 h 7391342"/>
              <a:gd name="connsiteX531" fmla="*/ 4057349 w 9114518"/>
              <a:gd name="connsiteY531" fmla="*/ 3305977 h 7391342"/>
              <a:gd name="connsiteX532" fmla="*/ 4070435 w 9114518"/>
              <a:gd name="connsiteY532" fmla="*/ 3346320 h 7391342"/>
              <a:gd name="connsiteX533" fmla="*/ 4081399 w 9114518"/>
              <a:gd name="connsiteY533" fmla="*/ 3389137 h 7391342"/>
              <a:gd name="connsiteX534" fmla="*/ 4090359 w 9114518"/>
              <a:gd name="connsiteY534" fmla="*/ 3434354 h 7391342"/>
              <a:gd name="connsiteX535" fmla="*/ 4097430 w 9114518"/>
              <a:gd name="connsiteY535" fmla="*/ 3481903 h 7391342"/>
              <a:gd name="connsiteX536" fmla="*/ 4102728 w 9114518"/>
              <a:gd name="connsiteY536" fmla="*/ 3531711 h 7391342"/>
              <a:gd name="connsiteX537" fmla="*/ 4106368 w 9114518"/>
              <a:gd name="connsiteY537" fmla="*/ 3583708 h 7391342"/>
              <a:gd name="connsiteX538" fmla="*/ 4108468 w 9114518"/>
              <a:gd name="connsiteY538" fmla="*/ 3637823 h 7391342"/>
              <a:gd name="connsiteX539" fmla="*/ 4109142 w 9114518"/>
              <a:gd name="connsiteY539" fmla="*/ 3693984 h 7391342"/>
              <a:gd name="connsiteX540" fmla="*/ 4108500 w 9114518"/>
              <a:gd name="connsiteY540" fmla="*/ 3750386 h 7391342"/>
              <a:gd name="connsiteX541" fmla="*/ 4106493 w 9114518"/>
              <a:gd name="connsiteY541" fmla="*/ 3804741 h 7391342"/>
              <a:gd name="connsiteX542" fmla="*/ 4102994 w 9114518"/>
              <a:gd name="connsiteY542" fmla="*/ 3856976 h 7391342"/>
              <a:gd name="connsiteX543" fmla="*/ 4097877 w 9114518"/>
              <a:gd name="connsiteY543" fmla="*/ 3907019 h 7391342"/>
              <a:gd name="connsiteX544" fmla="*/ 4091016 w 9114518"/>
              <a:gd name="connsiteY544" fmla="*/ 3954797 h 7391342"/>
              <a:gd name="connsiteX545" fmla="*/ 4082286 w 9114518"/>
              <a:gd name="connsiteY545" fmla="*/ 4000240 h 7391342"/>
              <a:gd name="connsiteX546" fmla="*/ 4071561 w 9114518"/>
              <a:gd name="connsiteY546" fmla="*/ 4043273 h 7391342"/>
              <a:gd name="connsiteX547" fmla="*/ 4058715 w 9114518"/>
              <a:gd name="connsiteY547" fmla="*/ 4083826 h 7391342"/>
              <a:gd name="connsiteX548" fmla="*/ 4043622 w 9114518"/>
              <a:gd name="connsiteY548" fmla="*/ 4121826 h 7391342"/>
              <a:gd name="connsiteX549" fmla="*/ 4026157 w 9114518"/>
              <a:gd name="connsiteY549" fmla="*/ 4157201 h 7391342"/>
              <a:gd name="connsiteX550" fmla="*/ 4006193 w 9114518"/>
              <a:gd name="connsiteY550" fmla="*/ 4189879 h 7391342"/>
              <a:gd name="connsiteX551" fmla="*/ 3958268 w 9114518"/>
              <a:gd name="connsiteY551" fmla="*/ 4246853 h 7391342"/>
              <a:gd name="connsiteX552" fmla="*/ 3898841 w 9114518"/>
              <a:gd name="connsiteY552" fmla="*/ 4292171 h 7391342"/>
              <a:gd name="connsiteX553" fmla="*/ 3864498 w 9114518"/>
              <a:gd name="connsiteY553" fmla="*/ 4310279 h 7391342"/>
              <a:gd name="connsiteX554" fmla="*/ 3826904 w 9114518"/>
              <a:gd name="connsiteY554" fmla="*/ 4325257 h 7391342"/>
              <a:gd name="connsiteX555" fmla="*/ 3785930 w 9114518"/>
              <a:gd name="connsiteY555" fmla="*/ 4337032 h 7391342"/>
              <a:gd name="connsiteX556" fmla="*/ 3741452 w 9114518"/>
              <a:gd name="connsiteY556" fmla="*/ 4345532 h 7391342"/>
              <a:gd name="connsiteX557" fmla="*/ 3693344 w 9114518"/>
              <a:gd name="connsiteY557" fmla="*/ 4350685 h 7391342"/>
              <a:gd name="connsiteX558" fmla="*/ 3641480 w 9114518"/>
              <a:gd name="connsiteY558" fmla="*/ 4352418 h 7391342"/>
              <a:gd name="connsiteX559" fmla="*/ 3641480 w 9114518"/>
              <a:gd name="connsiteY559" fmla="*/ 4254498 h 7391342"/>
              <a:gd name="connsiteX560" fmla="*/ 3691728 w 9114518"/>
              <a:gd name="connsiteY560" fmla="*/ 4252239 h 7391342"/>
              <a:gd name="connsiteX561" fmla="*/ 3737159 w 9114518"/>
              <a:gd name="connsiteY561" fmla="*/ 4245544 h 7391342"/>
              <a:gd name="connsiteX562" fmla="*/ 3778000 w 9114518"/>
              <a:gd name="connsiteY562" fmla="*/ 4234531 h 7391342"/>
              <a:gd name="connsiteX563" fmla="*/ 3814480 w 9114518"/>
              <a:gd name="connsiteY563" fmla="*/ 4219320 h 7391342"/>
              <a:gd name="connsiteX564" fmla="*/ 3875274 w 9114518"/>
              <a:gd name="connsiteY564" fmla="*/ 4176783 h 7391342"/>
              <a:gd name="connsiteX565" fmla="*/ 3921371 w 9114518"/>
              <a:gd name="connsiteY565" fmla="*/ 4118890 h 7391342"/>
              <a:gd name="connsiteX566" fmla="*/ 3939480 w 9114518"/>
              <a:gd name="connsiteY566" fmla="*/ 4084484 h 7391342"/>
              <a:gd name="connsiteX567" fmla="*/ 3954602 w 9114518"/>
              <a:gd name="connsiteY567" fmla="*/ 4046597 h 7391342"/>
              <a:gd name="connsiteX568" fmla="*/ 3966965 w 9114518"/>
              <a:gd name="connsiteY568" fmla="*/ 4005349 h 7391342"/>
              <a:gd name="connsiteX569" fmla="*/ 3976798 w 9114518"/>
              <a:gd name="connsiteY569" fmla="*/ 3960860 h 7391342"/>
              <a:gd name="connsiteX570" fmla="*/ 3984330 w 9114518"/>
              <a:gd name="connsiteY570" fmla="*/ 3913250 h 7391342"/>
              <a:gd name="connsiteX571" fmla="*/ 3989790 w 9114518"/>
              <a:gd name="connsiteY571" fmla="*/ 3862638 h 7391342"/>
              <a:gd name="connsiteX572" fmla="*/ 3993406 w 9114518"/>
              <a:gd name="connsiteY572" fmla="*/ 3809143 h 7391342"/>
              <a:gd name="connsiteX573" fmla="*/ 3995408 w 9114518"/>
              <a:gd name="connsiteY573" fmla="*/ 3752885 h 7391342"/>
              <a:gd name="connsiteX574" fmla="*/ 3996025 w 9114518"/>
              <a:gd name="connsiteY574" fmla="*/ 3693984 h 7391342"/>
              <a:gd name="connsiteX575" fmla="*/ 3995375 w 9114518"/>
              <a:gd name="connsiteY575" fmla="*/ 3635662 h 7391342"/>
              <a:gd name="connsiteX576" fmla="*/ 3993282 w 9114518"/>
              <a:gd name="connsiteY576" fmla="*/ 3579947 h 7391342"/>
              <a:gd name="connsiteX577" fmla="*/ 3989529 w 9114518"/>
              <a:gd name="connsiteY577" fmla="*/ 3526961 h 7391342"/>
              <a:gd name="connsiteX578" fmla="*/ 3983900 w 9114518"/>
              <a:gd name="connsiteY578" fmla="*/ 3476822 h 7391342"/>
              <a:gd name="connsiteX579" fmla="*/ 3976178 w 9114518"/>
              <a:gd name="connsiteY579" fmla="*/ 3429650 h 7391342"/>
              <a:gd name="connsiteX580" fmla="*/ 3966147 w 9114518"/>
              <a:gd name="connsiteY580" fmla="*/ 3385563 h 7391342"/>
              <a:gd name="connsiteX581" fmla="*/ 3953590 w 9114518"/>
              <a:gd name="connsiteY581" fmla="*/ 3344684 h 7391342"/>
              <a:gd name="connsiteX582" fmla="*/ 3938291 w 9114518"/>
              <a:gd name="connsiteY582" fmla="*/ 3307130 h 7391342"/>
              <a:gd name="connsiteX583" fmla="*/ 3920033 w 9114518"/>
              <a:gd name="connsiteY583" fmla="*/ 3273021 h 7391342"/>
              <a:gd name="connsiteX584" fmla="*/ 3873774 w 9114518"/>
              <a:gd name="connsiteY584" fmla="*/ 3215619 h 7391342"/>
              <a:gd name="connsiteX585" fmla="*/ 3813084 w 9114518"/>
              <a:gd name="connsiteY585" fmla="*/ 3173432 h 7391342"/>
              <a:gd name="connsiteX586" fmla="*/ 3776785 w 9114518"/>
              <a:gd name="connsiteY586" fmla="*/ 3158344 h 7391342"/>
              <a:gd name="connsiteX587" fmla="*/ 3736230 w 9114518"/>
              <a:gd name="connsiteY587" fmla="*/ 3147419 h 7391342"/>
              <a:gd name="connsiteX588" fmla="*/ 3691200 w 9114518"/>
              <a:gd name="connsiteY588" fmla="*/ 3140776 h 7391342"/>
              <a:gd name="connsiteX589" fmla="*/ 3641480 w 9114518"/>
              <a:gd name="connsiteY589" fmla="*/ 3138535 h 7391342"/>
              <a:gd name="connsiteX590" fmla="*/ 3548584 w 9114518"/>
              <a:gd name="connsiteY590" fmla="*/ 3038926 h 7391342"/>
              <a:gd name="connsiteX591" fmla="*/ 3548584 w 9114518"/>
              <a:gd name="connsiteY591" fmla="*/ 3138535 h 7391342"/>
              <a:gd name="connsiteX592" fmla="*/ 3499144 w 9114518"/>
              <a:gd name="connsiteY592" fmla="*/ 3140776 h 7391342"/>
              <a:gd name="connsiteX593" fmla="*/ 3454362 w 9114518"/>
              <a:gd name="connsiteY593" fmla="*/ 3147419 h 7391342"/>
              <a:gd name="connsiteX594" fmla="*/ 3414023 w 9114518"/>
              <a:gd name="connsiteY594" fmla="*/ 3158344 h 7391342"/>
              <a:gd name="connsiteX595" fmla="*/ 3377913 w 9114518"/>
              <a:gd name="connsiteY595" fmla="*/ 3173432 h 7391342"/>
              <a:gd name="connsiteX596" fmla="*/ 3317522 w 9114518"/>
              <a:gd name="connsiteY596" fmla="*/ 3215619 h 7391342"/>
              <a:gd name="connsiteX597" fmla="*/ 3271471 w 9114518"/>
              <a:gd name="connsiteY597" fmla="*/ 3273021 h 7391342"/>
              <a:gd name="connsiteX598" fmla="*/ 3253289 w 9114518"/>
              <a:gd name="connsiteY598" fmla="*/ 3307130 h 7391342"/>
              <a:gd name="connsiteX599" fmla="*/ 3238049 w 9114518"/>
              <a:gd name="connsiteY599" fmla="*/ 3344684 h 7391342"/>
              <a:gd name="connsiteX600" fmla="*/ 3225536 w 9114518"/>
              <a:gd name="connsiteY600" fmla="*/ 3385563 h 7391342"/>
              <a:gd name="connsiteX601" fmla="*/ 3215537 w 9114518"/>
              <a:gd name="connsiteY601" fmla="*/ 3429650 h 7391342"/>
              <a:gd name="connsiteX602" fmla="*/ 3207836 w 9114518"/>
              <a:gd name="connsiteY602" fmla="*/ 3476822 h 7391342"/>
              <a:gd name="connsiteX603" fmla="*/ 3202221 w 9114518"/>
              <a:gd name="connsiteY603" fmla="*/ 3526961 h 7391342"/>
              <a:gd name="connsiteX604" fmla="*/ 3198475 w 9114518"/>
              <a:gd name="connsiteY604" fmla="*/ 3579947 h 7391342"/>
              <a:gd name="connsiteX605" fmla="*/ 3196384 w 9114518"/>
              <a:gd name="connsiteY605" fmla="*/ 3635662 h 7391342"/>
              <a:gd name="connsiteX606" fmla="*/ 3195735 w 9114518"/>
              <a:gd name="connsiteY606" fmla="*/ 3693984 h 7391342"/>
              <a:gd name="connsiteX607" fmla="*/ 3196368 w 9114518"/>
              <a:gd name="connsiteY607" fmla="*/ 3752885 h 7391342"/>
              <a:gd name="connsiteX608" fmla="*/ 3198413 w 9114518"/>
              <a:gd name="connsiteY608" fmla="*/ 3809143 h 7391342"/>
              <a:gd name="connsiteX609" fmla="*/ 3202091 w 9114518"/>
              <a:gd name="connsiteY609" fmla="*/ 3862638 h 7391342"/>
              <a:gd name="connsiteX610" fmla="*/ 3207622 w 9114518"/>
              <a:gd name="connsiteY610" fmla="*/ 3913250 h 7391342"/>
              <a:gd name="connsiteX611" fmla="*/ 3215228 w 9114518"/>
              <a:gd name="connsiteY611" fmla="*/ 3960860 h 7391342"/>
              <a:gd name="connsiteX612" fmla="*/ 3225128 w 9114518"/>
              <a:gd name="connsiteY612" fmla="*/ 4005349 h 7391342"/>
              <a:gd name="connsiteX613" fmla="*/ 3237544 w 9114518"/>
              <a:gd name="connsiteY613" fmla="*/ 4046597 h 7391342"/>
              <a:gd name="connsiteX614" fmla="*/ 3252696 w 9114518"/>
              <a:gd name="connsiteY614" fmla="*/ 4084484 h 7391342"/>
              <a:gd name="connsiteX615" fmla="*/ 3270804 w 9114518"/>
              <a:gd name="connsiteY615" fmla="*/ 4118890 h 7391342"/>
              <a:gd name="connsiteX616" fmla="*/ 3316774 w 9114518"/>
              <a:gd name="connsiteY616" fmla="*/ 4176783 h 7391342"/>
              <a:gd name="connsiteX617" fmla="*/ 3377217 w 9114518"/>
              <a:gd name="connsiteY617" fmla="*/ 4219320 h 7391342"/>
              <a:gd name="connsiteX618" fmla="*/ 3413418 w 9114518"/>
              <a:gd name="connsiteY618" fmla="*/ 4234531 h 7391342"/>
              <a:gd name="connsiteX619" fmla="*/ 3453899 w 9114518"/>
              <a:gd name="connsiteY619" fmla="*/ 4245544 h 7391342"/>
              <a:gd name="connsiteX620" fmla="*/ 3498881 w 9114518"/>
              <a:gd name="connsiteY620" fmla="*/ 4252239 h 7391342"/>
              <a:gd name="connsiteX621" fmla="*/ 3548584 w 9114518"/>
              <a:gd name="connsiteY621" fmla="*/ 4254498 h 7391342"/>
              <a:gd name="connsiteX622" fmla="*/ 3548584 w 9114518"/>
              <a:gd name="connsiteY622" fmla="*/ 4352418 h 7391342"/>
              <a:gd name="connsiteX623" fmla="*/ 3496940 w 9114518"/>
              <a:gd name="connsiteY623" fmla="*/ 4350685 h 7391342"/>
              <a:gd name="connsiteX624" fmla="*/ 3449008 w 9114518"/>
              <a:gd name="connsiteY624" fmla="*/ 4345532 h 7391342"/>
              <a:gd name="connsiteX625" fmla="*/ 3404668 w 9114518"/>
              <a:gd name="connsiteY625" fmla="*/ 4337032 h 7391342"/>
              <a:gd name="connsiteX626" fmla="*/ 3363796 w 9114518"/>
              <a:gd name="connsiteY626" fmla="*/ 4325257 h 7391342"/>
              <a:gd name="connsiteX627" fmla="*/ 3326270 w 9114518"/>
              <a:gd name="connsiteY627" fmla="*/ 4310279 h 7391342"/>
              <a:gd name="connsiteX628" fmla="*/ 3291967 w 9114518"/>
              <a:gd name="connsiteY628" fmla="*/ 4292171 h 7391342"/>
              <a:gd name="connsiteX629" fmla="*/ 3232542 w 9114518"/>
              <a:gd name="connsiteY629" fmla="*/ 4246853 h 7391342"/>
              <a:gd name="connsiteX630" fmla="*/ 3184540 w 9114518"/>
              <a:gd name="connsiteY630" fmla="*/ 4189879 h 7391342"/>
              <a:gd name="connsiteX631" fmla="*/ 3164517 w 9114518"/>
              <a:gd name="connsiteY631" fmla="*/ 4157201 h 7391342"/>
              <a:gd name="connsiteX632" fmla="*/ 3146982 w 9114518"/>
              <a:gd name="connsiteY632" fmla="*/ 4121826 h 7391342"/>
              <a:gd name="connsiteX633" fmla="*/ 3131813 w 9114518"/>
              <a:gd name="connsiteY633" fmla="*/ 4083826 h 7391342"/>
              <a:gd name="connsiteX634" fmla="*/ 3118888 w 9114518"/>
              <a:gd name="connsiteY634" fmla="*/ 4043273 h 7391342"/>
              <a:gd name="connsiteX635" fmla="*/ 3108083 w 9114518"/>
              <a:gd name="connsiteY635" fmla="*/ 4000240 h 7391342"/>
              <a:gd name="connsiteX636" fmla="*/ 3099276 w 9114518"/>
              <a:gd name="connsiteY636" fmla="*/ 3954797 h 7391342"/>
              <a:gd name="connsiteX637" fmla="*/ 3092346 w 9114518"/>
              <a:gd name="connsiteY637" fmla="*/ 3907019 h 7391342"/>
              <a:gd name="connsiteX638" fmla="*/ 3087169 w 9114518"/>
              <a:gd name="connsiteY638" fmla="*/ 3856976 h 7391342"/>
              <a:gd name="connsiteX639" fmla="*/ 3083623 w 9114518"/>
              <a:gd name="connsiteY639" fmla="*/ 3804741 h 7391342"/>
              <a:gd name="connsiteX640" fmla="*/ 3081585 w 9114518"/>
              <a:gd name="connsiteY640" fmla="*/ 3750386 h 7391342"/>
              <a:gd name="connsiteX641" fmla="*/ 3080933 w 9114518"/>
              <a:gd name="connsiteY641" fmla="*/ 3693984 h 7391342"/>
              <a:gd name="connsiteX642" fmla="*/ 3081606 w 9114518"/>
              <a:gd name="connsiteY642" fmla="*/ 3637823 h 7391342"/>
              <a:gd name="connsiteX643" fmla="*/ 3083706 w 9114518"/>
              <a:gd name="connsiteY643" fmla="*/ 3583708 h 7391342"/>
              <a:gd name="connsiteX644" fmla="*/ 3087346 w 9114518"/>
              <a:gd name="connsiteY644" fmla="*/ 3531711 h 7391342"/>
              <a:gd name="connsiteX645" fmla="*/ 3092643 w 9114518"/>
              <a:gd name="connsiteY645" fmla="*/ 3481903 h 7391342"/>
              <a:gd name="connsiteX646" fmla="*/ 3099713 w 9114518"/>
              <a:gd name="connsiteY646" fmla="*/ 3434354 h 7391342"/>
              <a:gd name="connsiteX647" fmla="*/ 3108673 w 9114518"/>
              <a:gd name="connsiteY647" fmla="*/ 3389137 h 7391342"/>
              <a:gd name="connsiteX648" fmla="*/ 3119637 w 9114518"/>
              <a:gd name="connsiteY648" fmla="*/ 3346320 h 7391342"/>
              <a:gd name="connsiteX649" fmla="*/ 3132722 w 9114518"/>
              <a:gd name="connsiteY649" fmla="*/ 3305977 h 7391342"/>
              <a:gd name="connsiteX650" fmla="*/ 3148044 w 9114518"/>
              <a:gd name="connsiteY650" fmla="*/ 3268179 h 7391342"/>
              <a:gd name="connsiteX651" fmla="*/ 3165718 w 9114518"/>
              <a:gd name="connsiteY651" fmla="*/ 3232996 h 7391342"/>
              <a:gd name="connsiteX652" fmla="*/ 3185862 w 9114518"/>
              <a:gd name="connsiteY652" fmla="*/ 3200499 h 7391342"/>
              <a:gd name="connsiteX653" fmla="*/ 3234018 w 9114518"/>
              <a:gd name="connsiteY653" fmla="*/ 3143849 h 7391342"/>
              <a:gd name="connsiteX654" fmla="*/ 3293441 w 9114518"/>
              <a:gd name="connsiteY654" fmla="*/ 3098798 h 7391342"/>
              <a:gd name="connsiteX655" fmla="*/ 3327668 w 9114518"/>
              <a:gd name="connsiteY655" fmla="*/ 3080800 h 7391342"/>
              <a:gd name="connsiteX656" fmla="*/ 3365059 w 9114518"/>
              <a:gd name="connsiteY656" fmla="*/ 3065915 h 7391342"/>
              <a:gd name="connsiteX657" fmla="*/ 3405730 w 9114518"/>
              <a:gd name="connsiteY657" fmla="*/ 3054214 h 7391342"/>
              <a:gd name="connsiteX658" fmla="*/ 3449797 w 9114518"/>
              <a:gd name="connsiteY658" fmla="*/ 3045768 h 7391342"/>
              <a:gd name="connsiteX659" fmla="*/ 3497376 w 9114518"/>
              <a:gd name="connsiteY659" fmla="*/ 3040648 h 7391342"/>
              <a:gd name="connsiteX660" fmla="*/ 3678369 w 9114518"/>
              <a:gd name="connsiteY660" fmla="*/ 2400757 h 7391342"/>
              <a:gd name="connsiteX661" fmla="*/ 4593430 w 9114518"/>
              <a:gd name="connsiteY661" fmla="*/ 2400757 h 7391342"/>
              <a:gd name="connsiteX662" fmla="*/ 4593430 w 9114518"/>
              <a:gd name="connsiteY662" fmla="*/ 2508807 h 7391342"/>
              <a:gd name="connsiteX663" fmla="*/ 3678369 w 9114518"/>
              <a:gd name="connsiteY663" fmla="*/ 2508807 h 7391342"/>
              <a:gd name="connsiteX664" fmla="*/ 2579115 w 9114518"/>
              <a:gd name="connsiteY664" fmla="*/ 2400753 h 7391342"/>
              <a:gd name="connsiteX665" fmla="*/ 3494165 w 9114518"/>
              <a:gd name="connsiteY665" fmla="*/ 2400753 h 7391342"/>
              <a:gd name="connsiteX666" fmla="*/ 3494165 w 9114518"/>
              <a:gd name="connsiteY666" fmla="*/ 2508804 h 7391342"/>
              <a:gd name="connsiteX667" fmla="*/ 2579115 w 9114518"/>
              <a:gd name="connsiteY667" fmla="*/ 2508804 h 7391342"/>
              <a:gd name="connsiteX668" fmla="*/ 3678369 w 9114518"/>
              <a:gd name="connsiteY668" fmla="*/ 2047903 h 7391342"/>
              <a:gd name="connsiteX669" fmla="*/ 4593430 w 9114518"/>
              <a:gd name="connsiteY669" fmla="*/ 2047903 h 7391342"/>
              <a:gd name="connsiteX670" fmla="*/ 4593430 w 9114518"/>
              <a:gd name="connsiteY670" fmla="*/ 2155954 h 7391342"/>
              <a:gd name="connsiteX671" fmla="*/ 3678369 w 9114518"/>
              <a:gd name="connsiteY671" fmla="*/ 2155954 h 7391342"/>
              <a:gd name="connsiteX672" fmla="*/ 2579115 w 9114518"/>
              <a:gd name="connsiteY672" fmla="*/ 2047899 h 7391342"/>
              <a:gd name="connsiteX673" fmla="*/ 3494165 w 9114518"/>
              <a:gd name="connsiteY673" fmla="*/ 2047899 h 7391342"/>
              <a:gd name="connsiteX674" fmla="*/ 3494165 w 9114518"/>
              <a:gd name="connsiteY674" fmla="*/ 2155950 h 7391342"/>
              <a:gd name="connsiteX675" fmla="*/ 2579115 w 9114518"/>
              <a:gd name="connsiteY675" fmla="*/ 2155950 h 7391342"/>
              <a:gd name="connsiteX676" fmla="*/ 6202942 w 9114518"/>
              <a:gd name="connsiteY676" fmla="*/ 1519467 h 7391342"/>
              <a:gd name="connsiteX677" fmla="*/ 6254150 w 9114518"/>
              <a:gd name="connsiteY677" fmla="*/ 1521189 h 7391342"/>
              <a:gd name="connsiteX678" fmla="*/ 6301730 w 9114518"/>
              <a:gd name="connsiteY678" fmla="*/ 1526309 h 7391342"/>
              <a:gd name="connsiteX679" fmla="*/ 6345796 w 9114518"/>
              <a:gd name="connsiteY679" fmla="*/ 1534755 h 7391342"/>
              <a:gd name="connsiteX680" fmla="*/ 6386468 w 9114518"/>
              <a:gd name="connsiteY680" fmla="*/ 1546456 h 7391342"/>
              <a:gd name="connsiteX681" fmla="*/ 6423858 w 9114518"/>
              <a:gd name="connsiteY681" fmla="*/ 1561341 h 7391342"/>
              <a:gd name="connsiteX682" fmla="*/ 6458084 w 9114518"/>
              <a:gd name="connsiteY682" fmla="*/ 1579339 h 7391342"/>
              <a:gd name="connsiteX683" fmla="*/ 6517506 w 9114518"/>
              <a:gd name="connsiteY683" fmla="*/ 1624390 h 7391342"/>
              <a:gd name="connsiteX684" fmla="*/ 6565664 w 9114518"/>
              <a:gd name="connsiteY684" fmla="*/ 1681040 h 7391342"/>
              <a:gd name="connsiteX685" fmla="*/ 6585806 w 9114518"/>
              <a:gd name="connsiteY685" fmla="*/ 1713537 h 7391342"/>
              <a:gd name="connsiteX686" fmla="*/ 6603482 w 9114518"/>
              <a:gd name="connsiteY686" fmla="*/ 1748720 h 7391342"/>
              <a:gd name="connsiteX687" fmla="*/ 6618804 w 9114518"/>
              <a:gd name="connsiteY687" fmla="*/ 1786518 h 7391342"/>
              <a:gd name="connsiteX688" fmla="*/ 6631888 w 9114518"/>
              <a:gd name="connsiteY688" fmla="*/ 1826861 h 7391342"/>
              <a:gd name="connsiteX689" fmla="*/ 6642852 w 9114518"/>
              <a:gd name="connsiteY689" fmla="*/ 1869678 h 7391342"/>
              <a:gd name="connsiteX690" fmla="*/ 6651812 w 9114518"/>
              <a:gd name="connsiteY690" fmla="*/ 1914895 h 7391342"/>
              <a:gd name="connsiteX691" fmla="*/ 6658882 w 9114518"/>
              <a:gd name="connsiteY691" fmla="*/ 1962443 h 7391342"/>
              <a:gd name="connsiteX692" fmla="*/ 6664180 w 9114518"/>
              <a:gd name="connsiteY692" fmla="*/ 2012251 h 7391342"/>
              <a:gd name="connsiteX693" fmla="*/ 6667820 w 9114518"/>
              <a:gd name="connsiteY693" fmla="*/ 2064248 h 7391342"/>
              <a:gd name="connsiteX694" fmla="*/ 6669918 w 9114518"/>
              <a:gd name="connsiteY694" fmla="*/ 2118363 h 7391342"/>
              <a:gd name="connsiteX695" fmla="*/ 6670594 w 9114518"/>
              <a:gd name="connsiteY695" fmla="*/ 2174524 h 7391342"/>
              <a:gd name="connsiteX696" fmla="*/ 6669952 w 9114518"/>
              <a:gd name="connsiteY696" fmla="*/ 2230926 h 7391342"/>
              <a:gd name="connsiteX697" fmla="*/ 6667946 w 9114518"/>
              <a:gd name="connsiteY697" fmla="*/ 2285281 h 7391342"/>
              <a:gd name="connsiteX698" fmla="*/ 6664446 w 9114518"/>
              <a:gd name="connsiteY698" fmla="*/ 2337516 h 7391342"/>
              <a:gd name="connsiteX699" fmla="*/ 6659328 w 9114518"/>
              <a:gd name="connsiteY699" fmla="*/ 2387560 h 7391342"/>
              <a:gd name="connsiteX700" fmla="*/ 6652468 w 9114518"/>
              <a:gd name="connsiteY700" fmla="*/ 2435337 h 7391342"/>
              <a:gd name="connsiteX701" fmla="*/ 6643740 w 9114518"/>
              <a:gd name="connsiteY701" fmla="*/ 2480781 h 7391342"/>
              <a:gd name="connsiteX702" fmla="*/ 6633014 w 9114518"/>
              <a:gd name="connsiteY702" fmla="*/ 2523814 h 7391342"/>
              <a:gd name="connsiteX703" fmla="*/ 6620170 w 9114518"/>
              <a:gd name="connsiteY703" fmla="*/ 2564367 h 7391342"/>
              <a:gd name="connsiteX704" fmla="*/ 6605078 w 9114518"/>
              <a:gd name="connsiteY704" fmla="*/ 2602367 h 7391342"/>
              <a:gd name="connsiteX705" fmla="*/ 6587612 w 9114518"/>
              <a:gd name="connsiteY705" fmla="*/ 2637742 h 7391342"/>
              <a:gd name="connsiteX706" fmla="*/ 6567650 w 9114518"/>
              <a:gd name="connsiteY706" fmla="*/ 2670420 h 7391342"/>
              <a:gd name="connsiteX707" fmla="*/ 6519726 w 9114518"/>
              <a:gd name="connsiteY707" fmla="*/ 2727394 h 7391342"/>
              <a:gd name="connsiteX708" fmla="*/ 6460300 w 9114518"/>
              <a:gd name="connsiteY708" fmla="*/ 2772712 h 7391342"/>
              <a:gd name="connsiteX709" fmla="*/ 6425960 w 9114518"/>
              <a:gd name="connsiteY709" fmla="*/ 2790820 h 7391342"/>
              <a:gd name="connsiteX710" fmla="*/ 6388366 w 9114518"/>
              <a:gd name="connsiteY710" fmla="*/ 2805798 h 7391342"/>
              <a:gd name="connsiteX711" fmla="*/ 6347392 w 9114518"/>
              <a:gd name="connsiteY711" fmla="*/ 2817573 h 7391342"/>
              <a:gd name="connsiteX712" fmla="*/ 6302914 w 9114518"/>
              <a:gd name="connsiteY712" fmla="*/ 2826073 h 7391342"/>
              <a:gd name="connsiteX713" fmla="*/ 6254806 w 9114518"/>
              <a:gd name="connsiteY713" fmla="*/ 2831226 h 7391342"/>
              <a:gd name="connsiteX714" fmla="*/ 6202942 w 9114518"/>
              <a:gd name="connsiteY714" fmla="*/ 2832959 h 7391342"/>
              <a:gd name="connsiteX715" fmla="*/ 6202942 w 9114518"/>
              <a:gd name="connsiteY715" fmla="*/ 2735039 h 7391342"/>
              <a:gd name="connsiteX716" fmla="*/ 6253190 w 9114518"/>
              <a:gd name="connsiteY716" fmla="*/ 2732780 h 7391342"/>
              <a:gd name="connsiteX717" fmla="*/ 6298622 w 9114518"/>
              <a:gd name="connsiteY717" fmla="*/ 2726085 h 7391342"/>
              <a:gd name="connsiteX718" fmla="*/ 6339462 w 9114518"/>
              <a:gd name="connsiteY718" fmla="*/ 2715072 h 7391342"/>
              <a:gd name="connsiteX719" fmla="*/ 6375942 w 9114518"/>
              <a:gd name="connsiteY719" fmla="*/ 2699861 h 7391342"/>
              <a:gd name="connsiteX720" fmla="*/ 6436736 w 9114518"/>
              <a:gd name="connsiteY720" fmla="*/ 2657324 h 7391342"/>
              <a:gd name="connsiteX721" fmla="*/ 6482832 w 9114518"/>
              <a:gd name="connsiteY721" fmla="*/ 2599431 h 7391342"/>
              <a:gd name="connsiteX722" fmla="*/ 6500942 w 9114518"/>
              <a:gd name="connsiteY722" fmla="*/ 2565024 h 7391342"/>
              <a:gd name="connsiteX723" fmla="*/ 6516064 w 9114518"/>
              <a:gd name="connsiteY723" fmla="*/ 2527138 h 7391342"/>
              <a:gd name="connsiteX724" fmla="*/ 6528426 w 9114518"/>
              <a:gd name="connsiteY724" fmla="*/ 2485890 h 7391342"/>
              <a:gd name="connsiteX725" fmla="*/ 6538260 w 9114518"/>
              <a:gd name="connsiteY725" fmla="*/ 2441401 h 7391342"/>
              <a:gd name="connsiteX726" fmla="*/ 6545792 w 9114518"/>
              <a:gd name="connsiteY726" fmla="*/ 2393791 h 7391342"/>
              <a:gd name="connsiteX727" fmla="*/ 6551252 w 9114518"/>
              <a:gd name="connsiteY727" fmla="*/ 2343178 h 7391342"/>
              <a:gd name="connsiteX728" fmla="*/ 6554868 w 9114518"/>
              <a:gd name="connsiteY728" fmla="*/ 2289683 h 7391342"/>
              <a:gd name="connsiteX729" fmla="*/ 6556870 w 9114518"/>
              <a:gd name="connsiteY729" fmla="*/ 2233425 h 7391342"/>
              <a:gd name="connsiteX730" fmla="*/ 6557486 w 9114518"/>
              <a:gd name="connsiteY730" fmla="*/ 2174524 h 7391342"/>
              <a:gd name="connsiteX731" fmla="*/ 6556836 w 9114518"/>
              <a:gd name="connsiteY731" fmla="*/ 2116203 h 7391342"/>
              <a:gd name="connsiteX732" fmla="*/ 6554744 w 9114518"/>
              <a:gd name="connsiteY732" fmla="*/ 2060487 h 7391342"/>
              <a:gd name="connsiteX733" fmla="*/ 6550990 w 9114518"/>
              <a:gd name="connsiteY733" fmla="*/ 2007501 h 7391342"/>
              <a:gd name="connsiteX734" fmla="*/ 6545362 w 9114518"/>
              <a:gd name="connsiteY734" fmla="*/ 1957362 h 7391342"/>
              <a:gd name="connsiteX735" fmla="*/ 6537640 w 9114518"/>
              <a:gd name="connsiteY735" fmla="*/ 1910190 h 7391342"/>
              <a:gd name="connsiteX736" fmla="*/ 6527608 w 9114518"/>
              <a:gd name="connsiteY736" fmla="*/ 1866104 h 7391342"/>
              <a:gd name="connsiteX737" fmla="*/ 6515052 w 9114518"/>
              <a:gd name="connsiteY737" fmla="*/ 1825226 h 7391342"/>
              <a:gd name="connsiteX738" fmla="*/ 6499752 w 9114518"/>
              <a:gd name="connsiteY738" fmla="*/ 1787671 h 7391342"/>
              <a:gd name="connsiteX739" fmla="*/ 6481494 w 9114518"/>
              <a:gd name="connsiteY739" fmla="*/ 1753562 h 7391342"/>
              <a:gd name="connsiteX740" fmla="*/ 6435236 w 9114518"/>
              <a:gd name="connsiteY740" fmla="*/ 1696160 h 7391342"/>
              <a:gd name="connsiteX741" fmla="*/ 6374546 w 9114518"/>
              <a:gd name="connsiteY741" fmla="*/ 1653973 h 7391342"/>
              <a:gd name="connsiteX742" fmla="*/ 6338248 w 9114518"/>
              <a:gd name="connsiteY742" fmla="*/ 1638885 h 7391342"/>
              <a:gd name="connsiteX743" fmla="*/ 6297692 w 9114518"/>
              <a:gd name="connsiteY743" fmla="*/ 1627960 h 7391342"/>
              <a:gd name="connsiteX744" fmla="*/ 6252662 w 9114518"/>
              <a:gd name="connsiteY744" fmla="*/ 1621317 h 7391342"/>
              <a:gd name="connsiteX745" fmla="*/ 6202942 w 9114518"/>
              <a:gd name="connsiteY745" fmla="*/ 1619076 h 7391342"/>
              <a:gd name="connsiteX746" fmla="*/ 6110023 w 9114518"/>
              <a:gd name="connsiteY746" fmla="*/ 1519467 h 7391342"/>
              <a:gd name="connsiteX747" fmla="*/ 6110023 w 9114518"/>
              <a:gd name="connsiteY747" fmla="*/ 1619076 h 7391342"/>
              <a:gd name="connsiteX748" fmla="*/ 6060583 w 9114518"/>
              <a:gd name="connsiteY748" fmla="*/ 1621317 h 7391342"/>
              <a:gd name="connsiteX749" fmla="*/ 6015801 w 9114518"/>
              <a:gd name="connsiteY749" fmla="*/ 1627960 h 7391342"/>
              <a:gd name="connsiteX750" fmla="*/ 5975462 w 9114518"/>
              <a:gd name="connsiteY750" fmla="*/ 1638885 h 7391342"/>
              <a:gd name="connsiteX751" fmla="*/ 5939352 w 9114518"/>
              <a:gd name="connsiteY751" fmla="*/ 1653973 h 7391342"/>
              <a:gd name="connsiteX752" fmla="*/ 5878960 w 9114518"/>
              <a:gd name="connsiteY752" fmla="*/ 1696160 h 7391342"/>
              <a:gd name="connsiteX753" fmla="*/ 5832910 w 9114518"/>
              <a:gd name="connsiteY753" fmla="*/ 1753562 h 7391342"/>
              <a:gd name="connsiteX754" fmla="*/ 5814728 w 9114518"/>
              <a:gd name="connsiteY754" fmla="*/ 1787671 h 7391342"/>
              <a:gd name="connsiteX755" fmla="*/ 5799488 w 9114518"/>
              <a:gd name="connsiteY755" fmla="*/ 1825226 h 7391342"/>
              <a:gd name="connsiteX756" fmla="*/ 5786975 w 9114518"/>
              <a:gd name="connsiteY756" fmla="*/ 1866104 h 7391342"/>
              <a:gd name="connsiteX757" fmla="*/ 5776976 w 9114518"/>
              <a:gd name="connsiteY757" fmla="*/ 1910190 h 7391342"/>
              <a:gd name="connsiteX758" fmla="*/ 5769275 w 9114518"/>
              <a:gd name="connsiteY758" fmla="*/ 1957362 h 7391342"/>
              <a:gd name="connsiteX759" fmla="*/ 5763660 w 9114518"/>
              <a:gd name="connsiteY759" fmla="*/ 2007501 h 7391342"/>
              <a:gd name="connsiteX760" fmla="*/ 5759914 w 9114518"/>
              <a:gd name="connsiteY760" fmla="*/ 2060487 h 7391342"/>
              <a:gd name="connsiteX761" fmla="*/ 5757823 w 9114518"/>
              <a:gd name="connsiteY761" fmla="*/ 2116203 h 7391342"/>
              <a:gd name="connsiteX762" fmla="*/ 5757174 w 9114518"/>
              <a:gd name="connsiteY762" fmla="*/ 2174524 h 7391342"/>
              <a:gd name="connsiteX763" fmla="*/ 5757807 w 9114518"/>
              <a:gd name="connsiteY763" fmla="*/ 2233425 h 7391342"/>
              <a:gd name="connsiteX764" fmla="*/ 5759852 w 9114518"/>
              <a:gd name="connsiteY764" fmla="*/ 2289683 h 7391342"/>
              <a:gd name="connsiteX765" fmla="*/ 5763530 w 9114518"/>
              <a:gd name="connsiteY765" fmla="*/ 2343178 h 7391342"/>
              <a:gd name="connsiteX766" fmla="*/ 5769061 w 9114518"/>
              <a:gd name="connsiteY766" fmla="*/ 2393791 h 7391342"/>
              <a:gd name="connsiteX767" fmla="*/ 5776667 w 9114518"/>
              <a:gd name="connsiteY767" fmla="*/ 2441401 h 7391342"/>
              <a:gd name="connsiteX768" fmla="*/ 5786567 w 9114518"/>
              <a:gd name="connsiteY768" fmla="*/ 2485890 h 7391342"/>
              <a:gd name="connsiteX769" fmla="*/ 5798983 w 9114518"/>
              <a:gd name="connsiteY769" fmla="*/ 2527138 h 7391342"/>
              <a:gd name="connsiteX770" fmla="*/ 5814135 w 9114518"/>
              <a:gd name="connsiteY770" fmla="*/ 2565024 h 7391342"/>
              <a:gd name="connsiteX771" fmla="*/ 5832243 w 9114518"/>
              <a:gd name="connsiteY771" fmla="*/ 2599431 h 7391342"/>
              <a:gd name="connsiteX772" fmla="*/ 5878214 w 9114518"/>
              <a:gd name="connsiteY772" fmla="*/ 2657324 h 7391342"/>
              <a:gd name="connsiteX773" fmla="*/ 5938656 w 9114518"/>
              <a:gd name="connsiteY773" fmla="*/ 2699861 h 7391342"/>
              <a:gd name="connsiteX774" fmla="*/ 5974857 w 9114518"/>
              <a:gd name="connsiteY774" fmla="*/ 2715072 h 7391342"/>
              <a:gd name="connsiteX775" fmla="*/ 6015338 w 9114518"/>
              <a:gd name="connsiteY775" fmla="*/ 2726085 h 7391342"/>
              <a:gd name="connsiteX776" fmla="*/ 6060320 w 9114518"/>
              <a:gd name="connsiteY776" fmla="*/ 2732780 h 7391342"/>
              <a:gd name="connsiteX777" fmla="*/ 6110023 w 9114518"/>
              <a:gd name="connsiteY777" fmla="*/ 2735039 h 7391342"/>
              <a:gd name="connsiteX778" fmla="*/ 6110023 w 9114518"/>
              <a:gd name="connsiteY778" fmla="*/ 2832959 h 7391342"/>
              <a:gd name="connsiteX779" fmla="*/ 6058379 w 9114518"/>
              <a:gd name="connsiteY779" fmla="*/ 2831226 h 7391342"/>
              <a:gd name="connsiteX780" fmla="*/ 6010447 w 9114518"/>
              <a:gd name="connsiteY780" fmla="*/ 2826073 h 7391342"/>
              <a:gd name="connsiteX781" fmla="*/ 5966107 w 9114518"/>
              <a:gd name="connsiteY781" fmla="*/ 2817573 h 7391342"/>
              <a:gd name="connsiteX782" fmla="*/ 5925235 w 9114518"/>
              <a:gd name="connsiteY782" fmla="*/ 2805798 h 7391342"/>
              <a:gd name="connsiteX783" fmla="*/ 5887709 w 9114518"/>
              <a:gd name="connsiteY783" fmla="*/ 2790820 h 7391342"/>
              <a:gd name="connsiteX784" fmla="*/ 5853406 w 9114518"/>
              <a:gd name="connsiteY784" fmla="*/ 2772712 h 7391342"/>
              <a:gd name="connsiteX785" fmla="*/ 5793981 w 9114518"/>
              <a:gd name="connsiteY785" fmla="*/ 2727394 h 7391342"/>
              <a:gd name="connsiteX786" fmla="*/ 5745979 w 9114518"/>
              <a:gd name="connsiteY786" fmla="*/ 2670420 h 7391342"/>
              <a:gd name="connsiteX787" fmla="*/ 5725956 w 9114518"/>
              <a:gd name="connsiteY787" fmla="*/ 2637742 h 7391342"/>
              <a:gd name="connsiteX788" fmla="*/ 5708421 w 9114518"/>
              <a:gd name="connsiteY788" fmla="*/ 2602367 h 7391342"/>
              <a:gd name="connsiteX789" fmla="*/ 5693252 w 9114518"/>
              <a:gd name="connsiteY789" fmla="*/ 2564367 h 7391342"/>
              <a:gd name="connsiteX790" fmla="*/ 5680327 w 9114518"/>
              <a:gd name="connsiteY790" fmla="*/ 2523814 h 7391342"/>
              <a:gd name="connsiteX791" fmla="*/ 5669522 w 9114518"/>
              <a:gd name="connsiteY791" fmla="*/ 2480781 h 7391342"/>
              <a:gd name="connsiteX792" fmla="*/ 5660715 w 9114518"/>
              <a:gd name="connsiteY792" fmla="*/ 2435337 h 7391342"/>
              <a:gd name="connsiteX793" fmla="*/ 5653785 w 9114518"/>
              <a:gd name="connsiteY793" fmla="*/ 2387560 h 7391342"/>
              <a:gd name="connsiteX794" fmla="*/ 5648608 w 9114518"/>
              <a:gd name="connsiteY794" fmla="*/ 2337516 h 7391342"/>
              <a:gd name="connsiteX795" fmla="*/ 5645062 w 9114518"/>
              <a:gd name="connsiteY795" fmla="*/ 2285281 h 7391342"/>
              <a:gd name="connsiteX796" fmla="*/ 5643024 w 9114518"/>
              <a:gd name="connsiteY796" fmla="*/ 2230926 h 7391342"/>
              <a:gd name="connsiteX797" fmla="*/ 5642372 w 9114518"/>
              <a:gd name="connsiteY797" fmla="*/ 2174524 h 7391342"/>
              <a:gd name="connsiteX798" fmla="*/ 5643045 w 9114518"/>
              <a:gd name="connsiteY798" fmla="*/ 2118363 h 7391342"/>
              <a:gd name="connsiteX799" fmla="*/ 5645145 w 9114518"/>
              <a:gd name="connsiteY799" fmla="*/ 2064248 h 7391342"/>
              <a:gd name="connsiteX800" fmla="*/ 5648785 w 9114518"/>
              <a:gd name="connsiteY800" fmla="*/ 2012251 h 7391342"/>
              <a:gd name="connsiteX801" fmla="*/ 5654082 w 9114518"/>
              <a:gd name="connsiteY801" fmla="*/ 1962443 h 7391342"/>
              <a:gd name="connsiteX802" fmla="*/ 5661152 w 9114518"/>
              <a:gd name="connsiteY802" fmla="*/ 1914895 h 7391342"/>
              <a:gd name="connsiteX803" fmla="*/ 5670112 w 9114518"/>
              <a:gd name="connsiteY803" fmla="*/ 1869678 h 7391342"/>
              <a:gd name="connsiteX804" fmla="*/ 5681076 w 9114518"/>
              <a:gd name="connsiteY804" fmla="*/ 1826861 h 7391342"/>
              <a:gd name="connsiteX805" fmla="*/ 5694161 w 9114518"/>
              <a:gd name="connsiteY805" fmla="*/ 1786518 h 7391342"/>
              <a:gd name="connsiteX806" fmla="*/ 5709483 w 9114518"/>
              <a:gd name="connsiteY806" fmla="*/ 1748720 h 7391342"/>
              <a:gd name="connsiteX807" fmla="*/ 5727157 w 9114518"/>
              <a:gd name="connsiteY807" fmla="*/ 1713537 h 7391342"/>
              <a:gd name="connsiteX808" fmla="*/ 5747301 w 9114518"/>
              <a:gd name="connsiteY808" fmla="*/ 1681040 h 7391342"/>
              <a:gd name="connsiteX809" fmla="*/ 5795457 w 9114518"/>
              <a:gd name="connsiteY809" fmla="*/ 1624390 h 7391342"/>
              <a:gd name="connsiteX810" fmla="*/ 5854880 w 9114518"/>
              <a:gd name="connsiteY810" fmla="*/ 1579339 h 7391342"/>
              <a:gd name="connsiteX811" fmla="*/ 5889107 w 9114518"/>
              <a:gd name="connsiteY811" fmla="*/ 1561341 h 7391342"/>
              <a:gd name="connsiteX812" fmla="*/ 5926498 w 9114518"/>
              <a:gd name="connsiteY812" fmla="*/ 1546456 h 7391342"/>
              <a:gd name="connsiteX813" fmla="*/ 5967169 w 9114518"/>
              <a:gd name="connsiteY813" fmla="*/ 1534755 h 7391342"/>
              <a:gd name="connsiteX814" fmla="*/ 6011236 w 9114518"/>
              <a:gd name="connsiteY814" fmla="*/ 1526309 h 7391342"/>
              <a:gd name="connsiteX815" fmla="*/ 6058815 w 9114518"/>
              <a:gd name="connsiteY815" fmla="*/ 1521189 h 7391342"/>
              <a:gd name="connsiteX816" fmla="*/ 4207776 w 9114518"/>
              <a:gd name="connsiteY816" fmla="*/ 1033233 h 7391342"/>
              <a:gd name="connsiteX817" fmla="*/ 4417120 w 9114518"/>
              <a:gd name="connsiteY817" fmla="*/ 1033233 h 7391342"/>
              <a:gd name="connsiteX818" fmla="*/ 4417120 w 9114518"/>
              <a:gd name="connsiteY818" fmla="*/ 1208814 h 7391342"/>
              <a:gd name="connsiteX819" fmla="*/ 4207776 w 9114518"/>
              <a:gd name="connsiteY819" fmla="*/ 1208814 h 7391342"/>
              <a:gd name="connsiteX820" fmla="*/ 5865088 w 9114518"/>
              <a:gd name="connsiteY820" fmla="*/ 881295 h 7391342"/>
              <a:gd name="connsiteX821" fmla="*/ 6780150 w 9114518"/>
              <a:gd name="connsiteY821" fmla="*/ 881295 h 7391342"/>
              <a:gd name="connsiteX822" fmla="*/ 6780150 w 9114518"/>
              <a:gd name="connsiteY822" fmla="*/ 989345 h 7391342"/>
              <a:gd name="connsiteX823" fmla="*/ 5865088 w 9114518"/>
              <a:gd name="connsiteY823" fmla="*/ 989345 h 7391342"/>
              <a:gd name="connsiteX824" fmla="*/ 5865088 w 9114518"/>
              <a:gd name="connsiteY824" fmla="*/ 528441 h 7391342"/>
              <a:gd name="connsiteX825" fmla="*/ 6780150 w 9114518"/>
              <a:gd name="connsiteY825" fmla="*/ 528441 h 7391342"/>
              <a:gd name="connsiteX826" fmla="*/ 6780150 w 9114518"/>
              <a:gd name="connsiteY826" fmla="*/ 636492 h 7391342"/>
              <a:gd name="connsiteX827" fmla="*/ 5865088 w 9114518"/>
              <a:gd name="connsiteY827" fmla="*/ 636492 h 7391342"/>
              <a:gd name="connsiteX828" fmla="*/ 7862878 w 9114518"/>
              <a:gd name="connsiteY828" fmla="*/ 7089 h 7391342"/>
              <a:gd name="connsiteX829" fmla="*/ 8241058 w 9114518"/>
              <a:gd name="connsiteY829" fmla="*/ 7089 h 7391342"/>
              <a:gd name="connsiteX830" fmla="*/ 8241058 w 9114518"/>
              <a:gd name="connsiteY830" fmla="*/ 103609 h 7391342"/>
              <a:gd name="connsiteX831" fmla="*/ 7979374 w 9114518"/>
              <a:gd name="connsiteY831" fmla="*/ 103609 h 7391342"/>
              <a:gd name="connsiteX832" fmla="*/ 7979374 w 9114518"/>
              <a:gd name="connsiteY832" fmla="*/ 1213589 h 7391342"/>
              <a:gd name="connsiteX833" fmla="*/ 8241058 w 9114518"/>
              <a:gd name="connsiteY833" fmla="*/ 1213589 h 7391342"/>
              <a:gd name="connsiteX834" fmla="*/ 8241058 w 9114518"/>
              <a:gd name="connsiteY834" fmla="*/ 1310109 h 7391342"/>
              <a:gd name="connsiteX835" fmla="*/ 7862878 w 9114518"/>
              <a:gd name="connsiteY835" fmla="*/ 1310109 h 7391342"/>
              <a:gd name="connsiteX836" fmla="*/ 7862878 w 9114518"/>
              <a:gd name="connsiteY836" fmla="*/ 1213589 h 7391342"/>
              <a:gd name="connsiteX837" fmla="*/ 7862878 w 9114518"/>
              <a:gd name="connsiteY837" fmla="*/ 103609 h 7391342"/>
              <a:gd name="connsiteX838" fmla="*/ 3051834 w 9114518"/>
              <a:gd name="connsiteY838" fmla="*/ 2 h 7391342"/>
              <a:gd name="connsiteX839" fmla="*/ 3051834 w 9114518"/>
              <a:gd name="connsiteY839" fmla="*/ 99613 h 7391342"/>
              <a:gd name="connsiteX840" fmla="*/ 3002394 w 9114518"/>
              <a:gd name="connsiteY840" fmla="*/ 101852 h 7391342"/>
              <a:gd name="connsiteX841" fmla="*/ 2957611 w 9114518"/>
              <a:gd name="connsiteY841" fmla="*/ 108497 h 7391342"/>
              <a:gd name="connsiteX842" fmla="*/ 2917272 w 9114518"/>
              <a:gd name="connsiteY842" fmla="*/ 119421 h 7391342"/>
              <a:gd name="connsiteX843" fmla="*/ 2881161 w 9114518"/>
              <a:gd name="connsiteY843" fmla="*/ 134509 h 7391342"/>
              <a:gd name="connsiteX844" fmla="*/ 2820768 w 9114518"/>
              <a:gd name="connsiteY844" fmla="*/ 176694 h 7391342"/>
              <a:gd name="connsiteX845" fmla="*/ 2774716 w 9114518"/>
              <a:gd name="connsiteY845" fmla="*/ 234098 h 7391342"/>
              <a:gd name="connsiteX846" fmla="*/ 2756533 w 9114518"/>
              <a:gd name="connsiteY846" fmla="*/ 268206 h 7391342"/>
              <a:gd name="connsiteX847" fmla="*/ 2741291 w 9114518"/>
              <a:gd name="connsiteY847" fmla="*/ 305760 h 7391342"/>
              <a:gd name="connsiteX848" fmla="*/ 2728778 w 9114518"/>
              <a:gd name="connsiteY848" fmla="*/ 346640 h 7391342"/>
              <a:gd name="connsiteX849" fmla="*/ 2718778 w 9114518"/>
              <a:gd name="connsiteY849" fmla="*/ 390725 h 7391342"/>
              <a:gd name="connsiteX850" fmla="*/ 2711077 w 9114518"/>
              <a:gd name="connsiteY850" fmla="*/ 437898 h 7391342"/>
              <a:gd name="connsiteX851" fmla="*/ 2705460 w 9114518"/>
              <a:gd name="connsiteY851" fmla="*/ 488037 h 7391342"/>
              <a:gd name="connsiteX852" fmla="*/ 2701714 w 9114518"/>
              <a:gd name="connsiteY852" fmla="*/ 541024 h 7391342"/>
              <a:gd name="connsiteX853" fmla="*/ 2699623 w 9114518"/>
              <a:gd name="connsiteY853" fmla="*/ 596738 h 7391342"/>
              <a:gd name="connsiteX854" fmla="*/ 2698974 w 9114518"/>
              <a:gd name="connsiteY854" fmla="*/ 655061 h 7391342"/>
              <a:gd name="connsiteX855" fmla="*/ 2699607 w 9114518"/>
              <a:gd name="connsiteY855" fmla="*/ 713962 h 7391342"/>
              <a:gd name="connsiteX856" fmla="*/ 2701652 w 9114518"/>
              <a:gd name="connsiteY856" fmla="*/ 770219 h 7391342"/>
              <a:gd name="connsiteX857" fmla="*/ 2705331 w 9114518"/>
              <a:gd name="connsiteY857" fmla="*/ 823713 h 7391342"/>
              <a:gd name="connsiteX858" fmla="*/ 2710863 w 9114518"/>
              <a:gd name="connsiteY858" fmla="*/ 874325 h 7391342"/>
              <a:gd name="connsiteX859" fmla="*/ 2718469 w 9114518"/>
              <a:gd name="connsiteY859" fmla="*/ 921936 h 7391342"/>
              <a:gd name="connsiteX860" fmla="*/ 2728370 w 9114518"/>
              <a:gd name="connsiteY860" fmla="*/ 966424 h 7391342"/>
              <a:gd name="connsiteX861" fmla="*/ 2740787 w 9114518"/>
              <a:gd name="connsiteY861" fmla="*/ 1007672 h 7391342"/>
              <a:gd name="connsiteX862" fmla="*/ 2755940 w 9114518"/>
              <a:gd name="connsiteY862" fmla="*/ 1045559 h 7391342"/>
              <a:gd name="connsiteX863" fmla="*/ 2774049 w 9114518"/>
              <a:gd name="connsiteY863" fmla="*/ 1079966 h 7391342"/>
              <a:gd name="connsiteX864" fmla="*/ 2820020 w 9114518"/>
              <a:gd name="connsiteY864" fmla="*/ 1137858 h 7391342"/>
              <a:gd name="connsiteX865" fmla="*/ 2880465 w 9114518"/>
              <a:gd name="connsiteY865" fmla="*/ 1180395 h 7391342"/>
              <a:gd name="connsiteX866" fmla="*/ 2916667 w 9114518"/>
              <a:gd name="connsiteY866" fmla="*/ 1195607 h 7391342"/>
              <a:gd name="connsiteX867" fmla="*/ 2957148 w 9114518"/>
              <a:gd name="connsiteY867" fmla="*/ 1206620 h 7391342"/>
              <a:gd name="connsiteX868" fmla="*/ 3002130 w 9114518"/>
              <a:gd name="connsiteY868" fmla="*/ 1213314 h 7391342"/>
              <a:gd name="connsiteX869" fmla="*/ 3051834 w 9114518"/>
              <a:gd name="connsiteY869" fmla="*/ 1215573 h 7391342"/>
              <a:gd name="connsiteX870" fmla="*/ 3051834 w 9114518"/>
              <a:gd name="connsiteY870" fmla="*/ 1313495 h 7391342"/>
              <a:gd name="connsiteX871" fmla="*/ 3000188 w 9114518"/>
              <a:gd name="connsiteY871" fmla="*/ 1311761 h 7391342"/>
              <a:gd name="connsiteX872" fmla="*/ 2952255 w 9114518"/>
              <a:gd name="connsiteY872" fmla="*/ 1306609 h 7391342"/>
              <a:gd name="connsiteX873" fmla="*/ 2907914 w 9114518"/>
              <a:gd name="connsiteY873" fmla="*/ 1298108 h 7391342"/>
              <a:gd name="connsiteX874" fmla="*/ 2867041 w 9114518"/>
              <a:gd name="connsiteY874" fmla="*/ 1286333 h 7391342"/>
              <a:gd name="connsiteX875" fmla="*/ 2829514 w 9114518"/>
              <a:gd name="connsiteY875" fmla="*/ 1271355 h 7391342"/>
              <a:gd name="connsiteX876" fmla="*/ 2795209 w 9114518"/>
              <a:gd name="connsiteY876" fmla="*/ 1253247 h 7391342"/>
              <a:gd name="connsiteX877" fmla="*/ 2735783 w 9114518"/>
              <a:gd name="connsiteY877" fmla="*/ 1207930 h 7391342"/>
              <a:gd name="connsiteX878" fmla="*/ 2687781 w 9114518"/>
              <a:gd name="connsiteY878" fmla="*/ 1150955 h 7391342"/>
              <a:gd name="connsiteX879" fmla="*/ 2667757 w 9114518"/>
              <a:gd name="connsiteY879" fmla="*/ 1118277 h 7391342"/>
              <a:gd name="connsiteX880" fmla="*/ 2650222 w 9114518"/>
              <a:gd name="connsiteY880" fmla="*/ 1082902 h 7391342"/>
              <a:gd name="connsiteX881" fmla="*/ 2635053 w 9114518"/>
              <a:gd name="connsiteY881" fmla="*/ 1044902 h 7391342"/>
              <a:gd name="connsiteX882" fmla="*/ 2622127 w 9114518"/>
              <a:gd name="connsiteY882" fmla="*/ 1004349 h 7391342"/>
              <a:gd name="connsiteX883" fmla="*/ 2611322 w 9114518"/>
              <a:gd name="connsiteY883" fmla="*/ 961316 h 7391342"/>
              <a:gd name="connsiteX884" fmla="*/ 2602516 w 9114518"/>
              <a:gd name="connsiteY884" fmla="*/ 915873 h 7391342"/>
              <a:gd name="connsiteX885" fmla="*/ 2595585 w 9114518"/>
              <a:gd name="connsiteY885" fmla="*/ 868095 h 7391342"/>
              <a:gd name="connsiteX886" fmla="*/ 2590408 w 9114518"/>
              <a:gd name="connsiteY886" fmla="*/ 818052 h 7391342"/>
              <a:gd name="connsiteX887" fmla="*/ 2586862 w 9114518"/>
              <a:gd name="connsiteY887" fmla="*/ 765818 h 7391342"/>
              <a:gd name="connsiteX888" fmla="*/ 2584824 w 9114518"/>
              <a:gd name="connsiteY888" fmla="*/ 711463 h 7391342"/>
              <a:gd name="connsiteX889" fmla="*/ 2584172 w 9114518"/>
              <a:gd name="connsiteY889" fmla="*/ 655061 h 7391342"/>
              <a:gd name="connsiteX890" fmla="*/ 2584846 w 9114518"/>
              <a:gd name="connsiteY890" fmla="*/ 598899 h 7391342"/>
              <a:gd name="connsiteX891" fmla="*/ 2586945 w 9114518"/>
              <a:gd name="connsiteY891" fmla="*/ 544784 h 7391342"/>
              <a:gd name="connsiteX892" fmla="*/ 2590585 w 9114518"/>
              <a:gd name="connsiteY892" fmla="*/ 492788 h 7391342"/>
              <a:gd name="connsiteX893" fmla="*/ 2595883 w 9114518"/>
              <a:gd name="connsiteY893" fmla="*/ 442980 h 7391342"/>
              <a:gd name="connsiteX894" fmla="*/ 2602954 w 9114518"/>
              <a:gd name="connsiteY894" fmla="*/ 395431 h 7391342"/>
              <a:gd name="connsiteX895" fmla="*/ 2611914 w 9114518"/>
              <a:gd name="connsiteY895" fmla="*/ 350213 h 7391342"/>
              <a:gd name="connsiteX896" fmla="*/ 2622878 w 9114518"/>
              <a:gd name="connsiteY896" fmla="*/ 307398 h 7391342"/>
              <a:gd name="connsiteX897" fmla="*/ 2635964 w 9114518"/>
              <a:gd name="connsiteY897" fmla="*/ 267054 h 7391342"/>
              <a:gd name="connsiteX898" fmla="*/ 2651287 w 9114518"/>
              <a:gd name="connsiteY898" fmla="*/ 229257 h 7391342"/>
              <a:gd name="connsiteX899" fmla="*/ 2668962 w 9114518"/>
              <a:gd name="connsiteY899" fmla="*/ 194074 h 7391342"/>
              <a:gd name="connsiteX900" fmla="*/ 2689106 w 9114518"/>
              <a:gd name="connsiteY900" fmla="*/ 161576 h 7391342"/>
              <a:gd name="connsiteX901" fmla="*/ 2737264 w 9114518"/>
              <a:gd name="connsiteY901" fmla="*/ 104925 h 7391342"/>
              <a:gd name="connsiteX902" fmla="*/ 2796688 w 9114518"/>
              <a:gd name="connsiteY902" fmla="*/ 59876 h 7391342"/>
              <a:gd name="connsiteX903" fmla="*/ 2830916 w 9114518"/>
              <a:gd name="connsiteY903" fmla="*/ 41878 h 7391342"/>
              <a:gd name="connsiteX904" fmla="*/ 2868307 w 9114518"/>
              <a:gd name="connsiteY904" fmla="*/ 26992 h 7391342"/>
              <a:gd name="connsiteX905" fmla="*/ 2908979 w 9114518"/>
              <a:gd name="connsiteY905" fmla="*/ 15290 h 7391342"/>
              <a:gd name="connsiteX906" fmla="*/ 2953046 w 9114518"/>
              <a:gd name="connsiteY906" fmla="*/ 6845 h 7391342"/>
              <a:gd name="connsiteX907" fmla="*/ 3000626 w 9114518"/>
              <a:gd name="connsiteY907" fmla="*/ 1724 h 7391342"/>
              <a:gd name="connsiteX908" fmla="*/ 8336918 w 9114518"/>
              <a:gd name="connsiteY908" fmla="*/ 1 h 7391342"/>
              <a:gd name="connsiteX909" fmla="*/ 8388126 w 9114518"/>
              <a:gd name="connsiteY909" fmla="*/ 1723 h 7391342"/>
              <a:gd name="connsiteX910" fmla="*/ 8435706 w 9114518"/>
              <a:gd name="connsiteY910" fmla="*/ 6843 h 7391342"/>
              <a:gd name="connsiteX911" fmla="*/ 8479774 w 9114518"/>
              <a:gd name="connsiteY911" fmla="*/ 15289 h 7391342"/>
              <a:gd name="connsiteX912" fmla="*/ 8520444 w 9114518"/>
              <a:gd name="connsiteY912" fmla="*/ 26990 h 7391342"/>
              <a:gd name="connsiteX913" fmla="*/ 8557834 w 9114518"/>
              <a:gd name="connsiteY913" fmla="*/ 41875 h 7391342"/>
              <a:gd name="connsiteX914" fmla="*/ 8592062 w 9114518"/>
              <a:gd name="connsiteY914" fmla="*/ 59873 h 7391342"/>
              <a:gd name="connsiteX915" fmla="*/ 8651484 w 9114518"/>
              <a:gd name="connsiteY915" fmla="*/ 104924 h 7391342"/>
              <a:gd name="connsiteX916" fmla="*/ 8699640 w 9114518"/>
              <a:gd name="connsiteY916" fmla="*/ 161574 h 7391342"/>
              <a:gd name="connsiteX917" fmla="*/ 8719784 w 9114518"/>
              <a:gd name="connsiteY917" fmla="*/ 194071 h 7391342"/>
              <a:gd name="connsiteX918" fmla="*/ 8737458 w 9114518"/>
              <a:gd name="connsiteY918" fmla="*/ 229254 h 7391342"/>
              <a:gd name="connsiteX919" fmla="*/ 8752780 w 9114518"/>
              <a:gd name="connsiteY919" fmla="*/ 267052 h 7391342"/>
              <a:gd name="connsiteX920" fmla="*/ 8765866 w 9114518"/>
              <a:gd name="connsiteY920" fmla="*/ 307395 h 7391342"/>
              <a:gd name="connsiteX921" fmla="*/ 8776830 w 9114518"/>
              <a:gd name="connsiteY921" fmla="*/ 350211 h 7391342"/>
              <a:gd name="connsiteX922" fmla="*/ 8785788 w 9114518"/>
              <a:gd name="connsiteY922" fmla="*/ 395428 h 7391342"/>
              <a:gd name="connsiteX923" fmla="*/ 8792860 w 9114518"/>
              <a:gd name="connsiteY923" fmla="*/ 442977 h 7391342"/>
              <a:gd name="connsiteX924" fmla="*/ 8798158 w 9114518"/>
              <a:gd name="connsiteY924" fmla="*/ 492785 h 7391342"/>
              <a:gd name="connsiteX925" fmla="*/ 8801798 w 9114518"/>
              <a:gd name="connsiteY925" fmla="*/ 544782 h 7391342"/>
              <a:gd name="connsiteX926" fmla="*/ 8803896 w 9114518"/>
              <a:gd name="connsiteY926" fmla="*/ 598897 h 7391342"/>
              <a:gd name="connsiteX927" fmla="*/ 8804570 w 9114518"/>
              <a:gd name="connsiteY927" fmla="*/ 655058 h 7391342"/>
              <a:gd name="connsiteX928" fmla="*/ 8803930 w 9114518"/>
              <a:gd name="connsiteY928" fmla="*/ 711460 h 7391342"/>
              <a:gd name="connsiteX929" fmla="*/ 8801922 w 9114518"/>
              <a:gd name="connsiteY929" fmla="*/ 765815 h 7391342"/>
              <a:gd name="connsiteX930" fmla="*/ 8798422 w 9114518"/>
              <a:gd name="connsiteY930" fmla="*/ 818050 h 7391342"/>
              <a:gd name="connsiteX931" fmla="*/ 8793306 w 9114518"/>
              <a:gd name="connsiteY931" fmla="*/ 868094 h 7391342"/>
              <a:gd name="connsiteX932" fmla="*/ 8786446 w 9114518"/>
              <a:gd name="connsiteY932" fmla="*/ 915872 h 7391342"/>
              <a:gd name="connsiteX933" fmla="*/ 8777716 w 9114518"/>
              <a:gd name="connsiteY933" fmla="*/ 961315 h 7391342"/>
              <a:gd name="connsiteX934" fmla="*/ 8766992 w 9114518"/>
              <a:gd name="connsiteY934" fmla="*/ 1004348 h 7391342"/>
              <a:gd name="connsiteX935" fmla="*/ 8754146 w 9114518"/>
              <a:gd name="connsiteY935" fmla="*/ 1044900 h 7391342"/>
              <a:gd name="connsiteX936" fmla="*/ 8739054 w 9114518"/>
              <a:gd name="connsiteY936" fmla="*/ 1082901 h 7391342"/>
              <a:gd name="connsiteX937" fmla="*/ 8721590 w 9114518"/>
              <a:gd name="connsiteY937" fmla="*/ 1118276 h 7391342"/>
              <a:gd name="connsiteX938" fmla="*/ 8701628 w 9114518"/>
              <a:gd name="connsiteY938" fmla="*/ 1150954 h 7391342"/>
              <a:gd name="connsiteX939" fmla="*/ 8653704 w 9114518"/>
              <a:gd name="connsiteY939" fmla="*/ 1207928 h 7391342"/>
              <a:gd name="connsiteX940" fmla="*/ 8594278 w 9114518"/>
              <a:gd name="connsiteY940" fmla="*/ 1253246 h 7391342"/>
              <a:gd name="connsiteX941" fmla="*/ 8559936 w 9114518"/>
              <a:gd name="connsiteY941" fmla="*/ 1271354 h 7391342"/>
              <a:gd name="connsiteX942" fmla="*/ 8522342 w 9114518"/>
              <a:gd name="connsiteY942" fmla="*/ 1286332 h 7391342"/>
              <a:gd name="connsiteX943" fmla="*/ 8481370 w 9114518"/>
              <a:gd name="connsiteY943" fmla="*/ 1298107 h 7391342"/>
              <a:gd name="connsiteX944" fmla="*/ 8436892 w 9114518"/>
              <a:gd name="connsiteY944" fmla="*/ 1306607 h 7391342"/>
              <a:gd name="connsiteX945" fmla="*/ 8388784 w 9114518"/>
              <a:gd name="connsiteY945" fmla="*/ 1311760 h 7391342"/>
              <a:gd name="connsiteX946" fmla="*/ 8336918 w 9114518"/>
              <a:gd name="connsiteY946" fmla="*/ 1313493 h 7391342"/>
              <a:gd name="connsiteX947" fmla="*/ 8336918 w 9114518"/>
              <a:gd name="connsiteY947" fmla="*/ 1215572 h 7391342"/>
              <a:gd name="connsiteX948" fmla="*/ 8387168 w 9114518"/>
              <a:gd name="connsiteY948" fmla="*/ 1213313 h 7391342"/>
              <a:gd name="connsiteX949" fmla="*/ 8432598 w 9114518"/>
              <a:gd name="connsiteY949" fmla="*/ 1206618 h 7391342"/>
              <a:gd name="connsiteX950" fmla="*/ 8473438 w 9114518"/>
              <a:gd name="connsiteY950" fmla="*/ 1195605 h 7391342"/>
              <a:gd name="connsiteX951" fmla="*/ 8509918 w 9114518"/>
              <a:gd name="connsiteY951" fmla="*/ 1180394 h 7391342"/>
              <a:gd name="connsiteX952" fmla="*/ 8570710 w 9114518"/>
              <a:gd name="connsiteY952" fmla="*/ 1137857 h 7391342"/>
              <a:gd name="connsiteX953" fmla="*/ 8616804 w 9114518"/>
              <a:gd name="connsiteY953" fmla="*/ 1079964 h 7391342"/>
              <a:gd name="connsiteX954" fmla="*/ 8634912 w 9114518"/>
              <a:gd name="connsiteY954" fmla="*/ 1045558 h 7391342"/>
              <a:gd name="connsiteX955" fmla="*/ 8650034 w 9114518"/>
              <a:gd name="connsiteY955" fmla="*/ 1007671 h 7391342"/>
              <a:gd name="connsiteX956" fmla="*/ 8662396 w 9114518"/>
              <a:gd name="connsiteY956" fmla="*/ 966423 h 7391342"/>
              <a:gd name="connsiteX957" fmla="*/ 8672228 w 9114518"/>
              <a:gd name="connsiteY957" fmla="*/ 921934 h 7391342"/>
              <a:gd name="connsiteX958" fmla="*/ 8679760 w 9114518"/>
              <a:gd name="connsiteY958" fmla="*/ 874323 h 7391342"/>
              <a:gd name="connsiteX959" fmla="*/ 8685218 w 9114518"/>
              <a:gd name="connsiteY959" fmla="*/ 823711 h 7391342"/>
              <a:gd name="connsiteX960" fmla="*/ 8688834 w 9114518"/>
              <a:gd name="connsiteY960" fmla="*/ 770216 h 7391342"/>
              <a:gd name="connsiteX961" fmla="*/ 8690836 w 9114518"/>
              <a:gd name="connsiteY961" fmla="*/ 713959 h 7391342"/>
              <a:gd name="connsiteX962" fmla="*/ 8691452 w 9114518"/>
              <a:gd name="connsiteY962" fmla="*/ 655058 h 7391342"/>
              <a:gd name="connsiteX963" fmla="*/ 8690804 w 9114518"/>
              <a:gd name="connsiteY963" fmla="*/ 596735 h 7391342"/>
              <a:gd name="connsiteX964" fmla="*/ 8688710 w 9114518"/>
              <a:gd name="connsiteY964" fmla="*/ 541021 h 7391342"/>
              <a:gd name="connsiteX965" fmla="*/ 8684958 w 9114518"/>
              <a:gd name="connsiteY965" fmla="*/ 488035 h 7391342"/>
              <a:gd name="connsiteX966" fmla="*/ 8679330 w 9114518"/>
              <a:gd name="connsiteY966" fmla="*/ 437895 h 7391342"/>
              <a:gd name="connsiteX967" fmla="*/ 8671608 w 9114518"/>
              <a:gd name="connsiteY967" fmla="*/ 390723 h 7391342"/>
              <a:gd name="connsiteX968" fmla="*/ 8661578 w 9114518"/>
              <a:gd name="connsiteY968" fmla="*/ 346638 h 7391342"/>
              <a:gd name="connsiteX969" fmla="*/ 8649022 w 9114518"/>
              <a:gd name="connsiteY969" fmla="*/ 305758 h 7391342"/>
              <a:gd name="connsiteX970" fmla="*/ 8633724 w 9114518"/>
              <a:gd name="connsiteY970" fmla="*/ 268204 h 7391342"/>
              <a:gd name="connsiteX971" fmla="*/ 8615466 w 9114518"/>
              <a:gd name="connsiteY971" fmla="*/ 234096 h 7391342"/>
              <a:gd name="connsiteX972" fmla="*/ 8569210 w 9114518"/>
              <a:gd name="connsiteY972" fmla="*/ 176693 h 7391342"/>
              <a:gd name="connsiteX973" fmla="*/ 8508522 w 9114518"/>
              <a:gd name="connsiteY973" fmla="*/ 134507 h 7391342"/>
              <a:gd name="connsiteX974" fmla="*/ 8472224 w 9114518"/>
              <a:gd name="connsiteY974" fmla="*/ 119419 h 7391342"/>
              <a:gd name="connsiteX975" fmla="*/ 8431668 w 9114518"/>
              <a:gd name="connsiteY975" fmla="*/ 108494 h 7391342"/>
              <a:gd name="connsiteX976" fmla="*/ 8386640 w 9114518"/>
              <a:gd name="connsiteY976" fmla="*/ 101851 h 7391342"/>
              <a:gd name="connsiteX977" fmla="*/ 8336918 w 9114518"/>
              <a:gd name="connsiteY977" fmla="*/ 99610 h 7391342"/>
              <a:gd name="connsiteX978" fmla="*/ 3144752 w 9114518"/>
              <a:gd name="connsiteY978" fmla="*/ 0 h 7391342"/>
              <a:gd name="connsiteX979" fmla="*/ 3195959 w 9114518"/>
              <a:gd name="connsiteY979" fmla="*/ 1722 h 7391342"/>
              <a:gd name="connsiteX980" fmla="*/ 3243539 w 9114518"/>
              <a:gd name="connsiteY980" fmla="*/ 6842 h 7391342"/>
              <a:gd name="connsiteX981" fmla="*/ 3287606 w 9114518"/>
              <a:gd name="connsiteY981" fmla="*/ 15288 h 7391342"/>
              <a:gd name="connsiteX982" fmla="*/ 3328277 w 9114518"/>
              <a:gd name="connsiteY982" fmla="*/ 26989 h 7391342"/>
              <a:gd name="connsiteX983" fmla="*/ 3365667 w 9114518"/>
              <a:gd name="connsiteY983" fmla="*/ 41874 h 7391342"/>
              <a:gd name="connsiteX984" fmla="*/ 3399895 w 9114518"/>
              <a:gd name="connsiteY984" fmla="*/ 59872 h 7391342"/>
              <a:gd name="connsiteX985" fmla="*/ 3459317 w 9114518"/>
              <a:gd name="connsiteY985" fmla="*/ 104923 h 7391342"/>
              <a:gd name="connsiteX986" fmla="*/ 3507474 w 9114518"/>
              <a:gd name="connsiteY986" fmla="*/ 161573 h 7391342"/>
              <a:gd name="connsiteX987" fmla="*/ 3527617 w 9114518"/>
              <a:gd name="connsiteY987" fmla="*/ 194070 h 7391342"/>
              <a:gd name="connsiteX988" fmla="*/ 3545292 w 9114518"/>
              <a:gd name="connsiteY988" fmla="*/ 229253 h 7391342"/>
              <a:gd name="connsiteX989" fmla="*/ 3560614 w 9114518"/>
              <a:gd name="connsiteY989" fmla="*/ 267051 h 7391342"/>
              <a:gd name="connsiteX990" fmla="*/ 3573699 w 9114518"/>
              <a:gd name="connsiteY990" fmla="*/ 307394 h 7391342"/>
              <a:gd name="connsiteX991" fmla="*/ 3584663 w 9114518"/>
              <a:gd name="connsiteY991" fmla="*/ 350210 h 7391342"/>
              <a:gd name="connsiteX992" fmla="*/ 3593622 w 9114518"/>
              <a:gd name="connsiteY992" fmla="*/ 395427 h 7391342"/>
              <a:gd name="connsiteX993" fmla="*/ 3600693 w 9114518"/>
              <a:gd name="connsiteY993" fmla="*/ 442977 h 7391342"/>
              <a:gd name="connsiteX994" fmla="*/ 3605990 w 9114518"/>
              <a:gd name="connsiteY994" fmla="*/ 492785 h 7391342"/>
              <a:gd name="connsiteX995" fmla="*/ 3609630 w 9114518"/>
              <a:gd name="connsiteY995" fmla="*/ 544782 h 7391342"/>
              <a:gd name="connsiteX996" fmla="*/ 3611729 w 9114518"/>
              <a:gd name="connsiteY996" fmla="*/ 598897 h 7391342"/>
              <a:gd name="connsiteX997" fmla="*/ 3612403 w 9114518"/>
              <a:gd name="connsiteY997" fmla="*/ 655058 h 7391342"/>
              <a:gd name="connsiteX998" fmla="*/ 3611762 w 9114518"/>
              <a:gd name="connsiteY998" fmla="*/ 711460 h 7391342"/>
              <a:gd name="connsiteX999" fmla="*/ 3609755 w 9114518"/>
              <a:gd name="connsiteY999" fmla="*/ 765815 h 7391342"/>
              <a:gd name="connsiteX1000" fmla="*/ 3606255 w 9114518"/>
              <a:gd name="connsiteY1000" fmla="*/ 818050 h 7391342"/>
              <a:gd name="connsiteX1001" fmla="*/ 3601138 w 9114518"/>
              <a:gd name="connsiteY1001" fmla="*/ 868093 h 7391342"/>
              <a:gd name="connsiteX1002" fmla="*/ 3594278 w 9114518"/>
              <a:gd name="connsiteY1002" fmla="*/ 915871 h 7391342"/>
              <a:gd name="connsiteX1003" fmla="*/ 3585548 w 9114518"/>
              <a:gd name="connsiteY1003" fmla="*/ 961314 h 7391342"/>
              <a:gd name="connsiteX1004" fmla="*/ 3574823 w 9114518"/>
              <a:gd name="connsiteY1004" fmla="*/ 1004347 h 7391342"/>
              <a:gd name="connsiteX1005" fmla="*/ 3561977 w 9114518"/>
              <a:gd name="connsiteY1005" fmla="*/ 1044900 h 7391342"/>
              <a:gd name="connsiteX1006" fmla="*/ 3546884 w 9114518"/>
              <a:gd name="connsiteY1006" fmla="*/ 1082900 h 7391342"/>
              <a:gd name="connsiteX1007" fmla="*/ 3529420 w 9114518"/>
              <a:gd name="connsiteY1007" fmla="*/ 1118275 h 7391342"/>
              <a:gd name="connsiteX1008" fmla="*/ 3509456 w 9114518"/>
              <a:gd name="connsiteY1008" fmla="*/ 1150953 h 7391342"/>
              <a:gd name="connsiteX1009" fmla="*/ 3461532 w 9114518"/>
              <a:gd name="connsiteY1009" fmla="*/ 1207927 h 7391342"/>
              <a:gd name="connsiteX1010" fmla="*/ 3402106 w 9114518"/>
              <a:gd name="connsiteY1010" fmla="*/ 1253245 h 7391342"/>
              <a:gd name="connsiteX1011" fmla="*/ 3367764 w 9114518"/>
              <a:gd name="connsiteY1011" fmla="*/ 1271353 h 7391342"/>
              <a:gd name="connsiteX1012" fmla="*/ 3330171 w 9114518"/>
              <a:gd name="connsiteY1012" fmla="*/ 1286331 h 7391342"/>
              <a:gd name="connsiteX1013" fmla="*/ 3289198 w 9114518"/>
              <a:gd name="connsiteY1013" fmla="*/ 1298106 h 7391342"/>
              <a:gd name="connsiteX1014" fmla="*/ 3244722 w 9114518"/>
              <a:gd name="connsiteY1014" fmla="*/ 1306606 h 7391342"/>
              <a:gd name="connsiteX1015" fmla="*/ 3196615 w 9114518"/>
              <a:gd name="connsiteY1015" fmla="*/ 1311759 h 7391342"/>
              <a:gd name="connsiteX1016" fmla="*/ 3144752 w 9114518"/>
              <a:gd name="connsiteY1016" fmla="*/ 1313492 h 7391342"/>
              <a:gd name="connsiteX1017" fmla="*/ 3144752 w 9114518"/>
              <a:gd name="connsiteY1017" fmla="*/ 1215571 h 7391342"/>
              <a:gd name="connsiteX1018" fmla="*/ 3194999 w 9114518"/>
              <a:gd name="connsiteY1018" fmla="*/ 1213312 h 7391342"/>
              <a:gd name="connsiteX1019" fmla="*/ 3240428 w 9114518"/>
              <a:gd name="connsiteY1019" fmla="*/ 1206617 h 7391342"/>
              <a:gd name="connsiteX1020" fmla="*/ 3281267 w 9114518"/>
              <a:gd name="connsiteY1020" fmla="*/ 1195604 h 7391342"/>
              <a:gd name="connsiteX1021" fmla="*/ 3317746 w 9114518"/>
              <a:gd name="connsiteY1021" fmla="*/ 1180393 h 7391342"/>
              <a:gd name="connsiteX1022" fmla="*/ 3378538 w 9114518"/>
              <a:gd name="connsiteY1022" fmla="*/ 1137856 h 7391342"/>
              <a:gd name="connsiteX1023" fmla="*/ 3424634 w 9114518"/>
              <a:gd name="connsiteY1023" fmla="*/ 1079963 h 7391342"/>
              <a:gd name="connsiteX1024" fmla="*/ 3442743 w 9114518"/>
              <a:gd name="connsiteY1024" fmla="*/ 1045557 h 7391342"/>
              <a:gd name="connsiteX1025" fmla="*/ 3457864 w 9114518"/>
              <a:gd name="connsiteY1025" fmla="*/ 1007670 h 7391342"/>
              <a:gd name="connsiteX1026" fmla="*/ 3470227 w 9114518"/>
              <a:gd name="connsiteY1026" fmla="*/ 966422 h 7391342"/>
              <a:gd name="connsiteX1027" fmla="*/ 3480060 w 9114518"/>
              <a:gd name="connsiteY1027" fmla="*/ 921934 h 7391342"/>
              <a:gd name="connsiteX1028" fmla="*/ 3487591 w 9114518"/>
              <a:gd name="connsiteY1028" fmla="*/ 874323 h 7391342"/>
              <a:gd name="connsiteX1029" fmla="*/ 3493051 w 9114518"/>
              <a:gd name="connsiteY1029" fmla="*/ 823711 h 7391342"/>
              <a:gd name="connsiteX1030" fmla="*/ 3496668 w 9114518"/>
              <a:gd name="connsiteY1030" fmla="*/ 770216 h 7391342"/>
              <a:gd name="connsiteX1031" fmla="*/ 3498670 w 9114518"/>
              <a:gd name="connsiteY1031" fmla="*/ 713959 h 7391342"/>
              <a:gd name="connsiteX1032" fmla="*/ 3499286 w 9114518"/>
              <a:gd name="connsiteY1032" fmla="*/ 655058 h 7391342"/>
              <a:gd name="connsiteX1033" fmla="*/ 3498637 w 9114518"/>
              <a:gd name="connsiteY1033" fmla="*/ 596735 h 7391342"/>
              <a:gd name="connsiteX1034" fmla="*/ 3496544 w 9114518"/>
              <a:gd name="connsiteY1034" fmla="*/ 541021 h 7391342"/>
              <a:gd name="connsiteX1035" fmla="*/ 3492792 w 9114518"/>
              <a:gd name="connsiteY1035" fmla="*/ 488034 h 7391342"/>
              <a:gd name="connsiteX1036" fmla="*/ 3487163 w 9114518"/>
              <a:gd name="connsiteY1036" fmla="*/ 437895 h 7391342"/>
              <a:gd name="connsiteX1037" fmla="*/ 3479442 w 9114518"/>
              <a:gd name="connsiteY1037" fmla="*/ 390722 h 7391342"/>
              <a:gd name="connsiteX1038" fmla="*/ 3469411 w 9114518"/>
              <a:gd name="connsiteY1038" fmla="*/ 346637 h 7391342"/>
              <a:gd name="connsiteX1039" fmla="*/ 3456855 w 9114518"/>
              <a:gd name="connsiteY1039" fmla="*/ 305757 h 7391342"/>
              <a:gd name="connsiteX1040" fmla="*/ 3441557 w 9114518"/>
              <a:gd name="connsiteY1040" fmla="*/ 268203 h 7391342"/>
              <a:gd name="connsiteX1041" fmla="*/ 3423300 w 9114518"/>
              <a:gd name="connsiteY1041" fmla="*/ 234095 h 7391342"/>
              <a:gd name="connsiteX1042" fmla="*/ 3377044 w 9114518"/>
              <a:gd name="connsiteY1042" fmla="*/ 176692 h 7391342"/>
              <a:gd name="connsiteX1043" fmla="*/ 3316354 w 9114518"/>
              <a:gd name="connsiteY1043" fmla="*/ 134506 h 7391342"/>
              <a:gd name="connsiteX1044" fmla="*/ 3280057 w 9114518"/>
              <a:gd name="connsiteY1044" fmla="*/ 119418 h 7391342"/>
              <a:gd name="connsiteX1045" fmla="*/ 3239501 w 9114518"/>
              <a:gd name="connsiteY1045" fmla="*/ 108493 h 7391342"/>
              <a:gd name="connsiteX1046" fmla="*/ 3194472 w 9114518"/>
              <a:gd name="connsiteY1046" fmla="*/ 101850 h 7391342"/>
              <a:gd name="connsiteX1047" fmla="*/ 3144752 w 9114518"/>
              <a:gd name="connsiteY1047" fmla="*/ 99609 h 739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Lst>
            <a:rect l="l" t="t" r="r" b="b"/>
            <a:pathLst>
              <a:path w="9114518" h="7391342">
                <a:moveTo>
                  <a:pt x="6423906" y="7111086"/>
                </a:moveTo>
                <a:lnTo>
                  <a:pt x="6633262" y="7111086"/>
                </a:lnTo>
                <a:lnTo>
                  <a:pt x="6633262" y="7286668"/>
                </a:lnTo>
                <a:lnTo>
                  <a:pt x="6423906" y="7286668"/>
                </a:lnTo>
                <a:close/>
                <a:moveTo>
                  <a:pt x="3371709" y="6959141"/>
                </a:moveTo>
                <a:lnTo>
                  <a:pt x="4286770" y="6959141"/>
                </a:lnTo>
                <a:lnTo>
                  <a:pt x="4286770" y="7067193"/>
                </a:lnTo>
                <a:lnTo>
                  <a:pt x="3371709" y="7067193"/>
                </a:lnTo>
                <a:close/>
                <a:moveTo>
                  <a:pt x="3371709" y="6606288"/>
                </a:moveTo>
                <a:lnTo>
                  <a:pt x="4286770" y="6606288"/>
                </a:lnTo>
                <a:lnTo>
                  <a:pt x="4286770" y="6714340"/>
                </a:lnTo>
                <a:lnTo>
                  <a:pt x="3371709" y="6714340"/>
                </a:lnTo>
                <a:close/>
                <a:moveTo>
                  <a:pt x="5418710" y="6084039"/>
                </a:moveTo>
                <a:lnTo>
                  <a:pt x="5796891" y="6084039"/>
                </a:lnTo>
                <a:lnTo>
                  <a:pt x="5796891" y="6180559"/>
                </a:lnTo>
                <a:lnTo>
                  <a:pt x="5796891" y="7291809"/>
                </a:lnTo>
                <a:lnTo>
                  <a:pt x="5796891" y="7388329"/>
                </a:lnTo>
                <a:lnTo>
                  <a:pt x="5418710" y="7388329"/>
                </a:lnTo>
                <a:lnTo>
                  <a:pt x="5418710" y="7291809"/>
                </a:lnTo>
                <a:lnTo>
                  <a:pt x="5680394" y="7291809"/>
                </a:lnTo>
                <a:lnTo>
                  <a:pt x="5680394" y="6180559"/>
                </a:lnTo>
                <a:lnTo>
                  <a:pt x="5418710" y="6180559"/>
                </a:lnTo>
                <a:close/>
                <a:moveTo>
                  <a:pt x="4939629" y="6084039"/>
                </a:moveTo>
                <a:lnTo>
                  <a:pt x="5317797" y="6084039"/>
                </a:lnTo>
                <a:lnTo>
                  <a:pt x="5317797" y="6180559"/>
                </a:lnTo>
                <a:lnTo>
                  <a:pt x="5056113" y="6180559"/>
                </a:lnTo>
                <a:lnTo>
                  <a:pt x="5056113" y="7291809"/>
                </a:lnTo>
                <a:lnTo>
                  <a:pt x="5317797" y="7291809"/>
                </a:lnTo>
                <a:lnTo>
                  <a:pt x="5317797" y="7388329"/>
                </a:lnTo>
                <a:lnTo>
                  <a:pt x="4939629" y="7388329"/>
                </a:lnTo>
                <a:lnTo>
                  <a:pt x="4939629" y="7291809"/>
                </a:lnTo>
                <a:lnTo>
                  <a:pt x="4939629" y="6180559"/>
                </a:lnTo>
                <a:close/>
                <a:moveTo>
                  <a:pt x="8646856" y="6077851"/>
                </a:moveTo>
                <a:lnTo>
                  <a:pt x="8698064" y="6079573"/>
                </a:lnTo>
                <a:lnTo>
                  <a:pt x="8745644" y="6084693"/>
                </a:lnTo>
                <a:lnTo>
                  <a:pt x="8789712" y="6093139"/>
                </a:lnTo>
                <a:lnTo>
                  <a:pt x="8830382" y="6104840"/>
                </a:lnTo>
                <a:lnTo>
                  <a:pt x="8867774" y="6119725"/>
                </a:lnTo>
                <a:lnTo>
                  <a:pt x="8902000" y="6137723"/>
                </a:lnTo>
                <a:lnTo>
                  <a:pt x="8961424" y="6182774"/>
                </a:lnTo>
                <a:lnTo>
                  <a:pt x="9009582" y="6239424"/>
                </a:lnTo>
                <a:lnTo>
                  <a:pt x="9029726" y="6271921"/>
                </a:lnTo>
                <a:lnTo>
                  <a:pt x="9047402" y="6307104"/>
                </a:lnTo>
                <a:lnTo>
                  <a:pt x="9062724" y="6344902"/>
                </a:lnTo>
                <a:lnTo>
                  <a:pt x="9075810" y="6385245"/>
                </a:lnTo>
                <a:lnTo>
                  <a:pt x="9086774" y="6428061"/>
                </a:lnTo>
                <a:lnTo>
                  <a:pt x="9095734" y="6473278"/>
                </a:lnTo>
                <a:lnTo>
                  <a:pt x="9102806" y="6520827"/>
                </a:lnTo>
                <a:lnTo>
                  <a:pt x="9108104" y="6570635"/>
                </a:lnTo>
                <a:lnTo>
                  <a:pt x="9111744" y="6622632"/>
                </a:lnTo>
                <a:lnTo>
                  <a:pt x="9113844" y="6676747"/>
                </a:lnTo>
                <a:lnTo>
                  <a:pt x="9114518" y="6732908"/>
                </a:lnTo>
                <a:lnTo>
                  <a:pt x="9113876" y="6789310"/>
                </a:lnTo>
                <a:lnTo>
                  <a:pt x="9111870" y="6843665"/>
                </a:lnTo>
                <a:lnTo>
                  <a:pt x="9108370" y="6895900"/>
                </a:lnTo>
                <a:lnTo>
                  <a:pt x="9103252" y="6945943"/>
                </a:lnTo>
                <a:lnTo>
                  <a:pt x="9096392" y="6993721"/>
                </a:lnTo>
                <a:lnTo>
                  <a:pt x="9087662" y="7039164"/>
                </a:lnTo>
                <a:lnTo>
                  <a:pt x="9076936" y="7082197"/>
                </a:lnTo>
                <a:lnTo>
                  <a:pt x="9064090" y="7122750"/>
                </a:lnTo>
                <a:lnTo>
                  <a:pt x="9048998" y="7160750"/>
                </a:lnTo>
                <a:lnTo>
                  <a:pt x="9031532" y="7196125"/>
                </a:lnTo>
                <a:lnTo>
                  <a:pt x="9011568" y="7228803"/>
                </a:lnTo>
                <a:lnTo>
                  <a:pt x="8963644" y="7285777"/>
                </a:lnTo>
                <a:lnTo>
                  <a:pt x="8904216" y="7331095"/>
                </a:lnTo>
                <a:lnTo>
                  <a:pt x="8869874" y="7349203"/>
                </a:lnTo>
                <a:lnTo>
                  <a:pt x="8832280" y="7364181"/>
                </a:lnTo>
                <a:lnTo>
                  <a:pt x="8791306" y="7375956"/>
                </a:lnTo>
                <a:lnTo>
                  <a:pt x="8746828" y="7384456"/>
                </a:lnTo>
                <a:lnTo>
                  <a:pt x="8698720" y="7389609"/>
                </a:lnTo>
                <a:lnTo>
                  <a:pt x="8646856" y="7391342"/>
                </a:lnTo>
                <a:lnTo>
                  <a:pt x="8646856" y="7293421"/>
                </a:lnTo>
                <a:lnTo>
                  <a:pt x="8697104" y="7291162"/>
                </a:lnTo>
                <a:lnTo>
                  <a:pt x="8742536" y="7284467"/>
                </a:lnTo>
                <a:lnTo>
                  <a:pt x="8783376" y="7273454"/>
                </a:lnTo>
                <a:lnTo>
                  <a:pt x="8819856" y="7258243"/>
                </a:lnTo>
                <a:lnTo>
                  <a:pt x="8880650" y="7215706"/>
                </a:lnTo>
                <a:lnTo>
                  <a:pt x="8926746" y="7157813"/>
                </a:lnTo>
                <a:lnTo>
                  <a:pt x="8944856" y="7123407"/>
                </a:lnTo>
                <a:lnTo>
                  <a:pt x="8959978" y="7085520"/>
                </a:lnTo>
                <a:lnTo>
                  <a:pt x="8972340" y="7044272"/>
                </a:lnTo>
                <a:lnTo>
                  <a:pt x="8982174" y="6999784"/>
                </a:lnTo>
                <a:lnTo>
                  <a:pt x="8989706" y="6952173"/>
                </a:lnTo>
                <a:lnTo>
                  <a:pt x="8995166" y="6901561"/>
                </a:lnTo>
                <a:lnTo>
                  <a:pt x="8998782" y="6848066"/>
                </a:lnTo>
                <a:lnTo>
                  <a:pt x="9000784" y="6791809"/>
                </a:lnTo>
                <a:lnTo>
                  <a:pt x="9001400" y="6732908"/>
                </a:lnTo>
                <a:lnTo>
                  <a:pt x="9000750" y="6674585"/>
                </a:lnTo>
                <a:lnTo>
                  <a:pt x="8998658" y="6618871"/>
                </a:lnTo>
                <a:lnTo>
                  <a:pt x="8994906" y="6565885"/>
                </a:lnTo>
                <a:lnTo>
                  <a:pt x="8989276" y="6515745"/>
                </a:lnTo>
                <a:lnTo>
                  <a:pt x="8981556" y="6468573"/>
                </a:lnTo>
                <a:lnTo>
                  <a:pt x="8971524" y="6424488"/>
                </a:lnTo>
                <a:lnTo>
                  <a:pt x="8958968" y="6383608"/>
                </a:lnTo>
                <a:lnTo>
                  <a:pt x="8943670" y="6346054"/>
                </a:lnTo>
                <a:lnTo>
                  <a:pt x="8925412" y="6311946"/>
                </a:lnTo>
                <a:lnTo>
                  <a:pt x="8879156" y="6254543"/>
                </a:lnTo>
                <a:lnTo>
                  <a:pt x="8818464" y="6212357"/>
                </a:lnTo>
                <a:lnTo>
                  <a:pt x="8782166" y="6197269"/>
                </a:lnTo>
                <a:lnTo>
                  <a:pt x="8741608" y="6186344"/>
                </a:lnTo>
                <a:lnTo>
                  <a:pt x="8696578" y="6179701"/>
                </a:lnTo>
                <a:lnTo>
                  <a:pt x="8646856" y="6177460"/>
                </a:lnTo>
                <a:close/>
                <a:moveTo>
                  <a:pt x="8553970" y="6077851"/>
                </a:moveTo>
                <a:lnTo>
                  <a:pt x="8553970" y="6177460"/>
                </a:lnTo>
                <a:lnTo>
                  <a:pt x="8504528" y="6179701"/>
                </a:lnTo>
                <a:lnTo>
                  <a:pt x="8459744" y="6186344"/>
                </a:lnTo>
                <a:lnTo>
                  <a:pt x="8419404" y="6197269"/>
                </a:lnTo>
                <a:lnTo>
                  <a:pt x="8383292" y="6212357"/>
                </a:lnTo>
                <a:lnTo>
                  <a:pt x="8322900" y="6254543"/>
                </a:lnTo>
                <a:lnTo>
                  <a:pt x="8276848" y="6311946"/>
                </a:lnTo>
                <a:lnTo>
                  <a:pt x="8258666" y="6346054"/>
                </a:lnTo>
                <a:lnTo>
                  <a:pt x="8243424" y="6383608"/>
                </a:lnTo>
                <a:lnTo>
                  <a:pt x="8230912" y="6424488"/>
                </a:lnTo>
                <a:lnTo>
                  <a:pt x="8220912" y="6468573"/>
                </a:lnTo>
                <a:lnTo>
                  <a:pt x="8213212" y="6515745"/>
                </a:lnTo>
                <a:lnTo>
                  <a:pt x="8207596" y="6565885"/>
                </a:lnTo>
                <a:lnTo>
                  <a:pt x="8203850" y="6618871"/>
                </a:lnTo>
                <a:lnTo>
                  <a:pt x="8201760" y="6674585"/>
                </a:lnTo>
                <a:lnTo>
                  <a:pt x="8201110" y="6732908"/>
                </a:lnTo>
                <a:lnTo>
                  <a:pt x="8201744" y="6791809"/>
                </a:lnTo>
                <a:lnTo>
                  <a:pt x="8203788" y="6848066"/>
                </a:lnTo>
                <a:lnTo>
                  <a:pt x="8207466" y="6901561"/>
                </a:lnTo>
                <a:lnTo>
                  <a:pt x="8212998" y="6952173"/>
                </a:lnTo>
                <a:lnTo>
                  <a:pt x="8220604" y="6999784"/>
                </a:lnTo>
                <a:lnTo>
                  <a:pt x="8230504" y="7044272"/>
                </a:lnTo>
                <a:lnTo>
                  <a:pt x="8242920" y="7085520"/>
                </a:lnTo>
                <a:lnTo>
                  <a:pt x="8258072" y="7123407"/>
                </a:lnTo>
                <a:lnTo>
                  <a:pt x="8276182" y="7157813"/>
                </a:lnTo>
                <a:lnTo>
                  <a:pt x="8322152" y="7215706"/>
                </a:lnTo>
                <a:lnTo>
                  <a:pt x="8382596" y="7258243"/>
                </a:lnTo>
                <a:lnTo>
                  <a:pt x="8418798" y="7273454"/>
                </a:lnTo>
                <a:lnTo>
                  <a:pt x="8459280" y="7284467"/>
                </a:lnTo>
                <a:lnTo>
                  <a:pt x="8504264" y="7291162"/>
                </a:lnTo>
                <a:lnTo>
                  <a:pt x="8553970" y="7293421"/>
                </a:lnTo>
                <a:lnTo>
                  <a:pt x="8553970" y="7391342"/>
                </a:lnTo>
                <a:lnTo>
                  <a:pt x="8502324" y="7389609"/>
                </a:lnTo>
                <a:lnTo>
                  <a:pt x="8454390" y="7384456"/>
                </a:lnTo>
                <a:lnTo>
                  <a:pt x="8410050" y="7375956"/>
                </a:lnTo>
                <a:lnTo>
                  <a:pt x="8369176" y="7364181"/>
                </a:lnTo>
                <a:lnTo>
                  <a:pt x="8331650" y="7349203"/>
                </a:lnTo>
                <a:lnTo>
                  <a:pt x="8297346" y="7331095"/>
                </a:lnTo>
                <a:lnTo>
                  <a:pt x="8237920" y="7285777"/>
                </a:lnTo>
                <a:lnTo>
                  <a:pt x="8189918" y="7228803"/>
                </a:lnTo>
                <a:lnTo>
                  <a:pt x="8169894" y="7196125"/>
                </a:lnTo>
                <a:lnTo>
                  <a:pt x="8152358" y="7160750"/>
                </a:lnTo>
                <a:lnTo>
                  <a:pt x="8137190" y="7122750"/>
                </a:lnTo>
                <a:lnTo>
                  <a:pt x="8124264" y="7082197"/>
                </a:lnTo>
                <a:lnTo>
                  <a:pt x="8113458" y="7039164"/>
                </a:lnTo>
                <a:lnTo>
                  <a:pt x="8104652" y="6993721"/>
                </a:lnTo>
                <a:lnTo>
                  <a:pt x="8097722" y="6945943"/>
                </a:lnTo>
                <a:lnTo>
                  <a:pt x="8092544" y="6895900"/>
                </a:lnTo>
                <a:lnTo>
                  <a:pt x="8088998" y="6843665"/>
                </a:lnTo>
                <a:lnTo>
                  <a:pt x="8086960" y="6789310"/>
                </a:lnTo>
                <a:lnTo>
                  <a:pt x="8086308" y="6732908"/>
                </a:lnTo>
                <a:lnTo>
                  <a:pt x="8086982" y="6676747"/>
                </a:lnTo>
                <a:lnTo>
                  <a:pt x="8089082" y="6622632"/>
                </a:lnTo>
                <a:lnTo>
                  <a:pt x="8092722" y="6570635"/>
                </a:lnTo>
                <a:lnTo>
                  <a:pt x="8098020" y="6520827"/>
                </a:lnTo>
                <a:lnTo>
                  <a:pt x="8105090" y="6473278"/>
                </a:lnTo>
                <a:lnTo>
                  <a:pt x="8114050" y="6428061"/>
                </a:lnTo>
                <a:lnTo>
                  <a:pt x="8125014" y="6385245"/>
                </a:lnTo>
                <a:lnTo>
                  <a:pt x="8138100" y="6344902"/>
                </a:lnTo>
                <a:lnTo>
                  <a:pt x="8153424" y="6307104"/>
                </a:lnTo>
                <a:lnTo>
                  <a:pt x="8171098" y="6271921"/>
                </a:lnTo>
                <a:lnTo>
                  <a:pt x="8191242" y="6239424"/>
                </a:lnTo>
                <a:lnTo>
                  <a:pt x="8239400" y="6182774"/>
                </a:lnTo>
                <a:lnTo>
                  <a:pt x="8298824" y="6137723"/>
                </a:lnTo>
                <a:lnTo>
                  <a:pt x="8333052" y="6119725"/>
                </a:lnTo>
                <a:lnTo>
                  <a:pt x="8370442" y="6104840"/>
                </a:lnTo>
                <a:lnTo>
                  <a:pt x="8411114" y="6093139"/>
                </a:lnTo>
                <a:lnTo>
                  <a:pt x="8455182" y="6084693"/>
                </a:lnTo>
                <a:lnTo>
                  <a:pt x="8502762" y="6079573"/>
                </a:lnTo>
                <a:close/>
                <a:moveTo>
                  <a:pt x="1425338" y="6077851"/>
                </a:moveTo>
                <a:lnTo>
                  <a:pt x="1476547" y="6079573"/>
                </a:lnTo>
                <a:lnTo>
                  <a:pt x="1524127" y="6084693"/>
                </a:lnTo>
                <a:lnTo>
                  <a:pt x="1568196" y="6093139"/>
                </a:lnTo>
                <a:lnTo>
                  <a:pt x="1608868" y="6104840"/>
                </a:lnTo>
                <a:lnTo>
                  <a:pt x="1646259" y="6119725"/>
                </a:lnTo>
                <a:lnTo>
                  <a:pt x="1680486" y="6137723"/>
                </a:lnTo>
                <a:lnTo>
                  <a:pt x="1739910" y="6182774"/>
                </a:lnTo>
                <a:lnTo>
                  <a:pt x="1788068" y="6239424"/>
                </a:lnTo>
                <a:lnTo>
                  <a:pt x="1808212" y="6271921"/>
                </a:lnTo>
                <a:lnTo>
                  <a:pt x="1825887" y="6307104"/>
                </a:lnTo>
                <a:lnTo>
                  <a:pt x="1841209" y="6344902"/>
                </a:lnTo>
                <a:lnTo>
                  <a:pt x="1854294" y="6385245"/>
                </a:lnTo>
                <a:lnTo>
                  <a:pt x="1865258" y="6428061"/>
                </a:lnTo>
                <a:lnTo>
                  <a:pt x="1874218" y="6473278"/>
                </a:lnTo>
                <a:lnTo>
                  <a:pt x="1881288" y="6520827"/>
                </a:lnTo>
                <a:lnTo>
                  <a:pt x="1886585" y="6570635"/>
                </a:lnTo>
                <a:lnTo>
                  <a:pt x="1890226" y="6622632"/>
                </a:lnTo>
                <a:lnTo>
                  <a:pt x="1892325" y="6676747"/>
                </a:lnTo>
                <a:lnTo>
                  <a:pt x="1892999" y="6732908"/>
                </a:lnTo>
                <a:lnTo>
                  <a:pt x="1892357" y="6789310"/>
                </a:lnTo>
                <a:lnTo>
                  <a:pt x="1890350" y="6843665"/>
                </a:lnTo>
                <a:lnTo>
                  <a:pt x="1886851" y="6895900"/>
                </a:lnTo>
                <a:lnTo>
                  <a:pt x="1881734" y="6945943"/>
                </a:lnTo>
                <a:lnTo>
                  <a:pt x="1874873" y="6993721"/>
                </a:lnTo>
                <a:lnTo>
                  <a:pt x="1866143" y="7039164"/>
                </a:lnTo>
                <a:lnTo>
                  <a:pt x="1855418" y="7082197"/>
                </a:lnTo>
                <a:lnTo>
                  <a:pt x="1842572" y="7122750"/>
                </a:lnTo>
                <a:lnTo>
                  <a:pt x="1827479" y="7160750"/>
                </a:lnTo>
                <a:lnTo>
                  <a:pt x="1810014" y="7196125"/>
                </a:lnTo>
                <a:lnTo>
                  <a:pt x="1790050" y="7228803"/>
                </a:lnTo>
                <a:lnTo>
                  <a:pt x="1742125" y="7285777"/>
                </a:lnTo>
                <a:lnTo>
                  <a:pt x="1682698" y="7331095"/>
                </a:lnTo>
                <a:lnTo>
                  <a:pt x="1648356" y="7349203"/>
                </a:lnTo>
                <a:lnTo>
                  <a:pt x="1610762" y="7364181"/>
                </a:lnTo>
                <a:lnTo>
                  <a:pt x="1569788" y="7375956"/>
                </a:lnTo>
                <a:lnTo>
                  <a:pt x="1525310" y="7384456"/>
                </a:lnTo>
                <a:lnTo>
                  <a:pt x="1477202" y="7389609"/>
                </a:lnTo>
                <a:lnTo>
                  <a:pt x="1425338" y="7391342"/>
                </a:lnTo>
                <a:lnTo>
                  <a:pt x="1425338" y="7293421"/>
                </a:lnTo>
                <a:lnTo>
                  <a:pt x="1475586" y="7291162"/>
                </a:lnTo>
                <a:lnTo>
                  <a:pt x="1521017" y="7284467"/>
                </a:lnTo>
                <a:lnTo>
                  <a:pt x="1561858" y="7273454"/>
                </a:lnTo>
                <a:lnTo>
                  <a:pt x="1598338" y="7258243"/>
                </a:lnTo>
                <a:lnTo>
                  <a:pt x="1659131" y="7215706"/>
                </a:lnTo>
                <a:lnTo>
                  <a:pt x="1705228" y="7157813"/>
                </a:lnTo>
                <a:lnTo>
                  <a:pt x="1723337" y="7123407"/>
                </a:lnTo>
                <a:lnTo>
                  <a:pt x="1738459" y="7085520"/>
                </a:lnTo>
                <a:lnTo>
                  <a:pt x="1750822" y="7044272"/>
                </a:lnTo>
                <a:lnTo>
                  <a:pt x="1760655" y="6999784"/>
                </a:lnTo>
                <a:lnTo>
                  <a:pt x="1768187" y="6952173"/>
                </a:lnTo>
                <a:lnTo>
                  <a:pt x="1773647" y="6901561"/>
                </a:lnTo>
                <a:lnTo>
                  <a:pt x="1777263" y="6848066"/>
                </a:lnTo>
                <a:lnTo>
                  <a:pt x="1779265" y="6791809"/>
                </a:lnTo>
                <a:lnTo>
                  <a:pt x="1779882" y="6732908"/>
                </a:lnTo>
                <a:lnTo>
                  <a:pt x="1779232" y="6674585"/>
                </a:lnTo>
                <a:lnTo>
                  <a:pt x="1777140" y="6618871"/>
                </a:lnTo>
                <a:lnTo>
                  <a:pt x="1773387" y="6565885"/>
                </a:lnTo>
                <a:lnTo>
                  <a:pt x="1767758" y="6515745"/>
                </a:lnTo>
                <a:lnTo>
                  <a:pt x="1760037" y="6468573"/>
                </a:lnTo>
                <a:lnTo>
                  <a:pt x="1750006" y="6424488"/>
                </a:lnTo>
                <a:lnTo>
                  <a:pt x="1737450" y="6383608"/>
                </a:lnTo>
                <a:lnTo>
                  <a:pt x="1722151" y="6346054"/>
                </a:lnTo>
                <a:lnTo>
                  <a:pt x="1703894" y="6311946"/>
                </a:lnTo>
                <a:lnTo>
                  <a:pt x="1657637" y="6254543"/>
                </a:lnTo>
                <a:lnTo>
                  <a:pt x="1596946" y="6212357"/>
                </a:lnTo>
                <a:lnTo>
                  <a:pt x="1560647" y="6197269"/>
                </a:lnTo>
                <a:lnTo>
                  <a:pt x="1520090" y="6186344"/>
                </a:lnTo>
                <a:lnTo>
                  <a:pt x="1475059" y="6179701"/>
                </a:lnTo>
                <a:lnTo>
                  <a:pt x="1425338" y="6177460"/>
                </a:lnTo>
                <a:close/>
                <a:moveTo>
                  <a:pt x="1332420" y="6077851"/>
                </a:moveTo>
                <a:lnTo>
                  <a:pt x="1332420" y="6177460"/>
                </a:lnTo>
                <a:lnTo>
                  <a:pt x="1282980" y="6179701"/>
                </a:lnTo>
                <a:lnTo>
                  <a:pt x="1238197" y="6186344"/>
                </a:lnTo>
                <a:lnTo>
                  <a:pt x="1197858" y="6197269"/>
                </a:lnTo>
                <a:lnTo>
                  <a:pt x="1161747" y="6212357"/>
                </a:lnTo>
                <a:lnTo>
                  <a:pt x="1101354" y="6254543"/>
                </a:lnTo>
                <a:lnTo>
                  <a:pt x="1055303" y="6311946"/>
                </a:lnTo>
                <a:lnTo>
                  <a:pt x="1037120" y="6346054"/>
                </a:lnTo>
                <a:lnTo>
                  <a:pt x="1021878" y="6383608"/>
                </a:lnTo>
                <a:lnTo>
                  <a:pt x="1009365" y="6424488"/>
                </a:lnTo>
                <a:lnTo>
                  <a:pt x="999365" y="6468573"/>
                </a:lnTo>
                <a:lnTo>
                  <a:pt x="991664" y="6515745"/>
                </a:lnTo>
                <a:lnTo>
                  <a:pt x="986047" y="6565885"/>
                </a:lnTo>
                <a:lnTo>
                  <a:pt x="982301" y="6618871"/>
                </a:lnTo>
                <a:lnTo>
                  <a:pt x="980210" y="6674585"/>
                </a:lnTo>
                <a:lnTo>
                  <a:pt x="979561" y="6732908"/>
                </a:lnTo>
                <a:lnTo>
                  <a:pt x="980194" y="6791809"/>
                </a:lnTo>
                <a:lnTo>
                  <a:pt x="982239" y="6848066"/>
                </a:lnTo>
                <a:lnTo>
                  <a:pt x="985918" y="6901561"/>
                </a:lnTo>
                <a:lnTo>
                  <a:pt x="991450" y="6952173"/>
                </a:lnTo>
                <a:lnTo>
                  <a:pt x="999056" y="6999784"/>
                </a:lnTo>
                <a:lnTo>
                  <a:pt x="1008957" y="7044272"/>
                </a:lnTo>
                <a:lnTo>
                  <a:pt x="1021374" y="7085520"/>
                </a:lnTo>
                <a:lnTo>
                  <a:pt x="1036527" y="7123407"/>
                </a:lnTo>
                <a:lnTo>
                  <a:pt x="1054636" y="7157813"/>
                </a:lnTo>
                <a:lnTo>
                  <a:pt x="1100607" y="7215706"/>
                </a:lnTo>
                <a:lnTo>
                  <a:pt x="1161051" y="7258243"/>
                </a:lnTo>
                <a:lnTo>
                  <a:pt x="1197253" y="7273454"/>
                </a:lnTo>
                <a:lnTo>
                  <a:pt x="1237734" y="7284467"/>
                </a:lnTo>
                <a:lnTo>
                  <a:pt x="1282716" y="7291162"/>
                </a:lnTo>
                <a:lnTo>
                  <a:pt x="1332420" y="7293421"/>
                </a:lnTo>
                <a:lnTo>
                  <a:pt x="1332420" y="7391342"/>
                </a:lnTo>
                <a:lnTo>
                  <a:pt x="1280774" y="7389609"/>
                </a:lnTo>
                <a:lnTo>
                  <a:pt x="1232841" y="7384456"/>
                </a:lnTo>
                <a:lnTo>
                  <a:pt x="1188500" y="7375956"/>
                </a:lnTo>
                <a:lnTo>
                  <a:pt x="1147627" y="7364181"/>
                </a:lnTo>
                <a:lnTo>
                  <a:pt x="1110100" y="7349203"/>
                </a:lnTo>
                <a:lnTo>
                  <a:pt x="1075796" y="7331095"/>
                </a:lnTo>
                <a:lnTo>
                  <a:pt x="1016370" y="7285777"/>
                </a:lnTo>
                <a:lnTo>
                  <a:pt x="968368" y="7228803"/>
                </a:lnTo>
                <a:lnTo>
                  <a:pt x="948344" y="7196125"/>
                </a:lnTo>
                <a:lnTo>
                  <a:pt x="930809" y="7160750"/>
                </a:lnTo>
                <a:lnTo>
                  <a:pt x="915640" y="7122750"/>
                </a:lnTo>
                <a:lnTo>
                  <a:pt x="902714" y="7082197"/>
                </a:lnTo>
                <a:lnTo>
                  <a:pt x="891909" y="7039164"/>
                </a:lnTo>
                <a:lnTo>
                  <a:pt x="883103" y="6993721"/>
                </a:lnTo>
                <a:lnTo>
                  <a:pt x="876172" y="6945943"/>
                </a:lnTo>
                <a:lnTo>
                  <a:pt x="870995" y="6895900"/>
                </a:lnTo>
                <a:lnTo>
                  <a:pt x="867449" y="6843665"/>
                </a:lnTo>
                <a:lnTo>
                  <a:pt x="865411" y="6789310"/>
                </a:lnTo>
                <a:lnTo>
                  <a:pt x="864759" y="6732908"/>
                </a:lnTo>
                <a:lnTo>
                  <a:pt x="865433" y="6676747"/>
                </a:lnTo>
                <a:lnTo>
                  <a:pt x="867532" y="6622632"/>
                </a:lnTo>
                <a:lnTo>
                  <a:pt x="871172" y="6570635"/>
                </a:lnTo>
                <a:lnTo>
                  <a:pt x="876470" y="6520827"/>
                </a:lnTo>
                <a:lnTo>
                  <a:pt x="883541" y="6473278"/>
                </a:lnTo>
                <a:lnTo>
                  <a:pt x="892501" y="6428061"/>
                </a:lnTo>
                <a:lnTo>
                  <a:pt x="903465" y="6385245"/>
                </a:lnTo>
                <a:lnTo>
                  <a:pt x="916551" y="6344902"/>
                </a:lnTo>
                <a:lnTo>
                  <a:pt x="931874" y="6307104"/>
                </a:lnTo>
                <a:lnTo>
                  <a:pt x="949549" y="6271921"/>
                </a:lnTo>
                <a:lnTo>
                  <a:pt x="969693" y="6239424"/>
                </a:lnTo>
                <a:lnTo>
                  <a:pt x="1017851" y="6182774"/>
                </a:lnTo>
                <a:lnTo>
                  <a:pt x="1077275" y="6137723"/>
                </a:lnTo>
                <a:lnTo>
                  <a:pt x="1111502" y="6119725"/>
                </a:lnTo>
                <a:lnTo>
                  <a:pt x="1148893" y="6104840"/>
                </a:lnTo>
                <a:lnTo>
                  <a:pt x="1189565" y="6093139"/>
                </a:lnTo>
                <a:lnTo>
                  <a:pt x="1233632" y="6084693"/>
                </a:lnTo>
                <a:lnTo>
                  <a:pt x="1281212" y="6079573"/>
                </a:lnTo>
                <a:close/>
                <a:moveTo>
                  <a:pt x="510883" y="5591624"/>
                </a:moveTo>
                <a:lnTo>
                  <a:pt x="553593" y="5595343"/>
                </a:lnTo>
                <a:lnTo>
                  <a:pt x="586648" y="5608717"/>
                </a:lnTo>
                <a:lnTo>
                  <a:pt x="607989" y="5635070"/>
                </a:lnTo>
                <a:lnTo>
                  <a:pt x="615560" y="5677726"/>
                </a:lnTo>
                <a:lnTo>
                  <a:pt x="607989" y="5722334"/>
                </a:lnTo>
                <a:lnTo>
                  <a:pt x="586648" y="5749689"/>
                </a:lnTo>
                <a:lnTo>
                  <a:pt x="553593" y="5763433"/>
                </a:lnTo>
                <a:lnTo>
                  <a:pt x="510883" y="5767206"/>
                </a:lnTo>
                <a:lnTo>
                  <a:pt x="468173" y="5763433"/>
                </a:lnTo>
                <a:lnTo>
                  <a:pt x="435118" y="5749689"/>
                </a:lnTo>
                <a:lnTo>
                  <a:pt x="413777" y="5722334"/>
                </a:lnTo>
                <a:lnTo>
                  <a:pt x="406206" y="5677726"/>
                </a:lnTo>
                <a:lnTo>
                  <a:pt x="414015" y="5635070"/>
                </a:lnTo>
                <a:lnTo>
                  <a:pt x="435754" y="5608717"/>
                </a:lnTo>
                <a:lnTo>
                  <a:pt x="468888" y="5595343"/>
                </a:lnTo>
                <a:close/>
                <a:moveTo>
                  <a:pt x="2493379" y="5439680"/>
                </a:moveTo>
                <a:lnTo>
                  <a:pt x="3408440" y="5439680"/>
                </a:lnTo>
                <a:lnTo>
                  <a:pt x="3408440" y="5547731"/>
                </a:lnTo>
                <a:lnTo>
                  <a:pt x="2493379" y="5547731"/>
                </a:lnTo>
                <a:close/>
                <a:moveTo>
                  <a:pt x="2493379" y="5086827"/>
                </a:moveTo>
                <a:lnTo>
                  <a:pt x="3408440" y="5086827"/>
                </a:lnTo>
                <a:lnTo>
                  <a:pt x="3408440" y="5194878"/>
                </a:lnTo>
                <a:lnTo>
                  <a:pt x="2493379" y="5194878"/>
                </a:lnTo>
                <a:close/>
                <a:moveTo>
                  <a:pt x="510883" y="4882541"/>
                </a:moveTo>
                <a:lnTo>
                  <a:pt x="553593" y="4886049"/>
                </a:lnTo>
                <a:lnTo>
                  <a:pt x="586648" y="4899212"/>
                </a:lnTo>
                <a:lnTo>
                  <a:pt x="607989" y="4925987"/>
                </a:lnTo>
                <a:lnTo>
                  <a:pt x="615560" y="4970332"/>
                </a:lnTo>
                <a:lnTo>
                  <a:pt x="607989" y="5013251"/>
                </a:lnTo>
                <a:lnTo>
                  <a:pt x="586648" y="5040185"/>
                </a:lnTo>
                <a:lnTo>
                  <a:pt x="553593" y="5054139"/>
                </a:lnTo>
                <a:lnTo>
                  <a:pt x="510883" y="5058123"/>
                </a:lnTo>
                <a:lnTo>
                  <a:pt x="469154" y="5054139"/>
                </a:lnTo>
                <a:lnTo>
                  <a:pt x="436602" y="5040185"/>
                </a:lnTo>
                <a:lnTo>
                  <a:pt x="415446" y="5013251"/>
                </a:lnTo>
                <a:lnTo>
                  <a:pt x="407902" y="4970332"/>
                </a:lnTo>
                <a:lnTo>
                  <a:pt x="415446" y="4925987"/>
                </a:lnTo>
                <a:lnTo>
                  <a:pt x="436602" y="4899212"/>
                </a:lnTo>
                <a:lnTo>
                  <a:pt x="469154" y="4886049"/>
                </a:lnTo>
                <a:close/>
                <a:moveTo>
                  <a:pt x="4158261" y="4558390"/>
                </a:moveTo>
                <a:lnTo>
                  <a:pt x="4209470" y="4560112"/>
                </a:lnTo>
                <a:lnTo>
                  <a:pt x="4257050" y="4565232"/>
                </a:lnTo>
                <a:lnTo>
                  <a:pt x="4301119" y="4573678"/>
                </a:lnTo>
                <a:lnTo>
                  <a:pt x="4341791" y="4585379"/>
                </a:lnTo>
                <a:lnTo>
                  <a:pt x="4379182" y="4600264"/>
                </a:lnTo>
                <a:lnTo>
                  <a:pt x="4413410" y="4618262"/>
                </a:lnTo>
                <a:lnTo>
                  <a:pt x="4472834" y="4663313"/>
                </a:lnTo>
                <a:lnTo>
                  <a:pt x="4520992" y="4719963"/>
                </a:lnTo>
                <a:lnTo>
                  <a:pt x="4541136" y="4752460"/>
                </a:lnTo>
                <a:lnTo>
                  <a:pt x="4558811" y="4787643"/>
                </a:lnTo>
                <a:lnTo>
                  <a:pt x="4574133" y="4825441"/>
                </a:lnTo>
                <a:lnTo>
                  <a:pt x="4587218" y="4865784"/>
                </a:lnTo>
                <a:lnTo>
                  <a:pt x="4598182" y="4908599"/>
                </a:lnTo>
                <a:lnTo>
                  <a:pt x="4607142" y="4953817"/>
                </a:lnTo>
                <a:lnTo>
                  <a:pt x="4614212" y="5001365"/>
                </a:lnTo>
                <a:lnTo>
                  <a:pt x="4619509" y="5051174"/>
                </a:lnTo>
                <a:lnTo>
                  <a:pt x="4623150" y="5103171"/>
                </a:lnTo>
                <a:lnTo>
                  <a:pt x="4625249" y="5157286"/>
                </a:lnTo>
                <a:lnTo>
                  <a:pt x="4625923" y="5213447"/>
                </a:lnTo>
                <a:lnTo>
                  <a:pt x="4625281" y="5269849"/>
                </a:lnTo>
                <a:lnTo>
                  <a:pt x="4623274" y="5324204"/>
                </a:lnTo>
                <a:lnTo>
                  <a:pt x="4619775" y="5376438"/>
                </a:lnTo>
                <a:lnTo>
                  <a:pt x="4614658" y="5426481"/>
                </a:lnTo>
                <a:lnTo>
                  <a:pt x="4607797" y="5474260"/>
                </a:lnTo>
                <a:lnTo>
                  <a:pt x="4599067" y="5519702"/>
                </a:lnTo>
                <a:lnTo>
                  <a:pt x="4588342" y="5562735"/>
                </a:lnTo>
                <a:lnTo>
                  <a:pt x="4575496" y="5603288"/>
                </a:lnTo>
                <a:lnTo>
                  <a:pt x="4560403" y="5641288"/>
                </a:lnTo>
                <a:lnTo>
                  <a:pt x="4542938" y="5676663"/>
                </a:lnTo>
                <a:lnTo>
                  <a:pt x="4522974" y="5709341"/>
                </a:lnTo>
                <a:lnTo>
                  <a:pt x="4475049" y="5766315"/>
                </a:lnTo>
                <a:lnTo>
                  <a:pt x="4415622" y="5811633"/>
                </a:lnTo>
                <a:lnTo>
                  <a:pt x="4381279" y="5829741"/>
                </a:lnTo>
                <a:lnTo>
                  <a:pt x="4343685" y="5844719"/>
                </a:lnTo>
                <a:lnTo>
                  <a:pt x="4302711" y="5856494"/>
                </a:lnTo>
                <a:lnTo>
                  <a:pt x="4258233" y="5864994"/>
                </a:lnTo>
                <a:lnTo>
                  <a:pt x="4210125" y="5870147"/>
                </a:lnTo>
                <a:lnTo>
                  <a:pt x="4158261" y="5871880"/>
                </a:lnTo>
                <a:lnTo>
                  <a:pt x="4158261" y="5773960"/>
                </a:lnTo>
                <a:lnTo>
                  <a:pt x="4208509" y="5771701"/>
                </a:lnTo>
                <a:lnTo>
                  <a:pt x="4253940" y="5765006"/>
                </a:lnTo>
                <a:lnTo>
                  <a:pt x="4294781" y="5753993"/>
                </a:lnTo>
                <a:lnTo>
                  <a:pt x="4331261" y="5738782"/>
                </a:lnTo>
                <a:lnTo>
                  <a:pt x="4392054" y="5696245"/>
                </a:lnTo>
                <a:lnTo>
                  <a:pt x="4438152" y="5638352"/>
                </a:lnTo>
                <a:lnTo>
                  <a:pt x="4456261" y="5603946"/>
                </a:lnTo>
                <a:lnTo>
                  <a:pt x="4471383" y="5566059"/>
                </a:lnTo>
                <a:lnTo>
                  <a:pt x="4483746" y="5524811"/>
                </a:lnTo>
                <a:lnTo>
                  <a:pt x="4493579" y="5480323"/>
                </a:lnTo>
                <a:lnTo>
                  <a:pt x="4501111" y="5432712"/>
                </a:lnTo>
                <a:lnTo>
                  <a:pt x="4506571" y="5382100"/>
                </a:lnTo>
                <a:lnTo>
                  <a:pt x="4510187" y="5328605"/>
                </a:lnTo>
                <a:lnTo>
                  <a:pt x="4512189" y="5272348"/>
                </a:lnTo>
                <a:lnTo>
                  <a:pt x="4512806" y="5213447"/>
                </a:lnTo>
                <a:lnTo>
                  <a:pt x="4512156" y="5155124"/>
                </a:lnTo>
                <a:lnTo>
                  <a:pt x="4510064" y="5099410"/>
                </a:lnTo>
                <a:lnTo>
                  <a:pt x="4506311" y="5046423"/>
                </a:lnTo>
                <a:lnTo>
                  <a:pt x="4500682" y="4996284"/>
                </a:lnTo>
                <a:lnTo>
                  <a:pt x="4492961" y="4949112"/>
                </a:lnTo>
                <a:lnTo>
                  <a:pt x="4482930" y="4905026"/>
                </a:lnTo>
                <a:lnTo>
                  <a:pt x="4470374" y="4864147"/>
                </a:lnTo>
                <a:lnTo>
                  <a:pt x="4455075" y="4826593"/>
                </a:lnTo>
                <a:lnTo>
                  <a:pt x="4436818" y="4792484"/>
                </a:lnTo>
                <a:lnTo>
                  <a:pt x="4390560" y="4735082"/>
                </a:lnTo>
                <a:lnTo>
                  <a:pt x="4329869" y="4692895"/>
                </a:lnTo>
                <a:lnTo>
                  <a:pt x="4293570" y="4677807"/>
                </a:lnTo>
                <a:lnTo>
                  <a:pt x="4253013" y="4666882"/>
                </a:lnTo>
                <a:lnTo>
                  <a:pt x="4207982" y="4660239"/>
                </a:lnTo>
                <a:lnTo>
                  <a:pt x="4158261" y="4657998"/>
                </a:lnTo>
                <a:close/>
                <a:moveTo>
                  <a:pt x="4065343" y="4558390"/>
                </a:moveTo>
                <a:lnTo>
                  <a:pt x="4065343" y="4657998"/>
                </a:lnTo>
                <a:lnTo>
                  <a:pt x="4015903" y="4660239"/>
                </a:lnTo>
                <a:lnTo>
                  <a:pt x="3971120" y="4666882"/>
                </a:lnTo>
                <a:lnTo>
                  <a:pt x="3930781" y="4677807"/>
                </a:lnTo>
                <a:lnTo>
                  <a:pt x="3894670" y="4692895"/>
                </a:lnTo>
                <a:lnTo>
                  <a:pt x="3834276" y="4735082"/>
                </a:lnTo>
                <a:lnTo>
                  <a:pt x="3788225" y="4792484"/>
                </a:lnTo>
                <a:lnTo>
                  <a:pt x="3770042" y="4826593"/>
                </a:lnTo>
                <a:lnTo>
                  <a:pt x="3754800" y="4864147"/>
                </a:lnTo>
                <a:lnTo>
                  <a:pt x="3742287" y="4905026"/>
                </a:lnTo>
                <a:lnTo>
                  <a:pt x="3732287" y="4949112"/>
                </a:lnTo>
                <a:lnTo>
                  <a:pt x="3724586" y="4996284"/>
                </a:lnTo>
                <a:lnTo>
                  <a:pt x="3718969" y="5046423"/>
                </a:lnTo>
                <a:lnTo>
                  <a:pt x="3715223" y="5099410"/>
                </a:lnTo>
                <a:lnTo>
                  <a:pt x="3713132" y="5155124"/>
                </a:lnTo>
                <a:lnTo>
                  <a:pt x="3712483" y="5213447"/>
                </a:lnTo>
                <a:lnTo>
                  <a:pt x="3713116" y="5272348"/>
                </a:lnTo>
                <a:lnTo>
                  <a:pt x="3715161" y="5328605"/>
                </a:lnTo>
                <a:lnTo>
                  <a:pt x="3718840" y="5382100"/>
                </a:lnTo>
                <a:lnTo>
                  <a:pt x="3724372" y="5432712"/>
                </a:lnTo>
                <a:lnTo>
                  <a:pt x="3731978" y="5480323"/>
                </a:lnTo>
                <a:lnTo>
                  <a:pt x="3741879" y="5524811"/>
                </a:lnTo>
                <a:lnTo>
                  <a:pt x="3754296" y="5566059"/>
                </a:lnTo>
                <a:lnTo>
                  <a:pt x="3769449" y="5603946"/>
                </a:lnTo>
                <a:lnTo>
                  <a:pt x="3787558" y="5638352"/>
                </a:lnTo>
                <a:lnTo>
                  <a:pt x="3833530" y="5696245"/>
                </a:lnTo>
                <a:lnTo>
                  <a:pt x="3893974" y="5738782"/>
                </a:lnTo>
                <a:lnTo>
                  <a:pt x="3930176" y="5753993"/>
                </a:lnTo>
                <a:lnTo>
                  <a:pt x="3970657" y="5765006"/>
                </a:lnTo>
                <a:lnTo>
                  <a:pt x="4015639" y="5771701"/>
                </a:lnTo>
                <a:lnTo>
                  <a:pt x="4065343" y="5773960"/>
                </a:lnTo>
                <a:lnTo>
                  <a:pt x="4065343" y="5871880"/>
                </a:lnTo>
                <a:lnTo>
                  <a:pt x="4013697" y="5870147"/>
                </a:lnTo>
                <a:lnTo>
                  <a:pt x="3965764" y="5864994"/>
                </a:lnTo>
                <a:lnTo>
                  <a:pt x="3921423" y="5856494"/>
                </a:lnTo>
                <a:lnTo>
                  <a:pt x="3880550" y="5844719"/>
                </a:lnTo>
                <a:lnTo>
                  <a:pt x="3843023" y="5829741"/>
                </a:lnTo>
                <a:lnTo>
                  <a:pt x="3808718" y="5811633"/>
                </a:lnTo>
                <a:lnTo>
                  <a:pt x="3749292" y="5766315"/>
                </a:lnTo>
                <a:lnTo>
                  <a:pt x="3701290" y="5709341"/>
                </a:lnTo>
                <a:lnTo>
                  <a:pt x="3681266" y="5676663"/>
                </a:lnTo>
                <a:lnTo>
                  <a:pt x="3663731" y="5641288"/>
                </a:lnTo>
                <a:lnTo>
                  <a:pt x="3648562" y="5603288"/>
                </a:lnTo>
                <a:lnTo>
                  <a:pt x="3635636" y="5562735"/>
                </a:lnTo>
                <a:lnTo>
                  <a:pt x="3624831" y="5519702"/>
                </a:lnTo>
                <a:lnTo>
                  <a:pt x="3616025" y="5474260"/>
                </a:lnTo>
                <a:lnTo>
                  <a:pt x="3609094" y="5426481"/>
                </a:lnTo>
                <a:lnTo>
                  <a:pt x="3603917" y="5376438"/>
                </a:lnTo>
                <a:lnTo>
                  <a:pt x="3600371" y="5324204"/>
                </a:lnTo>
                <a:lnTo>
                  <a:pt x="3598333" y="5269849"/>
                </a:lnTo>
                <a:lnTo>
                  <a:pt x="3597681" y="5213447"/>
                </a:lnTo>
                <a:lnTo>
                  <a:pt x="3598355" y="5157286"/>
                </a:lnTo>
                <a:lnTo>
                  <a:pt x="3600454" y="5103171"/>
                </a:lnTo>
                <a:lnTo>
                  <a:pt x="3604094" y="5051174"/>
                </a:lnTo>
                <a:lnTo>
                  <a:pt x="3609392" y="5001365"/>
                </a:lnTo>
                <a:lnTo>
                  <a:pt x="3616463" y="4953817"/>
                </a:lnTo>
                <a:lnTo>
                  <a:pt x="3625423" y="4908599"/>
                </a:lnTo>
                <a:lnTo>
                  <a:pt x="3636387" y="4865784"/>
                </a:lnTo>
                <a:lnTo>
                  <a:pt x="3649473" y="4825441"/>
                </a:lnTo>
                <a:lnTo>
                  <a:pt x="3664796" y="4787643"/>
                </a:lnTo>
                <a:lnTo>
                  <a:pt x="3682471" y="4752460"/>
                </a:lnTo>
                <a:lnTo>
                  <a:pt x="3702615" y="4719963"/>
                </a:lnTo>
                <a:lnTo>
                  <a:pt x="3750773" y="4663313"/>
                </a:lnTo>
                <a:lnTo>
                  <a:pt x="3810197" y="4618262"/>
                </a:lnTo>
                <a:lnTo>
                  <a:pt x="3844425" y="4600264"/>
                </a:lnTo>
                <a:lnTo>
                  <a:pt x="3881816" y="4585379"/>
                </a:lnTo>
                <a:lnTo>
                  <a:pt x="3922488" y="4573678"/>
                </a:lnTo>
                <a:lnTo>
                  <a:pt x="3966555" y="4565232"/>
                </a:lnTo>
                <a:lnTo>
                  <a:pt x="4014135" y="4560112"/>
                </a:lnTo>
                <a:close/>
                <a:moveTo>
                  <a:pt x="0" y="3920215"/>
                </a:moveTo>
                <a:lnTo>
                  <a:pt x="915049" y="3920215"/>
                </a:lnTo>
                <a:lnTo>
                  <a:pt x="915049" y="4028265"/>
                </a:lnTo>
                <a:lnTo>
                  <a:pt x="0" y="4028265"/>
                </a:lnTo>
                <a:close/>
                <a:moveTo>
                  <a:pt x="0" y="3567362"/>
                </a:moveTo>
                <a:lnTo>
                  <a:pt x="915049" y="3567362"/>
                </a:lnTo>
                <a:lnTo>
                  <a:pt x="915049" y="3675412"/>
                </a:lnTo>
                <a:lnTo>
                  <a:pt x="0" y="3675412"/>
                </a:lnTo>
                <a:close/>
                <a:moveTo>
                  <a:pt x="1617156" y="3046199"/>
                </a:moveTo>
                <a:lnTo>
                  <a:pt x="1995337" y="3046199"/>
                </a:lnTo>
                <a:lnTo>
                  <a:pt x="1995337" y="3141449"/>
                </a:lnTo>
                <a:lnTo>
                  <a:pt x="1995337" y="4252699"/>
                </a:lnTo>
                <a:lnTo>
                  <a:pt x="1995337" y="4349219"/>
                </a:lnTo>
                <a:lnTo>
                  <a:pt x="1617156" y="4349219"/>
                </a:lnTo>
                <a:lnTo>
                  <a:pt x="1617156" y="4252699"/>
                </a:lnTo>
                <a:lnTo>
                  <a:pt x="1878853" y="4252699"/>
                </a:lnTo>
                <a:lnTo>
                  <a:pt x="1878853" y="3141449"/>
                </a:lnTo>
                <a:lnTo>
                  <a:pt x="1617156" y="3141449"/>
                </a:lnTo>
                <a:close/>
                <a:moveTo>
                  <a:pt x="1138061" y="3046199"/>
                </a:moveTo>
                <a:lnTo>
                  <a:pt x="1516242" y="3046199"/>
                </a:lnTo>
                <a:lnTo>
                  <a:pt x="1516242" y="3141449"/>
                </a:lnTo>
                <a:lnTo>
                  <a:pt x="1254558" y="3141449"/>
                </a:lnTo>
                <a:lnTo>
                  <a:pt x="1254558" y="4252699"/>
                </a:lnTo>
                <a:lnTo>
                  <a:pt x="1516242" y="4252699"/>
                </a:lnTo>
                <a:lnTo>
                  <a:pt x="1516242" y="4349219"/>
                </a:lnTo>
                <a:lnTo>
                  <a:pt x="1138061" y="4349219"/>
                </a:lnTo>
                <a:lnTo>
                  <a:pt x="1138061" y="4252699"/>
                </a:lnTo>
                <a:lnTo>
                  <a:pt x="1138061" y="3141449"/>
                </a:lnTo>
                <a:close/>
                <a:moveTo>
                  <a:pt x="3641480" y="3038926"/>
                </a:moveTo>
                <a:lnTo>
                  <a:pt x="3692687" y="3040648"/>
                </a:lnTo>
                <a:lnTo>
                  <a:pt x="3740267" y="3045768"/>
                </a:lnTo>
                <a:lnTo>
                  <a:pt x="3784335" y="3054214"/>
                </a:lnTo>
                <a:lnTo>
                  <a:pt x="3825006" y="3065915"/>
                </a:lnTo>
                <a:lnTo>
                  <a:pt x="3862397" y="3080800"/>
                </a:lnTo>
                <a:lnTo>
                  <a:pt x="3896625" y="3098798"/>
                </a:lnTo>
                <a:lnTo>
                  <a:pt x="3956049" y="3143849"/>
                </a:lnTo>
                <a:lnTo>
                  <a:pt x="4004207" y="3200499"/>
                </a:lnTo>
                <a:lnTo>
                  <a:pt x="4024351" y="3232996"/>
                </a:lnTo>
                <a:lnTo>
                  <a:pt x="4042026" y="3268179"/>
                </a:lnTo>
                <a:lnTo>
                  <a:pt x="4057349" y="3305977"/>
                </a:lnTo>
                <a:lnTo>
                  <a:pt x="4070435" y="3346320"/>
                </a:lnTo>
                <a:lnTo>
                  <a:pt x="4081399" y="3389137"/>
                </a:lnTo>
                <a:lnTo>
                  <a:pt x="4090359" y="3434354"/>
                </a:lnTo>
                <a:lnTo>
                  <a:pt x="4097430" y="3481903"/>
                </a:lnTo>
                <a:lnTo>
                  <a:pt x="4102728" y="3531711"/>
                </a:lnTo>
                <a:lnTo>
                  <a:pt x="4106368" y="3583708"/>
                </a:lnTo>
                <a:lnTo>
                  <a:pt x="4108468" y="3637823"/>
                </a:lnTo>
                <a:lnTo>
                  <a:pt x="4109142" y="3693984"/>
                </a:lnTo>
                <a:lnTo>
                  <a:pt x="4108500" y="3750386"/>
                </a:lnTo>
                <a:lnTo>
                  <a:pt x="4106493" y="3804741"/>
                </a:lnTo>
                <a:lnTo>
                  <a:pt x="4102994" y="3856976"/>
                </a:lnTo>
                <a:lnTo>
                  <a:pt x="4097877" y="3907019"/>
                </a:lnTo>
                <a:lnTo>
                  <a:pt x="4091016" y="3954797"/>
                </a:lnTo>
                <a:lnTo>
                  <a:pt x="4082286" y="4000240"/>
                </a:lnTo>
                <a:lnTo>
                  <a:pt x="4071561" y="4043273"/>
                </a:lnTo>
                <a:lnTo>
                  <a:pt x="4058715" y="4083826"/>
                </a:lnTo>
                <a:lnTo>
                  <a:pt x="4043622" y="4121826"/>
                </a:lnTo>
                <a:lnTo>
                  <a:pt x="4026157" y="4157201"/>
                </a:lnTo>
                <a:lnTo>
                  <a:pt x="4006193" y="4189879"/>
                </a:lnTo>
                <a:lnTo>
                  <a:pt x="3958268" y="4246853"/>
                </a:lnTo>
                <a:lnTo>
                  <a:pt x="3898841" y="4292171"/>
                </a:lnTo>
                <a:lnTo>
                  <a:pt x="3864498" y="4310279"/>
                </a:lnTo>
                <a:lnTo>
                  <a:pt x="3826904" y="4325257"/>
                </a:lnTo>
                <a:lnTo>
                  <a:pt x="3785930" y="4337032"/>
                </a:lnTo>
                <a:lnTo>
                  <a:pt x="3741452" y="4345532"/>
                </a:lnTo>
                <a:lnTo>
                  <a:pt x="3693344" y="4350685"/>
                </a:lnTo>
                <a:lnTo>
                  <a:pt x="3641480" y="4352418"/>
                </a:lnTo>
                <a:lnTo>
                  <a:pt x="3641480" y="4254498"/>
                </a:lnTo>
                <a:lnTo>
                  <a:pt x="3691728" y="4252239"/>
                </a:lnTo>
                <a:lnTo>
                  <a:pt x="3737159" y="4245544"/>
                </a:lnTo>
                <a:lnTo>
                  <a:pt x="3778000" y="4234531"/>
                </a:lnTo>
                <a:lnTo>
                  <a:pt x="3814480" y="4219320"/>
                </a:lnTo>
                <a:lnTo>
                  <a:pt x="3875274" y="4176783"/>
                </a:lnTo>
                <a:lnTo>
                  <a:pt x="3921371" y="4118890"/>
                </a:lnTo>
                <a:lnTo>
                  <a:pt x="3939480" y="4084484"/>
                </a:lnTo>
                <a:lnTo>
                  <a:pt x="3954602" y="4046597"/>
                </a:lnTo>
                <a:lnTo>
                  <a:pt x="3966965" y="4005349"/>
                </a:lnTo>
                <a:lnTo>
                  <a:pt x="3976798" y="3960860"/>
                </a:lnTo>
                <a:lnTo>
                  <a:pt x="3984330" y="3913250"/>
                </a:lnTo>
                <a:lnTo>
                  <a:pt x="3989790" y="3862638"/>
                </a:lnTo>
                <a:lnTo>
                  <a:pt x="3993406" y="3809143"/>
                </a:lnTo>
                <a:lnTo>
                  <a:pt x="3995408" y="3752885"/>
                </a:lnTo>
                <a:lnTo>
                  <a:pt x="3996025" y="3693984"/>
                </a:lnTo>
                <a:lnTo>
                  <a:pt x="3995375" y="3635662"/>
                </a:lnTo>
                <a:lnTo>
                  <a:pt x="3993282" y="3579947"/>
                </a:lnTo>
                <a:lnTo>
                  <a:pt x="3989529" y="3526961"/>
                </a:lnTo>
                <a:lnTo>
                  <a:pt x="3983900" y="3476822"/>
                </a:lnTo>
                <a:lnTo>
                  <a:pt x="3976178" y="3429650"/>
                </a:lnTo>
                <a:lnTo>
                  <a:pt x="3966147" y="3385563"/>
                </a:lnTo>
                <a:lnTo>
                  <a:pt x="3953590" y="3344684"/>
                </a:lnTo>
                <a:lnTo>
                  <a:pt x="3938291" y="3307130"/>
                </a:lnTo>
                <a:lnTo>
                  <a:pt x="3920033" y="3273021"/>
                </a:lnTo>
                <a:lnTo>
                  <a:pt x="3873774" y="3215619"/>
                </a:lnTo>
                <a:lnTo>
                  <a:pt x="3813084" y="3173432"/>
                </a:lnTo>
                <a:lnTo>
                  <a:pt x="3776785" y="3158344"/>
                </a:lnTo>
                <a:lnTo>
                  <a:pt x="3736230" y="3147419"/>
                </a:lnTo>
                <a:lnTo>
                  <a:pt x="3691200" y="3140776"/>
                </a:lnTo>
                <a:lnTo>
                  <a:pt x="3641480" y="3138535"/>
                </a:lnTo>
                <a:close/>
                <a:moveTo>
                  <a:pt x="3548584" y="3038926"/>
                </a:moveTo>
                <a:lnTo>
                  <a:pt x="3548584" y="3138535"/>
                </a:lnTo>
                <a:lnTo>
                  <a:pt x="3499144" y="3140776"/>
                </a:lnTo>
                <a:lnTo>
                  <a:pt x="3454362" y="3147419"/>
                </a:lnTo>
                <a:lnTo>
                  <a:pt x="3414023" y="3158344"/>
                </a:lnTo>
                <a:lnTo>
                  <a:pt x="3377913" y="3173432"/>
                </a:lnTo>
                <a:lnTo>
                  <a:pt x="3317522" y="3215619"/>
                </a:lnTo>
                <a:lnTo>
                  <a:pt x="3271471" y="3273021"/>
                </a:lnTo>
                <a:lnTo>
                  <a:pt x="3253289" y="3307130"/>
                </a:lnTo>
                <a:lnTo>
                  <a:pt x="3238049" y="3344684"/>
                </a:lnTo>
                <a:lnTo>
                  <a:pt x="3225536" y="3385563"/>
                </a:lnTo>
                <a:lnTo>
                  <a:pt x="3215537" y="3429650"/>
                </a:lnTo>
                <a:lnTo>
                  <a:pt x="3207836" y="3476822"/>
                </a:lnTo>
                <a:lnTo>
                  <a:pt x="3202221" y="3526961"/>
                </a:lnTo>
                <a:lnTo>
                  <a:pt x="3198475" y="3579947"/>
                </a:lnTo>
                <a:lnTo>
                  <a:pt x="3196384" y="3635662"/>
                </a:lnTo>
                <a:lnTo>
                  <a:pt x="3195735" y="3693984"/>
                </a:lnTo>
                <a:lnTo>
                  <a:pt x="3196368" y="3752885"/>
                </a:lnTo>
                <a:lnTo>
                  <a:pt x="3198413" y="3809143"/>
                </a:lnTo>
                <a:lnTo>
                  <a:pt x="3202091" y="3862638"/>
                </a:lnTo>
                <a:lnTo>
                  <a:pt x="3207622" y="3913250"/>
                </a:lnTo>
                <a:lnTo>
                  <a:pt x="3215228" y="3960860"/>
                </a:lnTo>
                <a:lnTo>
                  <a:pt x="3225128" y="4005349"/>
                </a:lnTo>
                <a:lnTo>
                  <a:pt x="3237544" y="4046597"/>
                </a:lnTo>
                <a:lnTo>
                  <a:pt x="3252696" y="4084484"/>
                </a:lnTo>
                <a:lnTo>
                  <a:pt x="3270804" y="4118890"/>
                </a:lnTo>
                <a:lnTo>
                  <a:pt x="3316774" y="4176783"/>
                </a:lnTo>
                <a:lnTo>
                  <a:pt x="3377217" y="4219320"/>
                </a:lnTo>
                <a:lnTo>
                  <a:pt x="3413418" y="4234531"/>
                </a:lnTo>
                <a:lnTo>
                  <a:pt x="3453899" y="4245544"/>
                </a:lnTo>
                <a:lnTo>
                  <a:pt x="3498881" y="4252239"/>
                </a:lnTo>
                <a:lnTo>
                  <a:pt x="3548584" y="4254498"/>
                </a:lnTo>
                <a:lnTo>
                  <a:pt x="3548584" y="4352418"/>
                </a:lnTo>
                <a:lnTo>
                  <a:pt x="3496940" y="4350685"/>
                </a:lnTo>
                <a:lnTo>
                  <a:pt x="3449008" y="4345532"/>
                </a:lnTo>
                <a:lnTo>
                  <a:pt x="3404668" y="4337032"/>
                </a:lnTo>
                <a:lnTo>
                  <a:pt x="3363796" y="4325257"/>
                </a:lnTo>
                <a:lnTo>
                  <a:pt x="3326270" y="4310279"/>
                </a:lnTo>
                <a:lnTo>
                  <a:pt x="3291967" y="4292171"/>
                </a:lnTo>
                <a:lnTo>
                  <a:pt x="3232542" y="4246853"/>
                </a:lnTo>
                <a:lnTo>
                  <a:pt x="3184540" y="4189879"/>
                </a:lnTo>
                <a:lnTo>
                  <a:pt x="3164517" y="4157201"/>
                </a:lnTo>
                <a:lnTo>
                  <a:pt x="3146982" y="4121826"/>
                </a:lnTo>
                <a:lnTo>
                  <a:pt x="3131813" y="4083826"/>
                </a:lnTo>
                <a:lnTo>
                  <a:pt x="3118888" y="4043273"/>
                </a:lnTo>
                <a:lnTo>
                  <a:pt x="3108083" y="4000240"/>
                </a:lnTo>
                <a:lnTo>
                  <a:pt x="3099276" y="3954797"/>
                </a:lnTo>
                <a:lnTo>
                  <a:pt x="3092346" y="3907019"/>
                </a:lnTo>
                <a:lnTo>
                  <a:pt x="3087169" y="3856976"/>
                </a:lnTo>
                <a:lnTo>
                  <a:pt x="3083623" y="3804741"/>
                </a:lnTo>
                <a:lnTo>
                  <a:pt x="3081585" y="3750386"/>
                </a:lnTo>
                <a:lnTo>
                  <a:pt x="3080933" y="3693984"/>
                </a:lnTo>
                <a:lnTo>
                  <a:pt x="3081606" y="3637823"/>
                </a:lnTo>
                <a:lnTo>
                  <a:pt x="3083706" y="3583708"/>
                </a:lnTo>
                <a:lnTo>
                  <a:pt x="3087346" y="3531711"/>
                </a:lnTo>
                <a:lnTo>
                  <a:pt x="3092643" y="3481903"/>
                </a:lnTo>
                <a:lnTo>
                  <a:pt x="3099713" y="3434354"/>
                </a:lnTo>
                <a:lnTo>
                  <a:pt x="3108673" y="3389137"/>
                </a:lnTo>
                <a:lnTo>
                  <a:pt x="3119637" y="3346320"/>
                </a:lnTo>
                <a:lnTo>
                  <a:pt x="3132722" y="3305977"/>
                </a:lnTo>
                <a:lnTo>
                  <a:pt x="3148044" y="3268179"/>
                </a:lnTo>
                <a:lnTo>
                  <a:pt x="3165718" y="3232996"/>
                </a:lnTo>
                <a:lnTo>
                  <a:pt x="3185862" y="3200499"/>
                </a:lnTo>
                <a:lnTo>
                  <a:pt x="3234018" y="3143849"/>
                </a:lnTo>
                <a:lnTo>
                  <a:pt x="3293441" y="3098798"/>
                </a:lnTo>
                <a:lnTo>
                  <a:pt x="3327668" y="3080800"/>
                </a:lnTo>
                <a:lnTo>
                  <a:pt x="3365059" y="3065915"/>
                </a:lnTo>
                <a:lnTo>
                  <a:pt x="3405730" y="3054214"/>
                </a:lnTo>
                <a:lnTo>
                  <a:pt x="3449797" y="3045768"/>
                </a:lnTo>
                <a:lnTo>
                  <a:pt x="3497376" y="3040648"/>
                </a:lnTo>
                <a:close/>
                <a:moveTo>
                  <a:pt x="3678369" y="2400757"/>
                </a:moveTo>
                <a:lnTo>
                  <a:pt x="4593430" y="2400757"/>
                </a:lnTo>
                <a:lnTo>
                  <a:pt x="4593430" y="2508807"/>
                </a:lnTo>
                <a:lnTo>
                  <a:pt x="3678369" y="2508807"/>
                </a:lnTo>
                <a:close/>
                <a:moveTo>
                  <a:pt x="2579115" y="2400753"/>
                </a:moveTo>
                <a:lnTo>
                  <a:pt x="3494165" y="2400753"/>
                </a:lnTo>
                <a:lnTo>
                  <a:pt x="3494165" y="2508804"/>
                </a:lnTo>
                <a:lnTo>
                  <a:pt x="2579115" y="2508804"/>
                </a:lnTo>
                <a:close/>
                <a:moveTo>
                  <a:pt x="3678369" y="2047903"/>
                </a:moveTo>
                <a:lnTo>
                  <a:pt x="4593430" y="2047903"/>
                </a:lnTo>
                <a:lnTo>
                  <a:pt x="4593430" y="2155954"/>
                </a:lnTo>
                <a:lnTo>
                  <a:pt x="3678369" y="2155954"/>
                </a:lnTo>
                <a:close/>
                <a:moveTo>
                  <a:pt x="2579115" y="2047899"/>
                </a:moveTo>
                <a:lnTo>
                  <a:pt x="3494165" y="2047899"/>
                </a:lnTo>
                <a:lnTo>
                  <a:pt x="3494165" y="2155950"/>
                </a:lnTo>
                <a:lnTo>
                  <a:pt x="2579115" y="2155950"/>
                </a:lnTo>
                <a:close/>
                <a:moveTo>
                  <a:pt x="6202942" y="1519467"/>
                </a:moveTo>
                <a:lnTo>
                  <a:pt x="6254150" y="1521189"/>
                </a:lnTo>
                <a:lnTo>
                  <a:pt x="6301730" y="1526309"/>
                </a:lnTo>
                <a:lnTo>
                  <a:pt x="6345796" y="1534755"/>
                </a:lnTo>
                <a:lnTo>
                  <a:pt x="6386468" y="1546456"/>
                </a:lnTo>
                <a:lnTo>
                  <a:pt x="6423858" y="1561341"/>
                </a:lnTo>
                <a:lnTo>
                  <a:pt x="6458084" y="1579339"/>
                </a:lnTo>
                <a:lnTo>
                  <a:pt x="6517506" y="1624390"/>
                </a:lnTo>
                <a:lnTo>
                  <a:pt x="6565664" y="1681040"/>
                </a:lnTo>
                <a:lnTo>
                  <a:pt x="6585806" y="1713537"/>
                </a:lnTo>
                <a:lnTo>
                  <a:pt x="6603482" y="1748720"/>
                </a:lnTo>
                <a:lnTo>
                  <a:pt x="6618804" y="1786518"/>
                </a:lnTo>
                <a:lnTo>
                  <a:pt x="6631888" y="1826861"/>
                </a:lnTo>
                <a:lnTo>
                  <a:pt x="6642852" y="1869678"/>
                </a:lnTo>
                <a:lnTo>
                  <a:pt x="6651812" y="1914895"/>
                </a:lnTo>
                <a:lnTo>
                  <a:pt x="6658882" y="1962443"/>
                </a:lnTo>
                <a:lnTo>
                  <a:pt x="6664180" y="2012251"/>
                </a:lnTo>
                <a:lnTo>
                  <a:pt x="6667820" y="2064248"/>
                </a:lnTo>
                <a:lnTo>
                  <a:pt x="6669918" y="2118363"/>
                </a:lnTo>
                <a:lnTo>
                  <a:pt x="6670594" y="2174524"/>
                </a:lnTo>
                <a:lnTo>
                  <a:pt x="6669952" y="2230926"/>
                </a:lnTo>
                <a:lnTo>
                  <a:pt x="6667946" y="2285281"/>
                </a:lnTo>
                <a:lnTo>
                  <a:pt x="6664446" y="2337516"/>
                </a:lnTo>
                <a:lnTo>
                  <a:pt x="6659328" y="2387560"/>
                </a:lnTo>
                <a:lnTo>
                  <a:pt x="6652468" y="2435337"/>
                </a:lnTo>
                <a:lnTo>
                  <a:pt x="6643740" y="2480781"/>
                </a:lnTo>
                <a:lnTo>
                  <a:pt x="6633014" y="2523814"/>
                </a:lnTo>
                <a:lnTo>
                  <a:pt x="6620170" y="2564367"/>
                </a:lnTo>
                <a:lnTo>
                  <a:pt x="6605078" y="2602367"/>
                </a:lnTo>
                <a:lnTo>
                  <a:pt x="6587612" y="2637742"/>
                </a:lnTo>
                <a:lnTo>
                  <a:pt x="6567650" y="2670420"/>
                </a:lnTo>
                <a:lnTo>
                  <a:pt x="6519726" y="2727394"/>
                </a:lnTo>
                <a:lnTo>
                  <a:pt x="6460300" y="2772712"/>
                </a:lnTo>
                <a:lnTo>
                  <a:pt x="6425960" y="2790820"/>
                </a:lnTo>
                <a:lnTo>
                  <a:pt x="6388366" y="2805798"/>
                </a:lnTo>
                <a:lnTo>
                  <a:pt x="6347392" y="2817573"/>
                </a:lnTo>
                <a:lnTo>
                  <a:pt x="6302914" y="2826073"/>
                </a:lnTo>
                <a:lnTo>
                  <a:pt x="6254806" y="2831226"/>
                </a:lnTo>
                <a:lnTo>
                  <a:pt x="6202942" y="2832959"/>
                </a:lnTo>
                <a:lnTo>
                  <a:pt x="6202942" y="2735039"/>
                </a:lnTo>
                <a:lnTo>
                  <a:pt x="6253190" y="2732780"/>
                </a:lnTo>
                <a:lnTo>
                  <a:pt x="6298622" y="2726085"/>
                </a:lnTo>
                <a:lnTo>
                  <a:pt x="6339462" y="2715072"/>
                </a:lnTo>
                <a:lnTo>
                  <a:pt x="6375942" y="2699861"/>
                </a:lnTo>
                <a:lnTo>
                  <a:pt x="6436736" y="2657324"/>
                </a:lnTo>
                <a:lnTo>
                  <a:pt x="6482832" y="2599431"/>
                </a:lnTo>
                <a:lnTo>
                  <a:pt x="6500942" y="2565024"/>
                </a:lnTo>
                <a:lnTo>
                  <a:pt x="6516064" y="2527138"/>
                </a:lnTo>
                <a:lnTo>
                  <a:pt x="6528426" y="2485890"/>
                </a:lnTo>
                <a:lnTo>
                  <a:pt x="6538260" y="2441401"/>
                </a:lnTo>
                <a:lnTo>
                  <a:pt x="6545792" y="2393791"/>
                </a:lnTo>
                <a:lnTo>
                  <a:pt x="6551252" y="2343178"/>
                </a:lnTo>
                <a:lnTo>
                  <a:pt x="6554868" y="2289683"/>
                </a:lnTo>
                <a:lnTo>
                  <a:pt x="6556870" y="2233425"/>
                </a:lnTo>
                <a:lnTo>
                  <a:pt x="6557486" y="2174524"/>
                </a:lnTo>
                <a:lnTo>
                  <a:pt x="6556836" y="2116203"/>
                </a:lnTo>
                <a:lnTo>
                  <a:pt x="6554744" y="2060487"/>
                </a:lnTo>
                <a:lnTo>
                  <a:pt x="6550990" y="2007501"/>
                </a:lnTo>
                <a:lnTo>
                  <a:pt x="6545362" y="1957362"/>
                </a:lnTo>
                <a:lnTo>
                  <a:pt x="6537640" y="1910190"/>
                </a:lnTo>
                <a:lnTo>
                  <a:pt x="6527608" y="1866104"/>
                </a:lnTo>
                <a:lnTo>
                  <a:pt x="6515052" y="1825226"/>
                </a:lnTo>
                <a:lnTo>
                  <a:pt x="6499752" y="1787671"/>
                </a:lnTo>
                <a:lnTo>
                  <a:pt x="6481494" y="1753562"/>
                </a:lnTo>
                <a:lnTo>
                  <a:pt x="6435236" y="1696160"/>
                </a:lnTo>
                <a:lnTo>
                  <a:pt x="6374546" y="1653973"/>
                </a:lnTo>
                <a:lnTo>
                  <a:pt x="6338248" y="1638885"/>
                </a:lnTo>
                <a:lnTo>
                  <a:pt x="6297692" y="1627960"/>
                </a:lnTo>
                <a:lnTo>
                  <a:pt x="6252662" y="1621317"/>
                </a:lnTo>
                <a:lnTo>
                  <a:pt x="6202942" y="1619076"/>
                </a:lnTo>
                <a:close/>
                <a:moveTo>
                  <a:pt x="6110023" y="1519467"/>
                </a:moveTo>
                <a:lnTo>
                  <a:pt x="6110023" y="1619076"/>
                </a:lnTo>
                <a:lnTo>
                  <a:pt x="6060583" y="1621317"/>
                </a:lnTo>
                <a:lnTo>
                  <a:pt x="6015801" y="1627960"/>
                </a:lnTo>
                <a:lnTo>
                  <a:pt x="5975462" y="1638885"/>
                </a:lnTo>
                <a:lnTo>
                  <a:pt x="5939352" y="1653973"/>
                </a:lnTo>
                <a:lnTo>
                  <a:pt x="5878960" y="1696160"/>
                </a:lnTo>
                <a:lnTo>
                  <a:pt x="5832910" y="1753562"/>
                </a:lnTo>
                <a:lnTo>
                  <a:pt x="5814728" y="1787671"/>
                </a:lnTo>
                <a:lnTo>
                  <a:pt x="5799488" y="1825226"/>
                </a:lnTo>
                <a:lnTo>
                  <a:pt x="5786975" y="1866104"/>
                </a:lnTo>
                <a:lnTo>
                  <a:pt x="5776976" y="1910190"/>
                </a:lnTo>
                <a:lnTo>
                  <a:pt x="5769275" y="1957362"/>
                </a:lnTo>
                <a:lnTo>
                  <a:pt x="5763660" y="2007501"/>
                </a:lnTo>
                <a:lnTo>
                  <a:pt x="5759914" y="2060487"/>
                </a:lnTo>
                <a:lnTo>
                  <a:pt x="5757823" y="2116203"/>
                </a:lnTo>
                <a:lnTo>
                  <a:pt x="5757174" y="2174524"/>
                </a:lnTo>
                <a:lnTo>
                  <a:pt x="5757807" y="2233425"/>
                </a:lnTo>
                <a:lnTo>
                  <a:pt x="5759852" y="2289683"/>
                </a:lnTo>
                <a:lnTo>
                  <a:pt x="5763530" y="2343178"/>
                </a:lnTo>
                <a:lnTo>
                  <a:pt x="5769061" y="2393791"/>
                </a:lnTo>
                <a:lnTo>
                  <a:pt x="5776667" y="2441401"/>
                </a:lnTo>
                <a:lnTo>
                  <a:pt x="5786567" y="2485890"/>
                </a:lnTo>
                <a:lnTo>
                  <a:pt x="5798983" y="2527138"/>
                </a:lnTo>
                <a:lnTo>
                  <a:pt x="5814135" y="2565024"/>
                </a:lnTo>
                <a:lnTo>
                  <a:pt x="5832243" y="2599431"/>
                </a:lnTo>
                <a:lnTo>
                  <a:pt x="5878214" y="2657324"/>
                </a:lnTo>
                <a:lnTo>
                  <a:pt x="5938656" y="2699861"/>
                </a:lnTo>
                <a:lnTo>
                  <a:pt x="5974857" y="2715072"/>
                </a:lnTo>
                <a:lnTo>
                  <a:pt x="6015338" y="2726085"/>
                </a:lnTo>
                <a:lnTo>
                  <a:pt x="6060320" y="2732780"/>
                </a:lnTo>
                <a:lnTo>
                  <a:pt x="6110023" y="2735039"/>
                </a:lnTo>
                <a:lnTo>
                  <a:pt x="6110023" y="2832959"/>
                </a:lnTo>
                <a:lnTo>
                  <a:pt x="6058379" y="2831226"/>
                </a:lnTo>
                <a:lnTo>
                  <a:pt x="6010447" y="2826073"/>
                </a:lnTo>
                <a:lnTo>
                  <a:pt x="5966107" y="2817573"/>
                </a:lnTo>
                <a:lnTo>
                  <a:pt x="5925235" y="2805798"/>
                </a:lnTo>
                <a:lnTo>
                  <a:pt x="5887709" y="2790820"/>
                </a:lnTo>
                <a:lnTo>
                  <a:pt x="5853406" y="2772712"/>
                </a:lnTo>
                <a:lnTo>
                  <a:pt x="5793981" y="2727394"/>
                </a:lnTo>
                <a:lnTo>
                  <a:pt x="5745979" y="2670420"/>
                </a:lnTo>
                <a:lnTo>
                  <a:pt x="5725956" y="2637742"/>
                </a:lnTo>
                <a:lnTo>
                  <a:pt x="5708421" y="2602367"/>
                </a:lnTo>
                <a:lnTo>
                  <a:pt x="5693252" y="2564367"/>
                </a:lnTo>
                <a:lnTo>
                  <a:pt x="5680327" y="2523814"/>
                </a:lnTo>
                <a:lnTo>
                  <a:pt x="5669522" y="2480781"/>
                </a:lnTo>
                <a:lnTo>
                  <a:pt x="5660715" y="2435337"/>
                </a:lnTo>
                <a:lnTo>
                  <a:pt x="5653785" y="2387560"/>
                </a:lnTo>
                <a:lnTo>
                  <a:pt x="5648608" y="2337516"/>
                </a:lnTo>
                <a:lnTo>
                  <a:pt x="5645062" y="2285281"/>
                </a:lnTo>
                <a:lnTo>
                  <a:pt x="5643024" y="2230926"/>
                </a:lnTo>
                <a:lnTo>
                  <a:pt x="5642372" y="2174524"/>
                </a:lnTo>
                <a:lnTo>
                  <a:pt x="5643045" y="2118363"/>
                </a:lnTo>
                <a:lnTo>
                  <a:pt x="5645145" y="2064248"/>
                </a:lnTo>
                <a:lnTo>
                  <a:pt x="5648785" y="2012251"/>
                </a:lnTo>
                <a:lnTo>
                  <a:pt x="5654082" y="1962443"/>
                </a:lnTo>
                <a:lnTo>
                  <a:pt x="5661152" y="1914895"/>
                </a:lnTo>
                <a:lnTo>
                  <a:pt x="5670112" y="1869678"/>
                </a:lnTo>
                <a:lnTo>
                  <a:pt x="5681076" y="1826861"/>
                </a:lnTo>
                <a:lnTo>
                  <a:pt x="5694161" y="1786518"/>
                </a:lnTo>
                <a:lnTo>
                  <a:pt x="5709483" y="1748720"/>
                </a:lnTo>
                <a:lnTo>
                  <a:pt x="5727157" y="1713537"/>
                </a:lnTo>
                <a:lnTo>
                  <a:pt x="5747301" y="1681040"/>
                </a:lnTo>
                <a:lnTo>
                  <a:pt x="5795457" y="1624390"/>
                </a:lnTo>
                <a:lnTo>
                  <a:pt x="5854880" y="1579339"/>
                </a:lnTo>
                <a:lnTo>
                  <a:pt x="5889107" y="1561341"/>
                </a:lnTo>
                <a:lnTo>
                  <a:pt x="5926498" y="1546456"/>
                </a:lnTo>
                <a:lnTo>
                  <a:pt x="5967169" y="1534755"/>
                </a:lnTo>
                <a:lnTo>
                  <a:pt x="6011236" y="1526309"/>
                </a:lnTo>
                <a:lnTo>
                  <a:pt x="6058815" y="1521189"/>
                </a:lnTo>
                <a:close/>
                <a:moveTo>
                  <a:pt x="4207776" y="1033233"/>
                </a:moveTo>
                <a:lnTo>
                  <a:pt x="4417120" y="1033233"/>
                </a:lnTo>
                <a:lnTo>
                  <a:pt x="4417120" y="1208814"/>
                </a:lnTo>
                <a:lnTo>
                  <a:pt x="4207776" y="1208814"/>
                </a:lnTo>
                <a:close/>
                <a:moveTo>
                  <a:pt x="5865088" y="881295"/>
                </a:moveTo>
                <a:lnTo>
                  <a:pt x="6780150" y="881295"/>
                </a:lnTo>
                <a:lnTo>
                  <a:pt x="6780150" y="989345"/>
                </a:lnTo>
                <a:lnTo>
                  <a:pt x="5865088" y="989345"/>
                </a:lnTo>
                <a:close/>
                <a:moveTo>
                  <a:pt x="5865088" y="528441"/>
                </a:moveTo>
                <a:lnTo>
                  <a:pt x="6780150" y="528441"/>
                </a:lnTo>
                <a:lnTo>
                  <a:pt x="6780150" y="636492"/>
                </a:lnTo>
                <a:lnTo>
                  <a:pt x="5865088" y="636492"/>
                </a:lnTo>
                <a:close/>
                <a:moveTo>
                  <a:pt x="7862878" y="7089"/>
                </a:moveTo>
                <a:lnTo>
                  <a:pt x="8241058" y="7089"/>
                </a:lnTo>
                <a:lnTo>
                  <a:pt x="8241058" y="103609"/>
                </a:lnTo>
                <a:lnTo>
                  <a:pt x="7979374" y="103609"/>
                </a:lnTo>
                <a:lnTo>
                  <a:pt x="7979374" y="1213589"/>
                </a:lnTo>
                <a:lnTo>
                  <a:pt x="8241058" y="1213589"/>
                </a:lnTo>
                <a:lnTo>
                  <a:pt x="8241058" y="1310109"/>
                </a:lnTo>
                <a:lnTo>
                  <a:pt x="7862878" y="1310109"/>
                </a:lnTo>
                <a:lnTo>
                  <a:pt x="7862878" y="1213589"/>
                </a:lnTo>
                <a:lnTo>
                  <a:pt x="7862878" y="103609"/>
                </a:lnTo>
                <a:close/>
                <a:moveTo>
                  <a:pt x="3051834" y="2"/>
                </a:moveTo>
                <a:lnTo>
                  <a:pt x="3051834" y="99613"/>
                </a:lnTo>
                <a:lnTo>
                  <a:pt x="3002394" y="101852"/>
                </a:lnTo>
                <a:lnTo>
                  <a:pt x="2957611" y="108497"/>
                </a:lnTo>
                <a:lnTo>
                  <a:pt x="2917272" y="119421"/>
                </a:lnTo>
                <a:lnTo>
                  <a:pt x="2881161" y="134509"/>
                </a:lnTo>
                <a:lnTo>
                  <a:pt x="2820768" y="176694"/>
                </a:lnTo>
                <a:lnTo>
                  <a:pt x="2774716" y="234098"/>
                </a:lnTo>
                <a:lnTo>
                  <a:pt x="2756533" y="268206"/>
                </a:lnTo>
                <a:lnTo>
                  <a:pt x="2741291" y="305760"/>
                </a:lnTo>
                <a:lnTo>
                  <a:pt x="2728778" y="346640"/>
                </a:lnTo>
                <a:lnTo>
                  <a:pt x="2718778" y="390725"/>
                </a:lnTo>
                <a:lnTo>
                  <a:pt x="2711077" y="437898"/>
                </a:lnTo>
                <a:lnTo>
                  <a:pt x="2705460" y="488037"/>
                </a:lnTo>
                <a:lnTo>
                  <a:pt x="2701714" y="541024"/>
                </a:lnTo>
                <a:lnTo>
                  <a:pt x="2699623" y="596738"/>
                </a:lnTo>
                <a:lnTo>
                  <a:pt x="2698974" y="655061"/>
                </a:lnTo>
                <a:lnTo>
                  <a:pt x="2699607" y="713962"/>
                </a:lnTo>
                <a:lnTo>
                  <a:pt x="2701652" y="770219"/>
                </a:lnTo>
                <a:lnTo>
                  <a:pt x="2705331" y="823713"/>
                </a:lnTo>
                <a:lnTo>
                  <a:pt x="2710863" y="874325"/>
                </a:lnTo>
                <a:lnTo>
                  <a:pt x="2718469" y="921936"/>
                </a:lnTo>
                <a:lnTo>
                  <a:pt x="2728370" y="966424"/>
                </a:lnTo>
                <a:lnTo>
                  <a:pt x="2740787" y="1007672"/>
                </a:lnTo>
                <a:lnTo>
                  <a:pt x="2755940" y="1045559"/>
                </a:lnTo>
                <a:lnTo>
                  <a:pt x="2774049" y="1079966"/>
                </a:lnTo>
                <a:lnTo>
                  <a:pt x="2820020" y="1137858"/>
                </a:lnTo>
                <a:lnTo>
                  <a:pt x="2880465" y="1180395"/>
                </a:lnTo>
                <a:lnTo>
                  <a:pt x="2916667" y="1195607"/>
                </a:lnTo>
                <a:lnTo>
                  <a:pt x="2957148" y="1206620"/>
                </a:lnTo>
                <a:lnTo>
                  <a:pt x="3002130" y="1213314"/>
                </a:lnTo>
                <a:lnTo>
                  <a:pt x="3051834" y="1215573"/>
                </a:lnTo>
                <a:lnTo>
                  <a:pt x="3051834" y="1313495"/>
                </a:lnTo>
                <a:lnTo>
                  <a:pt x="3000188" y="1311761"/>
                </a:lnTo>
                <a:lnTo>
                  <a:pt x="2952255" y="1306609"/>
                </a:lnTo>
                <a:lnTo>
                  <a:pt x="2907914" y="1298108"/>
                </a:lnTo>
                <a:lnTo>
                  <a:pt x="2867041" y="1286333"/>
                </a:lnTo>
                <a:lnTo>
                  <a:pt x="2829514" y="1271355"/>
                </a:lnTo>
                <a:lnTo>
                  <a:pt x="2795209" y="1253247"/>
                </a:lnTo>
                <a:lnTo>
                  <a:pt x="2735783" y="1207930"/>
                </a:lnTo>
                <a:lnTo>
                  <a:pt x="2687781" y="1150955"/>
                </a:lnTo>
                <a:lnTo>
                  <a:pt x="2667757" y="1118277"/>
                </a:lnTo>
                <a:lnTo>
                  <a:pt x="2650222" y="1082902"/>
                </a:lnTo>
                <a:lnTo>
                  <a:pt x="2635053" y="1044902"/>
                </a:lnTo>
                <a:lnTo>
                  <a:pt x="2622127" y="1004349"/>
                </a:lnTo>
                <a:lnTo>
                  <a:pt x="2611322" y="961316"/>
                </a:lnTo>
                <a:lnTo>
                  <a:pt x="2602516" y="915873"/>
                </a:lnTo>
                <a:lnTo>
                  <a:pt x="2595585" y="868095"/>
                </a:lnTo>
                <a:lnTo>
                  <a:pt x="2590408" y="818052"/>
                </a:lnTo>
                <a:lnTo>
                  <a:pt x="2586862" y="765818"/>
                </a:lnTo>
                <a:lnTo>
                  <a:pt x="2584824" y="711463"/>
                </a:lnTo>
                <a:lnTo>
                  <a:pt x="2584172" y="655061"/>
                </a:lnTo>
                <a:lnTo>
                  <a:pt x="2584846" y="598899"/>
                </a:lnTo>
                <a:lnTo>
                  <a:pt x="2586945" y="544784"/>
                </a:lnTo>
                <a:lnTo>
                  <a:pt x="2590585" y="492788"/>
                </a:lnTo>
                <a:lnTo>
                  <a:pt x="2595883" y="442980"/>
                </a:lnTo>
                <a:lnTo>
                  <a:pt x="2602954" y="395431"/>
                </a:lnTo>
                <a:lnTo>
                  <a:pt x="2611914" y="350213"/>
                </a:lnTo>
                <a:lnTo>
                  <a:pt x="2622878" y="307398"/>
                </a:lnTo>
                <a:lnTo>
                  <a:pt x="2635964" y="267054"/>
                </a:lnTo>
                <a:lnTo>
                  <a:pt x="2651287" y="229257"/>
                </a:lnTo>
                <a:lnTo>
                  <a:pt x="2668962" y="194074"/>
                </a:lnTo>
                <a:lnTo>
                  <a:pt x="2689106" y="161576"/>
                </a:lnTo>
                <a:lnTo>
                  <a:pt x="2737264" y="104925"/>
                </a:lnTo>
                <a:lnTo>
                  <a:pt x="2796688" y="59876"/>
                </a:lnTo>
                <a:lnTo>
                  <a:pt x="2830916" y="41878"/>
                </a:lnTo>
                <a:lnTo>
                  <a:pt x="2868307" y="26992"/>
                </a:lnTo>
                <a:lnTo>
                  <a:pt x="2908979" y="15290"/>
                </a:lnTo>
                <a:lnTo>
                  <a:pt x="2953046" y="6845"/>
                </a:lnTo>
                <a:lnTo>
                  <a:pt x="3000626" y="1724"/>
                </a:lnTo>
                <a:close/>
                <a:moveTo>
                  <a:pt x="8336918" y="1"/>
                </a:moveTo>
                <a:lnTo>
                  <a:pt x="8388126" y="1723"/>
                </a:lnTo>
                <a:lnTo>
                  <a:pt x="8435706" y="6843"/>
                </a:lnTo>
                <a:lnTo>
                  <a:pt x="8479774" y="15289"/>
                </a:lnTo>
                <a:lnTo>
                  <a:pt x="8520444" y="26990"/>
                </a:lnTo>
                <a:lnTo>
                  <a:pt x="8557834" y="41875"/>
                </a:lnTo>
                <a:lnTo>
                  <a:pt x="8592062" y="59873"/>
                </a:lnTo>
                <a:lnTo>
                  <a:pt x="8651484" y="104924"/>
                </a:lnTo>
                <a:lnTo>
                  <a:pt x="8699640" y="161574"/>
                </a:lnTo>
                <a:lnTo>
                  <a:pt x="8719784" y="194071"/>
                </a:lnTo>
                <a:lnTo>
                  <a:pt x="8737458" y="229254"/>
                </a:lnTo>
                <a:lnTo>
                  <a:pt x="8752780" y="267052"/>
                </a:lnTo>
                <a:lnTo>
                  <a:pt x="8765866" y="307395"/>
                </a:lnTo>
                <a:lnTo>
                  <a:pt x="8776830" y="350211"/>
                </a:lnTo>
                <a:lnTo>
                  <a:pt x="8785788" y="395428"/>
                </a:lnTo>
                <a:lnTo>
                  <a:pt x="8792860" y="442977"/>
                </a:lnTo>
                <a:lnTo>
                  <a:pt x="8798158" y="492785"/>
                </a:lnTo>
                <a:lnTo>
                  <a:pt x="8801798" y="544782"/>
                </a:lnTo>
                <a:lnTo>
                  <a:pt x="8803896" y="598897"/>
                </a:lnTo>
                <a:lnTo>
                  <a:pt x="8804570" y="655058"/>
                </a:lnTo>
                <a:lnTo>
                  <a:pt x="8803930" y="711460"/>
                </a:lnTo>
                <a:lnTo>
                  <a:pt x="8801922" y="765815"/>
                </a:lnTo>
                <a:lnTo>
                  <a:pt x="8798422" y="818050"/>
                </a:lnTo>
                <a:lnTo>
                  <a:pt x="8793306" y="868094"/>
                </a:lnTo>
                <a:lnTo>
                  <a:pt x="8786446" y="915872"/>
                </a:lnTo>
                <a:lnTo>
                  <a:pt x="8777716" y="961315"/>
                </a:lnTo>
                <a:lnTo>
                  <a:pt x="8766992" y="1004348"/>
                </a:lnTo>
                <a:lnTo>
                  <a:pt x="8754146" y="1044900"/>
                </a:lnTo>
                <a:lnTo>
                  <a:pt x="8739054" y="1082901"/>
                </a:lnTo>
                <a:lnTo>
                  <a:pt x="8721590" y="1118276"/>
                </a:lnTo>
                <a:lnTo>
                  <a:pt x="8701628" y="1150954"/>
                </a:lnTo>
                <a:lnTo>
                  <a:pt x="8653704" y="1207928"/>
                </a:lnTo>
                <a:lnTo>
                  <a:pt x="8594278" y="1253246"/>
                </a:lnTo>
                <a:lnTo>
                  <a:pt x="8559936" y="1271354"/>
                </a:lnTo>
                <a:lnTo>
                  <a:pt x="8522342" y="1286332"/>
                </a:lnTo>
                <a:lnTo>
                  <a:pt x="8481370" y="1298107"/>
                </a:lnTo>
                <a:lnTo>
                  <a:pt x="8436892" y="1306607"/>
                </a:lnTo>
                <a:lnTo>
                  <a:pt x="8388784" y="1311760"/>
                </a:lnTo>
                <a:lnTo>
                  <a:pt x="8336918" y="1313493"/>
                </a:lnTo>
                <a:lnTo>
                  <a:pt x="8336918" y="1215572"/>
                </a:lnTo>
                <a:lnTo>
                  <a:pt x="8387168" y="1213313"/>
                </a:lnTo>
                <a:lnTo>
                  <a:pt x="8432598" y="1206618"/>
                </a:lnTo>
                <a:lnTo>
                  <a:pt x="8473438" y="1195605"/>
                </a:lnTo>
                <a:lnTo>
                  <a:pt x="8509918" y="1180394"/>
                </a:lnTo>
                <a:lnTo>
                  <a:pt x="8570710" y="1137857"/>
                </a:lnTo>
                <a:lnTo>
                  <a:pt x="8616804" y="1079964"/>
                </a:lnTo>
                <a:lnTo>
                  <a:pt x="8634912" y="1045558"/>
                </a:lnTo>
                <a:lnTo>
                  <a:pt x="8650034" y="1007671"/>
                </a:lnTo>
                <a:lnTo>
                  <a:pt x="8662396" y="966423"/>
                </a:lnTo>
                <a:lnTo>
                  <a:pt x="8672228" y="921934"/>
                </a:lnTo>
                <a:lnTo>
                  <a:pt x="8679760" y="874323"/>
                </a:lnTo>
                <a:lnTo>
                  <a:pt x="8685218" y="823711"/>
                </a:lnTo>
                <a:lnTo>
                  <a:pt x="8688834" y="770216"/>
                </a:lnTo>
                <a:lnTo>
                  <a:pt x="8690836" y="713959"/>
                </a:lnTo>
                <a:lnTo>
                  <a:pt x="8691452" y="655058"/>
                </a:lnTo>
                <a:lnTo>
                  <a:pt x="8690804" y="596735"/>
                </a:lnTo>
                <a:lnTo>
                  <a:pt x="8688710" y="541021"/>
                </a:lnTo>
                <a:lnTo>
                  <a:pt x="8684958" y="488035"/>
                </a:lnTo>
                <a:lnTo>
                  <a:pt x="8679330" y="437895"/>
                </a:lnTo>
                <a:lnTo>
                  <a:pt x="8671608" y="390723"/>
                </a:lnTo>
                <a:lnTo>
                  <a:pt x="8661578" y="346638"/>
                </a:lnTo>
                <a:lnTo>
                  <a:pt x="8649022" y="305758"/>
                </a:lnTo>
                <a:lnTo>
                  <a:pt x="8633724" y="268204"/>
                </a:lnTo>
                <a:lnTo>
                  <a:pt x="8615466" y="234096"/>
                </a:lnTo>
                <a:lnTo>
                  <a:pt x="8569210" y="176693"/>
                </a:lnTo>
                <a:lnTo>
                  <a:pt x="8508522" y="134507"/>
                </a:lnTo>
                <a:lnTo>
                  <a:pt x="8472224" y="119419"/>
                </a:lnTo>
                <a:lnTo>
                  <a:pt x="8431668" y="108494"/>
                </a:lnTo>
                <a:lnTo>
                  <a:pt x="8386640" y="101851"/>
                </a:lnTo>
                <a:lnTo>
                  <a:pt x="8336918" y="99610"/>
                </a:lnTo>
                <a:close/>
                <a:moveTo>
                  <a:pt x="3144752" y="0"/>
                </a:moveTo>
                <a:lnTo>
                  <a:pt x="3195959" y="1722"/>
                </a:lnTo>
                <a:lnTo>
                  <a:pt x="3243539" y="6842"/>
                </a:lnTo>
                <a:lnTo>
                  <a:pt x="3287606" y="15288"/>
                </a:lnTo>
                <a:lnTo>
                  <a:pt x="3328277" y="26989"/>
                </a:lnTo>
                <a:lnTo>
                  <a:pt x="3365667" y="41874"/>
                </a:lnTo>
                <a:lnTo>
                  <a:pt x="3399895" y="59872"/>
                </a:lnTo>
                <a:lnTo>
                  <a:pt x="3459317" y="104923"/>
                </a:lnTo>
                <a:lnTo>
                  <a:pt x="3507474" y="161573"/>
                </a:lnTo>
                <a:lnTo>
                  <a:pt x="3527617" y="194070"/>
                </a:lnTo>
                <a:lnTo>
                  <a:pt x="3545292" y="229253"/>
                </a:lnTo>
                <a:lnTo>
                  <a:pt x="3560614" y="267051"/>
                </a:lnTo>
                <a:lnTo>
                  <a:pt x="3573699" y="307394"/>
                </a:lnTo>
                <a:lnTo>
                  <a:pt x="3584663" y="350210"/>
                </a:lnTo>
                <a:lnTo>
                  <a:pt x="3593622" y="395427"/>
                </a:lnTo>
                <a:lnTo>
                  <a:pt x="3600693" y="442977"/>
                </a:lnTo>
                <a:lnTo>
                  <a:pt x="3605990" y="492785"/>
                </a:lnTo>
                <a:lnTo>
                  <a:pt x="3609630" y="544782"/>
                </a:lnTo>
                <a:lnTo>
                  <a:pt x="3611729" y="598897"/>
                </a:lnTo>
                <a:lnTo>
                  <a:pt x="3612403" y="655058"/>
                </a:lnTo>
                <a:lnTo>
                  <a:pt x="3611762" y="711460"/>
                </a:lnTo>
                <a:lnTo>
                  <a:pt x="3609755" y="765815"/>
                </a:lnTo>
                <a:lnTo>
                  <a:pt x="3606255" y="818050"/>
                </a:lnTo>
                <a:lnTo>
                  <a:pt x="3601138" y="868093"/>
                </a:lnTo>
                <a:lnTo>
                  <a:pt x="3594278" y="915871"/>
                </a:lnTo>
                <a:lnTo>
                  <a:pt x="3585548" y="961314"/>
                </a:lnTo>
                <a:lnTo>
                  <a:pt x="3574823" y="1004347"/>
                </a:lnTo>
                <a:lnTo>
                  <a:pt x="3561977" y="1044900"/>
                </a:lnTo>
                <a:lnTo>
                  <a:pt x="3546884" y="1082900"/>
                </a:lnTo>
                <a:lnTo>
                  <a:pt x="3529420" y="1118275"/>
                </a:lnTo>
                <a:lnTo>
                  <a:pt x="3509456" y="1150953"/>
                </a:lnTo>
                <a:lnTo>
                  <a:pt x="3461532" y="1207927"/>
                </a:lnTo>
                <a:lnTo>
                  <a:pt x="3402106" y="1253245"/>
                </a:lnTo>
                <a:lnTo>
                  <a:pt x="3367764" y="1271353"/>
                </a:lnTo>
                <a:lnTo>
                  <a:pt x="3330171" y="1286331"/>
                </a:lnTo>
                <a:lnTo>
                  <a:pt x="3289198" y="1298106"/>
                </a:lnTo>
                <a:lnTo>
                  <a:pt x="3244722" y="1306606"/>
                </a:lnTo>
                <a:lnTo>
                  <a:pt x="3196615" y="1311759"/>
                </a:lnTo>
                <a:lnTo>
                  <a:pt x="3144752" y="1313492"/>
                </a:lnTo>
                <a:lnTo>
                  <a:pt x="3144752" y="1215571"/>
                </a:lnTo>
                <a:lnTo>
                  <a:pt x="3194999" y="1213312"/>
                </a:lnTo>
                <a:lnTo>
                  <a:pt x="3240428" y="1206617"/>
                </a:lnTo>
                <a:lnTo>
                  <a:pt x="3281267" y="1195604"/>
                </a:lnTo>
                <a:lnTo>
                  <a:pt x="3317746" y="1180393"/>
                </a:lnTo>
                <a:lnTo>
                  <a:pt x="3378538" y="1137856"/>
                </a:lnTo>
                <a:lnTo>
                  <a:pt x="3424634" y="1079963"/>
                </a:lnTo>
                <a:lnTo>
                  <a:pt x="3442743" y="1045557"/>
                </a:lnTo>
                <a:lnTo>
                  <a:pt x="3457864" y="1007670"/>
                </a:lnTo>
                <a:lnTo>
                  <a:pt x="3470227" y="966422"/>
                </a:lnTo>
                <a:lnTo>
                  <a:pt x="3480060" y="921934"/>
                </a:lnTo>
                <a:lnTo>
                  <a:pt x="3487591" y="874323"/>
                </a:lnTo>
                <a:lnTo>
                  <a:pt x="3493051" y="823711"/>
                </a:lnTo>
                <a:lnTo>
                  <a:pt x="3496668" y="770216"/>
                </a:lnTo>
                <a:lnTo>
                  <a:pt x="3498670" y="713959"/>
                </a:lnTo>
                <a:lnTo>
                  <a:pt x="3499286" y="655058"/>
                </a:lnTo>
                <a:lnTo>
                  <a:pt x="3498637" y="596735"/>
                </a:lnTo>
                <a:lnTo>
                  <a:pt x="3496544" y="541021"/>
                </a:lnTo>
                <a:lnTo>
                  <a:pt x="3492792" y="488034"/>
                </a:lnTo>
                <a:lnTo>
                  <a:pt x="3487163" y="437895"/>
                </a:lnTo>
                <a:lnTo>
                  <a:pt x="3479442" y="390722"/>
                </a:lnTo>
                <a:lnTo>
                  <a:pt x="3469411" y="346637"/>
                </a:lnTo>
                <a:lnTo>
                  <a:pt x="3456855" y="305757"/>
                </a:lnTo>
                <a:lnTo>
                  <a:pt x="3441557" y="268203"/>
                </a:lnTo>
                <a:lnTo>
                  <a:pt x="3423300" y="234095"/>
                </a:lnTo>
                <a:lnTo>
                  <a:pt x="3377044" y="176692"/>
                </a:lnTo>
                <a:lnTo>
                  <a:pt x="3316354" y="134506"/>
                </a:lnTo>
                <a:lnTo>
                  <a:pt x="3280057" y="119418"/>
                </a:lnTo>
                <a:lnTo>
                  <a:pt x="3239501" y="108493"/>
                </a:lnTo>
                <a:lnTo>
                  <a:pt x="3194472" y="101850"/>
                </a:lnTo>
                <a:lnTo>
                  <a:pt x="3144752" y="99609"/>
                </a:lnTo>
                <a:close/>
              </a:path>
            </a:pathLst>
          </a:custGeom>
          <a:solidFill>
            <a:srgbClr val="88C66D"/>
          </a:solidFill>
        </p:spPr>
        <p:txBody>
          <a:bodyPr wrap="square" lIns="0" tIns="0" rIns="0" bIns="0" rtlCol="0">
            <a:noAutofit/>
          </a:bodyPr>
          <a:lstStyle/>
          <a:p>
            <a:endParaRPr lang="da-DK" sz="1350"/>
          </a:p>
        </p:txBody>
      </p:sp>
    </p:spTree>
    <p:extLst>
      <p:ext uri="{BB962C8B-B14F-4D97-AF65-F5344CB8AC3E}">
        <p14:creationId xmlns:p14="http://schemas.microsoft.com/office/powerpoint/2010/main" val="1940746753"/>
      </p:ext>
    </p:extLst>
  </p:cSld>
  <p:clrMapOvr>
    <a:masterClrMapping/>
  </p:clrMapOvr>
  <p:extLst>
    <p:ext uri="{DCECCB84-F9BA-43D5-87BE-67443E8EF086}">
      <p15:sldGuideLst xmlns:p15="http://schemas.microsoft.com/office/powerpoint/2012/main">
        <p15:guide id="2" orient="horz" pos="1201">
          <p15:clr>
            <a:srgbClr val="A4A3A4"/>
          </p15:clr>
        </p15:guide>
        <p15:guide id="3" orient="horz" pos="566">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65F358-3D0B-4C30-94C6-9BC8E1B3EA11}"/>
              </a:ext>
            </a:extLst>
          </p:cNvPr>
          <p:cNvSpPr>
            <a:spLocks noGrp="1"/>
          </p:cNvSpPr>
          <p:nvPr>
            <p:ph type="title" hasCustomPrompt="1"/>
          </p:nvPr>
        </p:nvSpPr>
        <p:spPr>
          <a:xfrm>
            <a:off x="405000" y="675000"/>
            <a:ext cx="5510025" cy="621000"/>
          </a:xfrm>
        </p:spPr>
        <p:txBody>
          <a:bodyPr/>
          <a:lstStyle>
            <a:lvl1pPr>
              <a:defRPr/>
            </a:lvl1pPr>
          </a:lstStyle>
          <a:p>
            <a:r>
              <a:rPr lang="da-DK"/>
              <a:t>Klik for at tilføje titel, Dagens Program</a:t>
            </a:r>
          </a:p>
        </p:txBody>
      </p:sp>
      <p:sp>
        <p:nvSpPr>
          <p:cNvPr id="2" name="Text Placeholder 3">
            <a:extLst>
              <a:ext uri="{FF2B5EF4-FFF2-40B4-BE49-F238E27FC236}">
                <a16:creationId xmlns:a16="http://schemas.microsoft.com/office/drawing/2014/main" id="{A76E8226-8174-E37A-FCF1-4C304793A7DE}"/>
              </a:ext>
            </a:extLst>
          </p:cNvPr>
          <p:cNvSpPr>
            <a:spLocks noGrp="1"/>
          </p:cNvSpPr>
          <p:nvPr>
            <p:ph type="body" sz="quarter" idx="17" hasCustomPrompt="1"/>
          </p:nvPr>
        </p:nvSpPr>
        <p:spPr>
          <a:xfrm>
            <a:off x="405001" y="1431000"/>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5" name="Text Placeholder 2">
            <a:extLst>
              <a:ext uri="{FF2B5EF4-FFF2-40B4-BE49-F238E27FC236}">
                <a16:creationId xmlns:a16="http://schemas.microsoft.com/office/drawing/2014/main" id="{7E937C38-A16E-A8FA-62D1-0E27C181FC6A}"/>
              </a:ext>
            </a:extLst>
          </p:cNvPr>
          <p:cNvSpPr>
            <a:spLocks noGrp="1"/>
          </p:cNvSpPr>
          <p:nvPr>
            <p:ph type="body" sz="quarter" idx="13" hasCustomPrompt="1"/>
          </p:nvPr>
        </p:nvSpPr>
        <p:spPr>
          <a:xfrm>
            <a:off x="1504336" y="1431000"/>
            <a:ext cx="4410689" cy="189000"/>
          </a:xfrm>
        </p:spPr>
        <p:txBody>
          <a:bodyPr/>
          <a:lstStyle>
            <a:lvl1pPr marL="0" indent="0">
              <a:lnSpc>
                <a:spcPct val="100000"/>
              </a:lnSpc>
              <a:spcAft>
                <a:spcPts val="0"/>
              </a:spcAft>
              <a:buFontTx/>
              <a:buNone/>
              <a:defRPr sz="1200" b="0">
                <a:latin typeface="+mn-lt"/>
              </a:defRPr>
            </a:lvl1pPr>
            <a:lvl2pPr marL="0" indent="0">
              <a:lnSpc>
                <a:spcPts val="1440"/>
              </a:lnSpc>
              <a:spcBef>
                <a:spcPts val="0"/>
              </a:spcBef>
              <a:spcAft>
                <a:spcPts val="0"/>
              </a:spcAft>
              <a:buFont typeface="Arial" panose="020B0604020202020204" pitchFamily="34" charset="0"/>
              <a:buChar char="​"/>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p:txBody>
      </p:sp>
      <p:sp>
        <p:nvSpPr>
          <p:cNvPr id="6" name="Text Placeholder 3">
            <a:extLst>
              <a:ext uri="{FF2B5EF4-FFF2-40B4-BE49-F238E27FC236}">
                <a16:creationId xmlns:a16="http://schemas.microsoft.com/office/drawing/2014/main" id="{74FC6D8A-08C2-F9D4-BD0B-9862DB0E141E}"/>
              </a:ext>
            </a:extLst>
          </p:cNvPr>
          <p:cNvSpPr>
            <a:spLocks noGrp="1"/>
          </p:cNvSpPr>
          <p:nvPr>
            <p:ph type="body" sz="quarter" idx="23" hasCustomPrompt="1"/>
          </p:nvPr>
        </p:nvSpPr>
        <p:spPr>
          <a:xfrm>
            <a:off x="405001" y="1671271"/>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12" name="Text Placeholder 2">
            <a:extLst>
              <a:ext uri="{FF2B5EF4-FFF2-40B4-BE49-F238E27FC236}">
                <a16:creationId xmlns:a16="http://schemas.microsoft.com/office/drawing/2014/main" id="{4C651BE7-A3F6-A61D-4318-D4218D00A6F1}"/>
              </a:ext>
            </a:extLst>
          </p:cNvPr>
          <p:cNvSpPr>
            <a:spLocks noGrp="1"/>
          </p:cNvSpPr>
          <p:nvPr>
            <p:ph type="body" sz="quarter" idx="24" hasCustomPrompt="1"/>
          </p:nvPr>
        </p:nvSpPr>
        <p:spPr>
          <a:xfrm>
            <a:off x="1504336" y="1671271"/>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13" name="Text Placeholder 3">
            <a:extLst>
              <a:ext uri="{FF2B5EF4-FFF2-40B4-BE49-F238E27FC236}">
                <a16:creationId xmlns:a16="http://schemas.microsoft.com/office/drawing/2014/main" id="{5F760D39-AA85-35CE-800E-4A532815DE09}"/>
              </a:ext>
            </a:extLst>
          </p:cNvPr>
          <p:cNvSpPr>
            <a:spLocks noGrp="1"/>
          </p:cNvSpPr>
          <p:nvPr>
            <p:ph type="body" sz="quarter" idx="25" hasCustomPrompt="1"/>
          </p:nvPr>
        </p:nvSpPr>
        <p:spPr>
          <a:xfrm>
            <a:off x="405001" y="1911541"/>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14" name="Text Placeholder 2">
            <a:extLst>
              <a:ext uri="{FF2B5EF4-FFF2-40B4-BE49-F238E27FC236}">
                <a16:creationId xmlns:a16="http://schemas.microsoft.com/office/drawing/2014/main" id="{BC823F29-C5ED-685F-A1D5-4A25E6F1C24B}"/>
              </a:ext>
            </a:extLst>
          </p:cNvPr>
          <p:cNvSpPr>
            <a:spLocks noGrp="1"/>
          </p:cNvSpPr>
          <p:nvPr>
            <p:ph type="body" sz="quarter" idx="26" hasCustomPrompt="1"/>
          </p:nvPr>
        </p:nvSpPr>
        <p:spPr>
          <a:xfrm>
            <a:off x="1504336" y="1911541"/>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15" name="Text Placeholder 3">
            <a:extLst>
              <a:ext uri="{FF2B5EF4-FFF2-40B4-BE49-F238E27FC236}">
                <a16:creationId xmlns:a16="http://schemas.microsoft.com/office/drawing/2014/main" id="{AB2EEFA3-2976-5729-22E5-D1DF3E83DBD9}"/>
              </a:ext>
            </a:extLst>
          </p:cNvPr>
          <p:cNvSpPr>
            <a:spLocks noGrp="1"/>
          </p:cNvSpPr>
          <p:nvPr>
            <p:ph type="body" sz="quarter" idx="27" hasCustomPrompt="1"/>
          </p:nvPr>
        </p:nvSpPr>
        <p:spPr>
          <a:xfrm>
            <a:off x="405001" y="2153655"/>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16" name="Text Placeholder 2">
            <a:extLst>
              <a:ext uri="{FF2B5EF4-FFF2-40B4-BE49-F238E27FC236}">
                <a16:creationId xmlns:a16="http://schemas.microsoft.com/office/drawing/2014/main" id="{E73FC7A0-48E0-C209-104D-3230D2125043}"/>
              </a:ext>
            </a:extLst>
          </p:cNvPr>
          <p:cNvSpPr>
            <a:spLocks noGrp="1"/>
          </p:cNvSpPr>
          <p:nvPr>
            <p:ph type="body" sz="quarter" idx="28" hasCustomPrompt="1"/>
          </p:nvPr>
        </p:nvSpPr>
        <p:spPr>
          <a:xfrm>
            <a:off x="1504336" y="2153655"/>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17" name="Text Placeholder 3">
            <a:extLst>
              <a:ext uri="{FF2B5EF4-FFF2-40B4-BE49-F238E27FC236}">
                <a16:creationId xmlns:a16="http://schemas.microsoft.com/office/drawing/2014/main" id="{C059AC41-5B7A-4338-4A21-10726563A4D5}"/>
              </a:ext>
            </a:extLst>
          </p:cNvPr>
          <p:cNvSpPr>
            <a:spLocks noGrp="1"/>
          </p:cNvSpPr>
          <p:nvPr>
            <p:ph type="body" sz="quarter" idx="29" hasCustomPrompt="1"/>
          </p:nvPr>
        </p:nvSpPr>
        <p:spPr>
          <a:xfrm>
            <a:off x="405001" y="2395769"/>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1" name="Text Placeholder 2">
            <a:extLst>
              <a:ext uri="{FF2B5EF4-FFF2-40B4-BE49-F238E27FC236}">
                <a16:creationId xmlns:a16="http://schemas.microsoft.com/office/drawing/2014/main" id="{AFAC4992-FDAB-EEF1-85BC-401446ED7BBA}"/>
              </a:ext>
            </a:extLst>
          </p:cNvPr>
          <p:cNvSpPr>
            <a:spLocks noGrp="1"/>
          </p:cNvSpPr>
          <p:nvPr>
            <p:ph type="body" sz="quarter" idx="30" hasCustomPrompt="1"/>
          </p:nvPr>
        </p:nvSpPr>
        <p:spPr>
          <a:xfrm>
            <a:off x="1504336" y="2395769"/>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2" name="Text Placeholder 3">
            <a:extLst>
              <a:ext uri="{FF2B5EF4-FFF2-40B4-BE49-F238E27FC236}">
                <a16:creationId xmlns:a16="http://schemas.microsoft.com/office/drawing/2014/main" id="{6111B8AB-3518-5D1C-F370-620ADD18E924}"/>
              </a:ext>
            </a:extLst>
          </p:cNvPr>
          <p:cNvSpPr>
            <a:spLocks noGrp="1"/>
          </p:cNvSpPr>
          <p:nvPr>
            <p:ph type="body" sz="quarter" idx="31" hasCustomPrompt="1"/>
          </p:nvPr>
        </p:nvSpPr>
        <p:spPr>
          <a:xfrm>
            <a:off x="405001" y="2637884"/>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3" name="Text Placeholder 2">
            <a:extLst>
              <a:ext uri="{FF2B5EF4-FFF2-40B4-BE49-F238E27FC236}">
                <a16:creationId xmlns:a16="http://schemas.microsoft.com/office/drawing/2014/main" id="{B86BA501-BE19-02A4-C6DE-4BD3111439C9}"/>
              </a:ext>
            </a:extLst>
          </p:cNvPr>
          <p:cNvSpPr>
            <a:spLocks noGrp="1"/>
          </p:cNvSpPr>
          <p:nvPr>
            <p:ph type="body" sz="quarter" idx="32" hasCustomPrompt="1"/>
          </p:nvPr>
        </p:nvSpPr>
        <p:spPr>
          <a:xfrm>
            <a:off x="1504336" y="2637884"/>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4" name="Text Placeholder 3">
            <a:extLst>
              <a:ext uri="{FF2B5EF4-FFF2-40B4-BE49-F238E27FC236}">
                <a16:creationId xmlns:a16="http://schemas.microsoft.com/office/drawing/2014/main" id="{7FD88E33-EB65-34CD-C09A-087D644E9C61}"/>
              </a:ext>
            </a:extLst>
          </p:cNvPr>
          <p:cNvSpPr>
            <a:spLocks noGrp="1"/>
          </p:cNvSpPr>
          <p:nvPr>
            <p:ph type="body" sz="quarter" idx="33" hasCustomPrompt="1"/>
          </p:nvPr>
        </p:nvSpPr>
        <p:spPr>
          <a:xfrm>
            <a:off x="405001" y="2879998"/>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5" name="Text Placeholder 2">
            <a:extLst>
              <a:ext uri="{FF2B5EF4-FFF2-40B4-BE49-F238E27FC236}">
                <a16:creationId xmlns:a16="http://schemas.microsoft.com/office/drawing/2014/main" id="{8C840B5A-4ECE-B864-6FC7-AC3D5A610A50}"/>
              </a:ext>
            </a:extLst>
          </p:cNvPr>
          <p:cNvSpPr>
            <a:spLocks noGrp="1"/>
          </p:cNvSpPr>
          <p:nvPr>
            <p:ph type="body" sz="quarter" idx="34" hasCustomPrompt="1"/>
          </p:nvPr>
        </p:nvSpPr>
        <p:spPr>
          <a:xfrm>
            <a:off x="1504336" y="2879998"/>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6" name="Text Placeholder 3">
            <a:extLst>
              <a:ext uri="{FF2B5EF4-FFF2-40B4-BE49-F238E27FC236}">
                <a16:creationId xmlns:a16="http://schemas.microsoft.com/office/drawing/2014/main" id="{B3FF9F75-5E25-6779-CD0C-8A05BDA51D3B}"/>
              </a:ext>
            </a:extLst>
          </p:cNvPr>
          <p:cNvSpPr>
            <a:spLocks noGrp="1"/>
          </p:cNvSpPr>
          <p:nvPr>
            <p:ph type="body" sz="quarter" idx="35" hasCustomPrompt="1"/>
          </p:nvPr>
        </p:nvSpPr>
        <p:spPr>
          <a:xfrm>
            <a:off x="405001" y="3122112"/>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7" name="Text Placeholder 2">
            <a:extLst>
              <a:ext uri="{FF2B5EF4-FFF2-40B4-BE49-F238E27FC236}">
                <a16:creationId xmlns:a16="http://schemas.microsoft.com/office/drawing/2014/main" id="{19DFD96B-F954-22DC-C18E-3B859ACC069C}"/>
              </a:ext>
            </a:extLst>
          </p:cNvPr>
          <p:cNvSpPr>
            <a:spLocks noGrp="1"/>
          </p:cNvSpPr>
          <p:nvPr>
            <p:ph type="body" sz="quarter" idx="36" hasCustomPrompt="1"/>
          </p:nvPr>
        </p:nvSpPr>
        <p:spPr>
          <a:xfrm>
            <a:off x="1504336" y="3122112"/>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8" name="Text Placeholder 3">
            <a:extLst>
              <a:ext uri="{FF2B5EF4-FFF2-40B4-BE49-F238E27FC236}">
                <a16:creationId xmlns:a16="http://schemas.microsoft.com/office/drawing/2014/main" id="{1B6A67BA-9689-D829-7A04-48256C947CFF}"/>
              </a:ext>
            </a:extLst>
          </p:cNvPr>
          <p:cNvSpPr>
            <a:spLocks noGrp="1"/>
          </p:cNvSpPr>
          <p:nvPr>
            <p:ph type="body" sz="quarter" idx="37" hasCustomPrompt="1"/>
          </p:nvPr>
        </p:nvSpPr>
        <p:spPr>
          <a:xfrm>
            <a:off x="405001" y="3364226"/>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9" name="Text Placeholder 2">
            <a:extLst>
              <a:ext uri="{FF2B5EF4-FFF2-40B4-BE49-F238E27FC236}">
                <a16:creationId xmlns:a16="http://schemas.microsoft.com/office/drawing/2014/main" id="{2F4FAB9B-9AF4-028B-BB6B-137516B7A4A7}"/>
              </a:ext>
            </a:extLst>
          </p:cNvPr>
          <p:cNvSpPr>
            <a:spLocks noGrp="1"/>
          </p:cNvSpPr>
          <p:nvPr>
            <p:ph type="body" sz="quarter" idx="38" hasCustomPrompt="1"/>
          </p:nvPr>
        </p:nvSpPr>
        <p:spPr>
          <a:xfrm>
            <a:off x="1504336" y="3364226"/>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30" name="Text Placeholder 3">
            <a:extLst>
              <a:ext uri="{FF2B5EF4-FFF2-40B4-BE49-F238E27FC236}">
                <a16:creationId xmlns:a16="http://schemas.microsoft.com/office/drawing/2014/main" id="{C296EEBB-C352-16F9-ACE2-441D6CDF5087}"/>
              </a:ext>
            </a:extLst>
          </p:cNvPr>
          <p:cNvSpPr>
            <a:spLocks noGrp="1"/>
          </p:cNvSpPr>
          <p:nvPr>
            <p:ph type="body" sz="quarter" idx="39" hasCustomPrompt="1"/>
          </p:nvPr>
        </p:nvSpPr>
        <p:spPr>
          <a:xfrm>
            <a:off x="404813" y="3606341"/>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1" name="Text Placeholder 2">
            <a:extLst>
              <a:ext uri="{FF2B5EF4-FFF2-40B4-BE49-F238E27FC236}">
                <a16:creationId xmlns:a16="http://schemas.microsoft.com/office/drawing/2014/main" id="{69E33C77-C0D2-B3F3-4438-1E3B57755E1C}"/>
              </a:ext>
            </a:extLst>
          </p:cNvPr>
          <p:cNvSpPr>
            <a:spLocks noGrp="1"/>
          </p:cNvSpPr>
          <p:nvPr>
            <p:ph type="body" sz="quarter" idx="40" hasCustomPrompt="1"/>
          </p:nvPr>
        </p:nvSpPr>
        <p:spPr>
          <a:xfrm>
            <a:off x="1504149" y="3606341"/>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32" name="Text Placeholder 3">
            <a:extLst>
              <a:ext uri="{FF2B5EF4-FFF2-40B4-BE49-F238E27FC236}">
                <a16:creationId xmlns:a16="http://schemas.microsoft.com/office/drawing/2014/main" id="{41CB8987-4D07-1DB1-6C86-0E673000558D}"/>
              </a:ext>
            </a:extLst>
          </p:cNvPr>
          <p:cNvSpPr>
            <a:spLocks noGrp="1"/>
          </p:cNvSpPr>
          <p:nvPr>
            <p:ph type="body" sz="quarter" idx="41" hasCustomPrompt="1"/>
          </p:nvPr>
        </p:nvSpPr>
        <p:spPr>
          <a:xfrm>
            <a:off x="404813" y="3846611"/>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3" name="Text Placeholder 2">
            <a:extLst>
              <a:ext uri="{FF2B5EF4-FFF2-40B4-BE49-F238E27FC236}">
                <a16:creationId xmlns:a16="http://schemas.microsoft.com/office/drawing/2014/main" id="{28A18388-F62A-13D5-BBEE-582271022735}"/>
              </a:ext>
            </a:extLst>
          </p:cNvPr>
          <p:cNvSpPr>
            <a:spLocks noGrp="1"/>
          </p:cNvSpPr>
          <p:nvPr>
            <p:ph type="body" sz="quarter" idx="42" hasCustomPrompt="1"/>
          </p:nvPr>
        </p:nvSpPr>
        <p:spPr>
          <a:xfrm>
            <a:off x="1504149" y="3846611"/>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34" name="Text Placeholder 3">
            <a:extLst>
              <a:ext uri="{FF2B5EF4-FFF2-40B4-BE49-F238E27FC236}">
                <a16:creationId xmlns:a16="http://schemas.microsoft.com/office/drawing/2014/main" id="{231E6D39-6AE2-E985-9DAE-92D5F367698B}"/>
              </a:ext>
            </a:extLst>
          </p:cNvPr>
          <p:cNvSpPr>
            <a:spLocks noGrp="1"/>
          </p:cNvSpPr>
          <p:nvPr>
            <p:ph type="body" sz="quarter" idx="43" hasCustomPrompt="1"/>
          </p:nvPr>
        </p:nvSpPr>
        <p:spPr>
          <a:xfrm>
            <a:off x="405001" y="4086882"/>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5" name="Text Placeholder 2">
            <a:extLst>
              <a:ext uri="{FF2B5EF4-FFF2-40B4-BE49-F238E27FC236}">
                <a16:creationId xmlns:a16="http://schemas.microsoft.com/office/drawing/2014/main" id="{FED9C863-C34F-399D-6ED6-BA93913CB8E0}"/>
              </a:ext>
            </a:extLst>
          </p:cNvPr>
          <p:cNvSpPr>
            <a:spLocks noGrp="1"/>
          </p:cNvSpPr>
          <p:nvPr>
            <p:ph type="body" sz="quarter" idx="44" hasCustomPrompt="1"/>
          </p:nvPr>
        </p:nvSpPr>
        <p:spPr>
          <a:xfrm>
            <a:off x="1504336" y="4086882"/>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36" name="Text Placeholder 3">
            <a:extLst>
              <a:ext uri="{FF2B5EF4-FFF2-40B4-BE49-F238E27FC236}">
                <a16:creationId xmlns:a16="http://schemas.microsoft.com/office/drawing/2014/main" id="{DB083309-C46A-38CE-0FFB-3027F1DE00B8}"/>
              </a:ext>
            </a:extLst>
          </p:cNvPr>
          <p:cNvSpPr>
            <a:spLocks noGrp="1"/>
          </p:cNvSpPr>
          <p:nvPr>
            <p:ph type="body" sz="quarter" idx="45" hasCustomPrompt="1"/>
          </p:nvPr>
        </p:nvSpPr>
        <p:spPr>
          <a:xfrm>
            <a:off x="405001" y="4327153"/>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7" name="Text Placeholder 2">
            <a:extLst>
              <a:ext uri="{FF2B5EF4-FFF2-40B4-BE49-F238E27FC236}">
                <a16:creationId xmlns:a16="http://schemas.microsoft.com/office/drawing/2014/main" id="{55AD81F8-13FF-AD9A-07F0-D91DB37D44D8}"/>
              </a:ext>
            </a:extLst>
          </p:cNvPr>
          <p:cNvSpPr>
            <a:spLocks noGrp="1"/>
          </p:cNvSpPr>
          <p:nvPr>
            <p:ph type="body" sz="quarter" idx="46" hasCustomPrompt="1"/>
          </p:nvPr>
        </p:nvSpPr>
        <p:spPr>
          <a:xfrm>
            <a:off x="1504336" y="4327153"/>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18" name="Pladsholder til dato 17">
            <a:extLst>
              <a:ext uri="{FF2B5EF4-FFF2-40B4-BE49-F238E27FC236}">
                <a16:creationId xmlns:a16="http://schemas.microsoft.com/office/drawing/2014/main" id="{CD90634D-8101-F6C4-83E7-B23E68904390}"/>
              </a:ext>
            </a:extLst>
          </p:cNvPr>
          <p:cNvSpPr>
            <a:spLocks noGrp="1"/>
          </p:cNvSpPr>
          <p:nvPr>
            <p:ph type="dt" sz="half" idx="20"/>
          </p:nvPr>
        </p:nvSpPr>
        <p:spPr/>
        <p:txBody>
          <a:bodyPr/>
          <a:lstStyle/>
          <a:p>
            <a:fld id="{2A9E7E65-270D-4F3F-848C-98E95A93B5E1}" type="datetime2">
              <a:rPr lang="da-DK" smtClean="0"/>
              <a:t>11. december 2025</a:t>
            </a:fld>
            <a:endParaRPr lang="da-DK"/>
          </a:p>
        </p:txBody>
      </p:sp>
      <p:sp>
        <p:nvSpPr>
          <p:cNvPr id="19" name="Pladsholder til sidefod 18">
            <a:extLst>
              <a:ext uri="{FF2B5EF4-FFF2-40B4-BE49-F238E27FC236}">
                <a16:creationId xmlns:a16="http://schemas.microsoft.com/office/drawing/2014/main" id="{FAD3D5B6-58B2-9664-F0BC-1DEF32B0772B}"/>
              </a:ext>
            </a:extLst>
          </p:cNvPr>
          <p:cNvSpPr>
            <a:spLocks noGrp="1"/>
          </p:cNvSpPr>
          <p:nvPr>
            <p:ph type="ftr" sz="quarter" idx="21"/>
          </p:nvPr>
        </p:nvSpPr>
        <p:spPr/>
        <p:txBody>
          <a:bodyPr/>
          <a:lstStyle/>
          <a:p>
            <a:r>
              <a:rPr lang="da-DK"/>
              <a:t>Digitaliseringsstyrelsen</a:t>
            </a:r>
          </a:p>
        </p:txBody>
      </p:sp>
      <p:sp>
        <p:nvSpPr>
          <p:cNvPr id="20" name="Pladsholder til slidenummer 19">
            <a:extLst>
              <a:ext uri="{FF2B5EF4-FFF2-40B4-BE49-F238E27FC236}">
                <a16:creationId xmlns:a16="http://schemas.microsoft.com/office/drawing/2014/main" id="{DFAA6004-F3B1-3667-5F85-60651A0B7444}"/>
              </a:ext>
            </a:extLst>
          </p:cNvPr>
          <p:cNvSpPr>
            <a:spLocks noGrp="1"/>
          </p:cNvSpPr>
          <p:nvPr>
            <p:ph type="sldNum" sz="quarter" idx="22"/>
          </p:nvPr>
        </p:nvSpPr>
        <p:spPr/>
        <p:txBody>
          <a:bodyPr/>
          <a:lstStyle/>
          <a:p>
            <a:fld id="{24C8C45C-947F-4981-8B3F-4F32E973C901}" type="slidenum">
              <a:rPr lang="da-DK" smtClean="0"/>
              <a:pPr/>
              <a:t>‹nr.›</a:t>
            </a:fld>
            <a:endParaRPr lang="da-DK"/>
          </a:p>
        </p:txBody>
      </p:sp>
      <p:grpSp>
        <p:nvGrpSpPr>
          <p:cNvPr id="8" name="Makro grafik 1">
            <a:extLst>
              <a:ext uri="{FF2B5EF4-FFF2-40B4-BE49-F238E27FC236}">
                <a16:creationId xmlns:a16="http://schemas.microsoft.com/office/drawing/2014/main" id="{7CB9B91B-9F42-9A6B-994C-DBFB7D0F9075}"/>
              </a:ext>
            </a:extLst>
          </p:cNvPr>
          <p:cNvGrpSpPr/>
          <p:nvPr userDrawn="1"/>
        </p:nvGrpSpPr>
        <p:grpSpPr>
          <a:xfrm>
            <a:off x="6550364" y="661590"/>
            <a:ext cx="2202731" cy="3163881"/>
            <a:chOff x="14414221" y="1458764"/>
            <a:chExt cx="4856885" cy="6976163"/>
          </a:xfrm>
          <a:solidFill>
            <a:srgbClr val="4D7836"/>
          </a:solidFill>
        </p:grpSpPr>
        <p:sp>
          <p:nvSpPr>
            <p:cNvPr id="9" name="object 39">
              <a:extLst>
                <a:ext uri="{FF2B5EF4-FFF2-40B4-BE49-F238E27FC236}">
                  <a16:creationId xmlns:a16="http://schemas.microsoft.com/office/drawing/2014/main" id="{DBE52B15-4C22-6CD1-3F0A-BB3A69D3053E}"/>
                </a:ext>
              </a:extLst>
            </p:cNvPr>
            <p:cNvSpPr/>
            <p:nvPr/>
          </p:nvSpPr>
          <p:spPr>
            <a:xfrm>
              <a:off x="17451196" y="6499447"/>
              <a:ext cx="1819910" cy="1935480"/>
            </a:xfrm>
            <a:custGeom>
              <a:avLst/>
              <a:gdLst/>
              <a:ahLst/>
              <a:cxnLst/>
              <a:rect l="l" t="t" r="r" b="b"/>
              <a:pathLst>
                <a:path w="1819909" h="1935479">
                  <a:moveTo>
                    <a:pt x="1005204" y="0"/>
                  </a:moveTo>
                  <a:lnTo>
                    <a:pt x="814216" y="0"/>
                  </a:lnTo>
                  <a:lnTo>
                    <a:pt x="824268" y="849398"/>
                  </a:lnTo>
                  <a:lnTo>
                    <a:pt x="100520" y="422185"/>
                  </a:lnTo>
                  <a:lnTo>
                    <a:pt x="0" y="577991"/>
                  </a:lnTo>
                  <a:lnTo>
                    <a:pt x="738825" y="995152"/>
                  </a:lnTo>
                  <a:lnTo>
                    <a:pt x="0" y="1402260"/>
                  </a:lnTo>
                  <a:lnTo>
                    <a:pt x="100520" y="1558067"/>
                  </a:lnTo>
                  <a:lnTo>
                    <a:pt x="824268" y="1130855"/>
                  </a:lnTo>
                  <a:lnTo>
                    <a:pt x="814216" y="1935019"/>
                  </a:lnTo>
                  <a:lnTo>
                    <a:pt x="1005204" y="1935019"/>
                  </a:lnTo>
                  <a:lnTo>
                    <a:pt x="1000178" y="1130855"/>
                  </a:lnTo>
                  <a:lnTo>
                    <a:pt x="1723926" y="1558067"/>
                  </a:lnTo>
                  <a:lnTo>
                    <a:pt x="1819421" y="1402260"/>
                  </a:lnTo>
                  <a:lnTo>
                    <a:pt x="1090647" y="995152"/>
                  </a:lnTo>
                  <a:lnTo>
                    <a:pt x="1819421" y="577991"/>
                  </a:lnTo>
                  <a:lnTo>
                    <a:pt x="1723926" y="422185"/>
                  </a:lnTo>
                  <a:lnTo>
                    <a:pt x="1000178" y="849398"/>
                  </a:lnTo>
                  <a:lnTo>
                    <a:pt x="1005204" y="0"/>
                  </a:lnTo>
                  <a:close/>
                </a:path>
              </a:pathLst>
            </a:custGeom>
            <a:grpFill/>
          </p:spPr>
          <p:txBody>
            <a:bodyPr wrap="square" lIns="0" tIns="0" rIns="0" bIns="0" rtlCol="0"/>
            <a:lstStyle/>
            <a:p>
              <a:endParaRPr lang="da-DK" sz="816"/>
            </a:p>
          </p:txBody>
        </p:sp>
        <p:sp>
          <p:nvSpPr>
            <p:cNvPr id="10" name="object 40">
              <a:extLst>
                <a:ext uri="{FF2B5EF4-FFF2-40B4-BE49-F238E27FC236}">
                  <a16:creationId xmlns:a16="http://schemas.microsoft.com/office/drawing/2014/main" id="{EB105B90-9C2A-E001-81E9-CB88B077A266}"/>
                </a:ext>
              </a:extLst>
            </p:cNvPr>
            <p:cNvSpPr/>
            <p:nvPr/>
          </p:nvSpPr>
          <p:spPr>
            <a:xfrm>
              <a:off x="16290024" y="1484470"/>
              <a:ext cx="1106170" cy="3879850"/>
            </a:xfrm>
            <a:custGeom>
              <a:avLst/>
              <a:gdLst/>
              <a:ahLst/>
              <a:cxnLst/>
              <a:rect l="l" t="t" r="r" b="b"/>
              <a:pathLst>
                <a:path w="1106169" h="3879850">
                  <a:moveTo>
                    <a:pt x="1105725" y="0"/>
                  </a:moveTo>
                  <a:lnTo>
                    <a:pt x="0" y="0"/>
                  </a:lnTo>
                  <a:lnTo>
                    <a:pt x="0" y="175260"/>
                  </a:lnTo>
                  <a:lnTo>
                    <a:pt x="0" y="3703320"/>
                  </a:lnTo>
                  <a:lnTo>
                    <a:pt x="0" y="3879850"/>
                  </a:lnTo>
                  <a:lnTo>
                    <a:pt x="1105725" y="3879850"/>
                  </a:lnTo>
                  <a:lnTo>
                    <a:pt x="1105725" y="3703320"/>
                  </a:lnTo>
                  <a:lnTo>
                    <a:pt x="206070" y="3703320"/>
                  </a:lnTo>
                  <a:lnTo>
                    <a:pt x="206070" y="175260"/>
                  </a:lnTo>
                  <a:lnTo>
                    <a:pt x="1105725" y="175260"/>
                  </a:lnTo>
                  <a:lnTo>
                    <a:pt x="1105725" y="0"/>
                  </a:lnTo>
                  <a:close/>
                </a:path>
              </a:pathLst>
            </a:custGeom>
            <a:grpFill/>
          </p:spPr>
          <p:txBody>
            <a:bodyPr wrap="square" lIns="0" tIns="0" rIns="0" bIns="0" rtlCol="0"/>
            <a:lstStyle/>
            <a:p>
              <a:endParaRPr lang="da-DK" sz="816"/>
            </a:p>
          </p:txBody>
        </p:sp>
        <p:sp>
          <p:nvSpPr>
            <p:cNvPr id="11" name="object 41">
              <a:extLst>
                <a:ext uri="{FF2B5EF4-FFF2-40B4-BE49-F238E27FC236}">
                  <a16:creationId xmlns:a16="http://schemas.microsoft.com/office/drawing/2014/main" id="{A8034995-BEAF-5ACC-DB5F-82B335A4970C}"/>
                </a:ext>
              </a:extLst>
            </p:cNvPr>
            <p:cNvSpPr/>
            <p:nvPr/>
          </p:nvSpPr>
          <p:spPr>
            <a:xfrm>
              <a:off x="14414221" y="1458764"/>
              <a:ext cx="1362075" cy="3920490"/>
            </a:xfrm>
            <a:custGeom>
              <a:avLst/>
              <a:gdLst/>
              <a:ahLst/>
              <a:cxnLst/>
              <a:rect l="l" t="t" r="r" b="b"/>
              <a:pathLst>
                <a:path w="1362075" h="3920490">
                  <a:moveTo>
                    <a:pt x="1362052" y="0"/>
                  </a:moveTo>
                  <a:lnTo>
                    <a:pt x="1309311" y="614"/>
                  </a:lnTo>
                  <a:lnTo>
                    <a:pt x="1257861" y="2451"/>
                  </a:lnTo>
                  <a:lnTo>
                    <a:pt x="1207687" y="5503"/>
                  </a:lnTo>
                  <a:lnTo>
                    <a:pt x="1158776" y="9759"/>
                  </a:lnTo>
                  <a:lnTo>
                    <a:pt x="1111113" y="15212"/>
                  </a:lnTo>
                  <a:lnTo>
                    <a:pt x="1064684" y="21852"/>
                  </a:lnTo>
                  <a:lnTo>
                    <a:pt x="1019476" y="29671"/>
                  </a:lnTo>
                  <a:lnTo>
                    <a:pt x="975474" y="38659"/>
                  </a:lnTo>
                  <a:lnTo>
                    <a:pt x="932664" y="48808"/>
                  </a:lnTo>
                  <a:lnTo>
                    <a:pt x="891033" y="60109"/>
                  </a:lnTo>
                  <a:lnTo>
                    <a:pt x="850565" y="72552"/>
                  </a:lnTo>
                  <a:lnTo>
                    <a:pt x="811247" y="86129"/>
                  </a:lnTo>
                  <a:lnTo>
                    <a:pt x="773065" y="100832"/>
                  </a:lnTo>
                  <a:lnTo>
                    <a:pt x="736005" y="116650"/>
                  </a:lnTo>
                  <a:lnTo>
                    <a:pt x="700052" y="133576"/>
                  </a:lnTo>
                  <a:lnTo>
                    <a:pt x="665193" y="151600"/>
                  </a:lnTo>
                  <a:lnTo>
                    <a:pt x="631413" y="170714"/>
                  </a:lnTo>
                  <a:lnTo>
                    <a:pt x="598698" y="190908"/>
                  </a:lnTo>
                  <a:lnTo>
                    <a:pt x="567035" y="212174"/>
                  </a:lnTo>
                  <a:lnTo>
                    <a:pt x="506807" y="257884"/>
                  </a:lnTo>
                  <a:lnTo>
                    <a:pt x="450615" y="307775"/>
                  </a:lnTo>
                  <a:lnTo>
                    <a:pt x="398346" y="361774"/>
                  </a:lnTo>
                  <a:lnTo>
                    <a:pt x="349888" y="419810"/>
                  </a:lnTo>
                  <a:lnTo>
                    <a:pt x="327053" y="450319"/>
                  </a:lnTo>
                  <a:lnTo>
                    <a:pt x="305128" y="481812"/>
                  </a:lnTo>
                  <a:lnTo>
                    <a:pt x="284100" y="514278"/>
                  </a:lnTo>
                  <a:lnTo>
                    <a:pt x="263954" y="547709"/>
                  </a:lnTo>
                  <a:lnTo>
                    <a:pt x="244677" y="582096"/>
                  </a:lnTo>
                  <a:lnTo>
                    <a:pt x="226253" y="617430"/>
                  </a:lnTo>
                  <a:lnTo>
                    <a:pt x="208670" y="653702"/>
                  </a:lnTo>
                  <a:lnTo>
                    <a:pt x="191912" y="690903"/>
                  </a:lnTo>
                  <a:lnTo>
                    <a:pt x="175967" y="729024"/>
                  </a:lnTo>
                  <a:lnTo>
                    <a:pt x="160819" y="768057"/>
                  </a:lnTo>
                  <a:lnTo>
                    <a:pt x="146455" y="807992"/>
                  </a:lnTo>
                  <a:lnTo>
                    <a:pt x="132860" y="848821"/>
                  </a:lnTo>
                  <a:lnTo>
                    <a:pt x="120022" y="890535"/>
                  </a:lnTo>
                  <a:lnTo>
                    <a:pt x="107924" y="933125"/>
                  </a:lnTo>
                  <a:lnTo>
                    <a:pt x="96554" y="976581"/>
                  </a:lnTo>
                  <a:lnTo>
                    <a:pt x="85898" y="1020895"/>
                  </a:lnTo>
                  <a:lnTo>
                    <a:pt x="75940" y="1066059"/>
                  </a:lnTo>
                  <a:lnTo>
                    <a:pt x="66668" y="1112062"/>
                  </a:lnTo>
                  <a:lnTo>
                    <a:pt x="58067" y="1158897"/>
                  </a:lnTo>
                  <a:lnTo>
                    <a:pt x="50122" y="1206555"/>
                  </a:lnTo>
                  <a:lnTo>
                    <a:pt x="42821" y="1255025"/>
                  </a:lnTo>
                  <a:lnTo>
                    <a:pt x="36148" y="1304301"/>
                  </a:lnTo>
                  <a:lnTo>
                    <a:pt x="30091" y="1354372"/>
                  </a:lnTo>
                  <a:lnTo>
                    <a:pt x="24634" y="1405230"/>
                  </a:lnTo>
                  <a:lnTo>
                    <a:pt x="19763" y="1456866"/>
                  </a:lnTo>
                  <a:lnTo>
                    <a:pt x="15465" y="1509270"/>
                  </a:lnTo>
                  <a:lnTo>
                    <a:pt x="11725" y="1562435"/>
                  </a:lnTo>
                  <a:lnTo>
                    <a:pt x="8530" y="1616351"/>
                  </a:lnTo>
                  <a:lnTo>
                    <a:pt x="5865" y="1671009"/>
                  </a:lnTo>
                  <a:lnTo>
                    <a:pt x="3716" y="1726401"/>
                  </a:lnTo>
                  <a:lnTo>
                    <a:pt x="2069" y="1782517"/>
                  </a:lnTo>
                  <a:lnTo>
                    <a:pt x="910" y="1839349"/>
                  </a:lnTo>
                  <a:lnTo>
                    <a:pt x="225" y="1896887"/>
                  </a:lnTo>
                  <a:lnTo>
                    <a:pt x="0" y="1955123"/>
                  </a:lnTo>
                  <a:lnTo>
                    <a:pt x="221" y="2013606"/>
                  </a:lnTo>
                  <a:lnTo>
                    <a:pt x="894" y="2071392"/>
                  </a:lnTo>
                  <a:lnTo>
                    <a:pt x="2034" y="2128470"/>
                  </a:lnTo>
                  <a:lnTo>
                    <a:pt x="3655" y="2184833"/>
                  </a:lnTo>
                  <a:lnTo>
                    <a:pt x="5772" y="2240470"/>
                  </a:lnTo>
                  <a:lnTo>
                    <a:pt x="8398" y="2295374"/>
                  </a:lnTo>
                  <a:lnTo>
                    <a:pt x="11549" y="2349534"/>
                  </a:lnTo>
                  <a:lnTo>
                    <a:pt x="15240" y="2402942"/>
                  </a:lnTo>
                  <a:lnTo>
                    <a:pt x="19483" y="2455589"/>
                  </a:lnTo>
                  <a:lnTo>
                    <a:pt x="24295" y="2507466"/>
                  </a:lnTo>
                  <a:lnTo>
                    <a:pt x="29689" y="2558564"/>
                  </a:lnTo>
                  <a:lnTo>
                    <a:pt x="35680" y="2608873"/>
                  </a:lnTo>
                  <a:lnTo>
                    <a:pt x="42282" y="2658386"/>
                  </a:lnTo>
                  <a:lnTo>
                    <a:pt x="49510" y="2707092"/>
                  </a:lnTo>
                  <a:lnTo>
                    <a:pt x="57379" y="2754982"/>
                  </a:lnTo>
                  <a:lnTo>
                    <a:pt x="65903" y="2802048"/>
                  </a:lnTo>
                  <a:lnTo>
                    <a:pt x="75095" y="2848281"/>
                  </a:lnTo>
                  <a:lnTo>
                    <a:pt x="84972" y="2893671"/>
                  </a:lnTo>
                  <a:lnTo>
                    <a:pt x="95547" y="2938210"/>
                  </a:lnTo>
                  <a:lnTo>
                    <a:pt x="106835" y="2981888"/>
                  </a:lnTo>
                  <a:lnTo>
                    <a:pt x="118850" y="3024697"/>
                  </a:lnTo>
                  <a:lnTo>
                    <a:pt x="131606" y="3066627"/>
                  </a:lnTo>
                  <a:lnTo>
                    <a:pt x="145119" y="3107670"/>
                  </a:lnTo>
                  <a:lnTo>
                    <a:pt x="159403" y="3147816"/>
                  </a:lnTo>
                  <a:lnTo>
                    <a:pt x="174472" y="3187056"/>
                  </a:lnTo>
                  <a:lnTo>
                    <a:pt x="190341" y="3225381"/>
                  </a:lnTo>
                  <a:lnTo>
                    <a:pt x="207023" y="3262783"/>
                  </a:lnTo>
                  <a:lnTo>
                    <a:pt x="224535" y="3299252"/>
                  </a:lnTo>
                  <a:lnTo>
                    <a:pt x="242889" y="3334779"/>
                  </a:lnTo>
                  <a:lnTo>
                    <a:pt x="262101" y="3369355"/>
                  </a:lnTo>
                  <a:lnTo>
                    <a:pt x="282185" y="3402971"/>
                  </a:lnTo>
                  <a:lnTo>
                    <a:pt x="303156" y="3435619"/>
                  </a:lnTo>
                  <a:lnTo>
                    <a:pt x="325027" y="3467288"/>
                  </a:lnTo>
                  <a:lnTo>
                    <a:pt x="347815" y="3497971"/>
                  </a:lnTo>
                  <a:lnTo>
                    <a:pt x="396194" y="3556338"/>
                  </a:lnTo>
                  <a:lnTo>
                    <a:pt x="448408" y="3610650"/>
                  </a:lnTo>
                  <a:lnTo>
                    <a:pt x="504575" y="3660832"/>
                  </a:lnTo>
                  <a:lnTo>
                    <a:pt x="564809" y="3706814"/>
                  </a:lnTo>
                  <a:lnTo>
                    <a:pt x="596488" y="3728207"/>
                  </a:lnTo>
                  <a:lnTo>
                    <a:pt x="629227" y="3748522"/>
                  </a:lnTo>
                  <a:lnTo>
                    <a:pt x="663040" y="3767752"/>
                  </a:lnTo>
                  <a:lnTo>
                    <a:pt x="697943" y="3785885"/>
                  </a:lnTo>
                  <a:lnTo>
                    <a:pt x="733950" y="3802915"/>
                  </a:lnTo>
                  <a:lnTo>
                    <a:pt x="771075" y="3818830"/>
                  </a:lnTo>
                  <a:lnTo>
                    <a:pt x="809333" y="3833624"/>
                  </a:lnTo>
                  <a:lnTo>
                    <a:pt x="848738" y="3847286"/>
                  </a:lnTo>
                  <a:lnTo>
                    <a:pt x="889305" y="3859807"/>
                  </a:lnTo>
                  <a:lnTo>
                    <a:pt x="931048" y="3871178"/>
                  </a:lnTo>
                  <a:lnTo>
                    <a:pt x="973981" y="3881391"/>
                  </a:lnTo>
                  <a:lnTo>
                    <a:pt x="1018120" y="3890436"/>
                  </a:lnTo>
                  <a:lnTo>
                    <a:pt x="1063479" y="3898305"/>
                  </a:lnTo>
                  <a:lnTo>
                    <a:pt x="1110071" y="3904988"/>
                  </a:lnTo>
                  <a:lnTo>
                    <a:pt x="1157912" y="3910476"/>
                  </a:lnTo>
                  <a:lnTo>
                    <a:pt x="1207016" y="3914760"/>
                  </a:lnTo>
                  <a:lnTo>
                    <a:pt x="1257398" y="3917831"/>
                  </a:lnTo>
                  <a:lnTo>
                    <a:pt x="1309072" y="3919681"/>
                  </a:lnTo>
                  <a:lnTo>
                    <a:pt x="1362052" y="3920299"/>
                  </a:lnTo>
                  <a:lnTo>
                    <a:pt x="1362052" y="3744388"/>
                  </a:lnTo>
                  <a:lnTo>
                    <a:pt x="1310968" y="3743717"/>
                  </a:lnTo>
                  <a:lnTo>
                    <a:pt x="1261330" y="3741708"/>
                  </a:lnTo>
                  <a:lnTo>
                    <a:pt x="1213120" y="3738372"/>
                  </a:lnTo>
                  <a:lnTo>
                    <a:pt x="1166318" y="3733716"/>
                  </a:lnTo>
                  <a:lnTo>
                    <a:pt x="1120905" y="3727750"/>
                  </a:lnTo>
                  <a:lnTo>
                    <a:pt x="1076863" y="3720483"/>
                  </a:lnTo>
                  <a:lnTo>
                    <a:pt x="1034171" y="3711923"/>
                  </a:lnTo>
                  <a:lnTo>
                    <a:pt x="992812" y="3702080"/>
                  </a:lnTo>
                  <a:lnTo>
                    <a:pt x="952766" y="3690962"/>
                  </a:lnTo>
                  <a:lnTo>
                    <a:pt x="914015" y="3678578"/>
                  </a:lnTo>
                  <a:lnTo>
                    <a:pt x="876538" y="3664937"/>
                  </a:lnTo>
                  <a:lnTo>
                    <a:pt x="840318" y="3650048"/>
                  </a:lnTo>
                  <a:lnTo>
                    <a:pt x="805334" y="3633919"/>
                  </a:lnTo>
                  <a:lnTo>
                    <a:pt x="739003" y="3597980"/>
                  </a:lnTo>
                  <a:lnTo>
                    <a:pt x="677391" y="3557191"/>
                  </a:lnTo>
                  <a:lnTo>
                    <a:pt x="620346" y="3511622"/>
                  </a:lnTo>
                  <a:lnTo>
                    <a:pt x="567718" y="3461345"/>
                  </a:lnTo>
                  <a:lnTo>
                    <a:pt x="519352" y="3406431"/>
                  </a:lnTo>
                  <a:lnTo>
                    <a:pt x="475097" y="3346951"/>
                  </a:lnTo>
                  <a:lnTo>
                    <a:pt x="434800" y="3282975"/>
                  </a:lnTo>
                  <a:lnTo>
                    <a:pt x="416089" y="3249324"/>
                  </a:lnTo>
                  <a:lnTo>
                    <a:pt x="398310" y="3214576"/>
                  </a:lnTo>
                  <a:lnTo>
                    <a:pt x="381445" y="3178739"/>
                  </a:lnTo>
                  <a:lnTo>
                    <a:pt x="365474" y="3141823"/>
                  </a:lnTo>
                  <a:lnTo>
                    <a:pt x="350379" y="3103837"/>
                  </a:lnTo>
                  <a:lnTo>
                    <a:pt x="336140" y="3064789"/>
                  </a:lnTo>
                  <a:lnTo>
                    <a:pt x="322739" y="3024688"/>
                  </a:lnTo>
                  <a:lnTo>
                    <a:pt x="310155" y="2983544"/>
                  </a:lnTo>
                  <a:lnTo>
                    <a:pt x="298372" y="2941364"/>
                  </a:lnTo>
                  <a:lnTo>
                    <a:pt x="287368" y="2898159"/>
                  </a:lnTo>
                  <a:lnTo>
                    <a:pt x="277126" y="2853936"/>
                  </a:lnTo>
                  <a:lnTo>
                    <a:pt x="267626" y="2808705"/>
                  </a:lnTo>
                  <a:lnTo>
                    <a:pt x="258849" y="2762474"/>
                  </a:lnTo>
                  <a:lnTo>
                    <a:pt x="250777" y="2715253"/>
                  </a:lnTo>
                  <a:lnTo>
                    <a:pt x="243389" y="2667050"/>
                  </a:lnTo>
                  <a:lnTo>
                    <a:pt x="236668" y="2617875"/>
                  </a:lnTo>
                  <a:lnTo>
                    <a:pt x="230594" y="2567735"/>
                  </a:lnTo>
                  <a:lnTo>
                    <a:pt x="225147" y="2516641"/>
                  </a:lnTo>
                  <a:lnTo>
                    <a:pt x="220310" y="2464600"/>
                  </a:lnTo>
                  <a:lnTo>
                    <a:pt x="216063" y="2411622"/>
                  </a:lnTo>
                  <a:lnTo>
                    <a:pt x="212387" y="2357716"/>
                  </a:lnTo>
                  <a:lnTo>
                    <a:pt x="209262" y="2302890"/>
                  </a:lnTo>
                  <a:lnTo>
                    <a:pt x="206671" y="2247154"/>
                  </a:lnTo>
                  <a:lnTo>
                    <a:pt x="204593" y="2190516"/>
                  </a:lnTo>
                  <a:lnTo>
                    <a:pt x="203010" y="2132985"/>
                  </a:lnTo>
                  <a:lnTo>
                    <a:pt x="201903" y="2074570"/>
                  </a:lnTo>
                  <a:lnTo>
                    <a:pt x="201253" y="2015280"/>
                  </a:lnTo>
                  <a:lnTo>
                    <a:pt x="201040" y="1955123"/>
                  </a:lnTo>
                  <a:lnTo>
                    <a:pt x="201271" y="1894678"/>
                  </a:lnTo>
                  <a:lnTo>
                    <a:pt x="201976" y="1835092"/>
                  </a:lnTo>
                  <a:lnTo>
                    <a:pt x="203173" y="1776374"/>
                  </a:lnTo>
                  <a:lnTo>
                    <a:pt x="204883" y="1718535"/>
                  </a:lnTo>
                  <a:lnTo>
                    <a:pt x="207123" y="1661585"/>
                  </a:lnTo>
                  <a:lnTo>
                    <a:pt x="209914" y="1605535"/>
                  </a:lnTo>
                  <a:lnTo>
                    <a:pt x="213273" y="1550395"/>
                  </a:lnTo>
                  <a:lnTo>
                    <a:pt x="217219" y="1496176"/>
                  </a:lnTo>
                  <a:lnTo>
                    <a:pt x="221773" y="1442888"/>
                  </a:lnTo>
                  <a:lnTo>
                    <a:pt x="226952" y="1390540"/>
                  </a:lnTo>
                  <a:lnTo>
                    <a:pt x="232776" y="1339144"/>
                  </a:lnTo>
                  <a:lnTo>
                    <a:pt x="239263" y="1288710"/>
                  </a:lnTo>
                  <a:lnTo>
                    <a:pt x="246433" y="1239247"/>
                  </a:lnTo>
                  <a:lnTo>
                    <a:pt x="254304" y="1190768"/>
                  </a:lnTo>
                  <a:lnTo>
                    <a:pt x="262896" y="1143281"/>
                  </a:lnTo>
                  <a:lnTo>
                    <a:pt x="272228" y="1096797"/>
                  </a:lnTo>
                  <a:lnTo>
                    <a:pt x="282317" y="1051326"/>
                  </a:lnTo>
                  <a:lnTo>
                    <a:pt x="293184" y="1006880"/>
                  </a:lnTo>
                  <a:lnTo>
                    <a:pt x="304848" y="963467"/>
                  </a:lnTo>
                  <a:lnTo>
                    <a:pt x="317326" y="921100"/>
                  </a:lnTo>
                  <a:lnTo>
                    <a:pt x="330639" y="879787"/>
                  </a:lnTo>
                  <a:lnTo>
                    <a:pt x="344805" y="839539"/>
                  </a:lnTo>
                  <a:lnTo>
                    <a:pt x="359843" y="800366"/>
                  </a:lnTo>
                  <a:lnTo>
                    <a:pt x="375772" y="762280"/>
                  </a:lnTo>
                  <a:lnTo>
                    <a:pt x="392612" y="725290"/>
                  </a:lnTo>
                  <a:lnTo>
                    <a:pt x="410380" y="689406"/>
                  </a:lnTo>
                  <a:lnTo>
                    <a:pt x="429096" y="654639"/>
                  </a:lnTo>
                  <a:lnTo>
                    <a:pt x="448780" y="621000"/>
                  </a:lnTo>
                  <a:lnTo>
                    <a:pt x="469449" y="588498"/>
                  </a:lnTo>
                  <a:lnTo>
                    <a:pt x="491123" y="557144"/>
                  </a:lnTo>
                  <a:lnTo>
                    <a:pt x="537561" y="497921"/>
                  </a:lnTo>
                  <a:lnTo>
                    <a:pt x="588247" y="443413"/>
                  </a:lnTo>
                  <a:lnTo>
                    <a:pt x="643331" y="393705"/>
                  </a:lnTo>
                  <a:lnTo>
                    <a:pt x="702965" y="348877"/>
                  </a:lnTo>
                  <a:lnTo>
                    <a:pt x="767301" y="309014"/>
                  </a:lnTo>
                  <a:lnTo>
                    <a:pt x="801280" y="290969"/>
                  </a:lnTo>
                  <a:lnTo>
                    <a:pt x="836491" y="274197"/>
                  </a:lnTo>
                  <a:lnTo>
                    <a:pt x="872954" y="258707"/>
                  </a:lnTo>
                  <a:lnTo>
                    <a:pt x="910687" y="244510"/>
                  </a:lnTo>
                  <a:lnTo>
                    <a:pt x="949709" y="231615"/>
                  </a:lnTo>
                  <a:lnTo>
                    <a:pt x="990039" y="220035"/>
                  </a:lnTo>
                  <a:lnTo>
                    <a:pt x="1031697" y="209777"/>
                  </a:lnTo>
                  <a:lnTo>
                    <a:pt x="1074700" y="200854"/>
                  </a:lnTo>
                  <a:lnTo>
                    <a:pt x="1119069" y="193276"/>
                  </a:lnTo>
                  <a:lnTo>
                    <a:pt x="1164822" y="187052"/>
                  </a:lnTo>
                  <a:lnTo>
                    <a:pt x="1211977" y="182193"/>
                  </a:lnTo>
                  <a:lnTo>
                    <a:pt x="1260555" y="178710"/>
                  </a:lnTo>
                  <a:lnTo>
                    <a:pt x="1310574" y="176612"/>
                  </a:lnTo>
                  <a:lnTo>
                    <a:pt x="1362052" y="175910"/>
                  </a:lnTo>
                  <a:lnTo>
                    <a:pt x="1362052" y="0"/>
                  </a:lnTo>
                  <a:close/>
                </a:path>
              </a:pathLst>
            </a:custGeom>
            <a:grpFill/>
          </p:spPr>
          <p:txBody>
            <a:bodyPr wrap="square" lIns="0" tIns="0" rIns="0" bIns="0" rtlCol="0"/>
            <a:lstStyle/>
            <a:p>
              <a:endParaRPr lang="da-DK" sz="816"/>
            </a:p>
          </p:txBody>
        </p:sp>
      </p:grpSp>
    </p:spTree>
    <p:extLst>
      <p:ext uri="{BB962C8B-B14F-4D97-AF65-F5344CB8AC3E}">
        <p14:creationId xmlns:p14="http://schemas.microsoft.com/office/powerpoint/2010/main" val="3371756790"/>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1201">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genda D">
    <p:spTree>
      <p:nvGrpSpPr>
        <p:cNvPr id="1" name=""/>
        <p:cNvGrpSpPr/>
        <p:nvPr/>
      </p:nvGrpSpPr>
      <p:grpSpPr>
        <a:xfrm>
          <a:off x="0" y="0"/>
          <a:ext cx="0" cy="0"/>
          <a:chOff x="0" y="0"/>
          <a:chExt cx="0" cy="0"/>
        </a:xfrm>
      </p:grpSpPr>
      <p:sp>
        <p:nvSpPr>
          <p:cNvPr id="2" name="Baggrund">
            <a:extLst>
              <a:ext uri="{FF2B5EF4-FFF2-40B4-BE49-F238E27FC236}">
                <a16:creationId xmlns:a16="http://schemas.microsoft.com/office/drawing/2014/main" id="{A3F99305-DD9A-28F1-23AF-2DF48A2D4923}"/>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3" name="Title 2">
            <a:extLst>
              <a:ext uri="{FF2B5EF4-FFF2-40B4-BE49-F238E27FC236}">
                <a16:creationId xmlns:a16="http://schemas.microsoft.com/office/drawing/2014/main" id="{7F65F358-3D0B-4C30-94C6-9BC8E1B3EA11}"/>
              </a:ext>
            </a:extLst>
          </p:cNvPr>
          <p:cNvSpPr>
            <a:spLocks noGrp="1"/>
          </p:cNvSpPr>
          <p:nvPr>
            <p:ph type="title" hasCustomPrompt="1"/>
          </p:nvPr>
        </p:nvSpPr>
        <p:spPr>
          <a:xfrm>
            <a:off x="405000" y="675000"/>
            <a:ext cx="5510025" cy="621000"/>
          </a:xfrm>
        </p:spPr>
        <p:txBody>
          <a:bodyPr/>
          <a:lstStyle>
            <a:lvl1pPr>
              <a:defRPr>
                <a:solidFill>
                  <a:schemeClr val="bg1"/>
                </a:solidFill>
              </a:defRPr>
            </a:lvl1pPr>
          </a:lstStyle>
          <a:p>
            <a:r>
              <a:rPr lang="da-DK"/>
              <a:t>Klik for at tilføje titel, Dagens Program</a:t>
            </a:r>
          </a:p>
        </p:txBody>
      </p:sp>
      <p:sp>
        <p:nvSpPr>
          <p:cNvPr id="5" name="Text Placeholder 3">
            <a:extLst>
              <a:ext uri="{FF2B5EF4-FFF2-40B4-BE49-F238E27FC236}">
                <a16:creationId xmlns:a16="http://schemas.microsoft.com/office/drawing/2014/main" id="{F88E1ED0-01CC-2DF6-D602-A0914930EA50}"/>
              </a:ext>
            </a:extLst>
          </p:cNvPr>
          <p:cNvSpPr>
            <a:spLocks noGrp="1"/>
          </p:cNvSpPr>
          <p:nvPr>
            <p:ph type="body" sz="quarter" idx="17" hasCustomPrompt="1"/>
          </p:nvPr>
        </p:nvSpPr>
        <p:spPr>
          <a:xfrm>
            <a:off x="405001" y="1431000"/>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6" name="Text Placeholder 2">
            <a:extLst>
              <a:ext uri="{FF2B5EF4-FFF2-40B4-BE49-F238E27FC236}">
                <a16:creationId xmlns:a16="http://schemas.microsoft.com/office/drawing/2014/main" id="{B63AAE3C-A90D-C461-6230-EAC8B7488BE2}"/>
              </a:ext>
            </a:extLst>
          </p:cNvPr>
          <p:cNvSpPr>
            <a:spLocks noGrp="1"/>
          </p:cNvSpPr>
          <p:nvPr>
            <p:ph type="body" sz="quarter" idx="13" hasCustomPrompt="1"/>
          </p:nvPr>
        </p:nvSpPr>
        <p:spPr>
          <a:xfrm>
            <a:off x="1504336" y="1431000"/>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ts val="1440"/>
              </a:lnSpc>
              <a:spcBef>
                <a:spcPts val="0"/>
              </a:spcBef>
              <a:spcAft>
                <a:spcPts val="0"/>
              </a:spcAft>
              <a:buFont typeface="Arial" panose="020B0604020202020204" pitchFamily="34" charset="0"/>
              <a:buChar char="​"/>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p:txBody>
      </p:sp>
      <p:sp>
        <p:nvSpPr>
          <p:cNvPr id="12" name="Text Placeholder 3">
            <a:extLst>
              <a:ext uri="{FF2B5EF4-FFF2-40B4-BE49-F238E27FC236}">
                <a16:creationId xmlns:a16="http://schemas.microsoft.com/office/drawing/2014/main" id="{BBFFFFAA-39D5-C49F-DA18-DAD679814B2B}"/>
              </a:ext>
            </a:extLst>
          </p:cNvPr>
          <p:cNvSpPr>
            <a:spLocks noGrp="1"/>
          </p:cNvSpPr>
          <p:nvPr>
            <p:ph type="body" sz="quarter" idx="23" hasCustomPrompt="1"/>
          </p:nvPr>
        </p:nvSpPr>
        <p:spPr>
          <a:xfrm>
            <a:off x="405001" y="1671271"/>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13" name="Text Placeholder 2">
            <a:extLst>
              <a:ext uri="{FF2B5EF4-FFF2-40B4-BE49-F238E27FC236}">
                <a16:creationId xmlns:a16="http://schemas.microsoft.com/office/drawing/2014/main" id="{97E337A9-30F6-F3A0-58BE-C01D420F915A}"/>
              </a:ext>
            </a:extLst>
          </p:cNvPr>
          <p:cNvSpPr>
            <a:spLocks noGrp="1"/>
          </p:cNvSpPr>
          <p:nvPr>
            <p:ph type="body" sz="quarter" idx="24" hasCustomPrompt="1"/>
          </p:nvPr>
        </p:nvSpPr>
        <p:spPr>
          <a:xfrm>
            <a:off x="1504336" y="1671271"/>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14" name="Text Placeholder 3">
            <a:extLst>
              <a:ext uri="{FF2B5EF4-FFF2-40B4-BE49-F238E27FC236}">
                <a16:creationId xmlns:a16="http://schemas.microsoft.com/office/drawing/2014/main" id="{E38D933A-9FA3-2ADC-9B86-7E5F7026FCF6}"/>
              </a:ext>
            </a:extLst>
          </p:cNvPr>
          <p:cNvSpPr>
            <a:spLocks noGrp="1"/>
          </p:cNvSpPr>
          <p:nvPr>
            <p:ph type="body" sz="quarter" idx="25" hasCustomPrompt="1"/>
          </p:nvPr>
        </p:nvSpPr>
        <p:spPr>
          <a:xfrm>
            <a:off x="405001" y="1911541"/>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15" name="Text Placeholder 2">
            <a:extLst>
              <a:ext uri="{FF2B5EF4-FFF2-40B4-BE49-F238E27FC236}">
                <a16:creationId xmlns:a16="http://schemas.microsoft.com/office/drawing/2014/main" id="{1310DB4C-BC22-D40A-5E2C-94515A9E0793}"/>
              </a:ext>
            </a:extLst>
          </p:cNvPr>
          <p:cNvSpPr>
            <a:spLocks noGrp="1"/>
          </p:cNvSpPr>
          <p:nvPr>
            <p:ph type="body" sz="quarter" idx="26" hasCustomPrompt="1"/>
          </p:nvPr>
        </p:nvSpPr>
        <p:spPr>
          <a:xfrm>
            <a:off x="1504336" y="1911541"/>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16" name="Text Placeholder 3">
            <a:extLst>
              <a:ext uri="{FF2B5EF4-FFF2-40B4-BE49-F238E27FC236}">
                <a16:creationId xmlns:a16="http://schemas.microsoft.com/office/drawing/2014/main" id="{C0E5AD6C-5938-6A0C-E2AB-FF85ED08746E}"/>
              </a:ext>
            </a:extLst>
          </p:cNvPr>
          <p:cNvSpPr>
            <a:spLocks noGrp="1"/>
          </p:cNvSpPr>
          <p:nvPr>
            <p:ph type="body" sz="quarter" idx="27" hasCustomPrompt="1"/>
          </p:nvPr>
        </p:nvSpPr>
        <p:spPr>
          <a:xfrm>
            <a:off x="405001" y="2153655"/>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17" name="Text Placeholder 2">
            <a:extLst>
              <a:ext uri="{FF2B5EF4-FFF2-40B4-BE49-F238E27FC236}">
                <a16:creationId xmlns:a16="http://schemas.microsoft.com/office/drawing/2014/main" id="{6A0002F7-1B0B-BC03-AD0B-945E0ABA541C}"/>
              </a:ext>
            </a:extLst>
          </p:cNvPr>
          <p:cNvSpPr>
            <a:spLocks noGrp="1"/>
          </p:cNvSpPr>
          <p:nvPr>
            <p:ph type="body" sz="quarter" idx="28" hasCustomPrompt="1"/>
          </p:nvPr>
        </p:nvSpPr>
        <p:spPr>
          <a:xfrm>
            <a:off x="1504336" y="2153655"/>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1" name="Text Placeholder 3">
            <a:extLst>
              <a:ext uri="{FF2B5EF4-FFF2-40B4-BE49-F238E27FC236}">
                <a16:creationId xmlns:a16="http://schemas.microsoft.com/office/drawing/2014/main" id="{5D92788C-674F-5223-AB65-3050D176848E}"/>
              </a:ext>
            </a:extLst>
          </p:cNvPr>
          <p:cNvSpPr>
            <a:spLocks noGrp="1"/>
          </p:cNvSpPr>
          <p:nvPr>
            <p:ph type="body" sz="quarter" idx="29" hasCustomPrompt="1"/>
          </p:nvPr>
        </p:nvSpPr>
        <p:spPr>
          <a:xfrm>
            <a:off x="405001" y="2395769"/>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2" name="Text Placeholder 2">
            <a:extLst>
              <a:ext uri="{FF2B5EF4-FFF2-40B4-BE49-F238E27FC236}">
                <a16:creationId xmlns:a16="http://schemas.microsoft.com/office/drawing/2014/main" id="{31B33523-F830-0C86-0C1B-B57F899C4D42}"/>
              </a:ext>
            </a:extLst>
          </p:cNvPr>
          <p:cNvSpPr>
            <a:spLocks noGrp="1"/>
          </p:cNvSpPr>
          <p:nvPr>
            <p:ph type="body" sz="quarter" idx="30" hasCustomPrompt="1"/>
          </p:nvPr>
        </p:nvSpPr>
        <p:spPr>
          <a:xfrm>
            <a:off x="1504336" y="2395769"/>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3" name="Text Placeholder 3">
            <a:extLst>
              <a:ext uri="{FF2B5EF4-FFF2-40B4-BE49-F238E27FC236}">
                <a16:creationId xmlns:a16="http://schemas.microsoft.com/office/drawing/2014/main" id="{4B6FE74C-6D16-0362-E73F-72A41C93F7DA}"/>
              </a:ext>
            </a:extLst>
          </p:cNvPr>
          <p:cNvSpPr>
            <a:spLocks noGrp="1"/>
          </p:cNvSpPr>
          <p:nvPr>
            <p:ph type="body" sz="quarter" idx="31" hasCustomPrompt="1"/>
          </p:nvPr>
        </p:nvSpPr>
        <p:spPr>
          <a:xfrm>
            <a:off x="405001" y="2637884"/>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4" name="Text Placeholder 2">
            <a:extLst>
              <a:ext uri="{FF2B5EF4-FFF2-40B4-BE49-F238E27FC236}">
                <a16:creationId xmlns:a16="http://schemas.microsoft.com/office/drawing/2014/main" id="{B3028FFA-A199-6D97-E1E9-18EF04061284}"/>
              </a:ext>
            </a:extLst>
          </p:cNvPr>
          <p:cNvSpPr>
            <a:spLocks noGrp="1"/>
          </p:cNvSpPr>
          <p:nvPr>
            <p:ph type="body" sz="quarter" idx="32" hasCustomPrompt="1"/>
          </p:nvPr>
        </p:nvSpPr>
        <p:spPr>
          <a:xfrm>
            <a:off x="1504336" y="2637884"/>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5" name="Text Placeholder 3">
            <a:extLst>
              <a:ext uri="{FF2B5EF4-FFF2-40B4-BE49-F238E27FC236}">
                <a16:creationId xmlns:a16="http://schemas.microsoft.com/office/drawing/2014/main" id="{0501CFF9-BA90-37F1-D083-9272B6896483}"/>
              </a:ext>
            </a:extLst>
          </p:cNvPr>
          <p:cNvSpPr>
            <a:spLocks noGrp="1"/>
          </p:cNvSpPr>
          <p:nvPr>
            <p:ph type="body" sz="quarter" idx="33" hasCustomPrompt="1"/>
          </p:nvPr>
        </p:nvSpPr>
        <p:spPr>
          <a:xfrm>
            <a:off x="405001" y="2879998"/>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6" name="Text Placeholder 2">
            <a:extLst>
              <a:ext uri="{FF2B5EF4-FFF2-40B4-BE49-F238E27FC236}">
                <a16:creationId xmlns:a16="http://schemas.microsoft.com/office/drawing/2014/main" id="{9DEEEAD9-800E-11FD-3B8F-7A72E3B7FC75}"/>
              </a:ext>
            </a:extLst>
          </p:cNvPr>
          <p:cNvSpPr>
            <a:spLocks noGrp="1"/>
          </p:cNvSpPr>
          <p:nvPr>
            <p:ph type="body" sz="quarter" idx="34" hasCustomPrompt="1"/>
          </p:nvPr>
        </p:nvSpPr>
        <p:spPr>
          <a:xfrm>
            <a:off x="1504336" y="2879998"/>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7" name="Text Placeholder 3">
            <a:extLst>
              <a:ext uri="{FF2B5EF4-FFF2-40B4-BE49-F238E27FC236}">
                <a16:creationId xmlns:a16="http://schemas.microsoft.com/office/drawing/2014/main" id="{78D0999E-7FD4-1BAC-8767-D88D80D5ED79}"/>
              </a:ext>
            </a:extLst>
          </p:cNvPr>
          <p:cNvSpPr>
            <a:spLocks noGrp="1"/>
          </p:cNvSpPr>
          <p:nvPr>
            <p:ph type="body" sz="quarter" idx="35" hasCustomPrompt="1"/>
          </p:nvPr>
        </p:nvSpPr>
        <p:spPr>
          <a:xfrm>
            <a:off x="405001" y="3122112"/>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8" name="Text Placeholder 2">
            <a:extLst>
              <a:ext uri="{FF2B5EF4-FFF2-40B4-BE49-F238E27FC236}">
                <a16:creationId xmlns:a16="http://schemas.microsoft.com/office/drawing/2014/main" id="{1DCBE047-FC28-09EA-D81A-9826C6BDC8E5}"/>
              </a:ext>
            </a:extLst>
          </p:cNvPr>
          <p:cNvSpPr>
            <a:spLocks noGrp="1"/>
          </p:cNvSpPr>
          <p:nvPr>
            <p:ph type="body" sz="quarter" idx="36" hasCustomPrompt="1"/>
          </p:nvPr>
        </p:nvSpPr>
        <p:spPr>
          <a:xfrm>
            <a:off x="1504336" y="3122112"/>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9" name="Text Placeholder 3">
            <a:extLst>
              <a:ext uri="{FF2B5EF4-FFF2-40B4-BE49-F238E27FC236}">
                <a16:creationId xmlns:a16="http://schemas.microsoft.com/office/drawing/2014/main" id="{4A33A6EC-28A9-B4B7-AE4E-612E4C70F307}"/>
              </a:ext>
            </a:extLst>
          </p:cNvPr>
          <p:cNvSpPr>
            <a:spLocks noGrp="1"/>
          </p:cNvSpPr>
          <p:nvPr>
            <p:ph type="body" sz="quarter" idx="37" hasCustomPrompt="1"/>
          </p:nvPr>
        </p:nvSpPr>
        <p:spPr>
          <a:xfrm>
            <a:off x="405001" y="3364226"/>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0" name="Text Placeholder 2">
            <a:extLst>
              <a:ext uri="{FF2B5EF4-FFF2-40B4-BE49-F238E27FC236}">
                <a16:creationId xmlns:a16="http://schemas.microsoft.com/office/drawing/2014/main" id="{9A82A1DD-E3D1-62FD-2183-4264BBA45EC9}"/>
              </a:ext>
            </a:extLst>
          </p:cNvPr>
          <p:cNvSpPr>
            <a:spLocks noGrp="1"/>
          </p:cNvSpPr>
          <p:nvPr>
            <p:ph type="body" sz="quarter" idx="38" hasCustomPrompt="1"/>
          </p:nvPr>
        </p:nvSpPr>
        <p:spPr>
          <a:xfrm>
            <a:off x="1504336" y="3364226"/>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31" name="Text Placeholder 3">
            <a:extLst>
              <a:ext uri="{FF2B5EF4-FFF2-40B4-BE49-F238E27FC236}">
                <a16:creationId xmlns:a16="http://schemas.microsoft.com/office/drawing/2014/main" id="{FB09D4EE-DC8E-AC04-DB03-04AC01D499F6}"/>
              </a:ext>
            </a:extLst>
          </p:cNvPr>
          <p:cNvSpPr>
            <a:spLocks noGrp="1"/>
          </p:cNvSpPr>
          <p:nvPr>
            <p:ph type="body" sz="quarter" idx="39" hasCustomPrompt="1"/>
          </p:nvPr>
        </p:nvSpPr>
        <p:spPr>
          <a:xfrm>
            <a:off x="404813" y="3606341"/>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2" name="Text Placeholder 2">
            <a:extLst>
              <a:ext uri="{FF2B5EF4-FFF2-40B4-BE49-F238E27FC236}">
                <a16:creationId xmlns:a16="http://schemas.microsoft.com/office/drawing/2014/main" id="{45266105-38B6-559B-F10E-F137448925D9}"/>
              </a:ext>
            </a:extLst>
          </p:cNvPr>
          <p:cNvSpPr>
            <a:spLocks noGrp="1"/>
          </p:cNvSpPr>
          <p:nvPr>
            <p:ph type="body" sz="quarter" idx="40" hasCustomPrompt="1"/>
          </p:nvPr>
        </p:nvSpPr>
        <p:spPr>
          <a:xfrm>
            <a:off x="1504149" y="3606341"/>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33" name="Text Placeholder 3">
            <a:extLst>
              <a:ext uri="{FF2B5EF4-FFF2-40B4-BE49-F238E27FC236}">
                <a16:creationId xmlns:a16="http://schemas.microsoft.com/office/drawing/2014/main" id="{2515CCA3-D812-4F32-053A-B08456ACD3F7}"/>
              </a:ext>
            </a:extLst>
          </p:cNvPr>
          <p:cNvSpPr>
            <a:spLocks noGrp="1"/>
          </p:cNvSpPr>
          <p:nvPr>
            <p:ph type="body" sz="quarter" idx="41" hasCustomPrompt="1"/>
          </p:nvPr>
        </p:nvSpPr>
        <p:spPr>
          <a:xfrm>
            <a:off x="404813" y="3846611"/>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4" name="Text Placeholder 2">
            <a:extLst>
              <a:ext uri="{FF2B5EF4-FFF2-40B4-BE49-F238E27FC236}">
                <a16:creationId xmlns:a16="http://schemas.microsoft.com/office/drawing/2014/main" id="{7D9D8073-0B8C-5932-0C7C-D004CFEBB238}"/>
              </a:ext>
            </a:extLst>
          </p:cNvPr>
          <p:cNvSpPr>
            <a:spLocks noGrp="1"/>
          </p:cNvSpPr>
          <p:nvPr>
            <p:ph type="body" sz="quarter" idx="42" hasCustomPrompt="1"/>
          </p:nvPr>
        </p:nvSpPr>
        <p:spPr>
          <a:xfrm>
            <a:off x="1504149" y="3846611"/>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35" name="Text Placeholder 3">
            <a:extLst>
              <a:ext uri="{FF2B5EF4-FFF2-40B4-BE49-F238E27FC236}">
                <a16:creationId xmlns:a16="http://schemas.microsoft.com/office/drawing/2014/main" id="{77FA5820-EB6D-8F5A-C0B6-2490FC952FEF}"/>
              </a:ext>
            </a:extLst>
          </p:cNvPr>
          <p:cNvSpPr>
            <a:spLocks noGrp="1"/>
          </p:cNvSpPr>
          <p:nvPr>
            <p:ph type="body" sz="quarter" idx="43" hasCustomPrompt="1"/>
          </p:nvPr>
        </p:nvSpPr>
        <p:spPr>
          <a:xfrm>
            <a:off x="405001" y="4086882"/>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6" name="Text Placeholder 2">
            <a:extLst>
              <a:ext uri="{FF2B5EF4-FFF2-40B4-BE49-F238E27FC236}">
                <a16:creationId xmlns:a16="http://schemas.microsoft.com/office/drawing/2014/main" id="{7646BE67-3B64-E336-4366-7B6997887CB8}"/>
              </a:ext>
            </a:extLst>
          </p:cNvPr>
          <p:cNvSpPr>
            <a:spLocks noGrp="1"/>
          </p:cNvSpPr>
          <p:nvPr>
            <p:ph type="body" sz="quarter" idx="44" hasCustomPrompt="1"/>
          </p:nvPr>
        </p:nvSpPr>
        <p:spPr>
          <a:xfrm>
            <a:off x="1504336" y="4086882"/>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37" name="Text Placeholder 3">
            <a:extLst>
              <a:ext uri="{FF2B5EF4-FFF2-40B4-BE49-F238E27FC236}">
                <a16:creationId xmlns:a16="http://schemas.microsoft.com/office/drawing/2014/main" id="{00A3F1D9-1CD2-F25E-5F62-2AC5E05E2AEE}"/>
              </a:ext>
            </a:extLst>
          </p:cNvPr>
          <p:cNvSpPr>
            <a:spLocks noGrp="1"/>
          </p:cNvSpPr>
          <p:nvPr>
            <p:ph type="body" sz="quarter" idx="45" hasCustomPrompt="1"/>
          </p:nvPr>
        </p:nvSpPr>
        <p:spPr>
          <a:xfrm>
            <a:off x="405001" y="4327153"/>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8" name="Text Placeholder 2">
            <a:extLst>
              <a:ext uri="{FF2B5EF4-FFF2-40B4-BE49-F238E27FC236}">
                <a16:creationId xmlns:a16="http://schemas.microsoft.com/office/drawing/2014/main" id="{EB822A8D-1EEC-6DA5-524B-C98A9DFDF78E}"/>
              </a:ext>
            </a:extLst>
          </p:cNvPr>
          <p:cNvSpPr>
            <a:spLocks noGrp="1"/>
          </p:cNvSpPr>
          <p:nvPr>
            <p:ph type="body" sz="quarter" idx="46" hasCustomPrompt="1"/>
          </p:nvPr>
        </p:nvSpPr>
        <p:spPr>
          <a:xfrm>
            <a:off x="1504336" y="4327153"/>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18" name="Pladsholder til dato 17">
            <a:extLst>
              <a:ext uri="{FF2B5EF4-FFF2-40B4-BE49-F238E27FC236}">
                <a16:creationId xmlns:a16="http://schemas.microsoft.com/office/drawing/2014/main" id="{CD90634D-8101-F6C4-83E7-B23E68904390}"/>
              </a:ext>
            </a:extLst>
          </p:cNvPr>
          <p:cNvSpPr>
            <a:spLocks noGrp="1"/>
          </p:cNvSpPr>
          <p:nvPr>
            <p:ph type="dt" sz="half" idx="20"/>
          </p:nvPr>
        </p:nvSpPr>
        <p:spPr/>
        <p:txBody>
          <a:bodyPr/>
          <a:lstStyle>
            <a:lvl1pPr>
              <a:defRPr>
                <a:solidFill>
                  <a:schemeClr val="bg1"/>
                </a:solidFill>
              </a:defRPr>
            </a:lvl1pPr>
          </a:lstStyle>
          <a:p>
            <a:fld id="{2A9E7E65-270D-4F3F-848C-98E95A93B5E1}" type="datetime2">
              <a:rPr lang="da-DK" smtClean="0"/>
              <a:pPr/>
              <a:t>11. december 2025</a:t>
            </a:fld>
            <a:endParaRPr lang="da-DK"/>
          </a:p>
        </p:txBody>
      </p:sp>
      <p:sp>
        <p:nvSpPr>
          <p:cNvPr id="19" name="Pladsholder til sidefod 18">
            <a:extLst>
              <a:ext uri="{FF2B5EF4-FFF2-40B4-BE49-F238E27FC236}">
                <a16:creationId xmlns:a16="http://schemas.microsoft.com/office/drawing/2014/main" id="{FAD3D5B6-58B2-9664-F0BC-1DEF32B0772B}"/>
              </a:ext>
            </a:extLst>
          </p:cNvPr>
          <p:cNvSpPr>
            <a:spLocks noGrp="1"/>
          </p:cNvSpPr>
          <p:nvPr>
            <p:ph type="ftr" sz="quarter" idx="21"/>
          </p:nvPr>
        </p:nvSpPr>
        <p:spPr/>
        <p:txBody>
          <a:bodyPr/>
          <a:lstStyle>
            <a:lvl1pPr>
              <a:defRPr>
                <a:solidFill>
                  <a:schemeClr val="bg1"/>
                </a:solidFill>
              </a:defRPr>
            </a:lvl1pPr>
          </a:lstStyle>
          <a:p>
            <a:r>
              <a:rPr lang="da-DK"/>
              <a:t>Digitaliseringsstyrelsen</a:t>
            </a:r>
          </a:p>
        </p:txBody>
      </p:sp>
      <p:sp>
        <p:nvSpPr>
          <p:cNvPr id="20" name="Pladsholder til slidenummer 19">
            <a:extLst>
              <a:ext uri="{FF2B5EF4-FFF2-40B4-BE49-F238E27FC236}">
                <a16:creationId xmlns:a16="http://schemas.microsoft.com/office/drawing/2014/main" id="{DFAA6004-F3B1-3667-5F85-60651A0B7444}"/>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grpSp>
        <p:nvGrpSpPr>
          <p:cNvPr id="8" name="Makro grafik 1">
            <a:extLst>
              <a:ext uri="{FF2B5EF4-FFF2-40B4-BE49-F238E27FC236}">
                <a16:creationId xmlns:a16="http://schemas.microsoft.com/office/drawing/2014/main" id="{7CB9B91B-9F42-9A6B-994C-DBFB7D0F9075}"/>
              </a:ext>
            </a:extLst>
          </p:cNvPr>
          <p:cNvGrpSpPr/>
          <p:nvPr userDrawn="1"/>
        </p:nvGrpSpPr>
        <p:grpSpPr>
          <a:xfrm>
            <a:off x="6550364" y="661590"/>
            <a:ext cx="2202731" cy="3163881"/>
            <a:chOff x="14414221" y="1458764"/>
            <a:chExt cx="4856885" cy="6976163"/>
          </a:xfrm>
          <a:solidFill>
            <a:srgbClr val="88C66D"/>
          </a:solidFill>
        </p:grpSpPr>
        <p:sp>
          <p:nvSpPr>
            <p:cNvPr id="9" name="object 39">
              <a:extLst>
                <a:ext uri="{FF2B5EF4-FFF2-40B4-BE49-F238E27FC236}">
                  <a16:creationId xmlns:a16="http://schemas.microsoft.com/office/drawing/2014/main" id="{DBE52B15-4C22-6CD1-3F0A-BB3A69D3053E}"/>
                </a:ext>
              </a:extLst>
            </p:cNvPr>
            <p:cNvSpPr/>
            <p:nvPr/>
          </p:nvSpPr>
          <p:spPr>
            <a:xfrm>
              <a:off x="17451196" y="6499447"/>
              <a:ext cx="1819910" cy="1935480"/>
            </a:xfrm>
            <a:custGeom>
              <a:avLst/>
              <a:gdLst/>
              <a:ahLst/>
              <a:cxnLst/>
              <a:rect l="l" t="t" r="r" b="b"/>
              <a:pathLst>
                <a:path w="1819909" h="1935479">
                  <a:moveTo>
                    <a:pt x="1005204" y="0"/>
                  </a:moveTo>
                  <a:lnTo>
                    <a:pt x="814216" y="0"/>
                  </a:lnTo>
                  <a:lnTo>
                    <a:pt x="824268" y="849398"/>
                  </a:lnTo>
                  <a:lnTo>
                    <a:pt x="100520" y="422185"/>
                  </a:lnTo>
                  <a:lnTo>
                    <a:pt x="0" y="577991"/>
                  </a:lnTo>
                  <a:lnTo>
                    <a:pt x="738825" y="995152"/>
                  </a:lnTo>
                  <a:lnTo>
                    <a:pt x="0" y="1402260"/>
                  </a:lnTo>
                  <a:lnTo>
                    <a:pt x="100520" y="1558067"/>
                  </a:lnTo>
                  <a:lnTo>
                    <a:pt x="824268" y="1130855"/>
                  </a:lnTo>
                  <a:lnTo>
                    <a:pt x="814216" y="1935019"/>
                  </a:lnTo>
                  <a:lnTo>
                    <a:pt x="1005204" y="1935019"/>
                  </a:lnTo>
                  <a:lnTo>
                    <a:pt x="1000178" y="1130855"/>
                  </a:lnTo>
                  <a:lnTo>
                    <a:pt x="1723926" y="1558067"/>
                  </a:lnTo>
                  <a:lnTo>
                    <a:pt x="1819421" y="1402260"/>
                  </a:lnTo>
                  <a:lnTo>
                    <a:pt x="1090647" y="995152"/>
                  </a:lnTo>
                  <a:lnTo>
                    <a:pt x="1819421" y="577991"/>
                  </a:lnTo>
                  <a:lnTo>
                    <a:pt x="1723926" y="422185"/>
                  </a:lnTo>
                  <a:lnTo>
                    <a:pt x="1000178" y="849398"/>
                  </a:lnTo>
                  <a:lnTo>
                    <a:pt x="1005204" y="0"/>
                  </a:lnTo>
                  <a:close/>
                </a:path>
              </a:pathLst>
            </a:custGeom>
            <a:grpFill/>
          </p:spPr>
          <p:txBody>
            <a:bodyPr wrap="square" lIns="0" tIns="0" rIns="0" bIns="0" rtlCol="0"/>
            <a:lstStyle/>
            <a:p>
              <a:endParaRPr lang="da-DK" sz="816"/>
            </a:p>
          </p:txBody>
        </p:sp>
        <p:sp>
          <p:nvSpPr>
            <p:cNvPr id="10" name="object 40">
              <a:extLst>
                <a:ext uri="{FF2B5EF4-FFF2-40B4-BE49-F238E27FC236}">
                  <a16:creationId xmlns:a16="http://schemas.microsoft.com/office/drawing/2014/main" id="{EB105B90-9C2A-E001-81E9-CB88B077A266}"/>
                </a:ext>
              </a:extLst>
            </p:cNvPr>
            <p:cNvSpPr/>
            <p:nvPr/>
          </p:nvSpPr>
          <p:spPr>
            <a:xfrm>
              <a:off x="16290024" y="1484470"/>
              <a:ext cx="1106170" cy="3879850"/>
            </a:xfrm>
            <a:custGeom>
              <a:avLst/>
              <a:gdLst/>
              <a:ahLst/>
              <a:cxnLst/>
              <a:rect l="l" t="t" r="r" b="b"/>
              <a:pathLst>
                <a:path w="1106169" h="3879850">
                  <a:moveTo>
                    <a:pt x="1105725" y="0"/>
                  </a:moveTo>
                  <a:lnTo>
                    <a:pt x="0" y="0"/>
                  </a:lnTo>
                  <a:lnTo>
                    <a:pt x="0" y="175260"/>
                  </a:lnTo>
                  <a:lnTo>
                    <a:pt x="0" y="3703320"/>
                  </a:lnTo>
                  <a:lnTo>
                    <a:pt x="0" y="3879850"/>
                  </a:lnTo>
                  <a:lnTo>
                    <a:pt x="1105725" y="3879850"/>
                  </a:lnTo>
                  <a:lnTo>
                    <a:pt x="1105725" y="3703320"/>
                  </a:lnTo>
                  <a:lnTo>
                    <a:pt x="206070" y="3703320"/>
                  </a:lnTo>
                  <a:lnTo>
                    <a:pt x="206070" y="175260"/>
                  </a:lnTo>
                  <a:lnTo>
                    <a:pt x="1105725" y="175260"/>
                  </a:lnTo>
                  <a:lnTo>
                    <a:pt x="1105725" y="0"/>
                  </a:lnTo>
                  <a:close/>
                </a:path>
              </a:pathLst>
            </a:custGeom>
            <a:grpFill/>
          </p:spPr>
          <p:txBody>
            <a:bodyPr wrap="square" lIns="0" tIns="0" rIns="0" bIns="0" rtlCol="0"/>
            <a:lstStyle/>
            <a:p>
              <a:endParaRPr lang="da-DK" sz="816"/>
            </a:p>
          </p:txBody>
        </p:sp>
        <p:sp>
          <p:nvSpPr>
            <p:cNvPr id="11" name="object 41">
              <a:extLst>
                <a:ext uri="{FF2B5EF4-FFF2-40B4-BE49-F238E27FC236}">
                  <a16:creationId xmlns:a16="http://schemas.microsoft.com/office/drawing/2014/main" id="{A8034995-BEAF-5ACC-DB5F-82B335A4970C}"/>
                </a:ext>
              </a:extLst>
            </p:cNvPr>
            <p:cNvSpPr/>
            <p:nvPr/>
          </p:nvSpPr>
          <p:spPr>
            <a:xfrm>
              <a:off x="14414221" y="1458764"/>
              <a:ext cx="1362075" cy="3920490"/>
            </a:xfrm>
            <a:custGeom>
              <a:avLst/>
              <a:gdLst/>
              <a:ahLst/>
              <a:cxnLst/>
              <a:rect l="l" t="t" r="r" b="b"/>
              <a:pathLst>
                <a:path w="1362075" h="3920490">
                  <a:moveTo>
                    <a:pt x="1362052" y="0"/>
                  </a:moveTo>
                  <a:lnTo>
                    <a:pt x="1309311" y="614"/>
                  </a:lnTo>
                  <a:lnTo>
                    <a:pt x="1257861" y="2451"/>
                  </a:lnTo>
                  <a:lnTo>
                    <a:pt x="1207687" y="5503"/>
                  </a:lnTo>
                  <a:lnTo>
                    <a:pt x="1158776" y="9759"/>
                  </a:lnTo>
                  <a:lnTo>
                    <a:pt x="1111113" y="15212"/>
                  </a:lnTo>
                  <a:lnTo>
                    <a:pt x="1064684" y="21852"/>
                  </a:lnTo>
                  <a:lnTo>
                    <a:pt x="1019476" y="29671"/>
                  </a:lnTo>
                  <a:lnTo>
                    <a:pt x="975474" y="38659"/>
                  </a:lnTo>
                  <a:lnTo>
                    <a:pt x="932664" y="48808"/>
                  </a:lnTo>
                  <a:lnTo>
                    <a:pt x="891033" y="60109"/>
                  </a:lnTo>
                  <a:lnTo>
                    <a:pt x="850565" y="72552"/>
                  </a:lnTo>
                  <a:lnTo>
                    <a:pt x="811247" y="86129"/>
                  </a:lnTo>
                  <a:lnTo>
                    <a:pt x="773065" y="100832"/>
                  </a:lnTo>
                  <a:lnTo>
                    <a:pt x="736005" y="116650"/>
                  </a:lnTo>
                  <a:lnTo>
                    <a:pt x="700052" y="133576"/>
                  </a:lnTo>
                  <a:lnTo>
                    <a:pt x="665193" y="151600"/>
                  </a:lnTo>
                  <a:lnTo>
                    <a:pt x="631413" y="170714"/>
                  </a:lnTo>
                  <a:lnTo>
                    <a:pt x="598698" y="190908"/>
                  </a:lnTo>
                  <a:lnTo>
                    <a:pt x="567035" y="212174"/>
                  </a:lnTo>
                  <a:lnTo>
                    <a:pt x="506807" y="257884"/>
                  </a:lnTo>
                  <a:lnTo>
                    <a:pt x="450615" y="307775"/>
                  </a:lnTo>
                  <a:lnTo>
                    <a:pt x="398346" y="361774"/>
                  </a:lnTo>
                  <a:lnTo>
                    <a:pt x="349888" y="419810"/>
                  </a:lnTo>
                  <a:lnTo>
                    <a:pt x="327053" y="450319"/>
                  </a:lnTo>
                  <a:lnTo>
                    <a:pt x="305128" y="481812"/>
                  </a:lnTo>
                  <a:lnTo>
                    <a:pt x="284100" y="514278"/>
                  </a:lnTo>
                  <a:lnTo>
                    <a:pt x="263954" y="547709"/>
                  </a:lnTo>
                  <a:lnTo>
                    <a:pt x="244677" y="582096"/>
                  </a:lnTo>
                  <a:lnTo>
                    <a:pt x="226253" y="617430"/>
                  </a:lnTo>
                  <a:lnTo>
                    <a:pt x="208670" y="653702"/>
                  </a:lnTo>
                  <a:lnTo>
                    <a:pt x="191912" y="690903"/>
                  </a:lnTo>
                  <a:lnTo>
                    <a:pt x="175967" y="729024"/>
                  </a:lnTo>
                  <a:lnTo>
                    <a:pt x="160819" y="768057"/>
                  </a:lnTo>
                  <a:lnTo>
                    <a:pt x="146455" y="807992"/>
                  </a:lnTo>
                  <a:lnTo>
                    <a:pt x="132860" y="848821"/>
                  </a:lnTo>
                  <a:lnTo>
                    <a:pt x="120022" y="890535"/>
                  </a:lnTo>
                  <a:lnTo>
                    <a:pt x="107924" y="933125"/>
                  </a:lnTo>
                  <a:lnTo>
                    <a:pt x="96554" y="976581"/>
                  </a:lnTo>
                  <a:lnTo>
                    <a:pt x="85898" y="1020895"/>
                  </a:lnTo>
                  <a:lnTo>
                    <a:pt x="75940" y="1066059"/>
                  </a:lnTo>
                  <a:lnTo>
                    <a:pt x="66668" y="1112062"/>
                  </a:lnTo>
                  <a:lnTo>
                    <a:pt x="58067" y="1158897"/>
                  </a:lnTo>
                  <a:lnTo>
                    <a:pt x="50122" y="1206555"/>
                  </a:lnTo>
                  <a:lnTo>
                    <a:pt x="42821" y="1255025"/>
                  </a:lnTo>
                  <a:lnTo>
                    <a:pt x="36148" y="1304301"/>
                  </a:lnTo>
                  <a:lnTo>
                    <a:pt x="30091" y="1354372"/>
                  </a:lnTo>
                  <a:lnTo>
                    <a:pt x="24634" y="1405230"/>
                  </a:lnTo>
                  <a:lnTo>
                    <a:pt x="19763" y="1456866"/>
                  </a:lnTo>
                  <a:lnTo>
                    <a:pt x="15465" y="1509270"/>
                  </a:lnTo>
                  <a:lnTo>
                    <a:pt x="11725" y="1562435"/>
                  </a:lnTo>
                  <a:lnTo>
                    <a:pt x="8530" y="1616351"/>
                  </a:lnTo>
                  <a:lnTo>
                    <a:pt x="5865" y="1671009"/>
                  </a:lnTo>
                  <a:lnTo>
                    <a:pt x="3716" y="1726401"/>
                  </a:lnTo>
                  <a:lnTo>
                    <a:pt x="2069" y="1782517"/>
                  </a:lnTo>
                  <a:lnTo>
                    <a:pt x="910" y="1839349"/>
                  </a:lnTo>
                  <a:lnTo>
                    <a:pt x="225" y="1896887"/>
                  </a:lnTo>
                  <a:lnTo>
                    <a:pt x="0" y="1955123"/>
                  </a:lnTo>
                  <a:lnTo>
                    <a:pt x="221" y="2013606"/>
                  </a:lnTo>
                  <a:lnTo>
                    <a:pt x="894" y="2071392"/>
                  </a:lnTo>
                  <a:lnTo>
                    <a:pt x="2034" y="2128470"/>
                  </a:lnTo>
                  <a:lnTo>
                    <a:pt x="3655" y="2184833"/>
                  </a:lnTo>
                  <a:lnTo>
                    <a:pt x="5772" y="2240470"/>
                  </a:lnTo>
                  <a:lnTo>
                    <a:pt x="8398" y="2295374"/>
                  </a:lnTo>
                  <a:lnTo>
                    <a:pt x="11549" y="2349534"/>
                  </a:lnTo>
                  <a:lnTo>
                    <a:pt x="15240" y="2402942"/>
                  </a:lnTo>
                  <a:lnTo>
                    <a:pt x="19483" y="2455589"/>
                  </a:lnTo>
                  <a:lnTo>
                    <a:pt x="24295" y="2507466"/>
                  </a:lnTo>
                  <a:lnTo>
                    <a:pt x="29689" y="2558564"/>
                  </a:lnTo>
                  <a:lnTo>
                    <a:pt x="35680" y="2608873"/>
                  </a:lnTo>
                  <a:lnTo>
                    <a:pt x="42282" y="2658386"/>
                  </a:lnTo>
                  <a:lnTo>
                    <a:pt x="49510" y="2707092"/>
                  </a:lnTo>
                  <a:lnTo>
                    <a:pt x="57379" y="2754982"/>
                  </a:lnTo>
                  <a:lnTo>
                    <a:pt x="65903" y="2802048"/>
                  </a:lnTo>
                  <a:lnTo>
                    <a:pt x="75095" y="2848281"/>
                  </a:lnTo>
                  <a:lnTo>
                    <a:pt x="84972" y="2893671"/>
                  </a:lnTo>
                  <a:lnTo>
                    <a:pt x="95547" y="2938210"/>
                  </a:lnTo>
                  <a:lnTo>
                    <a:pt x="106835" y="2981888"/>
                  </a:lnTo>
                  <a:lnTo>
                    <a:pt x="118850" y="3024697"/>
                  </a:lnTo>
                  <a:lnTo>
                    <a:pt x="131606" y="3066627"/>
                  </a:lnTo>
                  <a:lnTo>
                    <a:pt x="145119" y="3107670"/>
                  </a:lnTo>
                  <a:lnTo>
                    <a:pt x="159403" y="3147816"/>
                  </a:lnTo>
                  <a:lnTo>
                    <a:pt x="174472" y="3187056"/>
                  </a:lnTo>
                  <a:lnTo>
                    <a:pt x="190341" y="3225381"/>
                  </a:lnTo>
                  <a:lnTo>
                    <a:pt x="207023" y="3262783"/>
                  </a:lnTo>
                  <a:lnTo>
                    <a:pt x="224535" y="3299252"/>
                  </a:lnTo>
                  <a:lnTo>
                    <a:pt x="242889" y="3334779"/>
                  </a:lnTo>
                  <a:lnTo>
                    <a:pt x="262101" y="3369355"/>
                  </a:lnTo>
                  <a:lnTo>
                    <a:pt x="282185" y="3402971"/>
                  </a:lnTo>
                  <a:lnTo>
                    <a:pt x="303156" y="3435619"/>
                  </a:lnTo>
                  <a:lnTo>
                    <a:pt x="325027" y="3467288"/>
                  </a:lnTo>
                  <a:lnTo>
                    <a:pt x="347815" y="3497971"/>
                  </a:lnTo>
                  <a:lnTo>
                    <a:pt x="396194" y="3556338"/>
                  </a:lnTo>
                  <a:lnTo>
                    <a:pt x="448408" y="3610650"/>
                  </a:lnTo>
                  <a:lnTo>
                    <a:pt x="504575" y="3660832"/>
                  </a:lnTo>
                  <a:lnTo>
                    <a:pt x="564809" y="3706814"/>
                  </a:lnTo>
                  <a:lnTo>
                    <a:pt x="596488" y="3728207"/>
                  </a:lnTo>
                  <a:lnTo>
                    <a:pt x="629227" y="3748522"/>
                  </a:lnTo>
                  <a:lnTo>
                    <a:pt x="663040" y="3767752"/>
                  </a:lnTo>
                  <a:lnTo>
                    <a:pt x="697943" y="3785885"/>
                  </a:lnTo>
                  <a:lnTo>
                    <a:pt x="733950" y="3802915"/>
                  </a:lnTo>
                  <a:lnTo>
                    <a:pt x="771075" y="3818830"/>
                  </a:lnTo>
                  <a:lnTo>
                    <a:pt x="809333" y="3833624"/>
                  </a:lnTo>
                  <a:lnTo>
                    <a:pt x="848738" y="3847286"/>
                  </a:lnTo>
                  <a:lnTo>
                    <a:pt x="889305" y="3859807"/>
                  </a:lnTo>
                  <a:lnTo>
                    <a:pt x="931048" y="3871178"/>
                  </a:lnTo>
                  <a:lnTo>
                    <a:pt x="973981" y="3881391"/>
                  </a:lnTo>
                  <a:lnTo>
                    <a:pt x="1018120" y="3890436"/>
                  </a:lnTo>
                  <a:lnTo>
                    <a:pt x="1063479" y="3898305"/>
                  </a:lnTo>
                  <a:lnTo>
                    <a:pt x="1110071" y="3904988"/>
                  </a:lnTo>
                  <a:lnTo>
                    <a:pt x="1157912" y="3910476"/>
                  </a:lnTo>
                  <a:lnTo>
                    <a:pt x="1207016" y="3914760"/>
                  </a:lnTo>
                  <a:lnTo>
                    <a:pt x="1257398" y="3917831"/>
                  </a:lnTo>
                  <a:lnTo>
                    <a:pt x="1309072" y="3919681"/>
                  </a:lnTo>
                  <a:lnTo>
                    <a:pt x="1362052" y="3920299"/>
                  </a:lnTo>
                  <a:lnTo>
                    <a:pt x="1362052" y="3744388"/>
                  </a:lnTo>
                  <a:lnTo>
                    <a:pt x="1310968" y="3743717"/>
                  </a:lnTo>
                  <a:lnTo>
                    <a:pt x="1261330" y="3741708"/>
                  </a:lnTo>
                  <a:lnTo>
                    <a:pt x="1213120" y="3738372"/>
                  </a:lnTo>
                  <a:lnTo>
                    <a:pt x="1166318" y="3733716"/>
                  </a:lnTo>
                  <a:lnTo>
                    <a:pt x="1120905" y="3727750"/>
                  </a:lnTo>
                  <a:lnTo>
                    <a:pt x="1076863" y="3720483"/>
                  </a:lnTo>
                  <a:lnTo>
                    <a:pt x="1034171" y="3711923"/>
                  </a:lnTo>
                  <a:lnTo>
                    <a:pt x="992812" y="3702080"/>
                  </a:lnTo>
                  <a:lnTo>
                    <a:pt x="952766" y="3690962"/>
                  </a:lnTo>
                  <a:lnTo>
                    <a:pt x="914015" y="3678578"/>
                  </a:lnTo>
                  <a:lnTo>
                    <a:pt x="876538" y="3664937"/>
                  </a:lnTo>
                  <a:lnTo>
                    <a:pt x="840318" y="3650048"/>
                  </a:lnTo>
                  <a:lnTo>
                    <a:pt x="805334" y="3633919"/>
                  </a:lnTo>
                  <a:lnTo>
                    <a:pt x="739003" y="3597980"/>
                  </a:lnTo>
                  <a:lnTo>
                    <a:pt x="677391" y="3557191"/>
                  </a:lnTo>
                  <a:lnTo>
                    <a:pt x="620346" y="3511622"/>
                  </a:lnTo>
                  <a:lnTo>
                    <a:pt x="567718" y="3461345"/>
                  </a:lnTo>
                  <a:lnTo>
                    <a:pt x="519352" y="3406431"/>
                  </a:lnTo>
                  <a:lnTo>
                    <a:pt x="475097" y="3346951"/>
                  </a:lnTo>
                  <a:lnTo>
                    <a:pt x="434800" y="3282975"/>
                  </a:lnTo>
                  <a:lnTo>
                    <a:pt x="416089" y="3249324"/>
                  </a:lnTo>
                  <a:lnTo>
                    <a:pt x="398310" y="3214576"/>
                  </a:lnTo>
                  <a:lnTo>
                    <a:pt x="381445" y="3178739"/>
                  </a:lnTo>
                  <a:lnTo>
                    <a:pt x="365474" y="3141823"/>
                  </a:lnTo>
                  <a:lnTo>
                    <a:pt x="350379" y="3103837"/>
                  </a:lnTo>
                  <a:lnTo>
                    <a:pt x="336140" y="3064789"/>
                  </a:lnTo>
                  <a:lnTo>
                    <a:pt x="322739" y="3024688"/>
                  </a:lnTo>
                  <a:lnTo>
                    <a:pt x="310155" y="2983544"/>
                  </a:lnTo>
                  <a:lnTo>
                    <a:pt x="298372" y="2941364"/>
                  </a:lnTo>
                  <a:lnTo>
                    <a:pt x="287368" y="2898159"/>
                  </a:lnTo>
                  <a:lnTo>
                    <a:pt x="277126" y="2853936"/>
                  </a:lnTo>
                  <a:lnTo>
                    <a:pt x="267626" y="2808705"/>
                  </a:lnTo>
                  <a:lnTo>
                    <a:pt x="258849" y="2762474"/>
                  </a:lnTo>
                  <a:lnTo>
                    <a:pt x="250777" y="2715253"/>
                  </a:lnTo>
                  <a:lnTo>
                    <a:pt x="243389" y="2667050"/>
                  </a:lnTo>
                  <a:lnTo>
                    <a:pt x="236668" y="2617875"/>
                  </a:lnTo>
                  <a:lnTo>
                    <a:pt x="230594" y="2567735"/>
                  </a:lnTo>
                  <a:lnTo>
                    <a:pt x="225147" y="2516641"/>
                  </a:lnTo>
                  <a:lnTo>
                    <a:pt x="220310" y="2464600"/>
                  </a:lnTo>
                  <a:lnTo>
                    <a:pt x="216063" y="2411622"/>
                  </a:lnTo>
                  <a:lnTo>
                    <a:pt x="212387" y="2357716"/>
                  </a:lnTo>
                  <a:lnTo>
                    <a:pt x="209262" y="2302890"/>
                  </a:lnTo>
                  <a:lnTo>
                    <a:pt x="206671" y="2247154"/>
                  </a:lnTo>
                  <a:lnTo>
                    <a:pt x="204593" y="2190516"/>
                  </a:lnTo>
                  <a:lnTo>
                    <a:pt x="203010" y="2132985"/>
                  </a:lnTo>
                  <a:lnTo>
                    <a:pt x="201903" y="2074570"/>
                  </a:lnTo>
                  <a:lnTo>
                    <a:pt x="201253" y="2015280"/>
                  </a:lnTo>
                  <a:lnTo>
                    <a:pt x="201040" y="1955123"/>
                  </a:lnTo>
                  <a:lnTo>
                    <a:pt x="201271" y="1894678"/>
                  </a:lnTo>
                  <a:lnTo>
                    <a:pt x="201976" y="1835092"/>
                  </a:lnTo>
                  <a:lnTo>
                    <a:pt x="203173" y="1776374"/>
                  </a:lnTo>
                  <a:lnTo>
                    <a:pt x="204883" y="1718535"/>
                  </a:lnTo>
                  <a:lnTo>
                    <a:pt x="207123" y="1661585"/>
                  </a:lnTo>
                  <a:lnTo>
                    <a:pt x="209914" y="1605535"/>
                  </a:lnTo>
                  <a:lnTo>
                    <a:pt x="213273" y="1550395"/>
                  </a:lnTo>
                  <a:lnTo>
                    <a:pt x="217219" y="1496176"/>
                  </a:lnTo>
                  <a:lnTo>
                    <a:pt x="221773" y="1442888"/>
                  </a:lnTo>
                  <a:lnTo>
                    <a:pt x="226952" y="1390540"/>
                  </a:lnTo>
                  <a:lnTo>
                    <a:pt x="232776" y="1339144"/>
                  </a:lnTo>
                  <a:lnTo>
                    <a:pt x="239263" y="1288710"/>
                  </a:lnTo>
                  <a:lnTo>
                    <a:pt x="246433" y="1239247"/>
                  </a:lnTo>
                  <a:lnTo>
                    <a:pt x="254304" y="1190768"/>
                  </a:lnTo>
                  <a:lnTo>
                    <a:pt x="262896" y="1143281"/>
                  </a:lnTo>
                  <a:lnTo>
                    <a:pt x="272228" y="1096797"/>
                  </a:lnTo>
                  <a:lnTo>
                    <a:pt x="282317" y="1051326"/>
                  </a:lnTo>
                  <a:lnTo>
                    <a:pt x="293184" y="1006880"/>
                  </a:lnTo>
                  <a:lnTo>
                    <a:pt x="304848" y="963467"/>
                  </a:lnTo>
                  <a:lnTo>
                    <a:pt x="317326" y="921100"/>
                  </a:lnTo>
                  <a:lnTo>
                    <a:pt x="330639" y="879787"/>
                  </a:lnTo>
                  <a:lnTo>
                    <a:pt x="344805" y="839539"/>
                  </a:lnTo>
                  <a:lnTo>
                    <a:pt x="359843" y="800366"/>
                  </a:lnTo>
                  <a:lnTo>
                    <a:pt x="375772" y="762280"/>
                  </a:lnTo>
                  <a:lnTo>
                    <a:pt x="392612" y="725290"/>
                  </a:lnTo>
                  <a:lnTo>
                    <a:pt x="410380" y="689406"/>
                  </a:lnTo>
                  <a:lnTo>
                    <a:pt x="429096" y="654639"/>
                  </a:lnTo>
                  <a:lnTo>
                    <a:pt x="448780" y="621000"/>
                  </a:lnTo>
                  <a:lnTo>
                    <a:pt x="469449" y="588498"/>
                  </a:lnTo>
                  <a:lnTo>
                    <a:pt x="491123" y="557144"/>
                  </a:lnTo>
                  <a:lnTo>
                    <a:pt x="537561" y="497921"/>
                  </a:lnTo>
                  <a:lnTo>
                    <a:pt x="588247" y="443413"/>
                  </a:lnTo>
                  <a:lnTo>
                    <a:pt x="643331" y="393705"/>
                  </a:lnTo>
                  <a:lnTo>
                    <a:pt x="702965" y="348877"/>
                  </a:lnTo>
                  <a:lnTo>
                    <a:pt x="767301" y="309014"/>
                  </a:lnTo>
                  <a:lnTo>
                    <a:pt x="801280" y="290969"/>
                  </a:lnTo>
                  <a:lnTo>
                    <a:pt x="836491" y="274197"/>
                  </a:lnTo>
                  <a:lnTo>
                    <a:pt x="872954" y="258707"/>
                  </a:lnTo>
                  <a:lnTo>
                    <a:pt x="910687" y="244510"/>
                  </a:lnTo>
                  <a:lnTo>
                    <a:pt x="949709" y="231615"/>
                  </a:lnTo>
                  <a:lnTo>
                    <a:pt x="990039" y="220035"/>
                  </a:lnTo>
                  <a:lnTo>
                    <a:pt x="1031697" y="209777"/>
                  </a:lnTo>
                  <a:lnTo>
                    <a:pt x="1074700" y="200854"/>
                  </a:lnTo>
                  <a:lnTo>
                    <a:pt x="1119069" y="193276"/>
                  </a:lnTo>
                  <a:lnTo>
                    <a:pt x="1164822" y="187052"/>
                  </a:lnTo>
                  <a:lnTo>
                    <a:pt x="1211977" y="182193"/>
                  </a:lnTo>
                  <a:lnTo>
                    <a:pt x="1260555" y="178710"/>
                  </a:lnTo>
                  <a:lnTo>
                    <a:pt x="1310574" y="176612"/>
                  </a:lnTo>
                  <a:lnTo>
                    <a:pt x="1362052" y="175910"/>
                  </a:lnTo>
                  <a:lnTo>
                    <a:pt x="1362052" y="0"/>
                  </a:lnTo>
                  <a:close/>
                </a:path>
              </a:pathLst>
            </a:custGeom>
            <a:grpFill/>
          </p:spPr>
          <p:txBody>
            <a:bodyPr wrap="square" lIns="0" tIns="0" rIns="0" bIns="0" rtlCol="0"/>
            <a:lstStyle/>
            <a:p>
              <a:endParaRPr lang="da-DK" sz="816"/>
            </a:p>
          </p:txBody>
        </p:sp>
      </p:grpSp>
    </p:spTree>
    <p:extLst>
      <p:ext uri="{BB962C8B-B14F-4D97-AF65-F5344CB8AC3E}">
        <p14:creationId xmlns:p14="http://schemas.microsoft.com/office/powerpoint/2010/main" val="837689769"/>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1201">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el og et indhold">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83349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p:txBody>
          <a:bodyPr/>
          <a:lstStyle/>
          <a:p>
            <a:r>
              <a:rPr lang="da-DK"/>
              <a:t>Klik for at tilføje titel</a:t>
            </a:r>
          </a:p>
        </p:txBody>
      </p:sp>
      <p:sp>
        <p:nvSpPr>
          <p:cNvPr id="3" name="Content Placeholder 2"/>
          <p:cNvSpPr>
            <a:spLocks noGrp="1"/>
          </p:cNvSpPr>
          <p:nvPr>
            <p:ph idx="1" hasCustomPrompt="1"/>
          </p:nvPr>
        </p:nvSpPr>
        <p:spPr>
          <a:xfrm>
            <a:off x="405000" y="1431000"/>
            <a:ext cx="8334900" cy="31725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41969349-67F1-41F8-83EC-133BBA9F9E3B}" type="datetime2">
              <a:rPr lang="da-DK" smtClean="0"/>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a:p>
        </p:txBody>
      </p:sp>
    </p:spTree>
    <p:extLst>
      <p:ext uri="{BB962C8B-B14F-4D97-AF65-F5344CB8AC3E}">
        <p14:creationId xmlns:p14="http://schemas.microsoft.com/office/powerpoint/2010/main" val="2087489052"/>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el og to indhold">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83349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p:txBody>
          <a:bodyPr/>
          <a:lstStyle/>
          <a:p>
            <a:r>
              <a:rPr lang="da-DK"/>
              <a:t>Klik for at tilføje titel</a:t>
            </a:r>
          </a:p>
        </p:txBody>
      </p:sp>
      <p:sp>
        <p:nvSpPr>
          <p:cNvPr id="3" name="Content Placeholder 2"/>
          <p:cNvSpPr>
            <a:spLocks noGrp="1"/>
          </p:cNvSpPr>
          <p:nvPr>
            <p:ph idx="1" hasCustomPrompt="1"/>
          </p:nvPr>
        </p:nvSpPr>
        <p:spPr>
          <a:xfrm>
            <a:off x="405000" y="1431000"/>
            <a:ext cx="4097306" cy="31725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2" name="Content Placeholder 3">
            <a:extLst>
              <a:ext uri="{FF2B5EF4-FFF2-40B4-BE49-F238E27FC236}">
                <a16:creationId xmlns:a16="http://schemas.microsoft.com/office/drawing/2014/main" id="{B40077F1-D271-DC8F-912A-2105F80A1015}"/>
              </a:ext>
            </a:extLst>
          </p:cNvPr>
          <p:cNvSpPr>
            <a:spLocks noGrp="1"/>
          </p:cNvSpPr>
          <p:nvPr>
            <p:ph sz="half" idx="2" hasCustomPrompt="1"/>
          </p:nvPr>
        </p:nvSpPr>
        <p:spPr>
          <a:xfrm>
            <a:off x="4639500" y="1431000"/>
            <a:ext cx="4097306" cy="3172500"/>
          </a:xfrm>
        </p:spPr>
        <p:txBody>
          <a:bodyPr/>
          <a:lstStyle>
            <a:lvl1pPr>
              <a:defRPr/>
            </a:lvl1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49E4CC4B-14E8-420D-9FEA-FB5E3520C699}" type="datetime2">
              <a:rPr lang="da-DK" smtClean="0"/>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a:p>
        </p:txBody>
      </p:sp>
    </p:spTree>
    <p:extLst>
      <p:ext uri="{BB962C8B-B14F-4D97-AF65-F5344CB8AC3E}">
        <p14:creationId xmlns:p14="http://schemas.microsoft.com/office/powerpoint/2010/main" val="669814629"/>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Highlights (2 rækker)">
    <p:bg>
      <p:bgPr>
        <a:solidFill>
          <a:schemeClr val="bg1"/>
        </a:solidFill>
        <a:effectLst/>
      </p:bgPr>
    </p:bg>
    <p:spTree>
      <p:nvGrpSpPr>
        <p:cNvPr id="1" name=""/>
        <p:cNvGrpSpPr/>
        <p:nvPr/>
      </p:nvGrpSpPr>
      <p:grpSpPr>
        <a:xfrm>
          <a:off x="0" y="0"/>
          <a:ext cx="0" cy="0"/>
          <a:chOff x="0" y="0"/>
          <a:chExt cx="0" cy="0"/>
        </a:xfrm>
      </p:grpSpPr>
      <p:sp>
        <p:nvSpPr>
          <p:cNvPr id="6" name="Pladsholder til billede 5">
            <a:extLst>
              <a:ext uri="{FF2B5EF4-FFF2-40B4-BE49-F238E27FC236}">
                <a16:creationId xmlns:a16="http://schemas.microsoft.com/office/drawing/2014/main" id="{DD8828A6-E585-6B4F-A1C8-1DBE6955925F}"/>
              </a:ext>
            </a:extLst>
          </p:cNvPr>
          <p:cNvSpPr>
            <a:spLocks noGrp="1" noChangeAspect="1"/>
          </p:cNvSpPr>
          <p:nvPr>
            <p:ph type="pic" sz="quarter" idx="10" hasCustomPrompt="1"/>
          </p:nvPr>
        </p:nvSpPr>
        <p:spPr>
          <a:xfrm>
            <a:off x="1043854" y="2067694"/>
            <a:ext cx="288000" cy="288000"/>
          </a:xfr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Ikon</a:t>
            </a:r>
          </a:p>
        </p:txBody>
      </p:sp>
      <p:sp>
        <p:nvSpPr>
          <p:cNvPr id="4" name="Pladsholder til tekst 3">
            <a:extLst>
              <a:ext uri="{FF2B5EF4-FFF2-40B4-BE49-F238E27FC236}">
                <a16:creationId xmlns:a16="http://schemas.microsoft.com/office/drawing/2014/main" id="{C496093B-37A6-AD4C-9138-3E8BD436EBD5}"/>
              </a:ext>
            </a:extLst>
          </p:cNvPr>
          <p:cNvSpPr>
            <a:spLocks noGrp="1"/>
          </p:cNvSpPr>
          <p:nvPr>
            <p:ph type="body" sz="quarter" idx="15"/>
          </p:nvPr>
        </p:nvSpPr>
        <p:spPr>
          <a:xfrm>
            <a:off x="1488483" y="2067694"/>
            <a:ext cx="1620000" cy="144413"/>
          </a:xfrm>
        </p:spPr>
        <p:txBody>
          <a:bodyPr rIns="0" anchor="b"/>
          <a:lstStyle>
            <a:lvl1pPr marL="0" indent="0" algn="l">
              <a:buNone/>
              <a:defRPr sz="1000" b="1"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2" name="Pladsholder til tekst 6">
            <a:extLst>
              <a:ext uri="{FF2B5EF4-FFF2-40B4-BE49-F238E27FC236}">
                <a16:creationId xmlns:a16="http://schemas.microsoft.com/office/drawing/2014/main" id="{62788691-1556-FA1E-C496-6C79B160F7D5}"/>
              </a:ext>
            </a:extLst>
          </p:cNvPr>
          <p:cNvSpPr>
            <a:spLocks noGrp="1"/>
          </p:cNvSpPr>
          <p:nvPr>
            <p:ph type="body" sz="quarter" idx="18"/>
          </p:nvPr>
        </p:nvSpPr>
        <p:spPr>
          <a:xfrm>
            <a:off x="186110" y="4728638"/>
            <a:ext cx="219600" cy="219600"/>
          </a:xfrm>
          <a:blipFill>
            <a:blip r:embed="rId2"/>
            <a:stretch>
              <a:fillRect/>
            </a:stretch>
          </a:blipFill>
        </p:spPr>
        <p:txBody>
          <a:bodyPr/>
          <a:lstStyle>
            <a:lvl1pPr marL="0" indent="0">
              <a:buNone/>
              <a:defRPr>
                <a:noFill/>
                <a:latin typeface="Neue Haas Grotesk Text Pro" panose="020B0504020202020204" pitchFamily="34" charset="77"/>
              </a:defRPr>
            </a:lvl1pPr>
          </a:lstStyle>
          <a:p>
            <a:pPr lvl="0"/>
            <a:r>
              <a:rPr lang="da-DK"/>
              <a:t>Klik for at redigere teksttypografierne i masteren</a:t>
            </a:r>
          </a:p>
        </p:txBody>
      </p:sp>
      <p:sp>
        <p:nvSpPr>
          <p:cNvPr id="5" name="Pladsholder til tekst 3">
            <a:extLst>
              <a:ext uri="{FF2B5EF4-FFF2-40B4-BE49-F238E27FC236}">
                <a16:creationId xmlns:a16="http://schemas.microsoft.com/office/drawing/2014/main" id="{08EF0261-14D0-1383-03E9-C9E3A0AA53CF}"/>
              </a:ext>
            </a:extLst>
          </p:cNvPr>
          <p:cNvSpPr>
            <a:spLocks noGrp="1"/>
          </p:cNvSpPr>
          <p:nvPr>
            <p:ph type="body" sz="quarter" idx="19"/>
          </p:nvPr>
        </p:nvSpPr>
        <p:spPr>
          <a:xfrm>
            <a:off x="1488483" y="2212107"/>
            <a:ext cx="1620000" cy="432047"/>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8" name="Pladsholder til billede 5">
            <a:extLst>
              <a:ext uri="{FF2B5EF4-FFF2-40B4-BE49-F238E27FC236}">
                <a16:creationId xmlns:a16="http://schemas.microsoft.com/office/drawing/2014/main" id="{8342E6BB-C322-8D89-32E3-B526E872C5EC}"/>
              </a:ext>
            </a:extLst>
          </p:cNvPr>
          <p:cNvSpPr>
            <a:spLocks noGrp="1" noChangeAspect="1"/>
          </p:cNvSpPr>
          <p:nvPr>
            <p:ph type="pic" sz="quarter" idx="20" hasCustomPrompt="1"/>
          </p:nvPr>
        </p:nvSpPr>
        <p:spPr>
          <a:xfrm>
            <a:off x="1043854" y="3003402"/>
            <a:ext cx="288000" cy="288000"/>
          </a:xfr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Ikon</a:t>
            </a:r>
          </a:p>
        </p:txBody>
      </p:sp>
      <p:sp>
        <p:nvSpPr>
          <p:cNvPr id="9" name="Pladsholder til tekst 3">
            <a:extLst>
              <a:ext uri="{FF2B5EF4-FFF2-40B4-BE49-F238E27FC236}">
                <a16:creationId xmlns:a16="http://schemas.microsoft.com/office/drawing/2014/main" id="{5A97597D-99B1-6A4F-5117-8B426C40DF78}"/>
              </a:ext>
            </a:extLst>
          </p:cNvPr>
          <p:cNvSpPr>
            <a:spLocks noGrp="1"/>
          </p:cNvSpPr>
          <p:nvPr>
            <p:ph type="body" sz="quarter" idx="21"/>
          </p:nvPr>
        </p:nvSpPr>
        <p:spPr>
          <a:xfrm>
            <a:off x="1488483" y="3003402"/>
            <a:ext cx="1620000" cy="144413"/>
          </a:xfrm>
        </p:spPr>
        <p:txBody>
          <a:bodyPr rIns="0" anchor="b"/>
          <a:lstStyle>
            <a:lvl1pPr marL="0" indent="0" algn="l">
              <a:buNone/>
              <a:defRPr sz="1000" b="1"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10" name="Pladsholder til tekst 3">
            <a:extLst>
              <a:ext uri="{FF2B5EF4-FFF2-40B4-BE49-F238E27FC236}">
                <a16:creationId xmlns:a16="http://schemas.microsoft.com/office/drawing/2014/main" id="{4BDB334A-1458-0AC0-AFF1-0739E96E898E}"/>
              </a:ext>
            </a:extLst>
          </p:cNvPr>
          <p:cNvSpPr>
            <a:spLocks noGrp="1"/>
          </p:cNvSpPr>
          <p:nvPr>
            <p:ph type="body" sz="quarter" idx="22"/>
          </p:nvPr>
        </p:nvSpPr>
        <p:spPr>
          <a:xfrm>
            <a:off x="1488483" y="3147815"/>
            <a:ext cx="1620000" cy="432047"/>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14" name="Pladsholder til billede 5">
            <a:extLst>
              <a:ext uri="{FF2B5EF4-FFF2-40B4-BE49-F238E27FC236}">
                <a16:creationId xmlns:a16="http://schemas.microsoft.com/office/drawing/2014/main" id="{01C77357-C65B-5A9E-B615-A92026CCF59E}"/>
              </a:ext>
            </a:extLst>
          </p:cNvPr>
          <p:cNvSpPr>
            <a:spLocks noGrp="1" noChangeAspect="1"/>
          </p:cNvSpPr>
          <p:nvPr>
            <p:ph type="pic" sz="quarter" idx="26" hasCustomPrompt="1"/>
          </p:nvPr>
        </p:nvSpPr>
        <p:spPr>
          <a:xfrm>
            <a:off x="6012407" y="2067694"/>
            <a:ext cx="288000" cy="288000"/>
          </a:xfr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Ikon</a:t>
            </a:r>
          </a:p>
        </p:txBody>
      </p:sp>
      <p:sp>
        <p:nvSpPr>
          <p:cNvPr id="15" name="Pladsholder til tekst 3">
            <a:extLst>
              <a:ext uri="{FF2B5EF4-FFF2-40B4-BE49-F238E27FC236}">
                <a16:creationId xmlns:a16="http://schemas.microsoft.com/office/drawing/2014/main" id="{90180E4D-07F7-B5B5-617E-41F68236FDA6}"/>
              </a:ext>
            </a:extLst>
          </p:cNvPr>
          <p:cNvSpPr>
            <a:spLocks noGrp="1"/>
          </p:cNvSpPr>
          <p:nvPr>
            <p:ph type="body" sz="quarter" idx="27"/>
          </p:nvPr>
        </p:nvSpPr>
        <p:spPr>
          <a:xfrm>
            <a:off x="6457036" y="2067694"/>
            <a:ext cx="1620000" cy="144413"/>
          </a:xfrm>
        </p:spPr>
        <p:txBody>
          <a:bodyPr rIns="0" anchor="b"/>
          <a:lstStyle>
            <a:lvl1pPr marL="0" indent="0" algn="l">
              <a:buNone/>
              <a:defRPr sz="1000" b="1"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16" name="Pladsholder til tekst 3">
            <a:extLst>
              <a:ext uri="{FF2B5EF4-FFF2-40B4-BE49-F238E27FC236}">
                <a16:creationId xmlns:a16="http://schemas.microsoft.com/office/drawing/2014/main" id="{34CF6966-E382-F0AE-7D87-947D9FBC362B}"/>
              </a:ext>
            </a:extLst>
          </p:cNvPr>
          <p:cNvSpPr>
            <a:spLocks noGrp="1"/>
          </p:cNvSpPr>
          <p:nvPr>
            <p:ph type="body" sz="quarter" idx="28"/>
          </p:nvPr>
        </p:nvSpPr>
        <p:spPr>
          <a:xfrm>
            <a:off x="6457036" y="2212107"/>
            <a:ext cx="1620000" cy="432047"/>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17" name="Pladsholder til billede 5">
            <a:extLst>
              <a:ext uri="{FF2B5EF4-FFF2-40B4-BE49-F238E27FC236}">
                <a16:creationId xmlns:a16="http://schemas.microsoft.com/office/drawing/2014/main" id="{2CEFD869-52FC-2D91-50C5-1E9A468D1D17}"/>
              </a:ext>
            </a:extLst>
          </p:cNvPr>
          <p:cNvSpPr>
            <a:spLocks noGrp="1" noChangeAspect="1"/>
          </p:cNvSpPr>
          <p:nvPr>
            <p:ph type="pic" sz="quarter" idx="29" hasCustomPrompt="1"/>
          </p:nvPr>
        </p:nvSpPr>
        <p:spPr>
          <a:xfrm>
            <a:off x="6012407" y="3003402"/>
            <a:ext cx="288000" cy="288000"/>
          </a:xfr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Ikon</a:t>
            </a:r>
          </a:p>
        </p:txBody>
      </p:sp>
      <p:sp>
        <p:nvSpPr>
          <p:cNvPr id="18" name="Pladsholder til tekst 3">
            <a:extLst>
              <a:ext uri="{FF2B5EF4-FFF2-40B4-BE49-F238E27FC236}">
                <a16:creationId xmlns:a16="http://schemas.microsoft.com/office/drawing/2014/main" id="{96EA9739-1B5C-0189-6141-912AACF32E26}"/>
              </a:ext>
            </a:extLst>
          </p:cNvPr>
          <p:cNvSpPr>
            <a:spLocks noGrp="1"/>
          </p:cNvSpPr>
          <p:nvPr>
            <p:ph type="body" sz="quarter" idx="30"/>
          </p:nvPr>
        </p:nvSpPr>
        <p:spPr>
          <a:xfrm>
            <a:off x="6457036" y="3003402"/>
            <a:ext cx="1620000" cy="144413"/>
          </a:xfrm>
        </p:spPr>
        <p:txBody>
          <a:bodyPr rIns="0" anchor="b"/>
          <a:lstStyle>
            <a:lvl1pPr marL="0" indent="0" algn="l">
              <a:buNone/>
              <a:defRPr sz="1000" b="1"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19" name="Pladsholder til tekst 3">
            <a:extLst>
              <a:ext uri="{FF2B5EF4-FFF2-40B4-BE49-F238E27FC236}">
                <a16:creationId xmlns:a16="http://schemas.microsoft.com/office/drawing/2014/main" id="{573F324B-1AD1-A5F2-6C40-8A7D76AC6A76}"/>
              </a:ext>
            </a:extLst>
          </p:cNvPr>
          <p:cNvSpPr>
            <a:spLocks noGrp="1"/>
          </p:cNvSpPr>
          <p:nvPr>
            <p:ph type="body" sz="quarter" idx="31"/>
          </p:nvPr>
        </p:nvSpPr>
        <p:spPr>
          <a:xfrm>
            <a:off x="6457036" y="3147815"/>
            <a:ext cx="1620000" cy="432047"/>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23" name="Pladsholder til billede 5">
            <a:extLst>
              <a:ext uri="{FF2B5EF4-FFF2-40B4-BE49-F238E27FC236}">
                <a16:creationId xmlns:a16="http://schemas.microsoft.com/office/drawing/2014/main" id="{B14033C6-F4A0-22AA-9930-3CE1FE4E25F0}"/>
              </a:ext>
            </a:extLst>
          </p:cNvPr>
          <p:cNvSpPr>
            <a:spLocks noGrp="1" noChangeAspect="1"/>
          </p:cNvSpPr>
          <p:nvPr>
            <p:ph type="pic" sz="quarter" idx="32" hasCustomPrompt="1"/>
          </p:nvPr>
        </p:nvSpPr>
        <p:spPr>
          <a:xfrm>
            <a:off x="3528130" y="2067694"/>
            <a:ext cx="288000" cy="288000"/>
          </a:xfr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Ikon</a:t>
            </a:r>
          </a:p>
        </p:txBody>
      </p:sp>
      <p:sp>
        <p:nvSpPr>
          <p:cNvPr id="24" name="Pladsholder til tekst 3">
            <a:extLst>
              <a:ext uri="{FF2B5EF4-FFF2-40B4-BE49-F238E27FC236}">
                <a16:creationId xmlns:a16="http://schemas.microsoft.com/office/drawing/2014/main" id="{DF32EA48-CFEB-7541-DF41-17413F5F7203}"/>
              </a:ext>
            </a:extLst>
          </p:cNvPr>
          <p:cNvSpPr>
            <a:spLocks noGrp="1"/>
          </p:cNvSpPr>
          <p:nvPr>
            <p:ph type="body" sz="quarter" idx="33"/>
          </p:nvPr>
        </p:nvSpPr>
        <p:spPr>
          <a:xfrm>
            <a:off x="3972759" y="2067694"/>
            <a:ext cx="1620000" cy="144413"/>
          </a:xfrm>
        </p:spPr>
        <p:txBody>
          <a:bodyPr rIns="0" anchor="b"/>
          <a:lstStyle>
            <a:lvl1pPr marL="0" indent="0" algn="l">
              <a:buNone/>
              <a:defRPr sz="1000" b="1"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25" name="Pladsholder til tekst 3">
            <a:extLst>
              <a:ext uri="{FF2B5EF4-FFF2-40B4-BE49-F238E27FC236}">
                <a16:creationId xmlns:a16="http://schemas.microsoft.com/office/drawing/2014/main" id="{BC296128-C74C-B849-4B94-5A9AF8B0C46D}"/>
              </a:ext>
            </a:extLst>
          </p:cNvPr>
          <p:cNvSpPr>
            <a:spLocks noGrp="1"/>
          </p:cNvSpPr>
          <p:nvPr>
            <p:ph type="body" sz="quarter" idx="34"/>
          </p:nvPr>
        </p:nvSpPr>
        <p:spPr>
          <a:xfrm>
            <a:off x="3972759" y="2212107"/>
            <a:ext cx="1620000" cy="432047"/>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26" name="Pladsholder til billede 5">
            <a:extLst>
              <a:ext uri="{FF2B5EF4-FFF2-40B4-BE49-F238E27FC236}">
                <a16:creationId xmlns:a16="http://schemas.microsoft.com/office/drawing/2014/main" id="{81411030-890F-68B2-7EFD-FF089B833B7E}"/>
              </a:ext>
            </a:extLst>
          </p:cNvPr>
          <p:cNvSpPr>
            <a:spLocks noGrp="1" noChangeAspect="1"/>
          </p:cNvSpPr>
          <p:nvPr>
            <p:ph type="pic" sz="quarter" idx="35" hasCustomPrompt="1"/>
          </p:nvPr>
        </p:nvSpPr>
        <p:spPr>
          <a:xfrm>
            <a:off x="3528130" y="3003402"/>
            <a:ext cx="288000" cy="288000"/>
          </a:xfr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Ikon</a:t>
            </a:r>
          </a:p>
        </p:txBody>
      </p:sp>
      <p:sp>
        <p:nvSpPr>
          <p:cNvPr id="27" name="Pladsholder til tekst 3">
            <a:extLst>
              <a:ext uri="{FF2B5EF4-FFF2-40B4-BE49-F238E27FC236}">
                <a16:creationId xmlns:a16="http://schemas.microsoft.com/office/drawing/2014/main" id="{567FC3D7-2F98-125A-D24C-B2658BB02983}"/>
              </a:ext>
            </a:extLst>
          </p:cNvPr>
          <p:cNvSpPr>
            <a:spLocks noGrp="1"/>
          </p:cNvSpPr>
          <p:nvPr>
            <p:ph type="body" sz="quarter" idx="36"/>
          </p:nvPr>
        </p:nvSpPr>
        <p:spPr>
          <a:xfrm>
            <a:off x="3972759" y="3003402"/>
            <a:ext cx="1620000" cy="144413"/>
          </a:xfrm>
        </p:spPr>
        <p:txBody>
          <a:bodyPr rIns="0" anchor="b"/>
          <a:lstStyle>
            <a:lvl1pPr marL="0" indent="0" algn="l">
              <a:buNone/>
              <a:defRPr sz="1000" b="1"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28" name="Pladsholder til tekst 3">
            <a:extLst>
              <a:ext uri="{FF2B5EF4-FFF2-40B4-BE49-F238E27FC236}">
                <a16:creationId xmlns:a16="http://schemas.microsoft.com/office/drawing/2014/main" id="{88BC5081-ABED-3724-55CF-EBFD77504F1D}"/>
              </a:ext>
            </a:extLst>
          </p:cNvPr>
          <p:cNvSpPr>
            <a:spLocks noGrp="1"/>
          </p:cNvSpPr>
          <p:nvPr>
            <p:ph type="body" sz="quarter" idx="37"/>
          </p:nvPr>
        </p:nvSpPr>
        <p:spPr>
          <a:xfrm>
            <a:off x="3972759" y="3147815"/>
            <a:ext cx="1620000" cy="432047"/>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11" name="Titel 1">
            <a:extLst>
              <a:ext uri="{FF2B5EF4-FFF2-40B4-BE49-F238E27FC236}">
                <a16:creationId xmlns:a16="http://schemas.microsoft.com/office/drawing/2014/main" id="{4492E851-BE7C-081C-4EAF-60E653B135E9}"/>
              </a:ext>
            </a:extLst>
          </p:cNvPr>
          <p:cNvSpPr>
            <a:spLocks noGrp="1"/>
          </p:cNvSpPr>
          <p:nvPr>
            <p:ph type="title"/>
          </p:nvPr>
        </p:nvSpPr>
        <p:spPr>
          <a:xfrm>
            <a:off x="1009650" y="951222"/>
            <a:ext cx="2991910" cy="828838"/>
          </a:xfrm>
        </p:spPr>
        <p:txBody>
          <a:bodyPr/>
          <a:lstStyle/>
          <a:p>
            <a:r>
              <a:rPr lang="da-DK"/>
              <a:t>Klik for at redigere titeltypografien i masteren</a:t>
            </a:r>
            <a:endParaRPr lang="en-GB"/>
          </a:p>
        </p:txBody>
      </p:sp>
      <p:sp>
        <p:nvSpPr>
          <p:cNvPr id="12" name="Pladsholder til tekst 5">
            <a:extLst>
              <a:ext uri="{FF2B5EF4-FFF2-40B4-BE49-F238E27FC236}">
                <a16:creationId xmlns:a16="http://schemas.microsoft.com/office/drawing/2014/main" id="{E5BAADCD-CC86-812F-5FEB-3CC9C1204691}"/>
              </a:ext>
            </a:extLst>
          </p:cNvPr>
          <p:cNvSpPr>
            <a:spLocks noGrp="1"/>
          </p:cNvSpPr>
          <p:nvPr>
            <p:ph type="body" sz="quarter" idx="11"/>
          </p:nvPr>
        </p:nvSpPr>
        <p:spPr>
          <a:xfrm>
            <a:off x="1009779" y="735323"/>
            <a:ext cx="2992548" cy="144462"/>
          </a:xfrm>
        </p:spPr>
        <p:txBody>
          <a:bodyPr vert="horz" lIns="14400" tIns="0" rIns="0" bIns="0" rtlCol="0">
            <a:noAutofit/>
          </a:bodyPr>
          <a:lstStyle>
            <a:lvl1pPr marL="0" indent="0">
              <a:buNone/>
              <a:defRPr lang="en-GB" sz="1000" cap="all" dirty="0">
                <a:solidFill>
                  <a:srgbClr val="878787"/>
                </a:solidFill>
                <a:latin typeface="Neue Haas Grotesk Text Pro" panose="020B0504020202020204" pitchFamily="34" charset="77"/>
              </a:defRPr>
            </a:lvl1pPr>
          </a:lstStyle>
          <a:p>
            <a:pPr marL="171450" lvl="0" indent="-171450"/>
            <a:r>
              <a:rPr lang="da-DK"/>
              <a:t>Klik for at redigere teksttypografierne i masteren</a:t>
            </a:r>
          </a:p>
        </p:txBody>
      </p:sp>
    </p:spTree>
    <p:extLst>
      <p:ext uri="{BB962C8B-B14F-4D97-AF65-F5344CB8AC3E}">
        <p14:creationId xmlns:p14="http://schemas.microsoft.com/office/powerpoint/2010/main" val="54413513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el og tre indhold">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83349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p:txBody>
          <a:bodyPr/>
          <a:lstStyle/>
          <a:p>
            <a:r>
              <a:rPr lang="da-DK"/>
              <a:t>Klik for at tilføje titel</a:t>
            </a:r>
          </a:p>
        </p:txBody>
      </p:sp>
      <p:sp>
        <p:nvSpPr>
          <p:cNvPr id="3" name="Content Placeholder 2"/>
          <p:cNvSpPr>
            <a:spLocks noGrp="1"/>
          </p:cNvSpPr>
          <p:nvPr>
            <p:ph idx="1" hasCustomPrompt="1"/>
          </p:nvPr>
        </p:nvSpPr>
        <p:spPr>
          <a:xfrm>
            <a:off x="405000" y="1431000"/>
            <a:ext cx="2686500" cy="31725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2" name="Content Placeholder 3">
            <a:extLst>
              <a:ext uri="{FF2B5EF4-FFF2-40B4-BE49-F238E27FC236}">
                <a16:creationId xmlns:a16="http://schemas.microsoft.com/office/drawing/2014/main" id="{B40077F1-D271-DC8F-912A-2105F80A1015}"/>
              </a:ext>
            </a:extLst>
          </p:cNvPr>
          <p:cNvSpPr>
            <a:spLocks noGrp="1"/>
          </p:cNvSpPr>
          <p:nvPr>
            <p:ph sz="half" idx="2" hasCustomPrompt="1"/>
          </p:nvPr>
        </p:nvSpPr>
        <p:spPr>
          <a:xfrm>
            <a:off x="3227785" y="1431000"/>
            <a:ext cx="2686500" cy="3172500"/>
          </a:xfrm>
        </p:spPr>
        <p:txBody>
          <a:bodyPr/>
          <a:lstStyle>
            <a:lvl1pPr>
              <a:defRPr/>
            </a:lvl1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8" name="Content Placeholder 4">
            <a:extLst>
              <a:ext uri="{FF2B5EF4-FFF2-40B4-BE49-F238E27FC236}">
                <a16:creationId xmlns:a16="http://schemas.microsoft.com/office/drawing/2014/main" id="{413F396F-50A0-F9A2-43DA-C2F0171D12AA}"/>
              </a:ext>
            </a:extLst>
          </p:cNvPr>
          <p:cNvSpPr>
            <a:spLocks noGrp="1"/>
          </p:cNvSpPr>
          <p:nvPr>
            <p:ph sz="half" idx="14" hasCustomPrompt="1"/>
          </p:nvPr>
        </p:nvSpPr>
        <p:spPr>
          <a:xfrm>
            <a:off x="6050756" y="1431000"/>
            <a:ext cx="2686500" cy="3172500"/>
          </a:xfrm>
        </p:spPr>
        <p:txBody>
          <a:bodyPr/>
          <a:lstStyle>
            <a:lvl1pPr>
              <a:defRPr/>
            </a:lvl1pPr>
            <a:lvl5pPr>
              <a:defRPr/>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1F1698FC-AA98-48BA-82F3-6D983747A4E6}" type="datetime2">
              <a:rPr lang="da-DK" smtClean="0"/>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a:p>
        </p:txBody>
      </p:sp>
    </p:spTree>
    <p:extLst>
      <p:ext uri="{BB962C8B-B14F-4D97-AF65-F5344CB8AC3E}">
        <p14:creationId xmlns:p14="http://schemas.microsoft.com/office/powerpoint/2010/main" val="1631959049"/>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40986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a:xfrm>
            <a:off x="405000" y="675000"/>
            <a:ext cx="4098600" cy="621000"/>
          </a:xfrm>
        </p:spPr>
        <p:txBody>
          <a:bodyPr/>
          <a:lstStyle/>
          <a:p>
            <a:r>
              <a:rPr lang="da-DK"/>
              <a:t>Klik for at tilføje titel</a:t>
            </a:r>
          </a:p>
        </p:txBody>
      </p:sp>
      <p:sp>
        <p:nvSpPr>
          <p:cNvPr id="3" name="Content Placeholder 2"/>
          <p:cNvSpPr>
            <a:spLocks noGrp="1"/>
          </p:cNvSpPr>
          <p:nvPr>
            <p:ph idx="1" hasCustomPrompt="1"/>
          </p:nvPr>
        </p:nvSpPr>
        <p:spPr>
          <a:xfrm>
            <a:off x="405000" y="1431000"/>
            <a:ext cx="4098600" cy="31725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5076000" y="0"/>
            <a:ext cx="3661997" cy="405765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23" name="Makro grafik 1">
            <a:extLst>
              <a:ext uri="{FF2B5EF4-FFF2-40B4-BE49-F238E27FC236}">
                <a16:creationId xmlns:a16="http://schemas.microsoft.com/office/drawing/2014/main" id="{EBA2552F-EC8F-624C-5264-AC2B088E31EF}"/>
              </a:ext>
            </a:extLst>
          </p:cNvPr>
          <p:cNvSpPr>
            <a:spLocks noGrp="1" noChangeAspect="1"/>
          </p:cNvSpPr>
          <p:nvPr>
            <p:ph type="body" sz="quarter" idx="18" hasCustomPrompt="1"/>
          </p:nvPr>
        </p:nvSpPr>
        <p:spPr>
          <a:xfrm>
            <a:off x="4774500" y="200901"/>
            <a:ext cx="810120" cy="265984"/>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a:t>.</a:t>
            </a:r>
          </a:p>
        </p:txBody>
      </p:sp>
      <p:sp>
        <p:nvSpPr>
          <p:cNvPr id="25" name="Makro grafik 2">
            <a:extLst>
              <a:ext uri="{FF2B5EF4-FFF2-40B4-BE49-F238E27FC236}">
                <a16:creationId xmlns:a16="http://schemas.microsoft.com/office/drawing/2014/main" id="{719BADAE-19E7-74F8-5098-F36C7712747B}"/>
              </a:ext>
            </a:extLst>
          </p:cNvPr>
          <p:cNvSpPr>
            <a:spLocks noGrp="1" noChangeAspect="1"/>
          </p:cNvSpPr>
          <p:nvPr>
            <p:ph type="body" sz="quarter" idx="19" hasCustomPrompt="1"/>
          </p:nvPr>
        </p:nvSpPr>
        <p:spPr>
          <a:xfrm>
            <a:off x="7927357" y="3104990"/>
            <a:ext cx="1009898" cy="1313123"/>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a:t>.</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B8DC7334-5B00-458F-ACE6-F27E5084DF10}" type="datetime2">
              <a:rPr lang="da-DK" smtClean="0"/>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a:p>
        </p:txBody>
      </p:sp>
    </p:spTree>
    <p:extLst>
      <p:ext uri="{BB962C8B-B14F-4D97-AF65-F5344CB8AC3E}">
        <p14:creationId xmlns:p14="http://schemas.microsoft.com/office/powerpoint/2010/main" val="842411306"/>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guide id="5" pos="4263">
          <p15:clr>
            <a:srgbClr val="A4A3A4"/>
          </p15:clr>
        </p15:guide>
        <p15:guide id="6" orient="horz" pos="3408">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2" name="Baggrund">
            <a:extLst>
              <a:ext uri="{FF2B5EF4-FFF2-40B4-BE49-F238E27FC236}">
                <a16:creationId xmlns:a16="http://schemas.microsoft.com/office/drawing/2014/main" id="{275AE316-2331-6809-4E9B-58CFF6AD5B81}"/>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4098600" cy="337548"/>
          </a:xfrm>
        </p:spPr>
        <p:txBody>
          <a:bodyPr anchor="b" anchorCtr="0"/>
          <a:lstStyle>
            <a:lvl1pPr marL="0" indent="0" algn="l">
              <a:spcBef>
                <a:spcPts val="0"/>
              </a:spcBef>
              <a:buFont typeface="Arial" panose="020B0604020202020204" pitchFamily="34" charset="0"/>
              <a:buNone/>
              <a:defRPr sz="1200">
                <a:solidFill>
                  <a:schemeClr val="bg1"/>
                </a:solidFill>
              </a:defRPr>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a:xfrm>
            <a:off x="405000" y="675000"/>
            <a:ext cx="4098600" cy="621000"/>
          </a:xfrm>
        </p:spPr>
        <p:txBody>
          <a:bodyPr/>
          <a:lstStyle>
            <a:lvl1pPr>
              <a:defRPr>
                <a:solidFill>
                  <a:schemeClr val="bg1"/>
                </a:solidFill>
              </a:defRPr>
            </a:lvl1pPr>
          </a:lstStyle>
          <a:p>
            <a:r>
              <a:rPr lang="da-DK"/>
              <a:t>Klik for at tilføje titel</a:t>
            </a:r>
          </a:p>
        </p:txBody>
      </p:sp>
      <p:sp>
        <p:nvSpPr>
          <p:cNvPr id="3" name="Content Placeholder 2"/>
          <p:cNvSpPr>
            <a:spLocks noGrp="1"/>
          </p:cNvSpPr>
          <p:nvPr>
            <p:ph idx="1" hasCustomPrompt="1"/>
          </p:nvPr>
        </p:nvSpPr>
        <p:spPr>
          <a:xfrm>
            <a:off x="405000" y="1431000"/>
            <a:ext cx="4098600" cy="31725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5076000" y="0"/>
            <a:ext cx="3661997" cy="405765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23" name="Makro grafik 1">
            <a:extLst>
              <a:ext uri="{FF2B5EF4-FFF2-40B4-BE49-F238E27FC236}">
                <a16:creationId xmlns:a16="http://schemas.microsoft.com/office/drawing/2014/main" id="{EBA2552F-EC8F-624C-5264-AC2B088E31EF}"/>
              </a:ext>
            </a:extLst>
          </p:cNvPr>
          <p:cNvSpPr>
            <a:spLocks noGrp="1" noChangeAspect="1"/>
          </p:cNvSpPr>
          <p:nvPr>
            <p:ph type="body" sz="quarter" idx="18" hasCustomPrompt="1"/>
          </p:nvPr>
        </p:nvSpPr>
        <p:spPr>
          <a:xfrm>
            <a:off x="4774500" y="200901"/>
            <a:ext cx="810120" cy="265984"/>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a:t>.</a:t>
            </a:r>
          </a:p>
        </p:txBody>
      </p:sp>
      <p:sp>
        <p:nvSpPr>
          <p:cNvPr id="25" name="Makro grafik 2">
            <a:extLst>
              <a:ext uri="{FF2B5EF4-FFF2-40B4-BE49-F238E27FC236}">
                <a16:creationId xmlns:a16="http://schemas.microsoft.com/office/drawing/2014/main" id="{719BADAE-19E7-74F8-5098-F36C7712747B}"/>
              </a:ext>
            </a:extLst>
          </p:cNvPr>
          <p:cNvSpPr>
            <a:spLocks noGrp="1" noChangeAspect="1"/>
          </p:cNvSpPr>
          <p:nvPr>
            <p:ph type="body" sz="quarter" idx="19" hasCustomPrompt="1"/>
          </p:nvPr>
        </p:nvSpPr>
        <p:spPr>
          <a:xfrm>
            <a:off x="7927357" y="3104990"/>
            <a:ext cx="1009898" cy="1313123"/>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a:t>.</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lvl1pPr>
              <a:defRPr>
                <a:solidFill>
                  <a:schemeClr val="bg1"/>
                </a:solidFill>
              </a:defRPr>
            </a:lvl1pPr>
          </a:lstStyle>
          <a:p>
            <a:fld id="{B8DC7334-5B00-458F-ACE6-F27E5084DF10}" type="datetime2">
              <a:rPr lang="da-DK" smtClean="0"/>
              <a:pPr/>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lvl1pPr>
              <a:defRPr>
                <a:solidFill>
                  <a:schemeClr val="bg1"/>
                </a:solidFill>
              </a:defRPr>
            </a:lvl1pPr>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9376683"/>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guide id="5" pos="4263">
          <p15:clr>
            <a:srgbClr val="A4A3A4"/>
          </p15:clr>
        </p15:guide>
        <p15:guide id="6" orient="horz" pos="3408">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o billeder og tekst A">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404999" y="0"/>
            <a:ext cx="3393900"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31" name="Picture Placeholder 3">
            <a:extLst>
              <a:ext uri="{FF2B5EF4-FFF2-40B4-BE49-F238E27FC236}">
                <a16:creationId xmlns:a16="http://schemas.microsoft.com/office/drawing/2014/main" id="{0C5AC296-1E96-EE8B-9C85-121FADCDAEEA}"/>
              </a:ext>
            </a:extLst>
          </p:cNvPr>
          <p:cNvSpPr>
            <a:spLocks noGrp="1"/>
          </p:cNvSpPr>
          <p:nvPr>
            <p:ph type="pic" sz="quarter" idx="26" hasCustomPrompt="1"/>
          </p:nvPr>
        </p:nvSpPr>
        <p:spPr>
          <a:xfrm>
            <a:off x="3938784" y="0"/>
            <a:ext cx="3393094"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18" name="Pladsholder til tekst 17">
            <a:extLst>
              <a:ext uri="{FF2B5EF4-FFF2-40B4-BE49-F238E27FC236}">
                <a16:creationId xmlns:a16="http://schemas.microsoft.com/office/drawing/2014/main" id="{7A036220-52A4-5423-2E3D-CA9465DCF383}"/>
              </a:ext>
            </a:extLst>
          </p:cNvPr>
          <p:cNvSpPr>
            <a:spLocks noGrp="1"/>
          </p:cNvSpPr>
          <p:nvPr>
            <p:ph type="body" sz="quarter" idx="21" hasCustomPrompt="1"/>
          </p:nvPr>
        </p:nvSpPr>
        <p:spPr>
          <a:xfrm>
            <a:off x="404999" y="3302101"/>
            <a:ext cx="3393900" cy="1300856"/>
          </a:xfrm>
        </p:spPr>
        <p:txBody>
          <a:bodyPr/>
          <a:lstStyle>
            <a:lvl1pPr>
              <a:defRPr/>
            </a:lvl1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p:txBody>
      </p:sp>
      <p:sp>
        <p:nvSpPr>
          <p:cNvPr id="20" name="Pladsholder til tekst 19">
            <a:extLst>
              <a:ext uri="{FF2B5EF4-FFF2-40B4-BE49-F238E27FC236}">
                <a16:creationId xmlns:a16="http://schemas.microsoft.com/office/drawing/2014/main" id="{B8BFA8BA-84C0-F72E-A750-BA569C419DF9}"/>
              </a:ext>
            </a:extLst>
          </p:cNvPr>
          <p:cNvSpPr>
            <a:spLocks noGrp="1"/>
          </p:cNvSpPr>
          <p:nvPr>
            <p:ph type="body" sz="quarter" idx="22" hasCustomPrompt="1"/>
          </p:nvPr>
        </p:nvSpPr>
        <p:spPr>
          <a:xfrm>
            <a:off x="3939300" y="3302101"/>
            <a:ext cx="3393900" cy="1300856"/>
          </a:xfrm>
        </p:spPr>
        <p:txBody>
          <a:bodyPr/>
          <a:lstStyle>
            <a:lvl1pPr>
              <a:defRPr/>
            </a:lvl1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p:txBody>
      </p:sp>
      <p:sp>
        <p:nvSpPr>
          <p:cNvPr id="35" name="Makro grafik 1">
            <a:extLst>
              <a:ext uri="{FF2B5EF4-FFF2-40B4-BE49-F238E27FC236}">
                <a16:creationId xmlns:a16="http://schemas.microsoft.com/office/drawing/2014/main" id="{7C623DFE-050D-8EBF-2AB6-73D6BB690D9E}"/>
              </a:ext>
            </a:extLst>
          </p:cNvPr>
          <p:cNvSpPr>
            <a:spLocks noGrp="1" noChangeAspect="1"/>
          </p:cNvSpPr>
          <p:nvPr>
            <p:ph type="body" sz="quarter" idx="24" hasCustomPrompt="1"/>
          </p:nvPr>
        </p:nvSpPr>
        <p:spPr>
          <a:xfrm>
            <a:off x="3059924" y="508903"/>
            <a:ext cx="824373" cy="876750"/>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
        <p:nvSpPr>
          <p:cNvPr id="37" name="Makro grafik 2">
            <a:extLst>
              <a:ext uri="{FF2B5EF4-FFF2-40B4-BE49-F238E27FC236}">
                <a16:creationId xmlns:a16="http://schemas.microsoft.com/office/drawing/2014/main" id="{B01E448D-548C-DEA9-6590-C279C5C3F197}"/>
              </a:ext>
            </a:extLst>
          </p:cNvPr>
          <p:cNvSpPr>
            <a:spLocks noGrp="1" noChangeAspect="1"/>
          </p:cNvSpPr>
          <p:nvPr>
            <p:ph type="body" sz="quarter" idx="25" hasCustomPrompt="1"/>
          </p:nvPr>
        </p:nvSpPr>
        <p:spPr>
          <a:xfrm>
            <a:off x="6627459" y="1161722"/>
            <a:ext cx="1239333" cy="177627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6EE1813C-833F-4B00-8AC7-CD62351492B7}" type="datetime2">
              <a:rPr lang="da-DK" smtClean="0"/>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a:p>
        </p:txBody>
      </p:sp>
    </p:spTree>
    <p:extLst>
      <p:ext uri="{BB962C8B-B14F-4D97-AF65-F5344CB8AC3E}">
        <p14:creationId xmlns:p14="http://schemas.microsoft.com/office/powerpoint/2010/main" val="3825480477"/>
      </p:ext>
    </p:extLst>
  </p:cSld>
  <p:clrMapOvr>
    <a:masterClrMapping/>
  </p:clrMapOvr>
  <p:extLst>
    <p:ext uri="{DCECCB84-F9BA-43D5-87BE-67443E8EF086}">
      <p15:sldGuideLst xmlns:p15="http://schemas.microsoft.com/office/powerpoint/2012/main">
        <p15:guide id="6" orient="horz" pos="2660">
          <p15:clr>
            <a:srgbClr val="A4A3A4"/>
          </p15:clr>
        </p15:guide>
        <p15:guide id="7" orient="horz" pos="2773">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o billeder og tekst B">
    <p:spTree>
      <p:nvGrpSpPr>
        <p:cNvPr id="1" name=""/>
        <p:cNvGrpSpPr/>
        <p:nvPr/>
      </p:nvGrpSpPr>
      <p:grpSpPr>
        <a:xfrm>
          <a:off x="0" y="0"/>
          <a:ext cx="0" cy="0"/>
          <a:chOff x="0" y="0"/>
          <a:chExt cx="0" cy="0"/>
        </a:xfrm>
      </p:grpSpPr>
      <p:sp>
        <p:nvSpPr>
          <p:cNvPr id="2" name="Baggrund">
            <a:extLst>
              <a:ext uri="{FF2B5EF4-FFF2-40B4-BE49-F238E27FC236}">
                <a16:creationId xmlns:a16="http://schemas.microsoft.com/office/drawing/2014/main" id="{541EA801-8FE7-2F0F-7F59-C28047217BA7}"/>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404999" y="0"/>
            <a:ext cx="3393900"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31" name="Picture Placeholder 3">
            <a:extLst>
              <a:ext uri="{FF2B5EF4-FFF2-40B4-BE49-F238E27FC236}">
                <a16:creationId xmlns:a16="http://schemas.microsoft.com/office/drawing/2014/main" id="{0C5AC296-1E96-EE8B-9C85-121FADCDAEEA}"/>
              </a:ext>
            </a:extLst>
          </p:cNvPr>
          <p:cNvSpPr>
            <a:spLocks noGrp="1"/>
          </p:cNvSpPr>
          <p:nvPr>
            <p:ph type="pic" sz="quarter" idx="26" hasCustomPrompt="1"/>
          </p:nvPr>
        </p:nvSpPr>
        <p:spPr>
          <a:xfrm>
            <a:off x="3938784" y="0"/>
            <a:ext cx="3393094"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18" name="Pladsholder til tekst 17">
            <a:extLst>
              <a:ext uri="{FF2B5EF4-FFF2-40B4-BE49-F238E27FC236}">
                <a16:creationId xmlns:a16="http://schemas.microsoft.com/office/drawing/2014/main" id="{7A036220-52A4-5423-2E3D-CA9465DCF383}"/>
              </a:ext>
            </a:extLst>
          </p:cNvPr>
          <p:cNvSpPr>
            <a:spLocks noGrp="1"/>
          </p:cNvSpPr>
          <p:nvPr>
            <p:ph type="body" sz="quarter" idx="21" hasCustomPrompt="1"/>
          </p:nvPr>
        </p:nvSpPr>
        <p:spPr>
          <a:xfrm>
            <a:off x="404999" y="3302101"/>
            <a:ext cx="3393900" cy="130085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p:txBody>
      </p:sp>
      <p:sp>
        <p:nvSpPr>
          <p:cNvPr id="20" name="Pladsholder til tekst 19">
            <a:extLst>
              <a:ext uri="{FF2B5EF4-FFF2-40B4-BE49-F238E27FC236}">
                <a16:creationId xmlns:a16="http://schemas.microsoft.com/office/drawing/2014/main" id="{B8BFA8BA-84C0-F72E-A750-BA569C419DF9}"/>
              </a:ext>
            </a:extLst>
          </p:cNvPr>
          <p:cNvSpPr>
            <a:spLocks noGrp="1"/>
          </p:cNvSpPr>
          <p:nvPr>
            <p:ph type="body" sz="quarter" idx="22" hasCustomPrompt="1"/>
          </p:nvPr>
        </p:nvSpPr>
        <p:spPr>
          <a:xfrm>
            <a:off x="3939300" y="3302101"/>
            <a:ext cx="3393900" cy="130085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p:txBody>
      </p:sp>
      <p:sp>
        <p:nvSpPr>
          <p:cNvPr id="35" name="Makro grafik 1">
            <a:extLst>
              <a:ext uri="{FF2B5EF4-FFF2-40B4-BE49-F238E27FC236}">
                <a16:creationId xmlns:a16="http://schemas.microsoft.com/office/drawing/2014/main" id="{7C623DFE-050D-8EBF-2AB6-73D6BB690D9E}"/>
              </a:ext>
            </a:extLst>
          </p:cNvPr>
          <p:cNvSpPr>
            <a:spLocks noGrp="1" noChangeAspect="1"/>
          </p:cNvSpPr>
          <p:nvPr>
            <p:ph type="body" sz="quarter" idx="24" hasCustomPrompt="1"/>
          </p:nvPr>
        </p:nvSpPr>
        <p:spPr>
          <a:xfrm>
            <a:off x="3059924" y="508903"/>
            <a:ext cx="824373" cy="876750"/>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
        <p:nvSpPr>
          <p:cNvPr id="37" name="Makro grafik 2">
            <a:extLst>
              <a:ext uri="{FF2B5EF4-FFF2-40B4-BE49-F238E27FC236}">
                <a16:creationId xmlns:a16="http://schemas.microsoft.com/office/drawing/2014/main" id="{B01E448D-548C-DEA9-6590-C279C5C3F197}"/>
              </a:ext>
            </a:extLst>
          </p:cNvPr>
          <p:cNvSpPr>
            <a:spLocks noGrp="1" noChangeAspect="1"/>
          </p:cNvSpPr>
          <p:nvPr>
            <p:ph type="body" sz="quarter" idx="25" hasCustomPrompt="1"/>
          </p:nvPr>
        </p:nvSpPr>
        <p:spPr>
          <a:xfrm>
            <a:off x="6627459" y="1161722"/>
            <a:ext cx="1239333" cy="177627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lvl1pPr>
              <a:defRPr>
                <a:solidFill>
                  <a:schemeClr val="bg1"/>
                </a:solidFill>
              </a:defRPr>
            </a:lvl1pPr>
          </a:lstStyle>
          <a:p>
            <a:fld id="{6EE1813C-833F-4B00-8AC7-CD62351492B7}" type="datetime2">
              <a:rPr lang="da-DK" smtClean="0"/>
              <a:pPr/>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lvl1pPr>
              <a:defRPr>
                <a:solidFill>
                  <a:schemeClr val="bg1"/>
                </a:solidFill>
              </a:defRPr>
            </a:lvl1pPr>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102789060"/>
      </p:ext>
    </p:extLst>
  </p:cSld>
  <p:clrMapOvr>
    <a:masterClrMapping/>
  </p:clrMapOvr>
  <p:extLst>
    <p:ext uri="{DCECCB84-F9BA-43D5-87BE-67443E8EF086}">
      <p15:sldGuideLst xmlns:p15="http://schemas.microsoft.com/office/powerpoint/2012/main">
        <p15:guide id="6" orient="horz" pos="2660">
          <p15:clr>
            <a:srgbClr val="A4A3A4"/>
          </p15:clr>
        </p15:guide>
        <p15:guide id="7" orient="horz" pos="2773">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re billeder og tekst A">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405001" y="0"/>
            <a:ext cx="2686500"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31" name="Picture Placeholder 3">
            <a:extLst>
              <a:ext uri="{FF2B5EF4-FFF2-40B4-BE49-F238E27FC236}">
                <a16:creationId xmlns:a16="http://schemas.microsoft.com/office/drawing/2014/main" id="{0C5AC296-1E96-EE8B-9C85-121FADCDAEEA}"/>
              </a:ext>
            </a:extLst>
          </p:cNvPr>
          <p:cNvSpPr>
            <a:spLocks noGrp="1"/>
          </p:cNvSpPr>
          <p:nvPr>
            <p:ph type="pic" sz="quarter" idx="26" hasCustomPrompt="1"/>
          </p:nvPr>
        </p:nvSpPr>
        <p:spPr>
          <a:xfrm>
            <a:off x="3229200" y="0"/>
            <a:ext cx="2686500"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3" name="Picture Placeholder 3">
            <a:extLst>
              <a:ext uri="{FF2B5EF4-FFF2-40B4-BE49-F238E27FC236}">
                <a16:creationId xmlns:a16="http://schemas.microsoft.com/office/drawing/2014/main" id="{5F2C9F80-9D2C-1AE1-46B6-2D3A7D8A6976}"/>
              </a:ext>
            </a:extLst>
          </p:cNvPr>
          <p:cNvSpPr>
            <a:spLocks noGrp="1"/>
          </p:cNvSpPr>
          <p:nvPr>
            <p:ph type="pic" sz="quarter" idx="27" hasCustomPrompt="1"/>
          </p:nvPr>
        </p:nvSpPr>
        <p:spPr>
          <a:xfrm>
            <a:off x="6050570" y="0"/>
            <a:ext cx="2686500"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18" name="Pladsholder til tekst 17">
            <a:extLst>
              <a:ext uri="{FF2B5EF4-FFF2-40B4-BE49-F238E27FC236}">
                <a16:creationId xmlns:a16="http://schemas.microsoft.com/office/drawing/2014/main" id="{7A036220-52A4-5423-2E3D-CA9465DCF383}"/>
              </a:ext>
            </a:extLst>
          </p:cNvPr>
          <p:cNvSpPr>
            <a:spLocks noGrp="1"/>
          </p:cNvSpPr>
          <p:nvPr>
            <p:ph type="body" sz="quarter" idx="21" hasCustomPrompt="1"/>
          </p:nvPr>
        </p:nvSpPr>
        <p:spPr>
          <a:xfrm>
            <a:off x="405001" y="3302100"/>
            <a:ext cx="2686500" cy="1301400"/>
          </a:xfrm>
        </p:spPr>
        <p:txBody>
          <a:bodyPr/>
          <a:lstStyle>
            <a:lvl1pPr>
              <a:defRPr/>
            </a:lvl1pPr>
          </a:lstStyle>
          <a:p>
            <a:pPr lvl="0"/>
            <a:r>
              <a:rPr lang="da-DK" noProof="0"/>
              <a:t>Klik for at tilføje tekst                             Klik ENTER og derefter TAB for at se næste tekstformat                              Klik SHIFT+TAB for at se foregående tekstformat</a:t>
            </a:r>
          </a:p>
          <a:p>
            <a:pPr lvl="1"/>
            <a:r>
              <a:rPr lang="da-DK" noProof="0"/>
              <a:t>Andet Niveau</a:t>
            </a:r>
          </a:p>
        </p:txBody>
      </p:sp>
      <p:sp>
        <p:nvSpPr>
          <p:cNvPr id="20" name="Pladsholder til tekst 19">
            <a:extLst>
              <a:ext uri="{FF2B5EF4-FFF2-40B4-BE49-F238E27FC236}">
                <a16:creationId xmlns:a16="http://schemas.microsoft.com/office/drawing/2014/main" id="{B8BFA8BA-84C0-F72E-A750-BA569C419DF9}"/>
              </a:ext>
            </a:extLst>
          </p:cNvPr>
          <p:cNvSpPr>
            <a:spLocks noGrp="1"/>
          </p:cNvSpPr>
          <p:nvPr>
            <p:ph type="body" sz="quarter" idx="22" hasCustomPrompt="1"/>
          </p:nvPr>
        </p:nvSpPr>
        <p:spPr>
          <a:xfrm>
            <a:off x="3229200" y="3302100"/>
            <a:ext cx="2686500" cy="1301400"/>
          </a:xfrm>
        </p:spPr>
        <p:txBody>
          <a:bodyPr/>
          <a:lstStyle>
            <a:lvl1pPr>
              <a:defRPr/>
            </a:lvl1pPr>
          </a:lstStyle>
          <a:p>
            <a:pPr lvl="0"/>
            <a:r>
              <a:rPr lang="da-DK" noProof="0"/>
              <a:t>Klik for at tilføje tekst                         Klik ENTER og derefter TAB for at se næste tekstformat                                Klik SHIFT+TAB for at se foregående tekstformat</a:t>
            </a:r>
          </a:p>
          <a:p>
            <a:pPr lvl="1"/>
            <a:r>
              <a:rPr lang="da-DK" noProof="0"/>
              <a:t>Andet Niveau</a:t>
            </a:r>
          </a:p>
        </p:txBody>
      </p:sp>
      <p:sp>
        <p:nvSpPr>
          <p:cNvPr id="2" name="Pladsholder til tekst 21">
            <a:extLst>
              <a:ext uri="{FF2B5EF4-FFF2-40B4-BE49-F238E27FC236}">
                <a16:creationId xmlns:a16="http://schemas.microsoft.com/office/drawing/2014/main" id="{B9E2D20B-4753-F312-1E3D-2FCF85F1B474}"/>
              </a:ext>
            </a:extLst>
          </p:cNvPr>
          <p:cNvSpPr>
            <a:spLocks noGrp="1"/>
          </p:cNvSpPr>
          <p:nvPr>
            <p:ph type="body" sz="quarter" idx="23" hasCustomPrompt="1"/>
          </p:nvPr>
        </p:nvSpPr>
        <p:spPr>
          <a:xfrm>
            <a:off x="6050570" y="3302100"/>
            <a:ext cx="2686500" cy="1301400"/>
          </a:xfrm>
        </p:spPr>
        <p:txBody>
          <a:bodyPr/>
          <a:lstStyle/>
          <a:p>
            <a:pPr lvl="0"/>
            <a:r>
              <a:rPr lang="da-DK" noProof="0"/>
              <a:t>Klik for at tilføje tekst                         Klik ENTER og derefter TAB for at se næste tekstformat                                Klik SHIFT+TAB for at se foregående tekstformat</a:t>
            </a:r>
          </a:p>
          <a:p>
            <a:pPr lvl="1"/>
            <a:r>
              <a:rPr lang="da-DK" noProof="0"/>
              <a:t>Andet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97661291-5352-4918-9316-2BC4EAD39735}" type="datetime2">
              <a:rPr lang="da-DK" smtClean="0"/>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a:p>
        </p:txBody>
      </p:sp>
      <p:sp>
        <p:nvSpPr>
          <p:cNvPr id="11" name="Makro grafik 1">
            <a:extLst>
              <a:ext uri="{FF2B5EF4-FFF2-40B4-BE49-F238E27FC236}">
                <a16:creationId xmlns:a16="http://schemas.microsoft.com/office/drawing/2014/main" id="{5B5C7922-7CE1-04FB-3F00-E2781F5AA6A3}"/>
              </a:ext>
            </a:extLst>
          </p:cNvPr>
          <p:cNvSpPr>
            <a:spLocks noGrp="1" noChangeAspect="1"/>
          </p:cNvSpPr>
          <p:nvPr>
            <p:ph type="body" sz="quarter" idx="28" hasCustomPrompt="1"/>
          </p:nvPr>
        </p:nvSpPr>
        <p:spPr>
          <a:xfrm>
            <a:off x="2395552" y="508903"/>
            <a:ext cx="824373" cy="876750"/>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
        <p:nvSpPr>
          <p:cNvPr id="12" name="Makro grafik 2">
            <a:extLst>
              <a:ext uri="{FF2B5EF4-FFF2-40B4-BE49-F238E27FC236}">
                <a16:creationId xmlns:a16="http://schemas.microsoft.com/office/drawing/2014/main" id="{FC0E9C59-2E77-747D-58BC-6769C9984CA6}"/>
              </a:ext>
            </a:extLst>
          </p:cNvPr>
          <p:cNvSpPr>
            <a:spLocks noGrp="1" noChangeAspect="1"/>
          </p:cNvSpPr>
          <p:nvPr>
            <p:ph type="body" sz="quarter" idx="29" hasCustomPrompt="1"/>
          </p:nvPr>
        </p:nvSpPr>
        <p:spPr>
          <a:xfrm>
            <a:off x="5678484" y="1161722"/>
            <a:ext cx="1239333" cy="177627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Tree>
    <p:extLst>
      <p:ext uri="{BB962C8B-B14F-4D97-AF65-F5344CB8AC3E}">
        <p14:creationId xmlns:p14="http://schemas.microsoft.com/office/powerpoint/2010/main" val="1345649414"/>
      </p:ext>
    </p:extLst>
  </p:cSld>
  <p:clrMapOvr>
    <a:masterClrMapping/>
  </p:clrMapOvr>
  <p:extLst>
    <p:ext uri="{DCECCB84-F9BA-43D5-87BE-67443E8EF086}">
      <p15:sldGuideLst xmlns:p15="http://schemas.microsoft.com/office/powerpoint/2012/main">
        <p15:guide id="6" orient="horz" pos="2660">
          <p15:clr>
            <a:srgbClr val="A4A3A4"/>
          </p15:clr>
        </p15:guide>
        <p15:guide id="7" orient="horz" pos="2773">
          <p15:clr>
            <a:srgbClr val="A4A3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re billeder og tekst B">
    <p:spTree>
      <p:nvGrpSpPr>
        <p:cNvPr id="1" name=""/>
        <p:cNvGrpSpPr/>
        <p:nvPr/>
      </p:nvGrpSpPr>
      <p:grpSpPr>
        <a:xfrm>
          <a:off x="0" y="0"/>
          <a:ext cx="0" cy="0"/>
          <a:chOff x="0" y="0"/>
          <a:chExt cx="0" cy="0"/>
        </a:xfrm>
      </p:grpSpPr>
      <p:sp>
        <p:nvSpPr>
          <p:cNvPr id="9" name="Baggrund">
            <a:extLst>
              <a:ext uri="{FF2B5EF4-FFF2-40B4-BE49-F238E27FC236}">
                <a16:creationId xmlns:a16="http://schemas.microsoft.com/office/drawing/2014/main" id="{19CC1437-361E-D512-8F65-9DF166DE9E2C}"/>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405001" y="0"/>
            <a:ext cx="2686500"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31" name="Picture Placeholder 3">
            <a:extLst>
              <a:ext uri="{FF2B5EF4-FFF2-40B4-BE49-F238E27FC236}">
                <a16:creationId xmlns:a16="http://schemas.microsoft.com/office/drawing/2014/main" id="{0C5AC296-1E96-EE8B-9C85-121FADCDAEEA}"/>
              </a:ext>
            </a:extLst>
          </p:cNvPr>
          <p:cNvSpPr>
            <a:spLocks noGrp="1"/>
          </p:cNvSpPr>
          <p:nvPr>
            <p:ph type="pic" sz="quarter" idx="26" hasCustomPrompt="1"/>
          </p:nvPr>
        </p:nvSpPr>
        <p:spPr>
          <a:xfrm>
            <a:off x="3229200" y="0"/>
            <a:ext cx="2686500"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3" name="Picture Placeholder 3">
            <a:extLst>
              <a:ext uri="{FF2B5EF4-FFF2-40B4-BE49-F238E27FC236}">
                <a16:creationId xmlns:a16="http://schemas.microsoft.com/office/drawing/2014/main" id="{5F2C9F80-9D2C-1AE1-46B6-2D3A7D8A6976}"/>
              </a:ext>
            </a:extLst>
          </p:cNvPr>
          <p:cNvSpPr>
            <a:spLocks noGrp="1"/>
          </p:cNvSpPr>
          <p:nvPr>
            <p:ph type="pic" sz="quarter" idx="27" hasCustomPrompt="1"/>
          </p:nvPr>
        </p:nvSpPr>
        <p:spPr>
          <a:xfrm>
            <a:off x="6050570" y="0"/>
            <a:ext cx="2686500"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18" name="Pladsholder til tekst 17">
            <a:extLst>
              <a:ext uri="{FF2B5EF4-FFF2-40B4-BE49-F238E27FC236}">
                <a16:creationId xmlns:a16="http://schemas.microsoft.com/office/drawing/2014/main" id="{7A036220-52A4-5423-2E3D-CA9465DCF383}"/>
              </a:ext>
            </a:extLst>
          </p:cNvPr>
          <p:cNvSpPr>
            <a:spLocks noGrp="1"/>
          </p:cNvSpPr>
          <p:nvPr>
            <p:ph type="body" sz="quarter" idx="21" hasCustomPrompt="1"/>
          </p:nvPr>
        </p:nvSpPr>
        <p:spPr>
          <a:xfrm>
            <a:off x="405001" y="3302100"/>
            <a:ext cx="2686500" cy="1301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p:txBody>
      </p:sp>
      <p:sp>
        <p:nvSpPr>
          <p:cNvPr id="20" name="Pladsholder til tekst 19">
            <a:extLst>
              <a:ext uri="{FF2B5EF4-FFF2-40B4-BE49-F238E27FC236}">
                <a16:creationId xmlns:a16="http://schemas.microsoft.com/office/drawing/2014/main" id="{B8BFA8BA-84C0-F72E-A750-BA569C419DF9}"/>
              </a:ext>
            </a:extLst>
          </p:cNvPr>
          <p:cNvSpPr>
            <a:spLocks noGrp="1"/>
          </p:cNvSpPr>
          <p:nvPr>
            <p:ph type="body" sz="quarter" idx="22" hasCustomPrompt="1"/>
          </p:nvPr>
        </p:nvSpPr>
        <p:spPr>
          <a:xfrm>
            <a:off x="3229200" y="3302100"/>
            <a:ext cx="2686500" cy="1301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p:txBody>
      </p:sp>
      <p:sp>
        <p:nvSpPr>
          <p:cNvPr id="2" name="Pladsholder til tekst 21">
            <a:extLst>
              <a:ext uri="{FF2B5EF4-FFF2-40B4-BE49-F238E27FC236}">
                <a16:creationId xmlns:a16="http://schemas.microsoft.com/office/drawing/2014/main" id="{B9E2D20B-4753-F312-1E3D-2FCF85F1B474}"/>
              </a:ext>
            </a:extLst>
          </p:cNvPr>
          <p:cNvSpPr>
            <a:spLocks noGrp="1"/>
          </p:cNvSpPr>
          <p:nvPr>
            <p:ph type="body" sz="quarter" idx="23" hasCustomPrompt="1"/>
          </p:nvPr>
        </p:nvSpPr>
        <p:spPr>
          <a:xfrm>
            <a:off x="6050570" y="3302100"/>
            <a:ext cx="2686500" cy="1301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lvl1pPr>
              <a:defRPr>
                <a:solidFill>
                  <a:schemeClr val="bg1"/>
                </a:solidFill>
              </a:defRPr>
            </a:lvl1pPr>
          </a:lstStyle>
          <a:p>
            <a:fld id="{97661291-5352-4918-9316-2BC4EAD39735}" type="datetime2">
              <a:rPr lang="da-DK" smtClean="0"/>
              <a:pPr/>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lvl1pPr>
              <a:defRPr>
                <a:solidFill>
                  <a:schemeClr val="bg1"/>
                </a:solidFill>
              </a:defRPr>
            </a:lvl1pPr>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lvl1pPr>
              <a:defRPr>
                <a:solidFill>
                  <a:schemeClr val="bg1"/>
                </a:solidFill>
              </a:defRPr>
            </a:lvl1pPr>
          </a:lstStyle>
          <a:p>
            <a:fld id="{24C8C45C-947F-4981-8B3F-4F32E973C901}" type="slidenum">
              <a:rPr lang="da-DK" smtClean="0"/>
              <a:pPr/>
              <a:t>‹nr.›</a:t>
            </a:fld>
            <a:endParaRPr lang="da-DK"/>
          </a:p>
        </p:txBody>
      </p:sp>
      <p:sp>
        <p:nvSpPr>
          <p:cNvPr id="11" name="Makro grafik 1">
            <a:extLst>
              <a:ext uri="{FF2B5EF4-FFF2-40B4-BE49-F238E27FC236}">
                <a16:creationId xmlns:a16="http://schemas.microsoft.com/office/drawing/2014/main" id="{5B5C7922-7CE1-04FB-3F00-E2781F5AA6A3}"/>
              </a:ext>
            </a:extLst>
          </p:cNvPr>
          <p:cNvSpPr>
            <a:spLocks noGrp="1" noChangeAspect="1"/>
          </p:cNvSpPr>
          <p:nvPr>
            <p:ph type="body" sz="quarter" idx="28" hasCustomPrompt="1"/>
          </p:nvPr>
        </p:nvSpPr>
        <p:spPr>
          <a:xfrm>
            <a:off x="2395552" y="508903"/>
            <a:ext cx="824373" cy="876750"/>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
        <p:nvSpPr>
          <p:cNvPr id="12" name="Makro grafik 2">
            <a:extLst>
              <a:ext uri="{FF2B5EF4-FFF2-40B4-BE49-F238E27FC236}">
                <a16:creationId xmlns:a16="http://schemas.microsoft.com/office/drawing/2014/main" id="{FC0E9C59-2E77-747D-58BC-6769C9984CA6}"/>
              </a:ext>
            </a:extLst>
          </p:cNvPr>
          <p:cNvSpPr>
            <a:spLocks noGrp="1" noChangeAspect="1"/>
          </p:cNvSpPr>
          <p:nvPr>
            <p:ph type="body" sz="quarter" idx="29" hasCustomPrompt="1"/>
          </p:nvPr>
        </p:nvSpPr>
        <p:spPr>
          <a:xfrm>
            <a:off x="5678484" y="1161722"/>
            <a:ext cx="1239333" cy="177627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Tree>
    <p:extLst>
      <p:ext uri="{BB962C8B-B14F-4D97-AF65-F5344CB8AC3E}">
        <p14:creationId xmlns:p14="http://schemas.microsoft.com/office/powerpoint/2010/main" val="3363207344"/>
      </p:ext>
    </p:extLst>
  </p:cSld>
  <p:clrMapOvr>
    <a:masterClrMapping/>
  </p:clrMapOvr>
  <p:extLst>
    <p:ext uri="{DCECCB84-F9BA-43D5-87BE-67443E8EF086}">
      <p15:sldGuideLst xmlns:p15="http://schemas.microsoft.com/office/powerpoint/2012/main">
        <p15:guide id="6" orient="horz" pos="2660">
          <p15:clr>
            <a:srgbClr val="A4A3A4"/>
          </p15:clr>
        </p15:guide>
        <p15:guide id="7" orient="horz" pos="277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reaker A">
    <p:bg>
      <p:bgRef idx="1001">
        <a:schemeClr val="bg1"/>
      </p:bgRef>
    </p:bg>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ADCF4DF5-C986-E697-27B9-49E982F3621E}"/>
              </a:ext>
            </a:extLst>
          </p:cNvPr>
          <p:cNvSpPr>
            <a:spLocks noGrp="1"/>
          </p:cNvSpPr>
          <p:nvPr>
            <p:ph type="pic" sz="quarter" idx="14" hasCustomPrompt="1"/>
          </p:nvPr>
        </p:nvSpPr>
        <p:spPr>
          <a:xfrm>
            <a:off x="0" y="0"/>
            <a:ext cx="4504135" cy="51435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accent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accent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25EE03DE-7CB9-4829-AA4A-B448C54E8591}" type="datetime2">
              <a:rPr lang="da-DK" smtClean="0"/>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accent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27" name="Makro grafik 1">
            <a:extLst>
              <a:ext uri="{FF2B5EF4-FFF2-40B4-BE49-F238E27FC236}">
                <a16:creationId xmlns:a16="http://schemas.microsoft.com/office/drawing/2014/main" id="{BCB3F802-0640-FE07-D164-6E14C9C290DB}"/>
              </a:ext>
            </a:extLst>
          </p:cNvPr>
          <p:cNvSpPr>
            <a:spLocks noGrp="1" noChangeAspect="1"/>
          </p:cNvSpPr>
          <p:nvPr>
            <p:ph type="body" sz="quarter" idx="25" hasCustomPrompt="1"/>
          </p:nvPr>
        </p:nvSpPr>
        <p:spPr>
          <a:xfrm>
            <a:off x="347623" y="3904622"/>
            <a:ext cx="1207553" cy="569472"/>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
        <p:nvSpPr>
          <p:cNvPr id="22" name="Makro grafik 2">
            <a:extLst>
              <a:ext uri="{FF2B5EF4-FFF2-40B4-BE49-F238E27FC236}">
                <a16:creationId xmlns:a16="http://schemas.microsoft.com/office/drawing/2014/main" id="{6989E875-2685-8530-428A-CEC55B52321F}"/>
              </a:ext>
            </a:extLst>
          </p:cNvPr>
          <p:cNvSpPr>
            <a:spLocks noGrp="1" noChangeAspect="1"/>
          </p:cNvSpPr>
          <p:nvPr>
            <p:ph type="body" sz="quarter" idx="24" hasCustomPrompt="1"/>
          </p:nvPr>
        </p:nvSpPr>
        <p:spPr>
          <a:xfrm>
            <a:off x="3294273" y="299690"/>
            <a:ext cx="1463740" cy="1463700"/>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Tree>
    <p:extLst>
      <p:ext uri="{BB962C8B-B14F-4D97-AF65-F5344CB8AC3E}">
        <p14:creationId xmlns:p14="http://schemas.microsoft.com/office/powerpoint/2010/main" val="7791483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reaker B">
    <p:bg>
      <p:bgRef idx="1001">
        <a:schemeClr val="bg1"/>
      </p:bgRef>
    </p:bg>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6" name="Picture Placeholder 3">
            <a:extLst>
              <a:ext uri="{FF2B5EF4-FFF2-40B4-BE49-F238E27FC236}">
                <a16:creationId xmlns:a16="http://schemas.microsoft.com/office/drawing/2014/main" id="{ADCF4DF5-C986-E697-27B9-49E982F3621E}"/>
              </a:ext>
            </a:extLst>
          </p:cNvPr>
          <p:cNvSpPr>
            <a:spLocks noGrp="1"/>
          </p:cNvSpPr>
          <p:nvPr>
            <p:ph type="pic" sz="quarter" idx="14" hasCustomPrompt="1"/>
          </p:nvPr>
        </p:nvSpPr>
        <p:spPr>
          <a:xfrm>
            <a:off x="0" y="0"/>
            <a:ext cx="4504135" cy="51435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25EE03DE-7CB9-4829-AA4A-B448C54E8591}" type="datetime2">
              <a:rPr lang="da-DK" smtClean="0"/>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27" name="Makro grafik 1">
            <a:extLst>
              <a:ext uri="{FF2B5EF4-FFF2-40B4-BE49-F238E27FC236}">
                <a16:creationId xmlns:a16="http://schemas.microsoft.com/office/drawing/2014/main" id="{BCB3F802-0640-FE07-D164-6E14C9C290DB}"/>
              </a:ext>
            </a:extLst>
          </p:cNvPr>
          <p:cNvSpPr>
            <a:spLocks noGrp="1" noChangeAspect="1"/>
          </p:cNvSpPr>
          <p:nvPr>
            <p:ph type="body" sz="quarter" idx="25" hasCustomPrompt="1"/>
          </p:nvPr>
        </p:nvSpPr>
        <p:spPr>
          <a:xfrm>
            <a:off x="347623" y="3904622"/>
            <a:ext cx="1207553" cy="569472"/>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
        <p:nvSpPr>
          <p:cNvPr id="22" name="Makro grafik 2">
            <a:extLst>
              <a:ext uri="{FF2B5EF4-FFF2-40B4-BE49-F238E27FC236}">
                <a16:creationId xmlns:a16="http://schemas.microsoft.com/office/drawing/2014/main" id="{6989E875-2685-8530-428A-CEC55B52321F}"/>
              </a:ext>
            </a:extLst>
          </p:cNvPr>
          <p:cNvSpPr>
            <a:spLocks noGrp="1" noChangeAspect="1"/>
          </p:cNvSpPr>
          <p:nvPr>
            <p:ph type="body" sz="quarter" idx="24" hasCustomPrompt="1"/>
          </p:nvPr>
        </p:nvSpPr>
        <p:spPr>
          <a:xfrm>
            <a:off x="3294273" y="299690"/>
            <a:ext cx="1463740" cy="1463700"/>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Tree>
    <p:extLst>
      <p:ext uri="{BB962C8B-B14F-4D97-AF65-F5344CB8AC3E}">
        <p14:creationId xmlns:p14="http://schemas.microsoft.com/office/powerpoint/2010/main" val="23354330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reaker C">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accent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accent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accent1"/>
                </a:solidFill>
              </a:defRPr>
            </a:lvl1pPr>
          </a:lstStyle>
          <a:p>
            <a:fld id="{3BB9AE99-772C-4228-AF46-BF964994F324}" type="datetime2">
              <a:rPr lang="da-DK" smtClean="0"/>
              <a:pPr/>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accent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accent1"/>
                </a:solidFill>
              </a:defRPr>
            </a:lvl1pPr>
          </a:lstStyle>
          <a:p>
            <a:fld id="{24C8C45C-947F-4981-8B3F-4F32E973C901}" type="slidenum">
              <a:rPr lang="da-DK" smtClean="0"/>
              <a:pPr/>
              <a:t>‹nr.›</a:t>
            </a:fld>
            <a:endParaRPr lang="da-DK"/>
          </a:p>
        </p:txBody>
      </p:sp>
      <p:sp>
        <p:nvSpPr>
          <p:cNvPr id="6" name="Mikro grafik 1">
            <a:extLst>
              <a:ext uri="{FF2B5EF4-FFF2-40B4-BE49-F238E27FC236}">
                <a16:creationId xmlns:a16="http://schemas.microsoft.com/office/drawing/2014/main" id="{CF298011-2AEF-EC84-54F2-B43A8661A425}"/>
              </a:ext>
            </a:extLst>
          </p:cNvPr>
          <p:cNvSpPr/>
          <p:nvPr userDrawn="1"/>
        </p:nvSpPr>
        <p:spPr>
          <a:xfrm>
            <a:off x="257176" y="930323"/>
            <a:ext cx="4065815" cy="3297127"/>
          </a:xfrm>
          <a:custGeom>
            <a:avLst/>
            <a:gdLst>
              <a:gd name="connsiteX0" fmla="*/ 6351898 w 9012328"/>
              <a:gd name="connsiteY0" fmla="*/ 7031333 h 7308446"/>
              <a:gd name="connsiteX1" fmla="*/ 6558899 w 9012328"/>
              <a:gd name="connsiteY1" fmla="*/ 7031333 h 7308446"/>
              <a:gd name="connsiteX2" fmla="*/ 6558899 w 9012328"/>
              <a:gd name="connsiteY2" fmla="*/ 7204946 h 7308446"/>
              <a:gd name="connsiteX3" fmla="*/ 6351898 w 9012328"/>
              <a:gd name="connsiteY3" fmla="*/ 7204946 h 7308446"/>
              <a:gd name="connsiteX4" fmla="*/ 3333905 w 9012328"/>
              <a:gd name="connsiteY4" fmla="*/ 6881094 h 7308446"/>
              <a:gd name="connsiteX5" fmla="*/ 4238693 w 9012328"/>
              <a:gd name="connsiteY5" fmla="*/ 6881094 h 7308446"/>
              <a:gd name="connsiteX6" fmla="*/ 4238693 w 9012328"/>
              <a:gd name="connsiteY6" fmla="*/ 6987931 h 7308446"/>
              <a:gd name="connsiteX7" fmla="*/ 3333905 w 9012328"/>
              <a:gd name="connsiteY7" fmla="*/ 6987931 h 7308446"/>
              <a:gd name="connsiteX8" fmla="*/ 3333905 w 9012328"/>
              <a:gd name="connsiteY8" fmla="*/ 6532197 h 7308446"/>
              <a:gd name="connsiteX9" fmla="*/ 4238693 w 9012328"/>
              <a:gd name="connsiteY9" fmla="*/ 6532197 h 7308446"/>
              <a:gd name="connsiteX10" fmla="*/ 4238693 w 9012328"/>
              <a:gd name="connsiteY10" fmla="*/ 6639034 h 7308446"/>
              <a:gd name="connsiteX11" fmla="*/ 3333905 w 9012328"/>
              <a:gd name="connsiteY11" fmla="*/ 6639034 h 7308446"/>
              <a:gd name="connsiteX12" fmla="*/ 5357969 w 9012328"/>
              <a:gd name="connsiteY12" fmla="*/ 6016022 h 7308446"/>
              <a:gd name="connsiteX13" fmla="*/ 5731908 w 9012328"/>
              <a:gd name="connsiteY13" fmla="*/ 6016022 h 7308446"/>
              <a:gd name="connsiteX14" fmla="*/ 5731908 w 9012328"/>
              <a:gd name="connsiteY14" fmla="*/ 6111272 h 7308446"/>
              <a:gd name="connsiteX15" fmla="*/ 5731908 w 9012328"/>
              <a:gd name="connsiteY15" fmla="*/ 7209822 h 7308446"/>
              <a:gd name="connsiteX16" fmla="*/ 5731908 w 9012328"/>
              <a:gd name="connsiteY16" fmla="*/ 7305072 h 7308446"/>
              <a:gd name="connsiteX17" fmla="*/ 5357969 w 9012328"/>
              <a:gd name="connsiteY17" fmla="*/ 7305072 h 7308446"/>
              <a:gd name="connsiteX18" fmla="*/ 5357969 w 9012328"/>
              <a:gd name="connsiteY18" fmla="*/ 7209822 h 7308446"/>
              <a:gd name="connsiteX19" fmla="*/ 5616719 w 9012328"/>
              <a:gd name="connsiteY19" fmla="*/ 7209822 h 7308446"/>
              <a:gd name="connsiteX20" fmla="*/ 5616719 w 9012328"/>
              <a:gd name="connsiteY20" fmla="*/ 6111272 h 7308446"/>
              <a:gd name="connsiteX21" fmla="*/ 5357969 w 9012328"/>
              <a:gd name="connsiteY21" fmla="*/ 6111272 h 7308446"/>
              <a:gd name="connsiteX22" fmla="*/ 4884222 w 9012328"/>
              <a:gd name="connsiteY22" fmla="*/ 6016022 h 7308446"/>
              <a:gd name="connsiteX23" fmla="*/ 5258161 w 9012328"/>
              <a:gd name="connsiteY23" fmla="*/ 6016022 h 7308446"/>
              <a:gd name="connsiteX24" fmla="*/ 5258161 w 9012328"/>
              <a:gd name="connsiteY24" fmla="*/ 6111272 h 7308446"/>
              <a:gd name="connsiteX25" fmla="*/ 4999412 w 9012328"/>
              <a:gd name="connsiteY25" fmla="*/ 6111272 h 7308446"/>
              <a:gd name="connsiteX26" fmla="*/ 4999412 w 9012328"/>
              <a:gd name="connsiteY26" fmla="*/ 7209822 h 7308446"/>
              <a:gd name="connsiteX27" fmla="*/ 5258161 w 9012328"/>
              <a:gd name="connsiteY27" fmla="*/ 7209822 h 7308446"/>
              <a:gd name="connsiteX28" fmla="*/ 5258161 w 9012328"/>
              <a:gd name="connsiteY28" fmla="*/ 7305072 h 7308446"/>
              <a:gd name="connsiteX29" fmla="*/ 4884222 w 9012328"/>
              <a:gd name="connsiteY29" fmla="*/ 7305072 h 7308446"/>
              <a:gd name="connsiteX30" fmla="*/ 4884222 w 9012328"/>
              <a:gd name="connsiteY30" fmla="*/ 7209822 h 7308446"/>
              <a:gd name="connsiteX31" fmla="*/ 4884222 w 9012328"/>
              <a:gd name="connsiteY31" fmla="*/ 6111272 h 7308446"/>
              <a:gd name="connsiteX32" fmla="*/ 8549915 w 9012328"/>
              <a:gd name="connsiteY32" fmla="*/ 6009685 h 7308446"/>
              <a:gd name="connsiteX33" fmla="*/ 8602985 w 9012328"/>
              <a:gd name="connsiteY33" fmla="*/ 6011561 h 7308446"/>
              <a:gd name="connsiteX34" fmla="*/ 8652106 w 9012328"/>
              <a:gd name="connsiteY34" fmla="*/ 6017138 h 7308446"/>
              <a:gd name="connsiteX35" fmla="*/ 8697411 w 9012328"/>
              <a:gd name="connsiteY35" fmla="*/ 6026333 h 7308446"/>
              <a:gd name="connsiteX36" fmla="*/ 8739033 w 9012328"/>
              <a:gd name="connsiteY36" fmla="*/ 6039065 h 7308446"/>
              <a:gd name="connsiteX37" fmla="*/ 8777104 w 9012328"/>
              <a:gd name="connsiteY37" fmla="*/ 6055253 h 7308446"/>
              <a:gd name="connsiteX38" fmla="*/ 8811757 w 9012328"/>
              <a:gd name="connsiteY38" fmla="*/ 6074814 h 7308446"/>
              <a:gd name="connsiteX39" fmla="*/ 8843125 w 9012328"/>
              <a:gd name="connsiteY39" fmla="*/ 6097669 h 7308446"/>
              <a:gd name="connsiteX40" fmla="*/ 8871340 w 9012328"/>
              <a:gd name="connsiteY40" fmla="*/ 6123735 h 7308446"/>
              <a:gd name="connsiteX41" fmla="*/ 8896535 w 9012328"/>
              <a:gd name="connsiteY41" fmla="*/ 6152931 h 7308446"/>
              <a:gd name="connsiteX42" fmla="*/ 8918843 w 9012328"/>
              <a:gd name="connsiteY42" fmla="*/ 6185176 h 7308446"/>
              <a:gd name="connsiteX43" fmla="*/ 8938397 w 9012328"/>
              <a:gd name="connsiteY43" fmla="*/ 6220388 h 7308446"/>
              <a:gd name="connsiteX44" fmla="*/ 8955329 w 9012328"/>
              <a:gd name="connsiteY44" fmla="*/ 6258486 h 7308446"/>
              <a:gd name="connsiteX45" fmla="*/ 8969772 w 9012328"/>
              <a:gd name="connsiteY45" fmla="*/ 6299388 h 7308446"/>
              <a:gd name="connsiteX46" fmla="*/ 8981858 w 9012328"/>
              <a:gd name="connsiteY46" fmla="*/ 6343014 h 7308446"/>
              <a:gd name="connsiteX47" fmla="*/ 8991721 w 9012328"/>
              <a:gd name="connsiteY47" fmla="*/ 6389281 h 7308446"/>
              <a:gd name="connsiteX48" fmla="*/ 8999494 w 9012328"/>
              <a:gd name="connsiteY48" fmla="*/ 6438109 h 7308446"/>
              <a:gd name="connsiteX49" fmla="*/ 9005308 w 9012328"/>
              <a:gd name="connsiteY49" fmla="*/ 6489415 h 7308446"/>
              <a:gd name="connsiteX50" fmla="*/ 9009296 w 9012328"/>
              <a:gd name="connsiteY50" fmla="*/ 6543120 h 7308446"/>
              <a:gd name="connsiteX51" fmla="*/ 9011592 w 9012328"/>
              <a:gd name="connsiteY51" fmla="*/ 6599140 h 7308446"/>
              <a:gd name="connsiteX52" fmla="*/ 9012328 w 9012328"/>
              <a:gd name="connsiteY52" fmla="*/ 6657396 h 7308446"/>
              <a:gd name="connsiteX53" fmla="*/ 9011628 w 9012328"/>
              <a:gd name="connsiteY53" fmla="*/ 6715902 h 7308446"/>
              <a:gd name="connsiteX54" fmla="*/ 9009431 w 9012328"/>
              <a:gd name="connsiteY54" fmla="*/ 6772172 h 7308446"/>
              <a:gd name="connsiteX55" fmla="*/ 9005595 w 9012328"/>
              <a:gd name="connsiteY55" fmla="*/ 6826122 h 7308446"/>
              <a:gd name="connsiteX56" fmla="*/ 8999974 w 9012328"/>
              <a:gd name="connsiteY56" fmla="*/ 6877672 h 7308446"/>
              <a:gd name="connsiteX57" fmla="*/ 8992426 w 9012328"/>
              <a:gd name="connsiteY57" fmla="*/ 6926737 h 7308446"/>
              <a:gd name="connsiteX58" fmla="*/ 8982805 w 9012328"/>
              <a:gd name="connsiteY58" fmla="*/ 6973236 h 7308446"/>
              <a:gd name="connsiteX59" fmla="*/ 8970968 w 9012328"/>
              <a:gd name="connsiteY59" fmla="*/ 7017085 h 7308446"/>
              <a:gd name="connsiteX60" fmla="*/ 8956771 w 9012328"/>
              <a:gd name="connsiteY60" fmla="*/ 7058203 h 7308446"/>
              <a:gd name="connsiteX61" fmla="*/ 8940070 w 9012328"/>
              <a:gd name="connsiteY61" fmla="*/ 7096506 h 7308446"/>
              <a:gd name="connsiteX62" fmla="*/ 8920721 w 9012328"/>
              <a:gd name="connsiteY62" fmla="*/ 7131912 h 7308446"/>
              <a:gd name="connsiteX63" fmla="*/ 8898580 w 9012328"/>
              <a:gd name="connsiteY63" fmla="*/ 7164338 h 7308446"/>
              <a:gd name="connsiteX64" fmla="*/ 8873503 w 9012328"/>
              <a:gd name="connsiteY64" fmla="*/ 7193701 h 7308446"/>
              <a:gd name="connsiteX65" fmla="*/ 8845346 w 9012328"/>
              <a:gd name="connsiteY65" fmla="*/ 7219920 h 7308446"/>
              <a:gd name="connsiteX66" fmla="*/ 8813966 w 9012328"/>
              <a:gd name="connsiteY66" fmla="*/ 7242910 h 7308446"/>
              <a:gd name="connsiteX67" fmla="*/ 8779217 w 9012328"/>
              <a:gd name="connsiteY67" fmla="*/ 7262591 h 7308446"/>
              <a:gd name="connsiteX68" fmla="*/ 8740956 w 9012328"/>
              <a:gd name="connsiteY68" fmla="*/ 7278878 h 7308446"/>
              <a:gd name="connsiteX69" fmla="*/ 8699039 w 9012328"/>
              <a:gd name="connsiteY69" fmla="*/ 7291690 h 7308446"/>
              <a:gd name="connsiteX70" fmla="*/ 8653323 w 9012328"/>
              <a:gd name="connsiteY70" fmla="*/ 7300944 h 7308446"/>
              <a:gd name="connsiteX71" fmla="*/ 8603663 w 9012328"/>
              <a:gd name="connsiteY71" fmla="*/ 7306557 h 7308446"/>
              <a:gd name="connsiteX72" fmla="*/ 8549915 w 9012328"/>
              <a:gd name="connsiteY72" fmla="*/ 7308446 h 7308446"/>
              <a:gd name="connsiteX73" fmla="*/ 8549915 w 9012328"/>
              <a:gd name="connsiteY73" fmla="*/ 7211624 h 7308446"/>
              <a:gd name="connsiteX74" fmla="*/ 8599600 w 9012328"/>
              <a:gd name="connsiteY74" fmla="*/ 7209391 h 7308446"/>
              <a:gd name="connsiteX75" fmla="*/ 8644521 w 9012328"/>
              <a:gd name="connsiteY75" fmla="*/ 7202770 h 7308446"/>
              <a:gd name="connsiteX76" fmla="*/ 8684903 w 9012328"/>
              <a:gd name="connsiteY76" fmla="*/ 7191881 h 7308446"/>
              <a:gd name="connsiteX77" fmla="*/ 8720974 w 9012328"/>
              <a:gd name="connsiteY77" fmla="*/ 7176841 h 7308446"/>
              <a:gd name="connsiteX78" fmla="*/ 8781085 w 9012328"/>
              <a:gd name="connsiteY78" fmla="*/ 7134781 h 7308446"/>
              <a:gd name="connsiteX79" fmla="*/ 8826665 w 9012328"/>
              <a:gd name="connsiteY79" fmla="*/ 7077537 h 7308446"/>
              <a:gd name="connsiteX80" fmla="*/ 8844570 w 9012328"/>
              <a:gd name="connsiteY80" fmla="*/ 7043516 h 7308446"/>
              <a:gd name="connsiteX81" fmla="*/ 8859522 w 9012328"/>
              <a:gd name="connsiteY81" fmla="*/ 7006054 h 7308446"/>
              <a:gd name="connsiteX82" fmla="*/ 8871746 w 9012328"/>
              <a:gd name="connsiteY82" fmla="*/ 6965269 h 7308446"/>
              <a:gd name="connsiteX83" fmla="*/ 8881469 w 9012328"/>
              <a:gd name="connsiteY83" fmla="*/ 6921279 h 7308446"/>
              <a:gd name="connsiteX84" fmla="*/ 8888916 w 9012328"/>
              <a:gd name="connsiteY84" fmla="*/ 6874203 h 7308446"/>
              <a:gd name="connsiteX85" fmla="*/ 8894315 w 9012328"/>
              <a:gd name="connsiteY85" fmla="*/ 6824158 h 7308446"/>
              <a:gd name="connsiteX86" fmla="*/ 8897891 w 9012328"/>
              <a:gd name="connsiteY86" fmla="*/ 6771263 h 7308446"/>
              <a:gd name="connsiteX87" fmla="*/ 8899870 w 9012328"/>
              <a:gd name="connsiteY87" fmla="*/ 6715637 h 7308446"/>
              <a:gd name="connsiteX88" fmla="*/ 8900480 w 9012328"/>
              <a:gd name="connsiteY88" fmla="*/ 6657396 h 7308446"/>
              <a:gd name="connsiteX89" fmla="*/ 8899838 w 9012328"/>
              <a:gd name="connsiteY89" fmla="*/ 6599727 h 7308446"/>
              <a:gd name="connsiteX90" fmla="*/ 8897768 w 9012328"/>
              <a:gd name="connsiteY90" fmla="*/ 6544638 h 7308446"/>
              <a:gd name="connsiteX91" fmla="*/ 8894058 w 9012328"/>
              <a:gd name="connsiteY91" fmla="*/ 6492245 h 7308446"/>
              <a:gd name="connsiteX92" fmla="*/ 8888492 w 9012328"/>
              <a:gd name="connsiteY92" fmla="*/ 6442669 h 7308446"/>
              <a:gd name="connsiteX93" fmla="*/ 8880857 w 9012328"/>
              <a:gd name="connsiteY93" fmla="*/ 6396025 h 7308446"/>
              <a:gd name="connsiteX94" fmla="*/ 8870939 w 9012328"/>
              <a:gd name="connsiteY94" fmla="*/ 6352434 h 7308446"/>
              <a:gd name="connsiteX95" fmla="*/ 8858523 w 9012328"/>
              <a:gd name="connsiteY95" fmla="*/ 6312013 h 7308446"/>
              <a:gd name="connsiteX96" fmla="*/ 8843396 w 9012328"/>
              <a:gd name="connsiteY96" fmla="*/ 6274881 h 7308446"/>
              <a:gd name="connsiteX97" fmla="*/ 8825343 w 9012328"/>
              <a:gd name="connsiteY97" fmla="*/ 6241155 h 7308446"/>
              <a:gd name="connsiteX98" fmla="*/ 8779605 w 9012328"/>
              <a:gd name="connsiteY98" fmla="*/ 6184396 h 7308446"/>
              <a:gd name="connsiteX99" fmla="*/ 8719596 w 9012328"/>
              <a:gd name="connsiteY99" fmla="*/ 6142683 h 7308446"/>
              <a:gd name="connsiteX100" fmla="*/ 8683704 w 9012328"/>
              <a:gd name="connsiteY100" fmla="*/ 6127764 h 7308446"/>
              <a:gd name="connsiteX101" fmla="*/ 8643603 w 9012328"/>
              <a:gd name="connsiteY101" fmla="*/ 6116961 h 7308446"/>
              <a:gd name="connsiteX102" fmla="*/ 8599078 w 9012328"/>
              <a:gd name="connsiteY102" fmla="*/ 6110393 h 7308446"/>
              <a:gd name="connsiteX103" fmla="*/ 8549915 w 9012328"/>
              <a:gd name="connsiteY103" fmla="*/ 6108177 h 7308446"/>
              <a:gd name="connsiteX104" fmla="*/ 8458035 w 9012328"/>
              <a:gd name="connsiteY104" fmla="*/ 6009685 h 7308446"/>
              <a:gd name="connsiteX105" fmla="*/ 8458035 w 9012328"/>
              <a:gd name="connsiteY105" fmla="*/ 6108177 h 7308446"/>
              <a:gd name="connsiteX106" fmla="*/ 8409149 w 9012328"/>
              <a:gd name="connsiteY106" fmla="*/ 6110393 h 7308446"/>
              <a:gd name="connsiteX107" fmla="*/ 8364868 w 9012328"/>
              <a:gd name="connsiteY107" fmla="*/ 6116961 h 7308446"/>
              <a:gd name="connsiteX108" fmla="*/ 8324982 w 9012328"/>
              <a:gd name="connsiteY108" fmla="*/ 6127764 h 7308446"/>
              <a:gd name="connsiteX109" fmla="*/ 8289276 w 9012328"/>
              <a:gd name="connsiteY109" fmla="*/ 6142683 h 7308446"/>
              <a:gd name="connsiteX110" fmla="*/ 8229561 w 9012328"/>
              <a:gd name="connsiteY110" fmla="*/ 6184396 h 7308446"/>
              <a:gd name="connsiteX111" fmla="*/ 8184027 w 9012328"/>
              <a:gd name="connsiteY111" fmla="*/ 6241155 h 7308446"/>
              <a:gd name="connsiteX112" fmla="*/ 8166048 w 9012328"/>
              <a:gd name="connsiteY112" fmla="*/ 6274881 h 7308446"/>
              <a:gd name="connsiteX113" fmla="*/ 8150978 w 9012328"/>
              <a:gd name="connsiteY113" fmla="*/ 6312013 h 7308446"/>
              <a:gd name="connsiteX114" fmla="*/ 8138606 w 9012328"/>
              <a:gd name="connsiteY114" fmla="*/ 6352434 h 7308446"/>
              <a:gd name="connsiteX115" fmla="*/ 8128718 w 9012328"/>
              <a:gd name="connsiteY115" fmla="*/ 6396025 h 7308446"/>
              <a:gd name="connsiteX116" fmla="*/ 8121104 w 9012328"/>
              <a:gd name="connsiteY116" fmla="*/ 6442669 h 7308446"/>
              <a:gd name="connsiteX117" fmla="*/ 8115551 w 9012328"/>
              <a:gd name="connsiteY117" fmla="*/ 6492245 h 7308446"/>
              <a:gd name="connsiteX118" fmla="*/ 8111847 w 9012328"/>
              <a:gd name="connsiteY118" fmla="*/ 6544638 h 7308446"/>
              <a:gd name="connsiteX119" fmla="*/ 8109780 w 9012328"/>
              <a:gd name="connsiteY119" fmla="*/ 6599727 h 7308446"/>
              <a:gd name="connsiteX120" fmla="*/ 8109138 w 9012328"/>
              <a:gd name="connsiteY120" fmla="*/ 6657396 h 7308446"/>
              <a:gd name="connsiteX121" fmla="*/ 8109764 w 9012328"/>
              <a:gd name="connsiteY121" fmla="*/ 6715637 h 7308446"/>
              <a:gd name="connsiteX122" fmla="*/ 8111786 w 9012328"/>
              <a:gd name="connsiteY122" fmla="*/ 6771263 h 7308446"/>
              <a:gd name="connsiteX123" fmla="*/ 8115423 w 9012328"/>
              <a:gd name="connsiteY123" fmla="*/ 6824158 h 7308446"/>
              <a:gd name="connsiteX124" fmla="*/ 8120892 w 9012328"/>
              <a:gd name="connsiteY124" fmla="*/ 6874203 h 7308446"/>
              <a:gd name="connsiteX125" fmla="*/ 8128413 w 9012328"/>
              <a:gd name="connsiteY125" fmla="*/ 6921279 h 7308446"/>
              <a:gd name="connsiteX126" fmla="*/ 8138202 w 9012328"/>
              <a:gd name="connsiteY126" fmla="*/ 6965269 h 7308446"/>
              <a:gd name="connsiteX127" fmla="*/ 8150479 w 9012328"/>
              <a:gd name="connsiteY127" fmla="*/ 7006054 h 7308446"/>
              <a:gd name="connsiteX128" fmla="*/ 8165461 w 9012328"/>
              <a:gd name="connsiteY128" fmla="*/ 7043516 h 7308446"/>
              <a:gd name="connsiteX129" fmla="*/ 8183367 w 9012328"/>
              <a:gd name="connsiteY129" fmla="*/ 7077537 h 7308446"/>
              <a:gd name="connsiteX130" fmla="*/ 8228821 w 9012328"/>
              <a:gd name="connsiteY130" fmla="*/ 7134781 h 7308446"/>
              <a:gd name="connsiteX131" fmla="*/ 8288587 w 9012328"/>
              <a:gd name="connsiteY131" fmla="*/ 7176841 h 7308446"/>
              <a:gd name="connsiteX132" fmla="*/ 8324382 w 9012328"/>
              <a:gd name="connsiteY132" fmla="*/ 7191881 h 7308446"/>
              <a:gd name="connsiteX133" fmla="*/ 8364410 w 9012328"/>
              <a:gd name="connsiteY133" fmla="*/ 7202770 h 7308446"/>
              <a:gd name="connsiteX134" fmla="*/ 8408888 w 9012328"/>
              <a:gd name="connsiteY134" fmla="*/ 7209391 h 7308446"/>
              <a:gd name="connsiteX135" fmla="*/ 8458035 w 9012328"/>
              <a:gd name="connsiteY135" fmla="*/ 7211624 h 7308446"/>
              <a:gd name="connsiteX136" fmla="*/ 8458035 w 9012328"/>
              <a:gd name="connsiteY136" fmla="*/ 7308446 h 7308446"/>
              <a:gd name="connsiteX137" fmla="*/ 8404513 w 9012328"/>
              <a:gd name="connsiteY137" fmla="*/ 7306557 h 7308446"/>
              <a:gd name="connsiteX138" fmla="*/ 8355032 w 9012328"/>
              <a:gd name="connsiteY138" fmla="*/ 7300944 h 7308446"/>
              <a:gd name="connsiteX139" fmla="*/ 8309453 w 9012328"/>
              <a:gd name="connsiteY139" fmla="*/ 7291690 h 7308446"/>
              <a:gd name="connsiteX140" fmla="*/ 8267634 w 9012328"/>
              <a:gd name="connsiteY140" fmla="*/ 7278878 h 7308446"/>
              <a:gd name="connsiteX141" fmla="*/ 8229437 w 9012328"/>
              <a:gd name="connsiteY141" fmla="*/ 7262591 h 7308446"/>
              <a:gd name="connsiteX142" fmla="*/ 8194720 w 9012328"/>
              <a:gd name="connsiteY142" fmla="*/ 7242910 h 7308446"/>
              <a:gd name="connsiteX143" fmla="*/ 8163344 w 9012328"/>
              <a:gd name="connsiteY143" fmla="*/ 7219920 h 7308446"/>
              <a:gd name="connsiteX144" fmla="*/ 8135168 w 9012328"/>
              <a:gd name="connsiteY144" fmla="*/ 7193701 h 7308446"/>
              <a:gd name="connsiteX145" fmla="*/ 8110051 w 9012328"/>
              <a:gd name="connsiteY145" fmla="*/ 7164338 h 7308446"/>
              <a:gd name="connsiteX146" fmla="*/ 8087855 w 9012328"/>
              <a:gd name="connsiteY146" fmla="*/ 7131912 h 7308446"/>
              <a:gd name="connsiteX147" fmla="*/ 8068437 w 9012328"/>
              <a:gd name="connsiteY147" fmla="*/ 7096506 h 7308446"/>
              <a:gd name="connsiteX148" fmla="*/ 8051660 w 9012328"/>
              <a:gd name="connsiteY148" fmla="*/ 7058203 h 7308446"/>
              <a:gd name="connsiteX149" fmla="*/ 8037381 w 9012328"/>
              <a:gd name="connsiteY149" fmla="*/ 7017085 h 7308446"/>
              <a:gd name="connsiteX150" fmla="*/ 8025461 w 9012328"/>
              <a:gd name="connsiteY150" fmla="*/ 6973236 h 7308446"/>
              <a:gd name="connsiteX151" fmla="*/ 8015759 w 9012328"/>
              <a:gd name="connsiteY151" fmla="*/ 6926737 h 7308446"/>
              <a:gd name="connsiteX152" fmla="*/ 8008136 w 9012328"/>
              <a:gd name="connsiteY152" fmla="*/ 6877672 h 7308446"/>
              <a:gd name="connsiteX153" fmla="*/ 8002451 w 9012328"/>
              <a:gd name="connsiteY153" fmla="*/ 6826122 h 7308446"/>
              <a:gd name="connsiteX154" fmla="*/ 7998564 w 9012328"/>
              <a:gd name="connsiteY154" fmla="*/ 6772172 h 7308446"/>
              <a:gd name="connsiteX155" fmla="*/ 7996334 w 9012328"/>
              <a:gd name="connsiteY155" fmla="*/ 6715902 h 7308446"/>
              <a:gd name="connsiteX156" fmla="*/ 7995623 w 9012328"/>
              <a:gd name="connsiteY156" fmla="*/ 6657396 h 7308446"/>
              <a:gd name="connsiteX157" fmla="*/ 7996358 w 9012328"/>
              <a:gd name="connsiteY157" fmla="*/ 6599140 h 7308446"/>
              <a:gd name="connsiteX158" fmla="*/ 7998654 w 9012328"/>
              <a:gd name="connsiteY158" fmla="*/ 6543120 h 7308446"/>
              <a:gd name="connsiteX159" fmla="*/ 8002643 w 9012328"/>
              <a:gd name="connsiteY159" fmla="*/ 6489415 h 7308446"/>
              <a:gd name="connsiteX160" fmla="*/ 8008456 w 9012328"/>
              <a:gd name="connsiteY160" fmla="*/ 6438109 h 7308446"/>
              <a:gd name="connsiteX161" fmla="*/ 8016229 w 9012328"/>
              <a:gd name="connsiteY161" fmla="*/ 6389281 h 7308446"/>
              <a:gd name="connsiteX162" fmla="*/ 8026092 w 9012328"/>
              <a:gd name="connsiteY162" fmla="*/ 6343014 h 7308446"/>
              <a:gd name="connsiteX163" fmla="*/ 8038178 w 9012328"/>
              <a:gd name="connsiteY163" fmla="*/ 6299388 h 7308446"/>
              <a:gd name="connsiteX164" fmla="*/ 8052621 w 9012328"/>
              <a:gd name="connsiteY164" fmla="*/ 6258486 h 7308446"/>
              <a:gd name="connsiteX165" fmla="*/ 8069553 w 9012328"/>
              <a:gd name="connsiteY165" fmla="*/ 6220388 h 7308446"/>
              <a:gd name="connsiteX166" fmla="*/ 8089106 w 9012328"/>
              <a:gd name="connsiteY166" fmla="*/ 6185176 h 7308446"/>
              <a:gd name="connsiteX167" fmla="*/ 8111414 w 9012328"/>
              <a:gd name="connsiteY167" fmla="*/ 6152931 h 7308446"/>
              <a:gd name="connsiteX168" fmla="*/ 8136610 w 9012328"/>
              <a:gd name="connsiteY168" fmla="*/ 6123735 h 7308446"/>
              <a:gd name="connsiteX169" fmla="*/ 8164825 w 9012328"/>
              <a:gd name="connsiteY169" fmla="*/ 6097669 h 7308446"/>
              <a:gd name="connsiteX170" fmla="*/ 8196192 w 9012328"/>
              <a:gd name="connsiteY170" fmla="*/ 6074814 h 7308446"/>
              <a:gd name="connsiteX171" fmla="*/ 8230845 w 9012328"/>
              <a:gd name="connsiteY171" fmla="*/ 6055253 h 7308446"/>
              <a:gd name="connsiteX172" fmla="*/ 8268916 w 9012328"/>
              <a:gd name="connsiteY172" fmla="*/ 6039065 h 7308446"/>
              <a:gd name="connsiteX173" fmla="*/ 8310538 w 9012328"/>
              <a:gd name="connsiteY173" fmla="*/ 6026333 h 7308446"/>
              <a:gd name="connsiteX174" fmla="*/ 8355843 w 9012328"/>
              <a:gd name="connsiteY174" fmla="*/ 6017138 h 7308446"/>
              <a:gd name="connsiteX175" fmla="*/ 8404964 w 9012328"/>
              <a:gd name="connsiteY175" fmla="*/ 6011561 h 7308446"/>
              <a:gd name="connsiteX176" fmla="*/ 1409388 w 9012328"/>
              <a:gd name="connsiteY176" fmla="*/ 6009685 h 7308446"/>
              <a:gd name="connsiteX177" fmla="*/ 1462459 w 9012328"/>
              <a:gd name="connsiteY177" fmla="*/ 6011561 h 7308446"/>
              <a:gd name="connsiteX178" fmla="*/ 1511579 w 9012328"/>
              <a:gd name="connsiteY178" fmla="*/ 6017138 h 7308446"/>
              <a:gd name="connsiteX179" fmla="*/ 1556884 w 9012328"/>
              <a:gd name="connsiteY179" fmla="*/ 6026333 h 7308446"/>
              <a:gd name="connsiteX180" fmla="*/ 1598508 w 9012328"/>
              <a:gd name="connsiteY180" fmla="*/ 6039065 h 7308446"/>
              <a:gd name="connsiteX181" fmla="*/ 1636578 w 9012328"/>
              <a:gd name="connsiteY181" fmla="*/ 6055253 h 7308446"/>
              <a:gd name="connsiteX182" fmla="*/ 1671231 w 9012328"/>
              <a:gd name="connsiteY182" fmla="*/ 6074814 h 7308446"/>
              <a:gd name="connsiteX183" fmla="*/ 1702600 w 9012328"/>
              <a:gd name="connsiteY183" fmla="*/ 6097669 h 7308446"/>
              <a:gd name="connsiteX184" fmla="*/ 1730815 w 9012328"/>
              <a:gd name="connsiteY184" fmla="*/ 6123735 h 7308446"/>
              <a:gd name="connsiteX185" fmla="*/ 1756009 w 9012328"/>
              <a:gd name="connsiteY185" fmla="*/ 6152931 h 7308446"/>
              <a:gd name="connsiteX186" fmla="*/ 1778317 w 9012328"/>
              <a:gd name="connsiteY186" fmla="*/ 6185176 h 7308446"/>
              <a:gd name="connsiteX187" fmla="*/ 1797871 w 9012328"/>
              <a:gd name="connsiteY187" fmla="*/ 6220388 h 7308446"/>
              <a:gd name="connsiteX188" fmla="*/ 1814804 w 9012328"/>
              <a:gd name="connsiteY188" fmla="*/ 6258486 h 7308446"/>
              <a:gd name="connsiteX189" fmla="*/ 1829247 w 9012328"/>
              <a:gd name="connsiteY189" fmla="*/ 6299388 h 7308446"/>
              <a:gd name="connsiteX190" fmla="*/ 1841333 w 9012328"/>
              <a:gd name="connsiteY190" fmla="*/ 6343014 h 7308446"/>
              <a:gd name="connsiteX191" fmla="*/ 1851196 w 9012328"/>
              <a:gd name="connsiteY191" fmla="*/ 6389281 h 7308446"/>
              <a:gd name="connsiteX192" fmla="*/ 1858969 w 9012328"/>
              <a:gd name="connsiteY192" fmla="*/ 6438109 h 7308446"/>
              <a:gd name="connsiteX193" fmla="*/ 1864782 w 9012328"/>
              <a:gd name="connsiteY193" fmla="*/ 6489415 h 7308446"/>
              <a:gd name="connsiteX194" fmla="*/ 1868770 w 9012328"/>
              <a:gd name="connsiteY194" fmla="*/ 6543120 h 7308446"/>
              <a:gd name="connsiteX195" fmla="*/ 1871067 w 9012328"/>
              <a:gd name="connsiteY195" fmla="*/ 6599140 h 7308446"/>
              <a:gd name="connsiteX196" fmla="*/ 1871802 w 9012328"/>
              <a:gd name="connsiteY196" fmla="*/ 6657396 h 7308446"/>
              <a:gd name="connsiteX197" fmla="*/ 1871103 w 9012328"/>
              <a:gd name="connsiteY197" fmla="*/ 6715902 h 7308446"/>
              <a:gd name="connsiteX198" fmla="*/ 1868906 w 9012328"/>
              <a:gd name="connsiteY198" fmla="*/ 6772172 h 7308446"/>
              <a:gd name="connsiteX199" fmla="*/ 1865069 w 9012328"/>
              <a:gd name="connsiteY199" fmla="*/ 6826122 h 7308446"/>
              <a:gd name="connsiteX200" fmla="*/ 1859448 w 9012328"/>
              <a:gd name="connsiteY200" fmla="*/ 6877672 h 7308446"/>
              <a:gd name="connsiteX201" fmla="*/ 1851900 w 9012328"/>
              <a:gd name="connsiteY201" fmla="*/ 6926737 h 7308446"/>
              <a:gd name="connsiteX202" fmla="*/ 1842280 w 9012328"/>
              <a:gd name="connsiteY202" fmla="*/ 6973236 h 7308446"/>
              <a:gd name="connsiteX203" fmla="*/ 1830443 w 9012328"/>
              <a:gd name="connsiteY203" fmla="*/ 7017085 h 7308446"/>
              <a:gd name="connsiteX204" fmla="*/ 1816246 w 9012328"/>
              <a:gd name="connsiteY204" fmla="*/ 7058203 h 7308446"/>
              <a:gd name="connsiteX205" fmla="*/ 1799544 w 9012328"/>
              <a:gd name="connsiteY205" fmla="*/ 7096506 h 7308446"/>
              <a:gd name="connsiteX206" fmla="*/ 1780195 w 9012328"/>
              <a:gd name="connsiteY206" fmla="*/ 7131912 h 7308446"/>
              <a:gd name="connsiteX207" fmla="*/ 1758055 w 9012328"/>
              <a:gd name="connsiteY207" fmla="*/ 7164338 h 7308446"/>
              <a:gd name="connsiteX208" fmla="*/ 1732977 w 9012328"/>
              <a:gd name="connsiteY208" fmla="*/ 7193701 h 7308446"/>
              <a:gd name="connsiteX209" fmla="*/ 1704820 w 9012328"/>
              <a:gd name="connsiteY209" fmla="*/ 7219920 h 7308446"/>
              <a:gd name="connsiteX210" fmla="*/ 1673440 w 9012328"/>
              <a:gd name="connsiteY210" fmla="*/ 7242910 h 7308446"/>
              <a:gd name="connsiteX211" fmla="*/ 1638691 w 9012328"/>
              <a:gd name="connsiteY211" fmla="*/ 7262591 h 7308446"/>
              <a:gd name="connsiteX212" fmla="*/ 1600431 w 9012328"/>
              <a:gd name="connsiteY212" fmla="*/ 7278878 h 7308446"/>
              <a:gd name="connsiteX213" fmla="*/ 1558512 w 9012328"/>
              <a:gd name="connsiteY213" fmla="*/ 7291690 h 7308446"/>
              <a:gd name="connsiteX214" fmla="*/ 1512797 w 9012328"/>
              <a:gd name="connsiteY214" fmla="*/ 7300944 h 7308446"/>
              <a:gd name="connsiteX215" fmla="*/ 1463136 w 9012328"/>
              <a:gd name="connsiteY215" fmla="*/ 7306557 h 7308446"/>
              <a:gd name="connsiteX216" fmla="*/ 1409388 w 9012328"/>
              <a:gd name="connsiteY216" fmla="*/ 7308446 h 7308446"/>
              <a:gd name="connsiteX217" fmla="*/ 1409388 w 9012328"/>
              <a:gd name="connsiteY217" fmla="*/ 7211624 h 7308446"/>
              <a:gd name="connsiteX218" fmla="*/ 1459074 w 9012328"/>
              <a:gd name="connsiteY218" fmla="*/ 7209391 h 7308446"/>
              <a:gd name="connsiteX219" fmla="*/ 1503995 w 9012328"/>
              <a:gd name="connsiteY219" fmla="*/ 7202770 h 7308446"/>
              <a:gd name="connsiteX220" fmla="*/ 1544377 w 9012328"/>
              <a:gd name="connsiteY220" fmla="*/ 7191881 h 7308446"/>
              <a:gd name="connsiteX221" fmla="*/ 1580448 w 9012328"/>
              <a:gd name="connsiteY221" fmla="*/ 7176841 h 7308446"/>
              <a:gd name="connsiteX222" fmla="*/ 1640559 w 9012328"/>
              <a:gd name="connsiteY222" fmla="*/ 7134781 h 7308446"/>
              <a:gd name="connsiteX223" fmla="*/ 1686139 w 9012328"/>
              <a:gd name="connsiteY223" fmla="*/ 7077537 h 7308446"/>
              <a:gd name="connsiteX224" fmla="*/ 1704044 w 9012328"/>
              <a:gd name="connsiteY224" fmla="*/ 7043516 h 7308446"/>
              <a:gd name="connsiteX225" fmla="*/ 1718997 w 9012328"/>
              <a:gd name="connsiteY225" fmla="*/ 7006054 h 7308446"/>
              <a:gd name="connsiteX226" fmla="*/ 1731220 w 9012328"/>
              <a:gd name="connsiteY226" fmla="*/ 6965269 h 7308446"/>
              <a:gd name="connsiteX227" fmla="*/ 1740944 w 9012328"/>
              <a:gd name="connsiteY227" fmla="*/ 6921279 h 7308446"/>
              <a:gd name="connsiteX228" fmla="*/ 1748390 w 9012328"/>
              <a:gd name="connsiteY228" fmla="*/ 6874203 h 7308446"/>
              <a:gd name="connsiteX229" fmla="*/ 1753790 w 9012328"/>
              <a:gd name="connsiteY229" fmla="*/ 6824158 h 7308446"/>
              <a:gd name="connsiteX230" fmla="*/ 1757366 w 9012328"/>
              <a:gd name="connsiteY230" fmla="*/ 6771263 h 7308446"/>
              <a:gd name="connsiteX231" fmla="*/ 1759345 w 9012328"/>
              <a:gd name="connsiteY231" fmla="*/ 6715637 h 7308446"/>
              <a:gd name="connsiteX232" fmla="*/ 1759955 w 9012328"/>
              <a:gd name="connsiteY232" fmla="*/ 6657396 h 7308446"/>
              <a:gd name="connsiteX233" fmla="*/ 1759313 w 9012328"/>
              <a:gd name="connsiteY233" fmla="*/ 6599727 h 7308446"/>
              <a:gd name="connsiteX234" fmla="*/ 1757242 w 9012328"/>
              <a:gd name="connsiteY234" fmla="*/ 6544638 h 7308446"/>
              <a:gd name="connsiteX235" fmla="*/ 1753533 w 9012328"/>
              <a:gd name="connsiteY235" fmla="*/ 6492245 h 7308446"/>
              <a:gd name="connsiteX236" fmla="*/ 1747967 w 9012328"/>
              <a:gd name="connsiteY236" fmla="*/ 6442669 h 7308446"/>
              <a:gd name="connsiteX237" fmla="*/ 1740332 w 9012328"/>
              <a:gd name="connsiteY237" fmla="*/ 6396025 h 7308446"/>
              <a:gd name="connsiteX238" fmla="*/ 1730413 w 9012328"/>
              <a:gd name="connsiteY238" fmla="*/ 6352434 h 7308446"/>
              <a:gd name="connsiteX239" fmla="*/ 1717998 w 9012328"/>
              <a:gd name="connsiteY239" fmla="*/ 6312013 h 7308446"/>
              <a:gd name="connsiteX240" fmla="*/ 1702871 w 9012328"/>
              <a:gd name="connsiteY240" fmla="*/ 6274881 h 7308446"/>
              <a:gd name="connsiteX241" fmla="*/ 1684817 w 9012328"/>
              <a:gd name="connsiteY241" fmla="*/ 6241155 h 7308446"/>
              <a:gd name="connsiteX242" fmla="*/ 1639079 w 9012328"/>
              <a:gd name="connsiteY242" fmla="*/ 6184396 h 7308446"/>
              <a:gd name="connsiteX243" fmla="*/ 1579070 w 9012328"/>
              <a:gd name="connsiteY243" fmla="*/ 6142683 h 7308446"/>
              <a:gd name="connsiteX244" fmla="*/ 1543178 w 9012328"/>
              <a:gd name="connsiteY244" fmla="*/ 6127764 h 7308446"/>
              <a:gd name="connsiteX245" fmla="*/ 1503076 w 9012328"/>
              <a:gd name="connsiteY245" fmla="*/ 6116961 h 7308446"/>
              <a:gd name="connsiteX246" fmla="*/ 1458551 w 9012328"/>
              <a:gd name="connsiteY246" fmla="*/ 6110393 h 7308446"/>
              <a:gd name="connsiteX247" fmla="*/ 1409388 w 9012328"/>
              <a:gd name="connsiteY247" fmla="*/ 6108177 h 7308446"/>
              <a:gd name="connsiteX248" fmla="*/ 1317509 w 9012328"/>
              <a:gd name="connsiteY248" fmla="*/ 6009685 h 7308446"/>
              <a:gd name="connsiteX249" fmla="*/ 1317509 w 9012328"/>
              <a:gd name="connsiteY249" fmla="*/ 6108177 h 7308446"/>
              <a:gd name="connsiteX250" fmla="*/ 1268623 w 9012328"/>
              <a:gd name="connsiteY250" fmla="*/ 6110393 h 7308446"/>
              <a:gd name="connsiteX251" fmla="*/ 1224343 w 9012328"/>
              <a:gd name="connsiteY251" fmla="*/ 6116961 h 7308446"/>
              <a:gd name="connsiteX252" fmla="*/ 1184456 w 9012328"/>
              <a:gd name="connsiteY252" fmla="*/ 6127764 h 7308446"/>
              <a:gd name="connsiteX253" fmla="*/ 1148750 w 9012328"/>
              <a:gd name="connsiteY253" fmla="*/ 6142683 h 7308446"/>
              <a:gd name="connsiteX254" fmla="*/ 1089035 w 9012328"/>
              <a:gd name="connsiteY254" fmla="*/ 6184396 h 7308446"/>
              <a:gd name="connsiteX255" fmla="*/ 1043502 w 9012328"/>
              <a:gd name="connsiteY255" fmla="*/ 6241155 h 7308446"/>
              <a:gd name="connsiteX256" fmla="*/ 1025523 w 9012328"/>
              <a:gd name="connsiteY256" fmla="*/ 6274881 h 7308446"/>
              <a:gd name="connsiteX257" fmla="*/ 1010453 w 9012328"/>
              <a:gd name="connsiteY257" fmla="*/ 6312013 h 7308446"/>
              <a:gd name="connsiteX258" fmla="*/ 998080 w 9012328"/>
              <a:gd name="connsiteY258" fmla="*/ 6352434 h 7308446"/>
              <a:gd name="connsiteX259" fmla="*/ 988193 w 9012328"/>
              <a:gd name="connsiteY259" fmla="*/ 6396025 h 7308446"/>
              <a:gd name="connsiteX260" fmla="*/ 980578 w 9012328"/>
              <a:gd name="connsiteY260" fmla="*/ 6442669 h 7308446"/>
              <a:gd name="connsiteX261" fmla="*/ 975024 w 9012328"/>
              <a:gd name="connsiteY261" fmla="*/ 6492245 h 7308446"/>
              <a:gd name="connsiteX262" fmla="*/ 971321 w 9012328"/>
              <a:gd name="connsiteY262" fmla="*/ 6544638 h 7308446"/>
              <a:gd name="connsiteX263" fmla="*/ 969254 w 9012328"/>
              <a:gd name="connsiteY263" fmla="*/ 6599727 h 7308446"/>
              <a:gd name="connsiteX264" fmla="*/ 968612 w 9012328"/>
              <a:gd name="connsiteY264" fmla="*/ 6657396 h 7308446"/>
              <a:gd name="connsiteX265" fmla="*/ 969237 w 9012328"/>
              <a:gd name="connsiteY265" fmla="*/ 6715637 h 7308446"/>
              <a:gd name="connsiteX266" fmla="*/ 971260 w 9012328"/>
              <a:gd name="connsiteY266" fmla="*/ 6771263 h 7308446"/>
              <a:gd name="connsiteX267" fmla="*/ 974897 w 9012328"/>
              <a:gd name="connsiteY267" fmla="*/ 6824158 h 7308446"/>
              <a:gd name="connsiteX268" fmla="*/ 980366 w 9012328"/>
              <a:gd name="connsiteY268" fmla="*/ 6874203 h 7308446"/>
              <a:gd name="connsiteX269" fmla="*/ 987887 w 9012328"/>
              <a:gd name="connsiteY269" fmla="*/ 6921279 h 7308446"/>
              <a:gd name="connsiteX270" fmla="*/ 997676 w 9012328"/>
              <a:gd name="connsiteY270" fmla="*/ 6965269 h 7308446"/>
              <a:gd name="connsiteX271" fmla="*/ 1009953 w 9012328"/>
              <a:gd name="connsiteY271" fmla="*/ 7006054 h 7308446"/>
              <a:gd name="connsiteX272" fmla="*/ 1024935 w 9012328"/>
              <a:gd name="connsiteY272" fmla="*/ 7043516 h 7308446"/>
              <a:gd name="connsiteX273" fmla="*/ 1042841 w 9012328"/>
              <a:gd name="connsiteY273" fmla="*/ 7077537 h 7308446"/>
              <a:gd name="connsiteX274" fmla="*/ 1088295 w 9012328"/>
              <a:gd name="connsiteY274" fmla="*/ 7134781 h 7308446"/>
              <a:gd name="connsiteX275" fmla="*/ 1148061 w 9012328"/>
              <a:gd name="connsiteY275" fmla="*/ 7176841 h 7308446"/>
              <a:gd name="connsiteX276" fmla="*/ 1183856 w 9012328"/>
              <a:gd name="connsiteY276" fmla="*/ 7191881 h 7308446"/>
              <a:gd name="connsiteX277" fmla="*/ 1223884 w 9012328"/>
              <a:gd name="connsiteY277" fmla="*/ 7202770 h 7308446"/>
              <a:gd name="connsiteX278" fmla="*/ 1268362 w 9012328"/>
              <a:gd name="connsiteY278" fmla="*/ 7209391 h 7308446"/>
              <a:gd name="connsiteX279" fmla="*/ 1317509 w 9012328"/>
              <a:gd name="connsiteY279" fmla="*/ 7211624 h 7308446"/>
              <a:gd name="connsiteX280" fmla="*/ 1317509 w 9012328"/>
              <a:gd name="connsiteY280" fmla="*/ 7308446 h 7308446"/>
              <a:gd name="connsiteX281" fmla="*/ 1263987 w 9012328"/>
              <a:gd name="connsiteY281" fmla="*/ 7306557 h 7308446"/>
              <a:gd name="connsiteX282" fmla="*/ 1214506 w 9012328"/>
              <a:gd name="connsiteY282" fmla="*/ 7300944 h 7308446"/>
              <a:gd name="connsiteX283" fmla="*/ 1168927 w 9012328"/>
              <a:gd name="connsiteY283" fmla="*/ 7291690 h 7308446"/>
              <a:gd name="connsiteX284" fmla="*/ 1127108 w 9012328"/>
              <a:gd name="connsiteY284" fmla="*/ 7278878 h 7308446"/>
              <a:gd name="connsiteX285" fmla="*/ 1088911 w 9012328"/>
              <a:gd name="connsiteY285" fmla="*/ 7262591 h 7308446"/>
              <a:gd name="connsiteX286" fmla="*/ 1054194 w 9012328"/>
              <a:gd name="connsiteY286" fmla="*/ 7242910 h 7308446"/>
              <a:gd name="connsiteX287" fmla="*/ 1022818 w 9012328"/>
              <a:gd name="connsiteY287" fmla="*/ 7219920 h 7308446"/>
              <a:gd name="connsiteX288" fmla="*/ 994641 w 9012328"/>
              <a:gd name="connsiteY288" fmla="*/ 7193701 h 7308446"/>
              <a:gd name="connsiteX289" fmla="*/ 969525 w 9012328"/>
              <a:gd name="connsiteY289" fmla="*/ 7164338 h 7308446"/>
              <a:gd name="connsiteX290" fmla="*/ 947329 w 9012328"/>
              <a:gd name="connsiteY290" fmla="*/ 7131912 h 7308446"/>
              <a:gd name="connsiteX291" fmla="*/ 927911 w 9012328"/>
              <a:gd name="connsiteY291" fmla="*/ 7096506 h 7308446"/>
              <a:gd name="connsiteX292" fmla="*/ 911133 w 9012328"/>
              <a:gd name="connsiteY292" fmla="*/ 7058203 h 7308446"/>
              <a:gd name="connsiteX293" fmla="*/ 896855 w 9012328"/>
              <a:gd name="connsiteY293" fmla="*/ 7017085 h 7308446"/>
              <a:gd name="connsiteX294" fmla="*/ 884935 w 9012328"/>
              <a:gd name="connsiteY294" fmla="*/ 6973236 h 7308446"/>
              <a:gd name="connsiteX295" fmla="*/ 875233 w 9012328"/>
              <a:gd name="connsiteY295" fmla="*/ 6926737 h 7308446"/>
              <a:gd name="connsiteX296" fmla="*/ 867610 w 9012328"/>
              <a:gd name="connsiteY296" fmla="*/ 6877672 h 7308446"/>
              <a:gd name="connsiteX297" fmla="*/ 861924 w 9012328"/>
              <a:gd name="connsiteY297" fmla="*/ 6826122 h 7308446"/>
              <a:gd name="connsiteX298" fmla="*/ 858037 w 9012328"/>
              <a:gd name="connsiteY298" fmla="*/ 6772172 h 7308446"/>
              <a:gd name="connsiteX299" fmla="*/ 855809 w 9012328"/>
              <a:gd name="connsiteY299" fmla="*/ 6715902 h 7308446"/>
              <a:gd name="connsiteX300" fmla="*/ 855097 w 9012328"/>
              <a:gd name="connsiteY300" fmla="*/ 6657396 h 7308446"/>
              <a:gd name="connsiteX301" fmla="*/ 855832 w 9012328"/>
              <a:gd name="connsiteY301" fmla="*/ 6599140 h 7308446"/>
              <a:gd name="connsiteX302" fmla="*/ 858128 w 9012328"/>
              <a:gd name="connsiteY302" fmla="*/ 6543120 h 7308446"/>
              <a:gd name="connsiteX303" fmla="*/ 862117 w 9012328"/>
              <a:gd name="connsiteY303" fmla="*/ 6489415 h 7308446"/>
              <a:gd name="connsiteX304" fmla="*/ 867930 w 9012328"/>
              <a:gd name="connsiteY304" fmla="*/ 6438109 h 7308446"/>
              <a:gd name="connsiteX305" fmla="*/ 875703 w 9012328"/>
              <a:gd name="connsiteY305" fmla="*/ 6389281 h 7308446"/>
              <a:gd name="connsiteX306" fmla="*/ 885565 w 9012328"/>
              <a:gd name="connsiteY306" fmla="*/ 6343014 h 7308446"/>
              <a:gd name="connsiteX307" fmla="*/ 897652 w 9012328"/>
              <a:gd name="connsiteY307" fmla="*/ 6299388 h 7308446"/>
              <a:gd name="connsiteX308" fmla="*/ 912095 w 9012328"/>
              <a:gd name="connsiteY308" fmla="*/ 6258486 h 7308446"/>
              <a:gd name="connsiteX309" fmla="*/ 929026 w 9012328"/>
              <a:gd name="connsiteY309" fmla="*/ 6220388 h 7308446"/>
              <a:gd name="connsiteX310" fmla="*/ 948580 w 9012328"/>
              <a:gd name="connsiteY310" fmla="*/ 6185176 h 7308446"/>
              <a:gd name="connsiteX311" fmla="*/ 970888 w 9012328"/>
              <a:gd name="connsiteY311" fmla="*/ 6152931 h 7308446"/>
              <a:gd name="connsiteX312" fmla="*/ 996084 w 9012328"/>
              <a:gd name="connsiteY312" fmla="*/ 6123735 h 7308446"/>
              <a:gd name="connsiteX313" fmla="*/ 1024299 w 9012328"/>
              <a:gd name="connsiteY313" fmla="*/ 6097669 h 7308446"/>
              <a:gd name="connsiteX314" fmla="*/ 1055666 w 9012328"/>
              <a:gd name="connsiteY314" fmla="*/ 6074814 h 7308446"/>
              <a:gd name="connsiteX315" fmla="*/ 1090319 w 9012328"/>
              <a:gd name="connsiteY315" fmla="*/ 6055253 h 7308446"/>
              <a:gd name="connsiteX316" fmla="*/ 1128390 w 9012328"/>
              <a:gd name="connsiteY316" fmla="*/ 6039065 h 7308446"/>
              <a:gd name="connsiteX317" fmla="*/ 1170012 w 9012328"/>
              <a:gd name="connsiteY317" fmla="*/ 6026333 h 7308446"/>
              <a:gd name="connsiteX318" fmla="*/ 1215317 w 9012328"/>
              <a:gd name="connsiteY318" fmla="*/ 6017138 h 7308446"/>
              <a:gd name="connsiteX319" fmla="*/ 1264438 w 9012328"/>
              <a:gd name="connsiteY319" fmla="*/ 6011561 h 7308446"/>
              <a:gd name="connsiteX320" fmla="*/ 505166 w 9012328"/>
              <a:gd name="connsiteY320" fmla="*/ 5528915 h 7308446"/>
              <a:gd name="connsiteX321" fmla="*/ 547395 w 9012328"/>
              <a:gd name="connsiteY321" fmla="*/ 5532593 h 7308446"/>
              <a:gd name="connsiteX322" fmla="*/ 580078 w 9012328"/>
              <a:gd name="connsiteY322" fmla="*/ 5545817 h 7308446"/>
              <a:gd name="connsiteX323" fmla="*/ 601179 w 9012328"/>
              <a:gd name="connsiteY323" fmla="*/ 5571874 h 7308446"/>
              <a:gd name="connsiteX324" fmla="*/ 608666 w 9012328"/>
              <a:gd name="connsiteY324" fmla="*/ 5614052 h 7308446"/>
              <a:gd name="connsiteX325" fmla="*/ 601179 w 9012328"/>
              <a:gd name="connsiteY325" fmla="*/ 5658159 h 7308446"/>
              <a:gd name="connsiteX326" fmla="*/ 580078 w 9012328"/>
              <a:gd name="connsiteY326" fmla="*/ 5685208 h 7308446"/>
              <a:gd name="connsiteX327" fmla="*/ 547395 w 9012328"/>
              <a:gd name="connsiteY327" fmla="*/ 5698798 h 7308446"/>
              <a:gd name="connsiteX328" fmla="*/ 505166 w 9012328"/>
              <a:gd name="connsiteY328" fmla="*/ 5702529 h 7308446"/>
              <a:gd name="connsiteX329" fmla="*/ 462936 w 9012328"/>
              <a:gd name="connsiteY329" fmla="*/ 5698798 h 7308446"/>
              <a:gd name="connsiteX330" fmla="*/ 430252 w 9012328"/>
              <a:gd name="connsiteY330" fmla="*/ 5685208 h 7308446"/>
              <a:gd name="connsiteX331" fmla="*/ 409151 w 9012328"/>
              <a:gd name="connsiteY331" fmla="*/ 5658159 h 7308446"/>
              <a:gd name="connsiteX332" fmla="*/ 401665 w 9012328"/>
              <a:gd name="connsiteY332" fmla="*/ 5614052 h 7308446"/>
              <a:gd name="connsiteX333" fmla="*/ 409385 w 9012328"/>
              <a:gd name="connsiteY333" fmla="*/ 5571874 h 7308446"/>
              <a:gd name="connsiteX334" fmla="*/ 430878 w 9012328"/>
              <a:gd name="connsiteY334" fmla="*/ 5545817 h 7308446"/>
              <a:gd name="connsiteX335" fmla="*/ 463640 w 9012328"/>
              <a:gd name="connsiteY335" fmla="*/ 5532593 h 7308446"/>
              <a:gd name="connsiteX336" fmla="*/ 2465444 w 9012328"/>
              <a:gd name="connsiteY336" fmla="*/ 5378664 h 7308446"/>
              <a:gd name="connsiteX337" fmla="*/ 3370236 w 9012328"/>
              <a:gd name="connsiteY337" fmla="*/ 5378664 h 7308446"/>
              <a:gd name="connsiteX338" fmla="*/ 3370236 w 9012328"/>
              <a:gd name="connsiteY338" fmla="*/ 5485502 h 7308446"/>
              <a:gd name="connsiteX339" fmla="*/ 2465444 w 9012328"/>
              <a:gd name="connsiteY339" fmla="*/ 5485502 h 7308446"/>
              <a:gd name="connsiteX340" fmla="*/ 2465444 w 9012328"/>
              <a:gd name="connsiteY340" fmla="*/ 5029768 h 7308446"/>
              <a:gd name="connsiteX341" fmla="*/ 3370236 w 9012328"/>
              <a:gd name="connsiteY341" fmla="*/ 5029768 h 7308446"/>
              <a:gd name="connsiteX342" fmla="*/ 3370236 w 9012328"/>
              <a:gd name="connsiteY342" fmla="*/ 5136606 h 7308446"/>
              <a:gd name="connsiteX343" fmla="*/ 2465444 w 9012328"/>
              <a:gd name="connsiteY343" fmla="*/ 5136606 h 7308446"/>
              <a:gd name="connsiteX344" fmla="*/ 505166 w 9012328"/>
              <a:gd name="connsiteY344" fmla="*/ 4827784 h 7308446"/>
              <a:gd name="connsiteX345" fmla="*/ 547395 w 9012328"/>
              <a:gd name="connsiteY345" fmla="*/ 4831253 h 7308446"/>
              <a:gd name="connsiteX346" fmla="*/ 580078 w 9012328"/>
              <a:gd name="connsiteY346" fmla="*/ 4844268 h 7308446"/>
              <a:gd name="connsiteX347" fmla="*/ 601179 w 9012328"/>
              <a:gd name="connsiteY347" fmla="*/ 4870743 h 7308446"/>
              <a:gd name="connsiteX348" fmla="*/ 608666 w 9012328"/>
              <a:gd name="connsiteY348" fmla="*/ 4914590 h 7308446"/>
              <a:gd name="connsiteX349" fmla="*/ 601179 w 9012328"/>
              <a:gd name="connsiteY349" fmla="*/ 4957028 h 7308446"/>
              <a:gd name="connsiteX350" fmla="*/ 580078 w 9012328"/>
              <a:gd name="connsiteY350" fmla="*/ 4983660 h 7308446"/>
              <a:gd name="connsiteX351" fmla="*/ 547395 w 9012328"/>
              <a:gd name="connsiteY351" fmla="*/ 4997458 h 7308446"/>
              <a:gd name="connsiteX352" fmla="*/ 505166 w 9012328"/>
              <a:gd name="connsiteY352" fmla="*/ 5001397 h 7308446"/>
              <a:gd name="connsiteX353" fmla="*/ 463901 w 9012328"/>
              <a:gd name="connsiteY353" fmla="*/ 4997458 h 7308446"/>
              <a:gd name="connsiteX354" fmla="*/ 431713 w 9012328"/>
              <a:gd name="connsiteY354" fmla="*/ 4983660 h 7308446"/>
              <a:gd name="connsiteX355" fmla="*/ 410794 w 9012328"/>
              <a:gd name="connsiteY355" fmla="*/ 4957028 h 7308446"/>
              <a:gd name="connsiteX356" fmla="*/ 403334 w 9012328"/>
              <a:gd name="connsiteY356" fmla="*/ 4914590 h 7308446"/>
              <a:gd name="connsiteX357" fmla="*/ 410794 w 9012328"/>
              <a:gd name="connsiteY357" fmla="*/ 4870743 h 7308446"/>
              <a:gd name="connsiteX358" fmla="*/ 431713 w 9012328"/>
              <a:gd name="connsiteY358" fmla="*/ 4844268 h 7308446"/>
              <a:gd name="connsiteX359" fmla="*/ 463901 w 9012328"/>
              <a:gd name="connsiteY359" fmla="*/ 4831253 h 7308446"/>
              <a:gd name="connsiteX360" fmla="*/ 4111651 w 9012328"/>
              <a:gd name="connsiteY360" fmla="*/ 4507266 h 7308446"/>
              <a:gd name="connsiteX361" fmla="*/ 4164721 w 9012328"/>
              <a:gd name="connsiteY361" fmla="*/ 4509142 h 7308446"/>
              <a:gd name="connsiteX362" fmla="*/ 4213842 w 9012328"/>
              <a:gd name="connsiteY362" fmla="*/ 4514719 h 7308446"/>
              <a:gd name="connsiteX363" fmla="*/ 4259148 w 9012328"/>
              <a:gd name="connsiteY363" fmla="*/ 4523914 h 7308446"/>
              <a:gd name="connsiteX364" fmla="*/ 4300769 w 9012328"/>
              <a:gd name="connsiteY364" fmla="*/ 4536646 h 7308446"/>
              <a:gd name="connsiteX365" fmla="*/ 4338840 w 9012328"/>
              <a:gd name="connsiteY365" fmla="*/ 4552834 h 7308446"/>
              <a:gd name="connsiteX366" fmla="*/ 4373493 w 9012328"/>
              <a:gd name="connsiteY366" fmla="*/ 4572395 h 7308446"/>
              <a:gd name="connsiteX367" fmla="*/ 4404861 w 9012328"/>
              <a:gd name="connsiteY367" fmla="*/ 4595250 h 7308446"/>
              <a:gd name="connsiteX368" fmla="*/ 4433076 w 9012328"/>
              <a:gd name="connsiteY368" fmla="*/ 4621316 h 7308446"/>
              <a:gd name="connsiteX369" fmla="*/ 4458271 w 9012328"/>
              <a:gd name="connsiteY369" fmla="*/ 4650512 h 7308446"/>
              <a:gd name="connsiteX370" fmla="*/ 4480579 w 9012328"/>
              <a:gd name="connsiteY370" fmla="*/ 4682757 h 7308446"/>
              <a:gd name="connsiteX371" fmla="*/ 4500133 w 9012328"/>
              <a:gd name="connsiteY371" fmla="*/ 4717969 h 7308446"/>
              <a:gd name="connsiteX372" fmla="*/ 4517065 w 9012328"/>
              <a:gd name="connsiteY372" fmla="*/ 4756067 h 7308446"/>
              <a:gd name="connsiteX373" fmla="*/ 4531508 w 9012328"/>
              <a:gd name="connsiteY373" fmla="*/ 4796969 h 7308446"/>
              <a:gd name="connsiteX374" fmla="*/ 4543594 w 9012328"/>
              <a:gd name="connsiteY374" fmla="*/ 4840595 h 7308446"/>
              <a:gd name="connsiteX375" fmla="*/ 4553457 w 9012328"/>
              <a:gd name="connsiteY375" fmla="*/ 4886863 h 7308446"/>
              <a:gd name="connsiteX376" fmla="*/ 4561230 w 9012328"/>
              <a:gd name="connsiteY376" fmla="*/ 4935691 h 7308446"/>
              <a:gd name="connsiteX377" fmla="*/ 4567043 w 9012328"/>
              <a:gd name="connsiteY377" fmla="*/ 4986997 h 7308446"/>
              <a:gd name="connsiteX378" fmla="*/ 4571032 w 9012328"/>
              <a:gd name="connsiteY378" fmla="*/ 5040702 h 7308446"/>
              <a:gd name="connsiteX379" fmla="*/ 4573328 w 9012328"/>
              <a:gd name="connsiteY379" fmla="*/ 5096722 h 7308446"/>
              <a:gd name="connsiteX380" fmla="*/ 4574064 w 9012328"/>
              <a:gd name="connsiteY380" fmla="*/ 5154978 h 7308446"/>
              <a:gd name="connsiteX381" fmla="*/ 4573364 w 9012328"/>
              <a:gd name="connsiteY381" fmla="*/ 5213483 h 7308446"/>
              <a:gd name="connsiteX382" fmla="*/ 4571167 w 9012328"/>
              <a:gd name="connsiteY382" fmla="*/ 5269753 h 7308446"/>
              <a:gd name="connsiteX383" fmla="*/ 4567331 w 9012328"/>
              <a:gd name="connsiteY383" fmla="*/ 5323704 h 7308446"/>
              <a:gd name="connsiteX384" fmla="*/ 4561710 w 9012328"/>
              <a:gd name="connsiteY384" fmla="*/ 5375253 h 7308446"/>
              <a:gd name="connsiteX385" fmla="*/ 4554162 w 9012328"/>
              <a:gd name="connsiteY385" fmla="*/ 5424318 h 7308446"/>
              <a:gd name="connsiteX386" fmla="*/ 4544541 w 9012328"/>
              <a:gd name="connsiteY386" fmla="*/ 5470817 h 7308446"/>
              <a:gd name="connsiteX387" fmla="*/ 4532704 w 9012328"/>
              <a:gd name="connsiteY387" fmla="*/ 5514667 h 7308446"/>
              <a:gd name="connsiteX388" fmla="*/ 4518507 w 9012328"/>
              <a:gd name="connsiteY388" fmla="*/ 5555784 h 7308446"/>
              <a:gd name="connsiteX389" fmla="*/ 4501806 w 9012328"/>
              <a:gd name="connsiteY389" fmla="*/ 5594087 h 7308446"/>
              <a:gd name="connsiteX390" fmla="*/ 4482457 w 9012328"/>
              <a:gd name="connsiteY390" fmla="*/ 5629493 h 7308446"/>
              <a:gd name="connsiteX391" fmla="*/ 4460316 w 9012328"/>
              <a:gd name="connsiteY391" fmla="*/ 5661919 h 7308446"/>
              <a:gd name="connsiteX392" fmla="*/ 4435240 w 9012328"/>
              <a:gd name="connsiteY392" fmla="*/ 5691283 h 7308446"/>
              <a:gd name="connsiteX393" fmla="*/ 4407083 w 9012328"/>
              <a:gd name="connsiteY393" fmla="*/ 5717501 h 7308446"/>
              <a:gd name="connsiteX394" fmla="*/ 4375702 w 9012328"/>
              <a:gd name="connsiteY394" fmla="*/ 5740492 h 7308446"/>
              <a:gd name="connsiteX395" fmla="*/ 4340953 w 9012328"/>
              <a:gd name="connsiteY395" fmla="*/ 5760173 h 7308446"/>
              <a:gd name="connsiteX396" fmla="*/ 4302693 w 9012328"/>
              <a:gd name="connsiteY396" fmla="*/ 5776460 h 7308446"/>
              <a:gd name="connsiteX397" fmla="*/ 4260776 w 9012328"/>
              <a:gd name="connsiteY397" fmla="*/ 5789272 h 7308446"/>
              <a:gd name="connsiteX398" fmla="*/ 4215059 w 9012328"/>
              <a:gd name="connsiteY398" fmla="*/ 5798526 h 7308446"/>
              <a:gd name="connsiteX399" fmla="*/ 4165399 w 9012328"/>
              <a:gd name="connsiteY399" fmla="*/ 5804139 h 7308446"/>
              <a:gd name="connsiteX400" fmla="*/ 4111651 w 9012328"/>
              <a:gd name="connsiteY400" fmla="*/ 5806028 h 7308446"/>
              <a:gd name="connsiteX401" fmla="*/ 4111651 w 9012328"/>
              <a:gd name="connsiteY401" fmla="*/ 5709205 h 7308446"/>
              <a:gd name="connsiteX402" fmla="*/ 4161336 w 9012328"/>
              <a:gd name="connsiteY402" fmla="*/ 5706972 h 7308446"/>
              <a:gd name="connsiteX403" fmla="*/ 4206256 w 9012328"/>
              <a:gd name="connsiteY403" fmla="*/ 5700351 h 7308446"/>
              <a:gd name="connsiteX404" fmla="*/ 4246640 w 9012328"/>
              <a:gd name="connsiteY404" fmla="*/ 5689462 h 7308446"/>
              <a:gd name="connsiteX405" fmla="*/ 4282711 w 9012328"/>
              <a:gd name="connsiteY405" fmla="*/ 5674422 h 7308446"/>
              <a:gd name="connsiteX406" fmla="*/ 4342822 w 9012328"/>
              <a:gd name="connsiteY406" fmla="*/ 5632362 h 7308446"/>
              <a:gd name="connsiteX407" fmla="*/ 4388401 w 9012328"/>
              <a:gd name="connsiteY407" fmla="*/ 5575118 h 7308446"/>
              <a:gd name="connsiteX408" fmla="*/ 4406307 w 9012328"/>
              <a:gd name="connsiteY408" fmla="*/ 5541097 h 7308446"/>
              <a:gd name="connsiteX409" fmla="*/ 4421259 w 9012328"/>
              <a:gd name="connsiteY409" fmla="*/ 5503636 h 7308446"/>
              <a:gd name="connsiteX410" fmla="*/ 4433483 w 9012328"/>
              <a:gd name="connsiteY410" fmla="*/ 5462851 h 7308446"/>
              <a:gd name="connsiteX411" fmla="*/ 4443206 w 9012328"/>
              <a:gd name="connsiteY411" fmla="*/ 5418861 h 7308446"/>
              <a:gd name="connsiteX412" fmla="*/ 4450653 w 9012328"/>
              <a:gd name="connsiteY412" fmla="*/ 5371784 h 7308446"/>
              <a:gd name="connsiteX413" fmla="*/ 4456052 w 9012328"/>
              <a:gd name="connsiteY413" fmla="*/ 5321740 h 7308446"/>
              <a:gd name="connsiteX414" fmla="*/ 4459628 w 9012328"/>
              <a:gd name="connsiteY414" fmla="*/ 5268845 h 7308446"/>
              <a:gd name="connsiteX415" fmla="*/ 4461607 w 9012328"/>
              <a:gd name="connsiteY415" fmla="*/ 5213218 h 7308446"/>
              <a:gd name="connsiteX416" fmla="*/ 4462217 w 9012328"/>
              <a:gd name="connsiteY416" fmla="*/ 5154978 h 7308446"/>
              <a:gd name="connsiteX417" fmla="*/ 4461575 w 9012328"/>
              <a:gd name="connsiteY417" fmla="*/ 5097309 h 7308446"/>
              <a:gd name="connsiteX418" fmla="*/ 4459505 w 9012328"/>
              <a:gd name="connsiteY418" fmla="*/ 5042220 h 7308446"/>
              <a:gd name="connsiteX419" fmla="*/ 4455795 w 9012328"/>
              <a:gd name="connsiteY419" fmla="*/ 4989827 h 7308446"/>
              <a:gd name="connsiteX420" fmla="*/ 4450229 w 9012328"/>
              <a:gd name="connsiteY420" fmla="*/ 4940251 h 7308446"/>
              <a:gd name="connsiteX421" fmla="*/ 4442594 w 9012328"/>
              <a:gd name="connsiteY421" fmla="*/ 4893607 h 7308446"/>
              <a:gd name="connsiteX422" fmla="*/ 4432676 w 9012328"/>
              <a:gd name="connsiteY422" fmla="*/ 4850015 h 7308446"/>
              <a:gd name="connsiteX423" fmla="*/ 4420260 w 9012328"/>
              <a:gd name="connsiteY423" fmla="*/ 4809594 h 7308446"/>
              <a:gd name="connsiteX424" fmla="*/ 4405133 w 9012328"/>
              <a:gd name="connsiteY424" fmla="*/ 4772462 h 7308446"/>
              <a:gd name="connsiteX425" fmla="*/ 4387080 w 9012328"/>
              <a:gd name="connsiteY425" fmla="*/ 4738736 h 7308446"/>
              <a:gd name="connsiteX426" fmla="*/ 4341342 w 9012328"/>
              <a:gd name="connsiteY426" fmla="*/ 4681977 h 7308446"/>
              <a:gd name="connsiteX427" fmla="*/ 4281333 w 9012328"/>
              <a:gd name="connsiteY427" fmla="*/ 4640264 h 7308446"/>
              <a:gd name="connsiteX428" fmla="*/ 4245441 w 9012328"/>
              <a:gd name="connsiteY428" fmla="*/ 4625345 h 7308446"/>
              <a:gd name="connsiteX429" fmla="*/ 4205339 w 9012328"/>
              <a:gd name="connsiteY429" fmla="*/ 4614542 h 7308446"/>
              <a:gd name="connsiteX430" fmla="*/ 4160814 w 9012328"/>
              <a:gd name="connsiteY430" fmla="*/ 4607974 h 7308446"/>
              <a:gd name="connsiteX431" fmla="*/ 4111651 w 9012328"/>
              <a:gd name="connsiteY431" fmla="*/ 4605758 h 7308446"/>
              <a:gd name="connsiteX432" fmla="*/ 4019781 w 9012328"/>
              <a:gd name="connsiteY432" fmla="*/ 4507266 h 7308446"/>
              <a:gd name="connsiteX433" fmla="*/ 4019781 w 9012328"/>
              <a:gd name="connsiteY433" fmla="*/ 4605758 h 7308446"/>
              <a:gd name="connsiteX434" fmla="*/ 3970895 w 9012328"/>
              <a:gd name="connsiteY434" fmla="*/ 4607974 h 7308446"/>
              <a:gd name="connsiteX435" fmla="*/ 3926615 w 9012328"/>
              <a:gd name="connsiteY435" fmla="*/ 4614542 h 7308446"/>
              <a:gd name="connsiteX436" fmla="*/ 3886728 w 9012328"/>
              <a:gd name="connsiteY436" fmla="*/ 4625345 h 7308446"/>
              <a:gd name="connsiteX437" fmla="*/ 3851022 w 9012328"/>
              <a:gd name="connsiteY437" fmla="*/ 4640264 h 7308446"/>
              <a:gd name="connsiteX438" fmla="*/ 3791307 w 9012328"/>
              <a:gd name="connsiteY438" fmla="*/ 4681977 h 7308446"/>
              <a:gd name="connsiteX439" fmla="*/ 3745774 w 9012328"/>
              <a:gd name="connsiteY439" fmla="*/ 4738736 h 7308446"/>
              <a:gd name="connsiteX440" fmla="*/ 3727795 w 9012328"/>
              <a:gd name="connsiteY440" fmla="*/ 4772462 h 7308446"/>
              <a:gd name="connsiteX441" fmla="*/ 3712725 w 9012328"/>
              <a:gd name="connsiteY441" fmla="*/ 4809594 h 7308446"/>
              <a:gd name="connsiteX442" fmla="*/ 3700353 w 9012328"/>
              <a:gd name="connsiteY442" fmla="*/ 4850015 h 7308446"/>
              <a:gd name="connsiteX443" fmla="*/ 3690465 w 9012328"/>
              <a:gd name="connsiteY443" fmla="*/ 4893607 h 7308446"/>
              <a:gd name="connsiteX444" fmla="*/ 3682853 w 9012328"/>
              <a:gd name="connsiteY444" fmla="*/ 4940251 h 7308446"/>
              <a:gd name="connsiteX445" fmla="*/ 3677301 w 9012328"/>
              <a:gd name="connsiteY445" fmla="*/ 4989827 h 7308446"/>
              <a:gd name="connsiteX446" fmla="*/ 3673597 w 9012328"/>
              <a:gd name="connsiteY446" fmla="*/ 5042220 h 7308446"/>
              <a:gd name="connsiteX447" fmla="*/ 3671530 w 9012328"/>
              <a:gd name="connsiteY447" fmla="*/ 5097309 h 7308446"/>
              <a:gd name="connsiteX448" fmla="*/ 3670887 w 9012328"/>
              <a:gd name="connsiteY448" fmla="*/ 5154978 h 7308446"/>
              <a:gd name="connsiteX449" fmla="*/ 3671513 w 9012328"/>
              <a:gd name="connsiteY449" fmla="*/ 5213218 h 7308446"/>
              <a:gd name="connsiteX450" fmla="*/ 3673535 w 9012328"/>
              <a:gd name="connsiteY450" fmla="*/ 5268845 h 7308446"/>
              <a:gd name="connsiteX451" fmla="*/ 3677173 w 9012328"/>
              <a:gd name="connsiteY451" fmla="*/ 5321740 h 7308446"/>
              <a:gd name="connsiteX452" fmla="*/ 3682642 w 9012328"/>
              <a:gd name="connsiteY452" fmla="*/ 5371784 h 7308446"/>
              <a:gd name="connsiteX453" fmla="*/ 3690160 w 9012328"/>
              <a:gd name="connsiteY453" fmla="*/ 5418861 h 7308446"/>
              <a:gd name="connsiteX454" fmla="*/ 3699949 w 9012328"/>
              <a:gd name="connsiteY454" fmla="*/ 5462851 h 7308446"/>
              <a:gd name="connsiteX455" fmla="*/ 3712226 w 9012328"/>
              <a:gd name="connsiteY455" fmla="*/ 5503636 h 7308446"/>
              <a:gd name="connsiteX456" fmla="*/ 3727208 w 9012328"/>
              <a:gd name="connsiteY456" fmla="*/ 5541097 h 7308446"/>
              <a:gd name="connsiteX457" fmla="*/ 3745113 w 9012328"/>
              <a:gd name="connsiteY457" fmla="*/ 5575118 h 7308446"/>
              <a:gd name="connsiteX458" fmla="*/ 3790567 w 9012328"/>
              <a:gd name="connsiteY458" fmla="*/ 5632362 h 7308446"/>
              <a:gd name="connsiteX459" fmla="*/ 3850333 w 9012328"/>
              <a:gd name="connsiteY459" fmla="*/ 5674422 h 7308446"/>
              <a:gd name="connsiteX460" fmla="*/ 3886128 w 9012328"/>
              <a:gd name="connsiteY460" fmla="*/ 5689462 h 7308446"/>
              <a:gd name="connsiteX461" fmla="*/ 3926156 w 9012328"/>
              <a:gd name="connsiteY461" fmla="*/ 5700351 h 7308446"/>
              <a:gd name="connsiteX462" fmla="*/ 3970634 w 9012328"/>
              <a:gd name="connsiteY462" fmla="*/ 5706972 h 7308446"/>
              <a:gd name="connsiteX463" fmla="*/ 4019781 w 9012328"/>
              <a:gd name="connsiteY463" fmla="*/ 5709205 h 7308446"/>
              <a:gd name="connsiteX464" fmla="*/ 4019781 w 9012328"/>
              <a:gd name="connsiteY464" fmla="*/ 5806028 h 7308446"/>
              <a:gd name="connsiteX465" fmla="*/ 3966259 w 9012328"/>
              <a:gd name="connsiteY465" fmla="*/ 5804139 h 7308446"/>
              <a:gd name="connsiteX466" fmla="*/ 3916778 w 9012328"/>
              <a:gd name="connsiteY466" fmla="*/ 5798526 h 7308446"/>
              <a:gd name="connsiteX467" fmla="*/ 3871199 w 9012328"/>
              <a:gd name="connsiteY467" fmla="*/ 5789272 h 7308446"/>
              <a:gd name="connsiteX468" fmla="*/ 3829380 w 9012328"/>
              <a:gd name="connsiteY468" fmla="*/ 5776460 h 7308446"/>
              <a:gd name="connsiteX469" fmla="*/ 3791183 w 9012328"/>
              <a:gd name="connsiteY469" fmla="*/ 5760173 h 7308446"/>
              <a:gd name="connsiteX470" fmla="*/ 3756466 w 9012328"/>
              <a:gd name="connsiteY470" fmla="*/ 5740492 h 7308446"/>
              <a:gd name="connsiteX471" fmla="*/ 3725090 w 9012328"/>
              <a:gd name="connsiteY471" fmla="*/ 5717501 h 7308446"/>
              <a:gd name="connsiteX472" fmla="*/ 3696914 w 9012328"/>
              <a:gd name="connsiteY472" fmla="*/ 5691283 h 7308446"/>
              <a:gd name="connsiteX473" fmla="*/ 3671799 w 9012328"/>
              <a:gd name="connsiteY473" fmla="*/ 5661919 h 7308446"/>
              <a:gd name="connsiteX474" fmla="*/ 3649604 w 9012328"/>
              <a:gd name="connsiteY474" fmla="*/ 5629493 h 7308446"/>
              <a:gd name="connsiteX475" fmla="*/ 3630186 w 9012328"/>
              <a:gd name="connsiteY475" fmla="*/ 5594087 h 7308446"/>
              <a:gd name="connsiteX476" fmla="*/ 3613408 w 9012328"/>
              <a:gd name="connsiteY476" fmla="*/ 5555784 h 7308446"/>
              <a:gd name="connsiteX477" fmla="*/ 3599129 w 9012328"/>
              <a:gd name="connsiteY477" fmla="*/ 5514667 h 7308446"/>
              <a:gd name="connsiteX478" fmla="*/ 3587210 w 9012328"/>
              <a:gd name="connsiteY478" fmla="*/ 5470817 h 7308446"/>
              <a:gd name="connsiteX479" fmla="*/ 3577507 w 9012328"/>
              <a:gd name="connsiteY479" fmla="*/ 5424318 h 7308446"/>
              <a:gd name="connsiteX480" fmla="*/ 3569884 w 9012328"/>
              <a:gd name="connsiteY480" fmla="*/ 5375253 h 7308446"/>
              <a:gd name="connsiteX481" fmla="*/ 3564199 w 9012328"/>
              <a:gd name="connsiteY481" fmla="*/ 5323704 h 7308446"/>
              <a:gd name="connsiteX482" fmla="*/ 3560312 w 9012328"/>
              <a:gd name="connsiteY482" fmla="*/ 5269753 h 7308446"/>
              <a:gd name="connsiteX483" fmla="*/ 3558082 w 9012328"/>
              <a:gd name="connsiteY483" fmla="*/ 5213483 h 7308446"/>
              <a:gd name="connsiteX484" fmla="*/ 3557372 w 9012328"/>
              <a:gd name="connsiteY484" fmla="*/ 5154978 h 7308446"/>
              <a:gd name="connsiteX485" fmla="*/ 3558107 w 9012328"/>
              <a:gd name="connsiteY485" fmla="*/ 5096722 h 7308446"/>
              <a:gd name="connsiteX486" fmla="*/ 3560402 w 9012328"/>
              <a:gd name="connsiteY486" fmla="*/ 5040702 h 7308446"/>
              <a:gd name="connsiteX487" fmla="*/ 3564391 w 9012328"/>
              <a:gd name="connsiteY487" fmla="*/ 4986997 h 7308446"/>
              <a:gd name="connsiteX488" fmla="*/ 3570205 w 9012328"/>
              <a:gd name="connsiteY488" fmla="*/ 4935691 h 7308446"/>
              <a:gd name="connsiteX489" fmla="*/ 3577977 w 9012328"/>
              <a:gd name="connsiteY489" fmla="*/ 4886863 h 7308446"/>
              <a:gd name="connsiteX490" fmla="*/ 3587840 w 9012328"/>
              <a:gd name="connsiteY490" fmla="*/ 4840595 h 7308446"/>
              <a:gd name="connsiteX491" fmla="*/ 3599926 w 9012328"/>
              <a:gd name="connsiteY491" fmla="*/ 4796969 h 7308446"/>
              <a:gd name="connsiteX492" fmla="*/ 3614369 w 9012328"/>
              <a:gd name="connsiteY492" fmla="*/ 4756067 h 7308446"/>
              <a:gd name="connsiteX493" fmla="*/ 3631302 w 9012328"/>
              <a:gd name="connsiteY493" fmla="*/ 4717969 h 7308446"/>
              <a:gd name="connsiteX494" fmla="*/ 3650855 w 9012328"/>
              <a:gd name="connsiteY494" fmla="*/ 4682757 h 7308446"/>
              <a:gd name="connsiteX495" fmla="*/ 3673163 w 9012328"/>
              <a:gd name="connsiteY495" fmla="*/ 4650512 h 7308446"/>
              <a:gd name="connsiteX496" fmla="*/ 3698356 w 9012328"/>
              <a:gd name="connsiteY496" fmla="*/ 4621316 h 7308446"/>
              <a:gd name="connsiteX497" fmla="*/ 3726571 w 9012328"/>
              <a:gd name="connsiteY497" fmla="*/ 4595250 h 7308446"/>
              <a:gd name="connsiteX498" fmla="*/ 3757938 w 9012328"/>
              <a:gd name="connsiteY498" fmla="*/ 4572395 h 7308446"/>
              <a:gd name="connsiteX499" fmla="*/ 3792591 w 9012328"/>
              <a:gd name="connsiteY499" fmla="*/ 4552834 h 7308446"/>
              <a:gd name="connsiteX500" fmla="*/ 3830662 w 9012328"/>
              <a:gd name="connsiteY500" fmla="*/ 4536646 h 7308446"/>
              <a:gd name="connsiteX501" fmla="*/ 3872284 w 9012328"/>
              <a:gd name="connsiteY501" fmla="*/ 4523914 h 7308446"/>
              <a:gd name="connsiteX502" fmla="*/ 3917589 w 9012328"/>
              <a:gd name="connsiteY502" fmla="*/ 4514719 h 7308446"/>
              <a:gd name="connsiteX503" fmla="*/ 3966710 w 9012328"/>
              <a:gd name="connsiteY503" fmla="*/ 4509142 h 7308446"/>
              <a:gd name="connsiteX504" fmla="*/ 0 w 9012328"/>
              <a:gd name="connsiteY504" fmla="*/ 3876244 h 7308446"/>
              <a:gd name="connsiteX505" fmla="*/ 904792 w 9012328"/>
              <a:gd name="connsiteY505" fmla="*/ 3876244 h 7308446"/>
              <a:gd name="connsiteX506" fmla="*/ 904792 w 9012328"/>
              <a:gd name="connsiteY506" fmla="*/ 3983083 h 7308446"/>
              <a:gd name="connsiteX507" fmla="*/ 0 w 9012328"/>
              <a:gd name="connsiteY507" fmla="*/ 3983083 h 7308446"/>
              <a:gd name="connsiteX508" fmla="*/ 0 w 9012328"/>
              <a:gd name="connsiteY508" fmla="*/ 3527349 h 7308446"/>
              <a:gd name="connsiteX509" fmla="*/ 904792 w 9012328"/>
              <a:gd name="connsiteY509" fmla="*/ 3527349 h 7308446"/>
              <a:gd name="connsiteX510" fmla="*/ 904792 w 9012328"/>
              <a:gd name="connsiteY510" fmla="*/ 3634187 h 7308446"/>
              <a:gd name="connsiteX511" fmla="*/ 0 w 9012328"/>
              <a:gd name="connsiteY511" fmla="*/ 3634187 h 7308446"/>
              <a:gd name="connsiteX512" fmla="*/ 1599039 w 9012328"/>
              <a:gd name="connsiteY512" fmla="*/ 3011203 h 7308446"/>
              <a:gd name="connsiteX513" fmla="*/ 1972978 w 9012328"/>
              <a:gd name="connsiteY513" fmla="*/ 3011203 h 7308446"/>
              <a:gd name="connsiteX514" fmla="*/ 1972978 w 9012328"/>
              <a:gd name="connsiteY514" fmla="*/ 3106453 h 7308446"/>
              <a:gd name="connsiteX515" fmla="*/ 1972978 w 9012328"/>
              <a:gd name="connsiteY515" fmla="*/ 4205003 h 7308446"/>
              <a:gd name="connsiteX516" fmla="*/ 1972978 w 9012328"/>
              <a:gd name="connsiteY516" fmla="*/ 4300253 h 7308446"/>
              <a:gd name="connsiteX517" fmla="*/ 1599039 w 9012328"/>
              <a:gd name="connsiteY517" fmla="*/ 4300253 h 7308446"/>
              <a:gd name="connsiteX518" fmla="*/ 1599039 w 9012328"/>
              <a:gd name="connsiteY518" fmla="*/ 4205003 h 7308446"/>
              <a:gd name="connsiteX519" fmla="*/ 1857788 w 9012328"/>
              <a:gd name="connsiteY519" fmla="*/ 4205003 h 7308446"/>
              <a:gd name="connsiteX520" fmla="*/ 1857788 w 9012328"/>
              <a:gd name="connsiteY520" fmla="*/ 3106453 h 7308446"/>
              <a:gd name="connsiteX521" fmla="*/ 1599039 w 9012328"/>
              <a:gd name="connsiteY521" fmla="*/ 3106453 h 7308446"/>
              <a:gd name="connsiteX522" fmla="*/ 1125303 w 9012328"/>
              <a:gd name="connsiteY522" fmla="*/ 3011203 h 7308446"/>
              <a:gd name="connsiteX523" fmla="*/ 1499242 w 9012328"/>
              <a:gd name="connsiteY523" fmla="*/ 3011203 h 7308446"/>
              <a:gd name="connsiteX524" fmla="*/ 1499242 w 9012328"/>
              <a:gd name="connsiteY524" fmla="*/ 3106453 h 7308446"/>
              <a:gd name="connsiteX525" fmla="*/ 1240492 w 9012328"/>
              <a:gd name="connsiteY525" fmla="*/ 3106453 h 7308446"/>
              <a:gd name="connsiteX526" fmla="*/ 1240492 w 9012328"/>
              <a:gd name="connsiteY526" fmla="*/ 4205003 h 7308446"/>
              <a:gd name="connsiteX527" fmla="*/ 1499242 w 9012328"/>
              <a:gd name="connsiteY527" fmla="*/ 4205003 h 7308446"/>
              <a:gd name="connsiteX528" fmla="*/ 1499242 w 9012328"/>
              <a:gd name="connsiteY528" fmla="*/ 4300253 h 7308446"/>
              <a:gd name="connsiteX529" fmla="*/ 1125303 w 9012328"/>
              <a:gd name="connsiteY529" fmla="*/ 4300253 h 7308446"/>
              <a:gd name="connsiteX530" fmla="*/ 1125303 w 9012328"/>
              <a:gd name="connsiteY530" fmla="*/ 4205003 h 7308446"/>
              <a:gd name="connsiteX531" fmla="*/ 1125303 w 9012328"/>
              <a:gd name="connsiteY531" fmla="*/ 3106453 h 7308446"/>
              <a:gd name="connsiteX532" fmla="*/ 3600665 w 9012328"/>
              <a:gd name="connsiteY532" fmla="*/ 3004837 h 7308446"/>
              <a:gd name="connsiteX533" fmla="*/ 3653736 w 9012328"/>
              <a:gd name="connsiteY533" fmla="*/ 3006713 h 7308446"/>
              <a:gd name="connsiteX534" fmla="*/ 3702854 w 9012328"/>
              <a:gd name="connsiteY534" fmla="*/ 3012290 h 7308446"/>
              <a:gd name="connsiteX535" fmla="*/ 3748160 w 9012328"/>
              <a:gd name="connsiteY535" fmla="*/ 3021485 h 7308446"/>
              <a:gd name="connsiteX536" fmla="*/ 3789782 w 9012328"/>
              <a:gd name="connsiteY536" fmla="*/ 3034217 h 7308446"/>
              <a:gd name="connsiteX537" fmla="*/ 3827853 w 9012328"/>
              <a:gd name="connsiteY537" fmla="*/ 3050405 h 7308446"/>
              <a:gd name="connsiteX538" fmla="*/ 3862506 w 9012328"/>
              <a:gd name="connsiteY538" fmla="*/ 3069966 h 7308446"/>
              <a:gd name="connsiteX539" fmla="*/ 3893873 w 9012328"/>
              <a:gd name="connsiteY539" fmla="*/ 3092821 h 7308446"/>
              <a:gd name="connsiteX540" fmla="*/ 3922088 w 9012328"/>
              <a:gd name="connsiteY540" fmla="*/ 3118887 h 7308446"/>
              <a:gd name="connsiteX541" fmla="*/ 3947284 w 9012328"/>
              <a:gd name="connsiteY541" fmla="*/ 3148083 h 7308446"/>
              <a:gd name="connsiteX542" fmla="*/ 3969592 w 9012328"/>
              <a:gd name="connsiteY542" fmla="*/ 3180328 h 7308446"/>
              <a:gd name="connsiteX543" fmla="*/ 3989145 w 9012328"/>
              <a:gd name="connsiteY543" fmla="*/ 3215540 h 7308446"/>
              <a:gd name="connsiteX544" fmla="*/ 4006077 w 9012328"/>
              <a:gd name="connsiteY544" fmla="*/ 3253638 h 7308446"/>
              <a:gd name="connsiteX545" fmla="*/ 4020520 w 9012328"/>
              <a:gd name="connsiteY545" fmla="*/ 3294540 h 7308446"/>
              <a:gd name="connsiteX546" fmla="*/ 4032607 w 9012328"/>
              <a:gd name="connsiteY546" fmla="*/ 3338166 h 7308446"/>
              <a:gd name="connsiteX547" fmla="*/ 4042470 w 9012328"/>
              <a:gd name="connsiteY547" fmla="*/ 3384433 h 7308446"/>
              <a:gd name="connsiteX548" fmla="*/ 4050242 w 9012328"/>
              <a:gd name="connsiteY548" fmla="*/ 3433261 h 7308446"/>
              <a:gd name="connsiteX549" fmla="*/ 4056056 w 9012328"/>
              <a:gd name="connsiteY549" fmla="*/ 3484567 h 7308446"/>
              <a:gd name="connsiteX550" fmla="*/ 4060044 w 9012328"/>
              <a:gd name="connsiteY550" fmla="*/ 3538272 h 7308446"/>
              <a:gd name="connsiteX551" fmla="*/ 4062340 w 9012328"/>
              <a:gd name="connsiteY551" fmla="*/ 3594292 h 7308446"/>
              <a:gd name="connsiteX552" fmla="*/ 4063076 w 9012328"/>
              <a:gd name="connsiteY552" fmla="*/ 3652548 h 7308446"/>
              <a:gd name="connsiteX553" fmla="*/ 4062376 w 9012328"/>
              <a:gd name="connsiteY553" fmla="*/ 3711053 h 7308446"/>
              <a:gd name="connsiteX554" fmla="*/ 4060179 w 9012328"/>
              <a:gd name="connsiteY554" fmla="*/ 3767323 h 7308446"/>
              <a:gd name="connsiteX555" fmla="*/ 4056343 w 9012328"/>
              <a:gd name="connsiteY555" fmla="*/ 3821273 h 7308446"/>
              <a:gd name="connsiteX556" fmla="*/ 4050722 w 9012328"/>
              <a:gd name="connsiteY556" fmla="*/ 3872823 h 7308446"/>
              <a:gd name="connsiteX557" fmla="*/ 4043174 w 9012328"/>
              <a:gd name="connsiteY557" fmla="*/ 3921888 h 7308446"/>
              <a:gd name="connsiteX558" fmla="*/ 4033553 w 9012328"/>
              <a:gd name="connsiteY558" fmla="*/ 3968387 h 7308446"/>
              <a:gd name="connsiteX559" fmla="*/ 4021716 w 9012328"/>
              <a:gd name="connsiteY559" fmla="*/ 4012236 h 7308446"/>
              <a:gd name="connsiteX560" fmla="*/ 4007519 w 9012328"/>
              <a:gd name="connsiteY560" fmla="*/ 4053354 h 7308446"/>
              <a:gd name="connsiteX561" fmla="*/ 3990818 w 9012328"/>
              <a:gd name="connsiteY561" fmla="*/ 4091657 h 7308446"/>
              <a:gd name="connsiteX562" fmla="*/ 3971469 w 9012328"/>
              <a:gd name="connsiteY562" fmla="*/ 4127063 h 7308446"/>
              <a:gd name="connsiteX563" fmla="*/ 3949328 w 9012328"/>
              <a:gd name="connsiteY563" fmla="*/ 4159489 h 7308446"/>
              <a:gd name="connsiteX564" fmla="*/ 3924252 w 9012328"/>
              <a:gd name="connsiteY564" fmla="*/ 4188852 h 7308446"/>
              <a:gd name="connsiteX565" fmla="*/ 3896095 w 9012328"/>
              <a:gd name="connsiteY565" fmla="*/ 4215071 h 7308446"/>
              <a:gd name="connsiteX566" fmla="*/ 3864714 w 9012328"/>
              <a:gd name="connsiteY566" fmla="*/ 4238061 h 7308446"/>
              <a:gd name="connsiteX567" fmla="*/ 3829965 w 9012328"/>
              <a:gd name="connsiteY567" fmla="*/ 4257742 h 7308446"/>
              <a:gd name="connsiteX568" fmla="*/ 3791705 w 9012328"/>
              <a:gd name="connsiteY568" fmla="*/ 4274029 h 7308446"/>
              <a:gd name="connsiteX569" fmla="*/ 3749788 w 9012328"/>
              <a:gd name="connsiteY569" fmla="*/ 4286841 h 7308446"/>
              <a:gd name="connsiteX570" fmla="*/ 3704071 w 9012328"/>
              <a:gd name="connsiteY570" fmla="*/ 4296095 h 7308446"/>
              <a:gd name="connsiteX571" fmla="*/ 3654414 w 9012328"/>
              <a:gd name="connsiteY571" fmla="*/ 4301708 h 7308446"/>
              <a:gd name="connsiteX572" fmla="*/ 3600665 w 9012328"/>
              <a:gd name="connsiteY572" fmla="*/ 4303597 h 7308446"/>
              <a:gd name="connsiteX573" fmla="*/ 3600665 w 9012328"/>
              <a:gd name="connsiteY573" fmla="*/ 4206775 h 7308446"/>
              <a:gd name="connsiteX574" fmla="*/ 3650351 w 9012328"/>
              <a:gd name="connsiteY574" fmla="*/ 4204542 h 7308446"/>
              <a:gd name="connsiteX575" fmla="*/ 3695268 w 9012328"/>
              <a:gd name="connsiteY575" fmla="*/ 4197921 h 7308446"/>
              <a:gd name="connsiteX576" fmla="*/ 3735652 w 9012328"/>
              <a:gd name="connsiteY576" fmla="*/ 4187032 h 7308446"/>
              <a:gd name="connsiteX577" fmla="*/ 3771723 w 9012328"/>
              <a:gd name="connsiteY577" fmla="*/ 4171992 h 7308446"/>
              <a:gd name="connsiteX578" fmla="*/ 3831834 w 9012328"/>
              <a:gd name="connsiteY578" fmla="*/ 4129932 h 7308446"/>
              <a:gd name="connsiteX579" fmla="*/ 3877413 w 9012328"/>
              <a:gd name="connsiteY579" fmla="*/ 4072688 h 7308446"/>
              <a:gd name="connsiteX580" fmla="*/ 3895319 w 9012328"/>
              <a:gd name="connsiteY580" fmla="*/ 4038667 h 7308446"/>
              <a:gd name="connsiteX581" fmla="*/ 3910271 w 9012328"/>
              <a:gd name="connsiteY581" fmla="*/ 4001206 h 7308446"/>
              <a:gd name="connsiteX582" fmla="*/ 3922495 w 9012328"/>
              <a:gd name="connsiteY582" fmla="*/ 3960421 h 7308446"/>
              <a:gd name="connsiteX583" fmla="*/ 3932218 w 9012328"/>
              <a:gd name="connsiteY583" fmla="*/ 3916431 h 7308446"/>
              <a:gd name="connsiteX584" fmla="*/ 3939665 w 9012328"/>
              <a:gd name="connsiteY584" fmla="*/ 3869354 h 7308446"/>
              <a:gd name="connsiteX585" fmla="*/ 3945064 w 9012328"/>
              <a:gd name="connsiteY585" fmla="*/ 3819310 h 7308446"/>
              <a:gd name="connsiteX586" fmla="*/ 3948640 w 9012328"/>
              <a:gd name="connsiteY586" fmla="*/ 3766415 h 7308446"/>
              <a:gd name="connsiteX587" fmla="*/ 3950619 w 9012328"/>
              <a:gd name="connsiteY587" fmla="*/ 3710788 h 7308446"/>
              <a:gd name="connsiteX588" fmla="*/ 3951229 w 9012328"/>
              <a:gd name="connsiteY588" fmla="*/ 3652548 h 7308446"/>
              <a:gd name="connsiteX589" fmla="*/ 3950587 w 9012328"/>
              <a:gd name="connsiteY589" fmla="*/ 3594879 h 7308446"/>
              <a:gd name="connsiteX590" fmla="*/ 3948517 w 9012328"/>
              <a:gd name="connsiteY590" fmla="*/ 3539790 h 7308446"/>
              <a:gd name="connsiteX591" fmla="*/ 3944807 w 9012328"/>
              <a:gd name="connsiteY591" fmla="*/ 3487397 h 7308446"/>
              <a:gd name="connsiteX592" fmla="*/ 3939241 w 9012328"/>
              <a:gd name="connsiteY592" fmla="*/ 3437821 h 7308446"/>
              <a:gd name="connsiteX593" fmla="*/ 3931606 w 9012328"/>
              <a:gd name="connsiteY593" fmla="*/ 3391177 h 7308446"/>
              <a:gd name="connsiteX594" fmla="*/ 3921688 w 9012328"/>
              <a:gd name="connsiteY594" fmla="*/ 3347586 h 7308446"/>
              <a:gd name="connsiteX595" fmla="*/ 3909272 w 9012328"/>
              <a:gd name="connsiteY595" fmla="*/ 3307165 h 7308446"/>
              <a:gd name="connsiteX596" fmla="*/ 3894145 w 9012328"/>
              <a:gd name="connsiteY596" fmla="*/ 3270033 h 7308446"/>
              <a:gd name="connsiteX597" fmla="*/ 3876092 w 9012328"/>
              <a:gd name="connsiteY597" fmla="*/ 3236307 h 7308446"/>
              <a:gd name="connsiteX598" fmla="*/ 3830354 w 9012328"/>
              <a:gd name="connsiteY598" fmla="*/ 3179548 h 7308446"/>
              <a:gd name="connsiteX599" fmla="*/ 3770345 w 9012328"/>
              <a:gd name="connsiteY599" fmla="*/ 3137835 h 7308446"/>
              <a:gd name="connsiteX600" fmla="*/ 3734453 w 9012328"/>
              <a:gd name="connsiteY600" fmla="*/ 3122916 h 7308446"/>
              <a:gd name="connsiteX601" fmla="*/ 3694351 w 9012328"/>
              <a:gd name="connsiteY601" fmla="*/ 3112113 h 7308446"/>
              <a:gd name="connsiteX602" fmla="*/ 3649829 w 9012328"/>
              <a:gd name="connsiteY602" fmla="*/ 3105545 h 7308446"/>
              <a:gd name="connsiteX603" fmla="*/ 3600665 w 9012328"/>
              <a:gd name="connsiteY603" fmla="*/ 3103329 h 7308446"/>
              <a:gd name="connsiteX604" fmla="*/ 3508797 w 9012328"/>
              <a:gd name="connsiteY604" fmla="*/ 3004837 h 7308446"/>
              <a:gd name="connsiteX605" fmla="*/ 3508797 w 9012328"/>
              <a:gd name="connsiteY605" fmla="*/ 3103329 h 7308446"/>
              <a:gd name="connsiteX606" fmla="*/ 3459910 w 9012328"/>
              <a:gd name="connsiteY606" fmla="*/ 3105545 h 7308446"/>
              <a:gd name="connsiteX607" fmla="*/ 3415630 w 9012328"/>
              <a:gd name="connsiteY607" fmla="*/ 3112113 h 7308446"/>
              <a:gd name="connsiteX608" fmla="*/ 3375743 w 9012328"/>
              <a:gd name="connsiteY608" fmla="*/ 3122916 h 7308446"/>
              <a:gd name="connsiteX609" fmla="*/ 3340039 w 9012328"/>
              <a:gd name="connsiteY609" fmla="*/ 3137835 h 7308446"/>
              <a:gd name="connsiteX610" fmla="*/ 3280323 w 9012328"/>
              <a:gd name="connsiteY610" fmla="*/ 3179548 h 7308446"/>
              <a:gd name="connsiteX611" fmla="*/ 3234789 w 9012328"/>
              <a:gd name="connsiteY611" fmla="*/ 3236307 h 7308446"/>
              <a:gd name="connsiteX612" fmla="*/ 3216810 w 9012328"/>
              <a:gd name="connsiteY612" fmla="*/ 3270033 h 7308446"/>
              <a:gd name="connsiteX613" fmla="*/ 3201740 w 9012328"/>
              <a:gd name="connsiteY613" fmla="*/ 3307165 h 7308446"/>
              <a:gd name="connsiteX614" fmla="*/ 3189368 w 9012328"/>
              <a:gd name="connsiteY614" fmla="*/ 3347586 h 7308446"/>
              <a:gd name="connsiteX615" fmla="*/ 3179480 w 9012328"/>
              <a:gd name="connsiteY615" fmla="*/ 3391177 h 7308446"/>
              <a:gd name="connsiteX616" fmla="*/ 3171865 w 9012328"/>
              <a:gd name="connsiteY616" fmla="*/ 3437821 h 7308446"/>
              <a:gd name="connsiteX617" fmla="*/ 3166313 w 9012328"/>
              <a:gd name="connsiteY617" fmla="*/ 3487397 h 7308446"/>
              <a:gd name="connsiteX618" fmla="*/ 3162609 w 9012328"/>
              <a:gd name="connsiteY618" fmla="*/ 3539790 h 7308446"/>
              <a:gd name="connsiteX619" fmla="*/ 3160541 w 9012328"/>
              <a:gd name="connsiteY619" fmla="*/ 3594879 h 7308446"/>
              <a:gd name="connsiteX620" fmla="*/ 3159899 w 9012328"/>
              <a:gd name="connsiteY620" fmla="*/ 3652548 h 7308446"/>
              <a:gd name="connsiteX621" fmla="*/ 3160527 w 9012328"/>
              <a:gd name="connsiteY621" fmla="*/ 3710788 h 7308446"/>
              <a:gd name="connsiteX622" fmla="*/ 3162547 w 9012328"/>
              <a:gd name="connsiteY622" fmla="*/ 3766415 h 7308446"/>
              <a:gd name="connsiteX623" fmla="*/ 3166185 w 9012328"/>
              <a:gd name="connsiteY623" fmla="*/ 3819310 h 7308446"/>
              <a:gd name="connsiteX624" fmla="*/ 3171653 w 9012328"/>
              <a:gd name="connsiteY624" fmla="*/ 3869354 h 7308446"/>
              <a:gd name="connsiteX625" fmla="*/ 3179175 w 9012328"/>
              <a:gd name="connsiteY625" fmla="*/ 3916431 h 7308446"/>
              <a:gd name="connsiteX626" fmla="*/ 3188965 w 9012328"/>
              <a:gd name="connsiteY626" fmla="*/ 3960421 h 7308446"/>
              <a:gd name="connsiteX627" fmla="*/ 3201241 w 9012328"/>
              <a:gd name="connsiteY627" fmla="*/ 4001206 h 7308446"/>
              <a:gd name="connsiteX628" fmla="*/ 3216223 w 9012328"/>
              <a:gd name="connsiteY628" fmla="*/ 4038667 h 7308446"/>
              <a:gd name="connsiteX629" fmla="*/ 3234129 w 9012328"/>
              <a:gd name="connsiteY629" fmla="*/ 4072688 h 7308446"/>
              <a:gd name="connsiteX630" fmla="*/ 3279582 w 9012328"/>
              <a:gd name="connsiteY630" fmla="*/ 4129932 h 7308446"/>
              <a:gd name="connsiteX631" fmla="*/ 3339348 w 9012328"/>
              <a:gd name="connsiteY631" fmla="*/ 4171992 h 7308446"/>
              <a:gd name="connsiteX632" fmla="*/ 3375143 w 9012328"/>
              <a:gd name="connsiteY632" fmla="*/ 4187032 h 7308446"/>
              <a:gd name="connsiteX633" fmla="*/ 3415171 w 9012328"/>
              <a:gd name="connsiteY633" fmla="*/ 4197921 h 7308446"/>
              <a:gd name="connsiteX634" fmla="*/ 3459650 w 9012328"/>
              <a:gd name="connsiteY634" fmla="*/ 4204542 h 7308446"/>
              <a:gd name="connsiteX635" fmla="*/ 3508797 w 9012328"/>
              <a:gd name="connsiteY635" fmla="*/ 4206775 h 7308446"/>
              <a:gd name="connsiteX636" fmla="*/ 3508797 w 9012328"/>
              <a:gd name="connsiteY636" fmla="*/ 4303597 h 7308446"/>
              <a:gd name="connsiteX637" fmla="*/ 3455275 w 9012328"/>
              <a:gd name="connsiteY637" fmla="*/ 4301708 h 7308446"/>
              <a:gd name="connsiteX638" fmla="*/ 3405793 w 9012328"/>
              <a:gd name="connsiteY638" fmla="*/ 4296095 h 7308446"/>
              <a:gd name="connsiteX639" fmla="*/ 3360214 w 9012328"/>
              <a:gd name="connsiteY639" fmla="*/ 4286841 h 7308446"/>
              <a:gd name="connsiteX640" fmla="*/ 3318395 w 9012328"/>
              <a:gd name="connsiteY640" fmla="*/ 4274029 h 7308446"/>
              <a:gd name="connsiteX641" fmla="*/ 3280198 w 9012328"/>
              <a:gd name="connsiteY641" fmla="*/ 4257742 h 7308446"/>
              <a:gd name="connsiteX642" fmla="*/ 3245481 w 9012328"/>
              <a:gd name="connsiteY642" fmla="*/ 4238061 h 7308446"/>
              <a:gd name="connsiteX643" fmla="*/ 3214105 w 9012328"/>
              <a:gd name="connsiteY643" fmla="*/ 4215071 h 7308446"/>
              <a:gd name="connsiteX644" fmla="*/ 3185929 w 9012328"/>
              <a:gd name="connsiteY644" fmla="*/ 4188852 h 7308446"/>
              <a:gd name="connsiteX645" fmla="*/ 3160812 w 9012328"/>
              <a:gd name="connsiteY645" fmla="*/ 4159489 h 7308446"/>
              <a:gd name="connsiteX646" fmla="*/ 3138616 w 9012328"/>
              <a:gd name="connsiteY646" fmla="*/ 4127063 h 7308446"/>
              <a:gd name="connsiteX647" fmla="*/ 3119198 w 9012328"/>
              <a:gd name="connsiteY647" fmla="*/ 4091657 h 7308446"/>
              <a:gd name="connsiteX648" fmla="*/ 3102421 w 9012328"/>
              <a:gd name="connsiteY648" fmla="*/ 4053354 h 7308446"/>
              <a:gd name="connsiteX649" fmla="*/ 3088141 w 9012328"/>
              <a:gd name="connsiteY649" fmla="*/ 4012236 h 7308446"/>
              <a:gd name="connsiteX650" fmla="*/ 3076222 w 9012328"/>
              <a:gd name="connsiteY650" fmla="*/ 3968387 h 7308446"/>
              <a:gd name="connsiteX651" fmla="*/ 3066519 w 9012328"/>
              <a:gd name="connsiteY651" fmla="*/ 3921888 h 7308446"/>
              <a:gd name="connsiteX652" fmla="*/ 3058896 w 9012328"/>
              <a:gd name="connsiteY652" fmla="*/ 3872823 h 7308446"/>
              <a:gd name="connsiteX653" fmla="*/ 3053212 w 9012328"/>
              <a:gd name="connsiteY653" fmla="*/ 3821273 h 7308446"/>
              <a:gd name="connsiteX654" fmla="*/ 3049324 w 9012328"/>
              <a:gd name="connsiteY654" fmla="*/ 3767323 h 7308446"/>
              <a:gd name="connsiteX655" fmla="*/ 3047094 w 9012328"/>
              <a:gd name="connsiteY655" fmla="*/ 3711053 h 7308446"/>
              <a:gd name="connsiteX656" fmla="*/ 3046384 w 9012328"/>
              <a:gd name="connsiteY656" fmla="*/ 3652548 h 7308446"/>
              <a:gd name="connsiteX657" fmla="*/ 3047118 w 9012328"/>
              <a:gd name="connsiteY657" fmla="*/ 3594292 h 7308446"/>
              <a:gd name="connsiteX658" fmla="*/ 3049414 w 9012328"/>
              <a:gd name="connsiteY658" fmla="*/ 3538272 h 7308446"/>
              <a:gd name="connsiteX659" fmla="*/ 3053403 w 9012328"/>
              <a:gd name="connsiteY659" fmla="*/ 3484567 h 7308446"/>
              <a:gd name="connsiteX660" fmla="*/ 3059217 w 9012328"/>
              <a:gd name="connsiteY660" fmla="*/ 3433261 h 7308446"/>
              <a:gd name="connsiteX661" fmla="*/ 3066990 w 9012328"/>
              <a:gd name="connsiteY661" fmla="*/ 3384433 h 7308446"/>
              <a:gd name="connsiteX662" fmla="*/ 3076852 w 9012328"/>
              <a:gd name="connsiteY662" fmla="*/ 3338166 h 7308446"/>
              <a:gd name="connsiteX663" fmla="*/ 3088939 w 9012328"/>
              <a:gd name="connsiteY663" fmla="*/ 3294540 h 7308446"/>
              <a:gd name="connsiteX664" fmla="*/ 3103381 w 9012328"/>
              <a:gd name="connsiteY664" fmla="*/ 3253638 h 7308446"/>
              <a:gd name="connsiteX665" fmla="*/ 3120314 w 9012328"/>
              <a:gd name="connsiteY665" fmla="*/ 3215540 h 7308446"/>
              <a:gd name="connsiteX666" fmla="*/ 3139867 w 9012328"/>
              <a:gd name="connsiteY666" fmla="*/ 3180328 h 7308446"/>
              <a:gd name="connsiteX667" fmla="*/ 3162174 w 9012328"/>
              <a:gd name="connsiteY667" fmla="*/ 3148083 h 7308446"/>
              <a:gd name="connsiteX668" fmla="*/ 3187372 w 9012328"/>
              <a:gd name="connsiteY668" fmla="*/ 3118887 h 7308446"/>
              <a:gd name="connsiteX669" fmla="*/ 3215586 w 9012328"/>
              <a:gd name="connsiteY669" fmla="*/ 3092821 h 7308446"/>
              <a:gd name="connsiteX670" fmla="*/ 3246953 w 9012328"/>
              <a:gd name="connsiteY670" fmla="*/ 3069966 h 7308446"/>
              <a:gd name="connsiteX671" fmla="*/ 3281606 w 9012328"/>
              <a:gd name="connsiteY671" fmla="*/ 3050405 h 7308446"/>
              <a:gd name="connsiteX672" fmla="*/ 3319678 w 9012328"/>
              <a:gd name="connsiteY672" fmla="*/ 3034217 h 7308446"/>
              <a:gd name="connsiteX673" fmla="*/ 3361299 w 9012328"/>
              <a:gd name="connsiteY673" fmla="*/ 3021485 h 7308446"/>
              <a:gd name="connsiteX674" fmla="*/ 3406605 w 9012328"/>
              <a:gd name="connsiteY674" fmla="*/ 3012290 h 7308446"/>
              <a:gd name="connsiteX675" fmla="*/ 3455726 w 9012328"/>
              <a:gd name="connsiteY675" fmla="*/ 3006713 h 7308446"/>
              <a:gd name="connsiteX676" fmla="*/ 3637118 w 9012328"/>
              <a:gd name="connsiteY676" fmla="*/ 2373826 h 7308446"/>
              <a:gd name="connsiteX677" fmla="*/ 4541909 w 9012328"/>
              <a:gd name="connsiteY677" fmla="*/ 2373826 h 7308446"/>
              <a:gd name="connsiteX678" fmla="*/ 4541909 w 9012328"/>
              <a:gd name="connsiteY678" fmla="*/ 2480664 h 7308446"/>
              <a:gd name="connsiteX679" fmla="*/ 3637118 w 9012328"/>
              <a:gd name="connsiteY679" fmla="*/ 2480664 h 7308446"/>
              <a:gd name="connsiteX680" fmla="*/ 2550201 w 9012328"/>
              <a:gd name="connsiteY680" fmla="*/ 2373826 h 7308446"/>
              <a:gd name="connsiteX681" fmla="*/ 3454993 w 9012328"/>
              <a:gd name="connsiteY681" fmla="*/ 2373826 h 7308446"/>
              <a:gd name="connsiteX682" fmla="*/ 3454993 w 9012328"/>
              <a:gd name="connsiteY682" fmla="*/ 2480664 h 7308446"/>
              <a:gd name="connsiteX683" fmla="*/ 2550201 w 9012328"/>
              <a:gd name="connsiteY683" fmla="*/ 2480664 h 7308446"/>
              <a:gd name="connsiteX684" fmla="*/ 3637119 w 9012328"/>
              <a:gd name="connsiteY684" fmla="*/ 2024930 h 7308446"/>
              <a:gd name="connsiteX685" fmla="*/ 4541909 w 9012328"/>
              <a:gd name="connsiteY685" fmla="*/ 2024930 h 7308446"/>
              <a:gd name="connsiteX686" fmla="*/ 4541909 w 9012328"/>
              <a:gd name="connsiteY686" fmla="*/ 2131769 h 7308446"/>
              <a:gd name="connsiteX687" fmla="*/ 3637119 w 9012328"/>
              <a:gd name="connsiteY687" fmla="*/ 2131769 h 7308446"/>
              <a:gd name="connsiteX688" fmla="*/ 2550201 w 9012328"/>
              <a:gd name="connsiteY688" fmla="*/ 2024930 h 7308446"/>
              <a:gd name="connsiteX689" fmla="*/ 3454993 w 9012328"/>
              <a:gd name="connsiteY689" fmla="*/ 2024930 h 7308446"/>
              <a:gd name="connsiteX690" fmla="*/ 3454993 w 9012328"/>
              <a:gd name="connsiteY690" fmla="*/ 2131769 h 7308446"/>
              <a:gd name="connsiteX691" fmla="*/ 2550201 w 9012328"/>
              <a:gd name="connsiteY691" fmla="*/ 2131769 h 7308446"/>
              <a:gd name="connsiteX692" fmla="*/ 6133380 w 9012328"/>
              <a:gd name="connsiteY692" fmla="*/ 1502419 h 7308446"/>
              <a:gd name="connsiteX693" fmla="*/ 6186450 w 9012328"/>
              <a:gd name="connsiteY693" fmla="*/ 1504296 h 7308446"/>
              <a:gd name="connsiteX694" fmla="*/ 6235571 w 9012328"/>
              <a:gd name="connsiteY694" fmla="*/ 1509872 h 7308446"/>
              <a:gd name="connsiteX695" fmla="*/ 6280876 w 9012328"/>
              <a:gd name="connsiteY695" fmla="*/ 1519068 h 7308446"/>
              <a:gd name="connsiteX696" fmla="*/ 6322498 w 9012328"/>
              <a:gd name="connsiteY696" fmla="*/ 1531799 h 7308446"/>
              <a:gd name="connsiteX697" fmla="*/ 6360569 w 9012328"/>
              <a:gd name="connsiteY697" fmla="*/ 1547987 h 7308446"/>
              <a:gd name="connsiteX698" fmla="*/ 6395222 w 9012328"/>
              <a:gd name="connsiteY698" fmla="*/ 1567548 h 7308446"/>
              <a:gd name="connsiteX699" fmla="*/ 6426589 w 9012328"/>
              <a:gd name="connsiteY699" fmla="*/ 1590403 h 7308446"/>
              <a:gd name="connsiteX700" fmla="*/ 6454804 w 9012328"/>
              <a:gd name="connsiteY700" fmla="*/ 1616469 h 7308446"/>
              <a:gd name="connsiteX701" fmla="*/ 6480000 w 9012328"/>
              <a:gd name="connsiteY701" fmla="*/ 1645665 h 7308446"/>
              <a:gd name="connsiteX702" fmla="*/ 6502308 w 9012328"/>
              <a:gd name="connsiteY702" fmla="*/ 1677910 h 7308446"/>
              <a:gd name="connsiteX703" fmla="*/ 6521861 w 9012328"/>
              <a:gd name="connsiteY703" fmla="*/ 1713122 h 7308446"/>
              <a:gd name="connsiteX704" fmla="*/ 6538793 w 9012328"/>
              <a:gd name="connsiteY704" fmla="*/ 1751221 h 7308446"/>
              <a:gd name="connsiteX705" fmla="*/ 6553236 w 9012328"/>
              <a:gd name="connsiteY705" fmla="*/ 1792122 h 7308446"/>
              <a:gd name="connsiteX706" fmla="*/ 6565323 w 9012328"/>
              <a:gd name="connsiteY706" fmla="*/ 1835748 h 7308446"/>
              <a:gd name="connsiteX707" fmla="*/ 6575186 w 9012328"/>
              <a:gd name="connsiteY707" fmla="*/ 1882015 h 7308446"/>
              <a:gd name="connsiteX708" fmla="*/ 6582958 w 9012328"/>
              <a:gd name="connsiteY708" fmla="*/ 1930843 h 7308446"/>
              <a:gd name="connsiteX709" fmla="*/ 6588772 w 9012328"/>
              <a:gd name="connsiteY709" fmla="*/ 1982149 h 7308446"/>
              <a:gd name="connsiteX710" fmla="*/ 6592760 w 9012328"/>
              <a:gd name="connsiteY710" fmla="*/ 2035854 h 7308446"/>
              <a:gd name="connsiteX711" fmla="*/ 6595056 w 9012328"/>
              <a:gd name="connsiteY711" fmla="*/ 2091874 h 7308446"/>
              <a:gd name="connsiteX712" fmla="*/ 6595792 w 9012328"/>
              <a:gd name="connsiteY712" fmla="*/ 2150130 h 7308446"/>
              <a:gd name="connsiteX713" fmla="*/ 6595092 w 9012328"/>
              <a:gd name="connsiteY713" fmla="*/ 2208635 h 7308446"/>
              <a:gd name="connsiteX714" fmla="*/ 6592895 w 9012328"/>
              <a:gd name="connsiteY714" fmla="*/ 2264905 h 7308446"/>
              <a:gd name="connsiteX715" fmla="*/ 6589059 w 9012328"/>
              <a:gd name="connsiteY715" fmla="*/ 2318855 h 7308446"/>
              <a:gd name="connsiteX716" fmla="*/ 6583438 w 9012328"/>
              <a:gd name="connsiteY716" fmla="*/ 2370405 h 7308446"/>
              <a:gd name="connsiteX717" fmla="*/ 6575890 w 9012328"/>
              <a:gd name="connsiteY717" fmla="*/ 2419470 h 7308446"/>
              <a:gd name="connsiteX718" fmla="*/ 6566269 w 9012328"/>
              <a:gd name="connsiteY718" fmla="*/ 2465969 h 7308446"/>
              <a:gd name="connsiteX719" fmla="*/ 6554432 w 9012328"/>
              <a:gd name="connsiteY719" fmla="*/ 2509818 h 7308446"/>
              <a:gd name="connsiteX720" fmla="*/ 6540235 w 9012328"/>
              <a:gd name="connsiteY720" fmla="*/ 2550936 h 7308446"/>
              <a:gd name="connsiteX721" fmla="*/ 6523535 w 9012328"/>
              <a:gd name="connsiteY721" fmla="*/ 2589239 h 7308446"/>
              <a:gd name="connsiteX722" fmla="*/ 6504186 w 9012328"/>
              <a:gd name="connsiteY722" fmla="*/ 2624645 h 7308446"/>
              <a:gd name="connsiteX723" fmla="*/ 6482045 w 9012328"/>
              <a:gd name="connsiteY723" fmla="*/ 2657071 h 7308446"/>
              <a:gd name="connsiteX724" fmla="*/ 6456968 w 9012328"/>
              <a:gd name="connsiteY724" fmla="*/ 2686434 h 7308446"/>
              <a:gd name="connsiteX725" fmla="*/ 6428811 w 9012328"/>
              <a:gd name="connsiteY725" fmla="*/ 2712653 h 7308446"/>
              <a:gd name="connsiteX726" fmla="*/ 6397430 w 9012328"/>
              <a:gd name="connsiteY726" fmla="*/ 2735643 h 7308446"/>
              <a:gd name="connsiteX727" fmla="*/ 6362682 w 9012328"/>
              <a:gd name="connsiteY727" fmla="*/ 2755324 h 7308446"/>
              <a:gd name="connsiteX728" fmla="*/ 6324421 w 9012328"/>
              <a:gd name="connsiteY728" fmla="*/ 2771611 h 7308446"/>
              <a:gd name="connsiteX729" fmla="*/ 6282504 w 9012328"/>
              <a:gd name="connsiteY729" fmla="*/ 2784423 h 7308446"/>
              <a:gd name="connsiteX730" fmla="*/ 6236788 w 9012328"/>
              <a:gd name="connsiteY730" fmla="*/ 2793677 h 7308446"/>
              <a:gd name="connsiteX731" fmla="*/ 6187128 w 9012328"/>
              <a:gd name="connsiteY731" fmla="*/ 2799290 h 7308446"/>
              <a:gd name="connsiteX732" fmla="*/ 6133380 w 9012328"/>
              <a:gd name="connsiteY732" fmla="*/ 2801179 h 7308446"/>
              <a:gd name="connsiteX733" fmla="*/ 6133380 w 9012328"/>
              <a:gd name="connsiteY733" fmla="*/ 2704356 h 7308446"/>
              <a:gd name="connsiteX734" fmla="*/ 6183065 w 9012328"/>
              <a:gd name="connsiteY734" fmla="*/ 2702123 h 7308446"/>
              <a:gd name="connsiteX735" fmla="*/ 6227986 w 9012328"/>
              <a:gd name="connsiteY735" fmla="*/ 2695502 h 7308446"/>
              <a:gd name="connsiteX736" fmla="*/ 6268368 w 9012328"/>
              <a:gd name="connsiteY736" fmla="*/ 2684613 h 7308446"/>
              <a:gd name="connsiteX737" fmla="*/ 6304439 w 9012328"/>
              <a:gd name="connsiteY737" fmla="*/ 2669573 h 7308446"/>
              <a:gd name="connsiteX738" fmla="*/ 6364550 w 9012328"/>
              <a:gd name="connsiteY738" fmla="*/ 2627513 h 7308446"/>
              <a:gd name="connsiteX739" fmla="*/ 6410130 w 9012328"/>
              <a:gd name="connsiteY739" fmla="*/ 2570269 h 7308446"/>
              <a:gd name="connsiteX740" fmla="*/ 6428035 w 9012328"/>
              <a:gd name="connsiteY740" fmla="*/ 2536249 h 7308446"/>
              <a:gd name="connsiteX741" fmla="*/ 6442987 w 9012328"/>
              <a:gd name="connsiteY741" fmla="*/ 2498787 h 7308446"/>
              <a:gd name="connsiteX742" fmla="*/ 6455211 w 9012328"/>
              <a:gd name="connsiteY742" fmla="*/ 2458002 h 7308446"/>
              <a:gd name="connsiteX743" fmla="*/ 6464934 w 9012328"/>
              <a:gd name="connsiteY743" fmla="*/ 2414012 h 7308446"/>
              <a:gd name="connsiteX744" fmla="*/ 6472381 w 9012328"/>
              <a:gd name="connsiteY744" fmla="*/ 2366936 h 7308446"/>
              <a:gd name="connsiteX745" fmla="*/ 6477780 w 9012328"/>
              <a:gd name="connsiteY745" fmla="*/ 2316891 h 7308446"/>
              <a:gd name="connsiteX746" fmla="*/ 6481356 w 9012328"/>
              <a:gd name="connsiteY746" fmla="*/ 2263996 h 7308446"/>
              <a:gd name="connsiteX747" fmla="*/ 6483335 w 9012328"/>
              <a:gd name="connsiteY747" fmla="*/ 2208370 h 7308446"/>
              <a:gd name="connsiteX748" fmla="*/ 6483945 w 9012328"/>
              <a:gd name="connsiteY748" fmla="*/ 2150130 h 7308446"/>
              <a:gd name="connsiteX749" fmla="*/ 6483303 w 9012328"/>
              <a:gd name="connsiteY749" fmla="*/ 2092461 h 7308446"/>
              <a:gd name="connsiteX750" fmla="*/ 6481233 w 9012328"/>
              <a:gd name="connsiteY750" fmla="*/ 2037371 h 7308446"/>
              <a:gd name="connsiteX751" fmla="*/ 6477523 w 9012328"/>
              <a:gd name="connsiteY751" fmla="*/ 1984979 h 7308446"/>
              <a:gd name="connsiteX752" fmla="*/ 6471957 w 9012328"/>
              <a:gd name="connsiteY752" fmla="*/ 1935402 h 7308446"/>
              <a:gd name="connsiteX753" fmla="*/ 6464322 w 9012328"/>
              <a:gd name="connsiteY753" fmla="*/ 1888759 h 7308446"/>
              <a:gd name="connsiteX754" fmla="*/ 6454404 w 9012328"/>
              <a:gd name="connsiteY754" fmla="*/ 1845167 h 7308446"/>
              <a:gd name="connsiteX755" fmla="*/ 6441988 w 9012328"/>
              <a:gd name="connsiteY755" fmla="*/ 1804746 h 7308446"/>
              <a:gd name="connsiteX756" fmla="*/ 6426861 w 9012328"/>
              <a:gd name="connsiteY756" fmla="*/ 1767614 h 7308446"/>
              <a:gd name="connsiteX757" fmla="*/ 6408808 w 9012328"/>
              <a:gd name="connsiteY757" fmla="*/ 1733888 h 7308446"/>
              <a:gd name="connsiteX758" fmla="*/ 6363070 w 9012328"/>
              <a:gd name="connsiteY758" fmla="*/ 1677129 h 7308446"/>
              <a:gd name="connsiteX759" fmla="*/ 6303061 w 9012328"/>
              <a:gd name="connsiteY759" fmla="*/ 1635416 h 7308446"/>
              <a:gd name="connsiteX760" fmla="*/ 6267169 w 9012328"/>
              <a:gd name="connsiteY760" fmla="*/ 1620497 h 7308446"/>
              <a:gd name="connsiteX761" fmla="*/ 6227068 w 9012328"/>
              <a:gd name="connsiteY761" fmla="*/ 1609694 h 7308446"/>
              <a:gd name="connsiteX762" fmla="*/ 6182543 w 9012328"/>
              <a:gd name="connsiteY762" fmla="*/ 1603125 h 7308446"/>
              <a:gd name="connsiteX763" fmla="*/ 6133380 w 9012328"/>
              <a:gd name="connsiteY763" fmla="*/ 1600910 h 7308446"/>
              <a:gd name="connsiteX764" fmla="*/ 6041530 w 9012328"/>
              <a:gd name="connsiteY764" fmla="*/ 1502419 h 7308446"/>
              <a:gd name="connsiteX765" fmla="*/ 6041530 w 9012328"/>
              <a:gd name="connsiteY765" fmla="*/ 1600910 h 7308446"/>
              <a:gd name="connsiteX766" fmla="*/ 5992644 w 9012328"/>
              <a:gd name="connsiteY766" fmla="*/ 1603125 h 7308446"/>
              <a:gd name="connsiteX767" fmla="*/ 5948363 w 9012328"/>
              <a:gd name="connsiteY767" fmla="*/ 1609694 h 7308446"/>
              <a:gd name="connsiteX768" fmla="*/ 5908477 w 9012328"/>
              <a:gd name="connsiteY768" fmla="*/ 1620497 h 7308446"/>
              <a:gd name="connsiteX769" fmla="*/ 5872771 w 9012328"/>
              <a:gd name="connsiteY769" fmla="*/ 1635416 h 7308446"/>
              <a:gd name="connsiteX770" fmla="*/ 5813056 w 9012328"/>
              <a:gd name="connsiteY770" fmla="*/ 1677129 h 7308446"/>
              <a:gd name="connsiteX771" fmla="*/ 5767522 w 9012328"/>
              <a:gd name="connsiteY771" fmla="*/ 1733888 h 7308446"/>
              <a:gd name="connsiteX772" fmla="*/ 5749543 w 9012328"/>
              <a:gd name="connsiteY772" fmla="*/ 1767614 h 7308446"/>
              <a:gd name="connsiteX773" fmla="*/ 5734473 w 9012328"/>
              <a:gd name="connsiteY773" fmla="*/ 1804746 h 7308446"/>
              <a:gd name="connsiteX774" fmla="*/ 5722101 w 9012328"/>
              <a:gd name="connsiteY774" fmla="*/ 1845167 h 7308446"/>
              <a:gd name="connsiteX775" fmla="*/ 5712213 w 9012328"/>
              <a:gd name="connsiteY775" fmla="*/ 1888759 h 7308446"/>
              <a:gd name="connsiteX776" fmla="*/ 5704599 w 9012328"/>
              <a:gd name="connsiteY776" fmla="*/ 1935402 h 7308446"/>
              <a:gd name="connsiteX777" fmla="*/ 5699046 w 9012328"/>
              <a:gd name="connsiteY777" fmla="*/ 1984979 h 7308446"/>
              <a:gd name="connsiteX778" fmla="*/ 5695342 w 9012328"/>
              <a:gd name="connsiteY778" fmla="*/ 2037371 h 7308446"/>
              <a:gd name="connsiteX779" fmla="*/ 5693275 w 9012328"/>
              <a:gd name="connsiteY779" fmla="*/ 2092461 h 7308446"/>
              <a:gd name="connsiteX780" fmla="*/ 5692633 w 9012328"/>
              <a:gd name="connsiteY780" fmla="*/ 2150130 h 7308446"/>
              <a:gd name="connsiteX781" fmla="*/ 5693259 w 9012328"/>
              <a:gd name="connsiteY781" fmla="*/ 2208370 h 7308446"/>
              <a:gd name="connsiteX782" fmla="*/ 5695281 w 9012328"/>
              <a:gd name="connsiteY782" fmla="*/ 2263996 h 7308446"/>
              <a:gd name="connsiteX783" fmla="*/ 5698918 w 9012328"/>
              <a:gd name="connsiteY783" fmla="*/ 2316891 h 7308446"/>
              <a:gd name="connsiteX784" fmla="*/ 5704387 w 9012328"/>
              <a:gd name="connsiteY784" fmla="*/ 2366936 h 7308446"/>
              <a:gd name="connsiteX785" fmla="*/ 5711908 w 9012328"/>
              <a:gd name="connsiteY785" fmla="*/ 2414012 h 7308446"/>
              <a:gd name="connsiteX786" fmla="*/ 5721697 w 9012328"/>
              <a:gd name="connsiteY786" fmla="*/ 2458002 h 7308446"/>
              <a:gd name="connsiteX787" fmla="*/ 5733974 w 9012328"/>
              <a:gd name="connsiteY787" fmla="*/ 2498787 h 7308446"/>
              <a:gd name="connsiteX788" fmla="*/ 5748956 w 9012328"/>
              <a:gd name="connsiteY788" fmla="*/ 2536249 h 7308446"/>
              <a:gd name="connsiteX789" fmla="*/ 5766862 w 9012328"/>
              <a:gd name="connsiteY789" fmla="*/ 2570269 h 7308446"/>
              <a:gd name="connsiteX790" fmla="*/ 5812316 w 9012328"/>
              <a:gd name="connsiteY790" fmla="*/ 2627513 h 7308446"/>
              <a:gd name="connsiteX791" fmla="*/ 5872082 w 9012328"/>
              <a:gd name="connsiteY791" fmla="*/ 2669573 h 7308446"/>
              <a:gd name="connsiteX792" fmla="*/ 5907877 w 9012328"/>
              <a:gd name="connsiteY792" fmla="*/ 2684613 h 7308446"/>
              <a:gd name="connsiteX793" fmla="*/ 5947905 w 9012328"/>
              <a:gd name="connsiteY793" fmla="*/ 2695502 h 7308446"/>
              <a:gd name="connsiteX794" fmla="*/ 5992383 w 9012328"/>
              <a:gd name="connsiteY794" fmla="*/ 2702123 h 7308446"/>
              <a:gd name="connsiteX795" fmla="*/ 6041530 w 9012328"/>
              <a:gd name="connsiteY795" fmla="*/ 2704356 h 7308446"/>
              <a:gd name="connsiteX796" fmla="*/ 6041530 w 9012328"/>
              <a:gd name="connsiteY796" fmla="*/ 2801179 h 7308446"/>
              <a:gd name="connsiteX797" fmla="*/ 5988008 w 9012328"/>
              <a:gd name="connsiteY797" fmla="*/ 2799290 h 7308446"/>
              <a:gd name="connsiteX798" fmla="*/ 5938527 w 9012328"/>
              <a:gd name="connsiteY798" fmla="*/ 2793677 h 7308446"/>
              <a:gd name="connsiteX799" fmla="*/ 5892948 w 9012328"/>
              <a:gd name="connsiteY799" fmla="*/ 2784423 h 7308446"/>
              <a:gd name="connsiteX800" fmla="*/ 5851129 w 9012328"/>
              <a:gd name="connsiteY800" fmla="*/ 2771611 h 7308446"/>
              <a:gd name="connsiteX801" fmla="*/ 5812932 w 9012328"/>
              <a:gd name="connsiteY801" fmla="*/ 2755324 h 7308446"/>
              <a:gd name="connsiteX802" fmla="*/ 5778215 w 9012328"/>
              <a:gd name="connsiteY802" fmla="*/ 2735643 h 7308446"/>
              <a:gd name="connsiteX803" fmla="*/ 5746839 w 9012328"/>
              <a:gd name="connsiteY803" fmla="*/ 2712653 h 7308446"/>
              <a:gd name="connsiteX804" fmla="*/ 5718663 w 9012328"/>
              <a:gd name="connsiteY804" fmla="*/ 2686434 h 7308446"/>
              <a:gd name="connsiteX805" fmla="*/ 5693546 w 9012328"/>
              <a:gd name="connsiteY805" fmla="*/ 2657071 h 7308446"/>
              <a:gd name="connsiteX806" fmla="*/ 5671350 w 9012328"/>
              <a:gd name="connsiteY806" fmla="*/ 2624645 h 7308446"/>
              <a:gd name="connsiteX807" fmla="*/ 5651932 w 9012328"/>
              <a:gd name="connsiteY807" fmla="*/ 2589239 h 7308446"/>
              <a:gd name="connsiteX808" fmla="*/ 5635155 w 9012328"/>
              <a:gd name="connsiteY808" fmla="*/ 2550936 h 7308446"/>
              <a:gd name="connsiteX809" fmla="*/ 5620876 w 9012328"/>
              <a:gd name="connsiteY809" fmla="*/ 2509818 h 7308446"/>
              <a:gd name="connsiteX810" fmla="*/ 5608956 w 9012328"/>
              <a:gd name="connsiteY810" fmla="*/ 2465969 h 7308446"/>
              <a:gd name="connsiteX811" fmla="*/ 5599254 w 9012328"/>
              <a:gd name="connsiteY811" fmla="*/ 2419470 h 7308446"/>
              <a:gd name="connsiteX812" fmla="*/ 5591631 w 9012328"/>
              <a:gd name="connsiteY812" fmla="*/ 2370405 h 7308446"/>
              <a:gd name="connsiteX813" fmla="*/ 5585946 w 9012328"/>
              <a:gd name="connsiteY813" fmla="*/ 2318855 h 7308446"/>
              <a:gd name="connsiteX814" fmla="*/ 5582059 w 9012328"/>
              <a:gd name="connsiteY814" fmla="*/ 2264905 h 7308446"/>
              <a:gd name="connsiteX815" fmla="*/ 5579829 w 9012328"/>
              <a:gd name="connsiteY815" fmla="*/ 2208635 h 7308446"/>
              <a:gd name="connsiteX816" fmla="*/ 5579118 w 9012328"/>
              <a:gd name="connsiteY816" fmla="*/ 2150130 h 7308446"/>
              <a:gd name="connsiteX817" fmla="*/ 5579853 w 9012328"/>
              <a:gd name="connsiteY817" fmla="*/ 2091874 h 7308446"/>
              <a:gd name="connsiteX818" fmla="*/ 5582149 w 9012328"/>
              <a:gd name="connsiteY818" fmla="*/ 2035854 h 7308446"/>
              <a:gd name="connsiteX819" fmla="*/ 5586138 w 9012328"/>
              <a:gd name="connsiteY819" fmla="*/ 1982149 h 7308446"/>
              <a:gd name="connsiteX820" fmla="*/ 5591951 w 9012328"/>
              <a:gd name="connsiteY820" fmla="*/ 1930843 h 7308446"/>
              <a:gd name="connsiteX821" fmla="*/ 5599724 w 9012328"/>
              <a:gd name="connsiteY821" fmla="*/ 1882015 h 7308446"/>
              <a:gd name="connsiteX822" fmla="*/ 5609587 w 9012328"/>
              <a:gd name="connsiteY822" fmla="*/ 1835748 h 7308446"/>
              <a:gd name="connsiteX823" fmla="*/ 5621673 w 9012328"/>
              <a:gd name="connsiteY823" fmla="*/ 1792122 h 7308446"/>
              <a:gd name="connsiteX824" fmla="*/ 5636116 w 9012328"/>
              <a:gd name="connsiteY824" fmla="*/ 1751221 h 7308446"/>
              <a:gd name="connsiteX825" fmla="*/ 5653048 w 9012328"/>
              <a:gd name="connsiteY825" fmla="*/ 1713122 h 7308446"/>
              <a:gd name="connsiteX826" fmla="*/ 5672601 w 9012328"/>
              <a:gd name="connsiteY826" fmla="*/ 1677910 h 7308446"/>
              <a:gd name="connsiteX827" fmla="*/ 5694909 w 9012328"/>
              <a:gd name="connsiteY827" fmla="*/ 1645665 h 7308446"/>
              <a:gd name="connsiteX828" fmla="*/ 5720105 w 9012328"/>
              <a:gd name="connsiteY828" fmla="*/ 1616469 h 7308446"/>
              <a:gd name="connsiteX829" fmla="*/ 5748320 w 9012328"/>
              <a:gd name="connsiteY829" fmla="*/ 1590403 h 7308446"/>
              <a:gd name="connsiteX830" fmla="*/ 5779687 w 9012328"/>
              <a:gd name="connsiteY830" fmla="*/ 1567548 h 7308446"/>
              <a:gd name="connsiteX831" fmla="*/ 5814340 w 9012328"/>
              <a:gd name="connsiteY831" fmla="*/ 1547987 h 7308446"/>
              <a:gd name="connsiteX832" fmla="*/ 5852411 w 9012328"/>
              <a:gd name="connsiteY832" fmla="*/ 1531799 h 7308446"/>
              <a:gd name="connsiteX833" fmla="*/ 5894033 w 9012328"/>
              <a:gd name="connsiteY833" fmla="*/ 1519068 h 7308446"/>
              <a:gd name="connsiteX834" fmla="*/ 5939338 w 9012328"/>
              <a:gd name="connsiteY834" fmla="*/ 1509872 h 7308446"/>
              <a:gd name="connsiteX835" fmla="*/ 5988459 w 9012328"/>
              <a:gd name="connsiteY835" fmla="*/ 1504296 h 7308446"/>
              <a:gd name="connsiteX836" fmla="*/ 4160590 w 9012328"/>
              <a:gd name="connsiteY836" fmla="*/ 1021648 h 7308446"/>
              <a:gd name="connsiteX837" fmla="*/ 4367589 w 9012328"/>
              <a:gd name="connsiteY837" fmla="*/ 1021648 h 7308446"/>
              <a:gd name="connsiteX838" fmla="*/ 4367589 w 9012328"/>
              <a:gd name="connsiteY838" fmla="*/ 1195261 h 7308446"/>
              <a:gd name="connsiteX839" fmla="*/ 4160590 w 9012328"/>
              <a:gd name="connsiteY839" fmla="*/ 1195261 h 7308446"/>
              <a:gd name="connsiteX840" fmla="*/ 5799344 w 9012328"/>
              <a:gd name="connsiteY840" fmla="*/ 871408 h 7308446"/>
              <a:gd name="connsiteX841" fmla="*/ 6704136 w 9012328"/>
              <a:gd name="connsiteY841" fmla="*/ 871408 h 7308446"/>
              <a:gd name="connsiteX842" fmla="*/ 6704136 w 9012328"/>
              <a:gd name="connsiteY842" fmla="*/ 978246 h 7308446"/>
              <a:gd name="connsiteX843" fmla="*/ 5799344 w 9012328"/>
              <a:gd name="connsiteY843" fmla="*/ 978246 h 7308446"/>
              <a:gd name="connsiteX844" fmla="*/ 5799344 w 9012328"/>
              <a:gd name="connsiteY844" fmla="*/ 522512 h 7308446"/>
              <a:gd name="connsiteX845" fmla="*/ 6704136 w 9012328"/>
              <a:gd name="connsiteY845" fmla="*/ 522512 h 7308446"/>
              <a:gd name="connsiteX846" fmla="*/ 6704136 w 9012328"/>
              <a:gd name="connsiteY846" fmla="*/ 629350 h 7308446"/>
              <a:gd name="connsiteX847" fmla="*/ 5799344 w 9012328"/>
              <a:gd name="connsiteY847" fmla="*/ 629350 h 7308446"/>
              <a:gd name="connsiteX848" fmla="*/ 7774691 w 9012328"/>
              <a:gd name="connsiteY848" fmla="*/ 6383 h 7308446"/>
              <a:gd name="connsiteX849" fmla="*/ 8148629 w 9012328"/>
              <a:gd name="connsiteY849" fmla="*/ 6383 h 7308446"/>
              <a:gd name="connsiteX850" fmla="*/ 8148629 w 9012328"/>
              <a:gd name="connsiteY850" fmla="*/ 101632 h 7308446"/>
              <a:gd name="connsiteX851" fmla="*/ 7889880 w 9012328"/>
              <a:gd name="connsiteY851" fmla="*/ 101632 h 7308446"/>
              <a:gd name="connsiteX852" fmla="*/ 7889880 w 9012328"/>
              <a:gd name="connsiteY852" fmla="*/ 1200182 h 7308446"/>
              <a:gd name="connsiteX853" fmla="*/ 8148629 w 9012328"/>
              <a:gd name="connsiteY853" fmla="*/ 1200182 h 7308446"/>
              <a:gd name="connsiteX854" fmla="*/ 8148629 w 9012328"/>
              <a:gd name="connsiteY854" fmla="*/ 1295432 h 7308446"/>
              <a:gd name="connsiteX855" fmla="*/ 7774691 w 9012328"/>
              <a:gd name="connsiteY855" fmla="*/ 1295432 h 7308446"/>
              <a:gd name="connsiteX856" fmla="*/ 7774691 w 9012328"/>
              <a:gd name="connsiteY856" fmla="*/ 1200182 h 7308446"/>
              <a:gd name="connsiteX857" fmla="*/ 7774691 w 9012328"/>
              <a:gd name="connsiteY857" fmla="*/ 101632 h 7308446"/>
              <a:gd name="connsiteX858" fmla="*/ 8243417 w 9012328"/>
              <a:gd name="connsiteY858" fmla="*/ 0 h 7308446"/>
              <a:gd name="connsiteX859" fmla="*/ 8296487 w 9012328"/>
              <a:gd name="connsiteY859" fmla="*/ 1877 h 7308446"/>
              <a:gd name="connsiteX860" fmla="*/ 8345608 w 9012328"/>
              <a:gd name="connsiteY860" fmla="*/ 7454 h 7308446"/>
              <a:gd name="connsiteX861" fmla="*/ 8390913 w 9012328"/>
              <a:gd name="connsiteY861" fmla="*/ 16649 h 7308446"/>
              <a:gd name="connsiteX862" fmla="*/ 8432534 w 9012328"/>
              <a:gd name="connsiteY862" fmla="*/ 29381 h 7308446"/>
              <a:gd name="connsiteX863" fmla="*/ 8470605 w 9012328"/>
              <a:gd name="connsiteY863" fmla="*/ 45569 h 7308446"/>
              <a:gd name="connsiteX864" fmla="*/ 8505258 w 9012328"/>
              <a:gd name="connsiteY864" fmla="*/ 65130 h 7308446"/>
              <a:gd name="connsiteX865" fmla="*/ 8536626 w 9012328"/>
              <a:gd name="connsiteY865" fmla="*/ 87984 h 7308446"/>
              <a:gd name="connsiteX866" fmla="*/ 8564841 w 9012328"/>
              <a:gd name="connsiteY866" fmla="*/ 114050 h 7308446"/>
              <a:gd name="connsiteX867" fmla="*/ 8590036 w 9012328"/>
              <a:gd name="connsiteY867" fmla="*/ 143246 h 7308446"/>
              <a:gd name="connsiteX868" fmla="*/ 8612344 w 9012328"/>
              <a:gd name="connsiteY868" fmla="*/ 175491 h 7308446"/>
              <a:gd name="connsiteX869" fmla="*/ 8631898 w 9012328"/>
              <a:gd name="connsiteY869" fmla="*/ 210703 h 7308446"/>
              <a:gd name="connsiteX870" fmla="*/ 8648830 w 9012328"/>
              <a:gd name="connsiteY870" fmla="*/ 248801 h 7308446"/>
              <a:gd name="connsiteX871" fmla="*/ 8663273 w 9012328"/>
              <a:gd name="connsiteY871" fmla="*/ 289703 h 7308446"/>
              <a:gd name="connsiteX872" fmla="*/ 8675359 w 9012328"/>
              <a:gd name="connsiteY872" fmla="*/ 333329 h 7308446"/>
              <a:gd name="connsiteX873" fmla="*/ 8685222 w 9012328"/>
              <a:gd name="connsiteY873" fmla="*/ 379596 h 7308446"/>
              <a:gd name="connsiteX874" fmla="*/ 8692995 w 9012328"/>
              <a:gd name="connsiteY874" fmla="*/ 428424 h 7308446"/>
              <a:gd name="connsiteX875" fmla="*/ 8698808 w 9012328"/>
              <a:gd name="connsiteY875" fmla="*/ 479730 h 7308446"/>
              <a:gd name="connsiteX876" fmla="*/ 8702797 w 9012328"/>
              <a:gd name="connsiteY876" fmla="*/ 533435 h 7308446"/>
              <a:gd name="connsiteX877" fmla="*/ 8705093 w 9012328"/>
              <a:gd name="connsiteY877" fmla="*/ 589455 h 7308446"/>
              <a:gd name="connsiteX878" fmla="*/ 8705829 w 9012328"/>
              <a:gd name="connsiteY878" fmla="*/ 647711 h 7308446"/>
              <a:gd name="connsiteX879" fmla="*/ 8705129 w 9012328"/>
              <a:gd name="connsiteY879" fmla="*/ 706216 h 7308446"/>
              <a:gd name="connsiteX880" fmla="*/ 8702932 w 9012328"/>
              <a:gd name="connsiteY880" fmla="*/ 762486 h 7308446"/>
              <a:gd name="connsiteX881" fmla="*/ 8699096 w 9012328"/>
              <a:gd name="connsiteY881" fmla="*/ 816436 h 7308446"/>
              <a:gd name="connsiteX882" fmla="*/ 8693475 w 9012328"/>
              <a:gd name="connsiteY882" fmla="*/ 867986 h 7308446"/>
              <a:gd name="connsiteX883" fmla="*/ 8685927 w 9012328"/>
              <a:gd name="connsiteY883" fmla="*/ 917051 h 7308446"/>
              <a:gd name="connsiteX884" fmla="*/ 8676306 w 9012328"/>
              <a:gd name="connsiteY884" fmla="*/ 963550 h 7308446"/>
              <a:gd name="connsiteX885" fmla="*/ 8664469 w 9012328"/>
              <a:gd name="connsiteY885" fmla="*/ 1007399 h 7308446"/>
              <a:gd name="connsiteX886" fmla="*/ 8650272 w 9012328"/>
              <a:gd name="connsiteY886" fmla="*/ 1048517 h 7308446"/>
              <a:gd name="connsiteX887" fmla="*/ 8633571 w 9012328"/>
              <a:gd name="connsiteY887" fmla="*/ 1086820 h 7308446"/>
              <a:gd name="connsiteX888" fmla="*/ 8614222 w 9012328"/>
              <a:gd name="connsiteY888" fmla="*/ 1122226 h 7308446"/>
              <a:gd name="connsiteX889" fmla="*/ 8592081 w 9012328"/>
              <a:gd name="connsiteY889" fmla="*/ 1154652 h 7308446"/>
              <a:gd name="connsiteX890" fmla="*/ 8567005 w 9012328"/>
              <a:gd name="connsiteY890" fmla="*/ 1184015 h 7308446"/>
              <a:gd name="connsiteX891" fmla="*/ 8538848 w 9012328"/>
              <a:gd name="connsiteY891" fmla="*/ 1210234 h 7308446"/>
              <a:gd name="connsiteX892" fmla="*/ 8507467 w 9012328"/>
              <a:gd name="connsiteY892" fmla="*/ 1233224 h 7308446"/>
              <a:gd name="connsiteX893" fmla="*/ 8472718 w 9012328"/>
              <a:gd name="connsiteY893" fmla="*/ 1252905 h 7308446"/>
              <a:gd name="connsiteX894" fmla="*/ 8434458 w 9012328"/>
              <a:gd name="connsiteY894" fmla="*/ 1269193 h 7308446"/>
              <a:gd name="connsiteX895" fmla="*/ 8392541 w 9012328"/>
              <a:gd name="connsiteY895" fmla="*/ 1282004 h 7308446"/>
              <a:gd name="connsiteX896" fmla="*/ 8346825 w 9012328"/>
              <a:gd name="connsiteY896" fmla="*/ 1291258 h 7308446"/>
              <a:gd name="connsiteX897" fmla="*/ 8297165 w 9012328"/>
              <a:gd name="connsiteY897" fmla="*/ 1296871 h 7308446"/>
              <a:gd name="connsiteX898" fmla="*/ 8243417 w 9012328"/>
              <a:gd name="connsiteY898" fmla="*/ 1298760 h 7308446"/>
              <a:gd name="connsiteX899" fmla="*/ 8243417 w 9012328"/>
              <a:gd name="connsiteY899" fmla="*/ 1201938 h 7308446"/>
              <a:gd name="connsiteX900" fmla="*/ 8293102 w 9012328"/>
              <a:gd name="connsiteY900" fmla="*/ 1199705 h 7308446"/>
              <a:gd name="connsiteX901" fmla="*/ 8338022 w 9012328"/>
              <a:gd name="connsiteY901" fmla="*/ 1193084 h 7308446"/>
              <a:gd name="connsiteX902" fmla="*/ 8378405 w 9012328"/>
              <a:gd name="connsiteY902" fmla="*/ 1182195 h 7308446"/>
              <a:gd name="connsiteX903" fmla="*/ 8414476 w 9012328"/>
              <a:gd name="connsiteY903" fmla="*/ 1167155 h 7308446"/>
              <a:gd name="connsiteX904" fmla="*/ 8474587 w 9012328"/>
              <a:gd name="connsiteY904" fmla="*/ 1125095 h 7308446"/>
              <a:gd name="connsiteX905" fmla="*/ 8520166 w 9012328"/>
              <a:gd name="connsiteY905" fmla="*/ 1067851 h 7308446"/>
              <a:gd name="connsiteX906" fmla="*/ 8538072 w 9012328"/>
              <a:gd name="connsiteY906" fmla="*/ 1033830 h 7308446"/>
              <a:gd name="connsiteX907" fmla="*/ 8553024 w 9012328"/>
              <a:gd name="connsiteY907" fmla="*/ 996369 h 7308446"/>
              <a:gd name="connsiteX908" fmla="*/ 8565248 w 9012328"/>
              <a:gd name="connsiteY908" fmla="*/ 955584 h 7308446"/>
              <a:gd name="connsiteX909" fmla="*/ 8574971 w 9012328"/>
              <a:gd name="connsiteY909" fmla="*/ 911594 h 7308446"/>
              <a:gd name="connsiteX910" fmla="*/ 8582418 w 9012328"/>
              <a:gd name="connsiteY910" fmla="*/ 864517 h 7308446"/>
              <a:gd name="connsiteX911" fmla="*/ 8587817 w 9012328"/>
              <a:gd name="connsiteY911" fmla="*/ 814473 h 7308446"/>
              <a:gd name="connsiteX912" fmla="*/ 8591393 w 9012328"/>
              <a:gd name="connsiteY912" fmla="*/ 761578 h 7308446"/>
              <a:gd name="connsiteX913" fmla="*/ 8593372 w 9012328"/>
              <a:gd name="connsiteY913" fmla="*/ 705951 h 7308446"/>
              <a:gd name="connsiteX914" fmla="*/ 8593982 w 9012328"/>
              <a:gd name="connsiteY914" fmla="*/ 647711 h 7308446"/>
              <a:gd name="connsiteX915" fmla="*/ 8593340 w 9012328"/>
              <a:gd name="connsiteY915" fmla="*/ 590042 h 7308446"/>
              <a:gd name="connsiteX916" fmla="*/ 8591270 w 9012328"/>
              <a:gd name="connsiteY916" fmla="*/ 534953 h 7308446"/>
              <a:gd name="connsiteX917" fmla="*/ 8587560 w 9012328"/>
              <a:gd name="connsiteY917" fmla="*/ 482561 h 7308446"/>
              <a:gd name="connsiteX918" fmla="*/ 8581994 w 9012328"/>
              <a:gd name="connsiteY918" fmla="*/ 432984 h 7308446"/>
              <a:gd name="connsiteX919" fmla="*/ 8574359 w 9012328"/>
              <a:gd name="connsiteY919" fmla="*/ 386340 h 7308446"/>
              <a:gd name="connsiteX920" fmla="*/ 8564441 w 9012328"/>
              <a:gd name="connsiteY920" fmla="*/ 342749 h 7308446"/>
              <a:gd name="connsiteX921" fmla="*/ 8552025 w 9012328"/>
              <a:gd name="connsiteY921" fmla="*/ 302328 h 7308446"/>
              <a:gd name="connsiteX922" fmla="*/ 8536898 w 9012328"/>
              <a:gd name="connsiteY922" fmla="*/ 265196 h 7308446"/>
              <a:gd name="connsiteX923" fmla="*/ 8518845 w 9012328"/>
              <a:gd name="connsiteY923" fmla="*/ 231470 h 7308446"/>
              <a:gd name="connsiteX924" fmla="*/ 8473107 w 9012328"/>
              <a:gd name="connsiteY924" fmla="*/ 174711 h 7308446"/>
              <a:gd name="connsiteX925" fmla="*/ 8413098 w 9012328"/>
              <a:gd name="connsiteY925" fmla="*/ 132998 h 7308446"/>
              <a:gd name="connsiteX926" fmla="*/ 8377206 w 9012328"/>
              <a:gd name="connsiteY926" fmla="*/ 118079 h 7308446"/>
              <a:gd name="connsiteX927" fmla="*/ 8337105 w 9012328"/>
              <a:gd name="connsiteY927" fmla="*/ 107277 h 7308446"/>
              <a:gd name="connsiteX928" fmla="*/ 8292580 w 9012328"/>
              <a:gd name="connsiteY928" fmla="*/ 100708 h 7308446"/>
              <a:gd name="connsiteX929" fmla="*/ 8243417 w 9012328"/>
              <a:gd name="connsiteY929" fmla="*/ 98492 h 7308446"/>
              <a:gd name="connsiteX930" fmla="*/ 3109502 w 9012328"/>
              <a:gd name="connsiteY930" fmla="*/ 0 h 7308446"/>
              <a:gd name="connsiteX931" fmla="*/ 3162572 w 9012328"/>
              <a:gd name="connsiteY931" fmla="*/ 1876 h 7308446"/>
              <a:gd name="connsiteX932" fmla="*/ 3211694 w 9012328"/>
              <a:gd name="connsiteY932" fmla="*/ 7453 h 7308446"/>
              <a:gd name="connsiteX933" fmla="*/ 3256998 w 9012328"/>
              <a:gd name="connsiteY933" fmla="*/ 16648 h 7308446"/>
              <a:gd name="connsiteX934" fmla="*/ 3298621 w 9012328"/>
              <a:gd name="connsiteY934" fmla="*/ 29380 h 7308446"/>
              <a:gd name="connsiteX935" fmla="*/ 3336692 w 9012328"/>
              <a:gd name="connsiteY935" fmla="*/ 45568 h 7308446"/>
              <a:gd name="connsiteX936" fmla="*/ 3371345 w 9012328"/>
              <a:gd name="connsiteY936" fmla="*/ 65129 h 7308446"/>
              <a:gd name="connsiteX937" fmla="*/ 3402713 w 9012328"/>
              <a:gd name="connsiteY937" fmla="*/ 87984 h 7308446"/>
              <a:gd name="connsiteX938" fmla="*/ 3430928 w 9012328"/>
              <a:gd name="connsiteY938" fmla="*/ 114050 h 7308446"/>
              <a:gd name="connsiteX939" fmla="*/ 3456123 w 9012328"/>
              <a:gd name="connsiteY939" fmla="*/ 143246 h 7308446"/>
              <a:gd name="connsiteX940" fmla="*/ 3478431 w 9012328"/>
              <a:gd name="connsiteY940" fmla="*/ 175491 h 7308446"/>
              <a:gd name="connsiteX941" fmla="*/ 3497985 w 9012328"/>
              <a:gd name="connsiteY941" fmla="*/ 210703 h 7308446"/>
              <a:gd name="connsiteX942" fmla="*/ 3514917 w 9012328"/>
              <a:gd name="connsiteY942" fmla="*/ 248801 h 7308446"/>
              <a:gd name="connsiteX943" fmla="*/ 3529360 w 9012328"/>
              <a:gd name="connsiteY943" fmla="*/ 289703 h 7308446"/>
              <a:gd name="connsiteX944" fmla="*/ 3541446 w 9012328"/>
              <a:gd name="connsiteY944" fmla="*/ 333329 h 7308446"/>
              <a:gd name="connsiteX945" fmla="*/ 3551309 w 9012328"/>
              <a:gd name="connsiteY945" fmla="*/ 379596 h 7308446"/>
              <a:gd name="connsiteX946" fmla="*/ 3559082 w 9012328"/>
              <a:gd name="connsiteY946" fmla="*/ 428424 h 7308446"/>
              <a:gd name="connsiteX947" fmla="*/ 3564896 w 9012328"/>
              <a:gd name="connsiteY947" fmla="*/ 479730 h 7308446"/>
              <a:gd name="connsiteX948" fmla="*/ 3568884 w 9012328"/>
              <a:gd name="connsiteY948" fmla="*/ 533435 h 7308446"/>
              <a:gd name="connsiteX949" fmla="*/ 3571180 w 9012328"/>
              <a:gd name="connsiteY949" fmla="*/ 589455 h 7308446"/>
              <a:gd name="connsiteX950" fmla="*/ 3571916 w 9012328"/>
              <a:gd name="connsiteY950" fmla="*/ 647711 h 7308446"/>
              <a:gd name="connsiteX951" fmla="*/ 3571216 w 9012328"/>
              <a:gd name="connsiteY951" fmla="*/ 706216 h 7308446"/>
              <a:gd name="connsiteX952" fmla="*/ 3569019 w 9012328"/>
              <a:gd name="connsiteY952" fmla="*/ 762486 h 7308446"/>
              <a:gd name="connsiteX953" fmla="*/ 3565183 w 9012328"/>
              <a:gd name="connsiteY953" fmla="*/ 816436 h 7308446"/>
              <a:gd name="connsiteX954" fmla="*/ 3559562 w 9012328"/>
              <a:gd name="connsiteY954" fmla="*/ 867986 h 7308446"/>
              <a:gd name="connsiteX955" fmla="*/ 3552014 w 9012328"/>
              <a:gd name="connsiteY955" fmla="*/ 917051 h 7308446"/>
              <a:gd name="connsiteX956" fmla="*/ 3542393 w 9012328"/>
              <a:gd name="connsiteY956" fmla="*/ 963550 h 7308446"/>
              <a:gd name="connsiteX957" fmla="*/ 3530556 w 9012328"/>
              <a:gd name="connsiteY957" fmla="*/ 1007399 h 7308446"/>
              <a:gd name="connsiteX958" fmla="*/ 3516359 w 9012328"/>
              <a:gd name="connsiteY958" fmla="*/ 1048517 h 7308446"/>
              <a:gd name="connsiteX959" fmla="*/ 3499658 w 9012328"/>
              <a:gd name="connsiteY959" fmla="*/ 1086820 h 7308446"/>
              <a:gd name="connsiteX960" fmla="*/ 3480309 w 9012328"/>
              <a:gd name="connsiteY960" fmla="*/ 1122226 h 7308446"/>
              <a:gd name="connsiteX961" fmla="*/ 3458168 w 9012328"/>
              <a:gd name="connsiteY961" fmla="*/ 1154652 h 7308446"/>
              <a:gd name="connsiteX962" fmla="*/ 3433091 w 9012328"/>
              <a:gd name="connsiteY962" fmla="*/ 1184015 h 7308446"/>
              <a:gd name="connsiteX963" fmla="*/ 3404934 w 9012328"/>
              <a:gd name="connsiteY963" fmla="*/ 1210234 h 7308446"/>
              <a:gd name="connsiteX964" fmla="*/ 3373554 w 9012328"/>
              <a:gd name="connsiteY964" fmla="*/ 1233224 h 7308446"/>
              <a:gd name="connsiteX965" fmla="*/ 3338805 w 9012328"/>
              <a:gd name="connsiteY965" fmla="*/ 1252905 h 7308446"/>
              <a:gd name="connsiteX966" fmla="*/ 3300544 w 9012328"/>
              <a:gd name="connsiteY966" fmla="*/ 1269192 h 7308446"/>
              <a:gd name="connsiteX967" fmla="*/ 3258627 w 9012328"/>
              <a:gd name="connsiteY967" fmla="*/ 1282004 h 7308446"/>
              <a:gd name="connsiteX968" fmla="*/ 3212910 w 9012328"/>
              <a:gd name="connsiteY968" fmla="*/ 1291258 h 7308446"/>
              <a:gd name="connsiteX969" fmla="*/ 3163250 w 9012328"/>
              <a:gd name="connsiteY969" fmla="*/ 1296871 h 7308446"/>
              <a:gd name="connsiteX970" fmla="*/ 3109502 w 9012328"/>
              <a:gd name="connsiteY970" fmla="*/ 1298760 h 7308446"/>
              <a:gd name="connsiteX971" fmla="*/ 3109502 w 9012328"/>
              <a:gd name="connsiteY971" fmla="*/ 1201938 h 7308446"/>
              <a:gd name="connsiteX972" fmla="*/ 3159187 w 9012328"/>
              <a:gd name="connsiteY972" fmla="*/ 1199705 h 7308446"/>
              <a:gd name="connsiteX973" fmla="*/ 3204108 w 9012328"/>
              <a:gd name="connsiteY973" fmla="*/ 1193084 h 7308446"/>
              <a:gd name="connsiteX974" fmla="*/ 3244491 w 9012328"/>
              <a:gd name="connsiteY974" fmla="*/ 1182195 h 7308446"/>
              <a:gd name="connsiteX975" fmla="*/ 3280562 w 9012328"/>
              <a:gd name="connsiteY975" fmla="*/ 1167155 h 7308446"/>
              <a:gd name="connsiteX976" fmla="*/ 3340673 w 9012328"/>
              <a:gd name="connsiteY976" fmla="*/ 1125095 h 7308446"/>
              <a:gd name="connsiteX977" fmla="*/ 3386253 w 9012328"/>
              <a:gd name="connsiteY977" fmla="*/ 1067851 h 7308446"/>
              <a:gd name="connsiteX978" fmla="*/ 3404158 w 9012328"/>
              <a:gd name="connsiteY978" fmla="*/ 1033830 h 7308446"/>
              <a:gd name="connsiteX979" fmla="*/ 3419110 w 9012328"/>
              <a:gd name="connsiteY979" fmla="*/ 996369 h 7308446"/>
              <a:gd name="connsiteX980" fmla="*/ 3431334 w 9012328"/>
              <a:gd name="connsiteY980" fmla="*/ 955584 h 7308446"/>
              <a:gd name="connsiteX981" fmla="*/ 3441057 w 9012328"/>
              <a:gd name="connsiteY981" fmla="*/ 911594 h 7308446"/>
              <a:gd name="connsiteX982" fmla="*/ 3448504 w 9012328"/>
              <a:gd name="connsiteY982" fmla="*/ 864517 h 7308446"/>
              <a:gd name="connsiteX983" fmla="*/ 3453903 w 9012328"/>
              <a:gd name="connsiteY983" fmla="*/ 814473 h 7308446"/>
              <a:gd name="connsiteX984" fmla="*/ 3457479 w 9012328"/>
              <a:gd name="connsiteY984" fmla="*/ 761578 h 7308446"/>
              <a:gd name="connsiteX985" fmla="*/ 3459458 w 9012328"/>
              <a:gd name="connsiteY985" fmla="*/ 705951 h 7308446"/>
              <a:gd name="connsiteX986" fmla="*/ 3460068 w 9012328"/>
              <a:gd name="connsiteY986" fmla="*/ 647711 h 7308446"/>
              <a:gd name="connsiteX987" fmla="*/ 3459426 w 9012328"/>
              <a:gd name="connsiteY987" fmla="*/ 590042 h 7308446"/>
              <a:gd name="connsiteX988" fmla="*/ 3457356 w 9012328"/>
              <a:gd name="connsiteY988" fmla="*/ 534953 h 7308446"/>
              <a:gd name="connsiteX989" fmla="*/ 3453646 w 9012328"/>
              <a:gd name="connsiteY989" fmla="*/ 482560 h 7308446"/>
              <a:gd name="connsiteX990" fmla="*/ 3448080 w 9012328"/>
              <a:gd name="connsiteY990" fmla="*/ 432984 h 7308446"/>
              <a:gd name="connsiteX991" fmla="*/ 3440445 w 9012328"/>
              <a:gd name="connsiteY991" fmla="*/ 386340 h 7308446"/>
              <a:gd name="connsiteX992" fmla="*/ 3430527 w 9012328"/>
              <a:gd name="connsiteY992" fmla="*/ 342749 h 7308446"/>
              <a:gd name="connsiteX993" fmla="*/ 3418111 w 9012328"/>
              <a:gd name="connsiteY993" fmla="*/ 302328 h 7308446"/>
              <a:gd name="connsiteX994" fmla="*/ 3402984 w 9012328"/>
              <a:gd name="connsiteY994" fmla="*/ 265196 h 7308446"/>
              <a:gd name="connsiteX995" fmla="*/ 3384931 w 9012328"/>
              <a:gd name="connsiteY995" fmla="*/ 231470 h 7308446"/>
              <a:gd name="connsiteX996" fmla="*/ 3339193 w 9012328"/>
              <a:gd name="connsiteY996" fmla="*/ 174711 h 7308446"/>
              <a:gd name="connsiteX997" fmla="*/ 3279183 w 9012328"/>
              <a:gd name="connsiteY997" fmla="*/ 132998 h 7308446"/>
              <a:gd name="connsiteX998" fmla="*/ 3243291 w 9012328"/>
              <a:gd name="connsiteY998" fmla="*/ 118079 h 7308446"/>
              <a:gd name="connsiteX999" fmla="*/ 3203191 w 9012328"/>
              <a:gd name="connsiteY999" fmla="*/ 107276 h 7308446"/>
              <a:gd name="connsiteX1000" fmla="*/ 3158665 w 9012328"/>
              <a:gd name="connsiteY1000" fmla="*/ 100708 h 7308446"/>
              <a:gd name="connsiteX1001" fmla="*/ 3109502 w 9012328"/>
              <a:gd name="connsiteY1001" fmla="*/ 98492 h 7308446"/>
              <a:gd name="connsiteX1002" fmla="*/ 3017637 w 9012328"/>
              <a:gd name="connsiteY1002" fmla="*/ 0 h 7308446"/>
              <a:gd name="connsiteX1003" fmla="*/ 3017637 w 9012328"/>
              <a:gd name="connsiteY1003" fmla="*/ 98492 h 7308446"/>
              <a:gd name="connsiteX1004" fmla="*/ 2968752 w 9012328"/>
              <a:gd name="connsiteY1004" fmla="*/ 100708 h 7308446"/>
              <a:gd name="connsiteX1005" fmla="*/ 2924471 w 9012328"/>
              <a:gd name="connsiteY1005" fmla="*/ 107277 h 7308446"/>
              <a:gd name="connsiteX1006" fmla="*/ 2884585 w 9012328"/>
              <a:gd name="connsiteY1006" fmla="*/ 118079 h 7308446"/>
              <a:gd name="connsiteX1007" fmla="*/ 2848878 w 9012328"/>
              <a:gd name="connsiteY1007" fmla="*/ 132998 h 7308446"/>
              <a:gd name="connsiteX1008" fmla="*/ 2789164 w 9012328"/>
              <a:gd name="connsiteY1008" fmla="*/ 174711 h 7308446"/>
              <a:gd name="connsiteX1009" fmla="*/ 2743630 w 9012328"/>
              <a:gd name="connsiteY1009" fmla="*/ 231470 h 7308446"/>
              <a:gd name="connsiteX1010" fmla="*/ 2725650 w 9012328"/>
              <a:gd name="connsiteY1010" fmla="*/ 265196 h 7308446"/>
              <a:gd name="connsiteX1011" fmla="*/ 2710579 w 9012328"/>
              <a:gd name="connsiteY1011" fmla="*/ 302328 h 7308446"/>
              <a:gd name="connsiteX1012" fmla="*/ 2698207 w 9012328"/>
              <a:gd name="connsiteY1012" fmla="*/ 342749 h 7308446"/>
              <a:gd name="connsiteX1013" fmla="*/ 2688320 w 9012328"/>
              <a:gd name="connsiteY1013" fmla="*/ 386340 h 7308446"/>
              <a:gd name="connsiteX1014" fmla="*/ 2680706 w 9012328"/>
              <a:gd name="connsiteY1014" fmla="*/ 432984 h 7308446"/>
              <a:gd name="connsiteX1015" fmla="*/ 2675153 w 9012328"/>
              <a:gd name="connsiteY1015" fmla="*/ 482561 h 7308446"/>
              <a:gd name="connsiteX1016" fmla="*/ 2671448 w 9012328"/>
              <a:gd name="connsiteY1016" fmla="*/ 534953 h 7308446"/>
              <a:gd name="connsiteX1017" fmla="*/ 2669382 w 9012328"/>
              <a:gd name="connsiteY1017" fmla="*/ 590042 h 7308446"/>
              <a:gd name="connsiteX1018" fmla="*/ 2668740 w 9012328"/>
              <a:gd name="connsiteY1018" fmla="*/ 647711 h 7308446"/>
              <a:gd name="connsiteX1019" fmla="*/ 2669365 w 9012328"/>
              <a:gd name="connsiteY1019" fmla="*/ 705951 h 7308446"/>
              <a:gd name="connsiteX1020" fmla="*/ 2671388 w 9012328"/>
              <a:gd name="connsiteY1020" fmla="*/ 761578 h 7308446"/>
              <a:gd name="connsiteX1021" fmla="*/ 2675025 w 9012328"/>
              <a:gd name="connsiteY1021" fmla="*/ 814473 h 7308446"/>
              <a:gd name="connsiteX1022" fmla="*/ 2680494 w 9012328"/>
              <a:gd name="connsiteY1022" fmla="*/ 864517 h 7308446"/>
              <a:gd name="connsiteX1023" fmla="*/ 2688015 w 9012328"/>
              <a:gd name="connsiteY1023" fmla="*/ 911594 h 7308446"/>
              <a:gd name="connsiteX1024" fmla="*/ 2697803 w 9012328"/>
              <a:gd name="connsiteY1024" fmla="*/ 955584 h 7308446"/>
              <a:gd name="connsiteX1025" fmla="*/ 2710081 w 9012328"/>
              <a:gd name="connsiteY1025" fmla="*/ 996369 h 7308446"/>
              <a:gd name="connsiteX1026" fmla="*/ 2725063 w 9012328"/>
              <a:gd name="connsiteY1026" fmla="*/ 1033830 h 7308446"/>
              <a:gd name="connsiteX1027" fmla="*/ 2742969 w 9012328"/>
              <a:gd name="connsiteY1027" fmla="*/ 1067851 h 7308446"/>
              <a:gd name="connsiteX1028" fmla="*/ 2788423 w 9012328"/>
              <a:gd name="connsiteY1028" fmla="*/ 1125095 h 7308446"/>
              <a:gd name="connsiteX1029" fmla="*/ 2848189 w 9012328"/>
              <a:gd name="connsiteY1029" fmla="*/ 1167155 h 7308446"/>
              <a:gd name="connsiteX1030" fmla="*/ 2883984 w 9012328"/>
              <a:gd name="connsiteY1030" fmla="*/ 1182195 h 7308446"/>
              <a:gd name="connsiteX1031" fmla="*/ 2924012 w 9012328"/>
              <a:gd name="connsiteY1031" fmla="*/ 1193084 h 7308446"/>
              <a:gd name="connsiteX1032" fmla="*/ 2968491 w 9012328"/>
              <a:gd name="connsiteY1032" fmla="*/ 1199705 h 7308446"/>
              <a:gd name="connsiteX1033" fmla="*/ 3017637 w 9012328"/>
              <a:gd name="connsiteY1033" fmla="*/ 1201938 h 7308446"/>
              <a:gd name="connsiteX1034" fmla="*/ 3017637 w 9012328"/>
              <a:gd name="connsiteY1034" fmla="*/ 1298760 h 7308446"/>
              <a:gd name="connsiteX1035" fmla="*/ 2964115 w 9012328"/>
              <a:gd name="connsiteY1035" fmla="*/ 1296871 h 7308446"/>
              <a:gd name="connsiteX1036" fmla="*/ 2914634 w 9012328"/>
              <a:gd name="connsiteY1036" fmla="*/ 1291258 h 7308446"/>
              <a:gd name="connsiteX1037" fmla="*/ 2869056 w 9012328"/>
              <a:gd name="connsiteY1037" fmla="*/ 1282004 h 7308446"/>
              <a:gd name="connsiteX1038" fmla="*/ 2827236 w 9012328"/>
              <a:gd name="connsiteY1038" fmla="*/ 1269193 h 7308446"/>
              <a:gd name="connsiteX1039" fmla="*/ 2789039 w 9012328"/>
              <a:gd name="connsiteY1039" fmla="*/ 1252905 h 7308446"/>
              <a:gd name="connsiteX1040" fmla="*/ 2754322 w 9012328"/>
              <a:gd name="connsiteY1040" fmla="*/ 1233224 h 7308446"/>
              <a:gd name="connsiteX1041" fmla="*/ 2722946 w 9012328"/>
              <a:gd name="connsiteY1041" fmla="*/ 1210234 h 7308446"/>
              <a:gd name="connsiteX1042" fmla="*/ 2694770 w 9012328"/>
              <a:gd name="connsiteY1042" fmla="*/ 1184015 h 7308446"/>
              <a:gd name="connsiteX1043" fmla="*/ 2669653 w 9012328"/>
              <a:gd name="connsiteY1043" fmla="*/ 1154652 h 7308446"/>
              <a:gd name="connsiteX1044" fmla="*/ 2647457 w 9012328"/>
              <a:gd name="connsiteY1044" fmla="*/ 1122226 h 7308446"/>
              <a:gd name="connsiteX1045" fmla="*/ 2628039 w 9012328"/>
              <a:gd name="connsiteY1045" fmla="*/ 1086820 h 7308446"/>
              <a:gd name="connsiteX1046" fmla="*/ 2611262 w 9012328"/>
              <a:gd name="connsiteY1046" fmla="*/ 1048517 h 7308446"/>
              <a:gd name="connsiteX1047" fmla="*/ 2596982 w 9012328"/>
              <a:gd name="connsiteY1047" fmla="*/ 1007399 h 7308446"/>
              <a:gd name="connsiteX1048" fmla="*/ 2585062 w 9012328"/>
              <a:gd name="connsiteY1048" fmla="*/ 963550 h 7308446"/>
              <a:gd name="connsiteX1049" fmla="*/ 2575361 w 9012328"/>
              <a:gd name="connsiteY1049" fmla="*/ 917051 h 7308446"/>
              <a:gd name="connsiteX1050" fmla="*/ 2567737 w 9012328"/>
              <a:gd name="connsiteY1050" fmla="*/ 867986 h 7308446"/>
              <a:gd name="connsiteX1051" fmla="*/ 2562052 w 9012328"/>
              <a:gd name="connsiteY1051" fmla="*/ 816436 h 7308446"/>
              <a:gd name="connsiteX1052" fmla="*/ 2558166 w 9012328"/>
              <a:gd name="connsiteY1052" fmla="*/ 762486 h 7308446"/>
              <a:gd name="connsiteX1053" fmla="*/ 2555936 w 9012328"/>
              <a:gd name="connsiteY1053" fmla="*/ 706216 h 7308446"/>
              <a:gd name="connsiteX1054" fmla="*/ 2555225 w 9012328"/>
              <a:gd name="connsiteY1054" fmla="*/ 647711 h 7308446"/>
              <a:gd name="connsiteX1055" fmla="*/ 2555961 w 9012328"/>
              <a:gd name="connsiteY1055" fmla="*/ 589455 h 7308446"/>
              <a:gd name="connsiteX1056" fmla="*/ 2558256 w 9012328"/>
              <a:gd name="connsiteY1056" fmla="*/ 533435 h 7308446"/>
              <a:gd name="connsiteX1057" fmla="*/ 2562245 w 9012328"/>
              <a:gd name="connsiteY1057" fmla="*/ 479730 h 7308446"/>
              <a:gd name="connsiteX1058" fmla="*/ 2568057 w 9012328"/>
              <a:gd name="connsiteY1058" fmla="*/ 428424 h 7308446"/>
              <a:gd name="connsiteX1059" fmla="*/ 2575830 w 9012328"/>
              <a:gd name="connsiteY1059" fmla="*/ 379596 h 7308446"/>
              <a:gd name="connsiteX1060" fmla="*/ 2585694 w 9012328"/>
              <a:gd name="connsiteY1060" fmla="*/ 333329 h 7308446"/>
              <a:gd name="connsiteX1061" fmla="*/ 2597780 w 9012328"/>
              <a:gd name="connsiteY1061" fmla="*/ 289703 h 7308446"/>
              <a:gd name="connsiteX1062" fmla="*/ 2612222 w 9012328"/>
              <a:gd name="connsiteY1062" fmla="*/ 248801 h 7308446"/>
              <a:gd name="connsiteX1063" fmla="*/ 2629156 w 9012328"/>
              <a:gd name="connsiteY1063" fmla="*/ 210703 h 7308446"/>
              <a:gd name="connsiteX1064" fmla="*/ 2648708 w 9012328"/>
              <a:gd name="connsiteY1064" fmla="*/ 175491 h 7308446"/>
              <a:gd name="connsiteX1065" fmla="*/ 2671016 w 9012328"/>
              <a:gd name="connsiteY1065" fmla="*/ 143246 h 7308446"/>
              <a:gd name="connsiteX1066" fmla="*/ 2696212 w 9012328"/>
              <a:gd name="connsiteY1066" fmla="*/ 114050 h 7308446"/>
              <a:gd name="connsiteX1067" fmla="*/ 2724427 w 9012328"/>
              <a:gd name="connsiteY1067" fmla="*/ 87984 h 7308446"/>
              <a:gd name="connsiteX1068" fmla="*/ 2755794 w 9012328"/>
              <a:gd name="connsiteY1068" fmla="*/ 65130 h 7308446"/>
              <a:gd name="connsiteX1069" fmla="*/ 2790448 w 9012328"/>
              <a:gd name="connsiteY1069" fmla="*/ 45569 h 7308446"/>
              <a:gd name="connsiteX1070" fmla="*/ 2828518 w 9012328"/>
              <a:gd name="connsiteY1070" fmla="*/ 29382 h 7308446"/>
              <a:gd name="connsiteX1071" fmla="*/ 2870141 w 9012328"/>
              <a:gd name="connsiteY1071" fmla="*/ 16649 h 7308446"/>
              <a:gd name="connsiteX1072" fmla="*/ 2915445 w 9012328"/>
              <a:gd name="connsiteY1072" fmla="*/ 7455 h 7308446"/>
              <a:gd name="connsiteX1073" fmla="*/ 2964567 w 9012328"/>
              <a:gd name="connsiteY1073" fmla="*/ 1877 h 730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Lst>
            <a:rect l="l" t="t" r="r" b="b"/>
            <a:pathLst>
              <a:path w="9012328" h="7308446">
                <a:moveTo>
                  <a:pt x="6351898" y="7031333"/>
                </a:moveTo>
                <a:lnTo>
                  <a:pt x="6558899" y="7031333"/>
                </a:lnTo>
                <a:lnTo>
                  <a:pt x="6558899" y="7204946"/>
                </a:lnTo>
                <a:lnTo>
                  <a:pt x="6351898" y="7204946"/>
                </a:lnTo>
                <a:close/>
                <a:moveTo>
                  <a:pt x="3333905" y="6881094"/>
                </a:moveTo>
                <a:lnTo>
                  <a:pt x="4238693" y="6881094"/>
                </a:lnTo>
                <a:lnTo>
                  <a:pt x="4238693" y="6987931"/>
                </a:lnTo>
                <a:lnTo>
                  <a:pt x="3333905" y="6987931"/>
                </a:lnTo>
                <a:close/>
                <a:moveTo>
                  <a:pt x="3333905" y="6532197"/>
                </a:moveTo>
                <a:lnTo>
                  <a:pt x="4238693" y="6532197"/>
                </a:lnTo>
                <a:lnTo>
                  <a:pt x="4238693" y="6639034"/>
                </a:lnTo>
                <a:lnTo>
                  <a:pt x="3333905" y="6639034"/>
                </a:lnTo>
                <a:close/>
                <a:moveTo>
                  <a:pt x="5357969" y="6016022"/>
                </a:moveTo>
                <a:lnTo>
                  <a:pt x="5731908" y="6016022"/>
                </a:lnTo>
                <a:lnTo>
                  <a:pt x="5731908" y="6111272"/>
                </a:lnTo>
                <a:lnTo>
                  <a:pt x="5731908" y="7209822"/>
                </a:lnTo>
                <a:lnTo>
                  <a:pt x="5731908" y="7305072"/>
                </a:lnTo>
                <a:lnTo>
                  <a:pt x="5357969" y="7305072"/>
                </a:lnTo>
                <a:lnTo>
                  <a:pt x="5357969" y="7209822"/>
                </a:lnTo>
                <a:lnTo>
                  <a:pt x="5616719" y="7209822"/>
                </a:lnTo>
                <a:lnTo>
                  <a:pt x="5616719" y="6111272"/>
                </a:lnTo>
                <a:lnTo>
                  <a:pt x="5357969" y="6111272"/>
                </a:lnTo>
                <a:close/>
                <a:moveTo>
                  <a:pt x="4884222" y="6016022"/>
                </a:moveTo>
                <a:lnTo>
                  <a:pt x="5258161" y="6016022"/>
                </a:lnTo>
                <a:lnTo>
                  <a:pt x="5258161" y="6111272"/>
                </a:lnTo>
                <a:lnTo>
                  <a:pt x="4999412" y="6111272"/>
                </a:lnTo>
                <a:lnTo>
                  <a:pt x="4999412" y="7209822"/>
                </a:lnTo>
                <a:lnTo>
                  <a:pt x="5258161" y="7209822"/>
                </a:lnTo>
                <a:lnTo>
                  <a:pt x="5258161" y="7305072"/>
                </a:lnTo>
                <a:lnTo>
                  <a:pt x="4884222" y="7305072"/>
                </a:lnTo>
                <a:lnTo>
                  <a:pt x="4884222" y="7209822"/>
                </a:lnTo>
                <a:lnTo>
                  <a:pt x="4884222" y="6111272"/>
                </a:lnTo>
                <a:close/>
                <a:moveTo>
                  <a:pt x="8549915" y="6009685"/>
                </a:moveTo>
                <a:lnTo>
                  <a:pt x="8602985" y="6011561"/>
                </a:lnTo>
                <a:lnTo>
                  <a:pt x="8652106" y="6017138"/>
                </a:lnTo>
                <a:lnTo>
                  <a:pt x="8697411" y="6026333"/>
                </a:lnTo>
                <a:lnTo>
                  <a:pt x="8739033" y="6039065"/>
                </a:lnTo>
                <a:lnTo>
                  <a:pt x="8777104" y="6055253"/>
                </a:lnTo>
                <a:lnTo>
                  <a:pt x="8811757" y="6074814"/>
                </a:lnTo>
                <a:lnTo>
                  <a:pt x="8843125" y="6097669"/>
                </a:lnTo>
                <a:lnTo>
                  <a:pt x="8871340" y="6123735"/>
                </a:lnTo>
                <a:lnTo>
                  <a:pt x="8896535" y="6152931"/>
                </a:lnTo>
                <a:lnTo>
                  <a:pt x="8918843" y="6185176"/>
                </a:lnTo>
                <a:lnTo>
                  <a:pt x="8938397" y="6220388"/>
                </a:lnTo>
                <a:lnTo>
                  <a:pt x="8955329" y="6258486"/>
                </a:lnTo>
                <a:lnTo>
                  <a:pt x="8969772" y="6299388"/>
                </a:lnTo>
                <a:lnTo>
                  <a:pt x="8981858" y="6343014"/>
                </a:lnTo>
                <a:lnTo>
                  <a:pt x="8991721" y="6389281"/>
                </a:lnTo>
                <a:lnTo>
                  <a:pt x="8999494" y="6438109"/>
                </a:lnTo>
                <a:lnTo>
                  <a:pt x="9005308" y="6489415"/>
                </a:lnTo>
                <a:lnTo>
                  <a:pt x="9009296" y="6543120"/>
                </a:lnTo>
                <a:lnTo>
                  <a:pt x="9011592" y="6599140"/>
                </a:lnTo>
                <a:lnTo>
                  <a:pt x="9012328" y="6657396"/>
                </a:lnTo>
                <a:lnTo>
                  <a:pt x="9011628" y="6715902"/>
                </a:lnTo>
                <a:lnTo>
                  <a:pt x="9009431" y="6772172"/>
                </a:lnTo>
                <a:lnTo>
                  <a:pt x="9005595" y="6826122"/>
                </a:lnTo>
                <a:lnTo>
                  <a:pt x="8999974" y="6877672"/>
                </a:lnTo>
                <a:lnTo>
                  <a:pt x="8992426" y="6926737"/>
                </a:lnTo>
                <a:lnTo>
                  <a:pt x="8982805" y="6973236"/>
                </a:lnTo>
                <a:lnTo>
                  <a:pt x="8970968" y="7017085"/>
                </a:lnTo>
                <a:lnTo>
                  <a:pt x="8956771" y="7058203"/>
                </a:lnTo>
                <a:lnTo>
                  <a:pt x="8940070" y="7096506"/>
                </a:lnTo>
                <a:lnTo>
                  <a:pt x="8920721" y="7131912"/>
                </a:lnTo>
                <a:lnTo>
                  <a:pt x="8898580" y="7164338"/>
                </a:lnTo>
                <a:lnTo>
                  <a:pt x="8873503" y="7193701"/>
                </a:lnTo>
                <a:lnTo>
                  <a:pt x="8845346" y="7219920"/>
                </a:lnTo>
                <a:lnTo>
                  <a:pt x="8813966" y="7242910"/>
                </a:lnTo>
                <a:lnTo>
                  <a:pt x="8779217" y="7262591"/>
                </a:lnTo>
                <a:lnTo>
                  <a:pt x="8740956" y="7278878"/>
                </a:lnTo>
                <a:lnTo>
                  <a:pt x="8699039" y="7291690"/>
                </a:lnTo>
                <a:lnTo>
                  <a:pt x="8653323" y="7300944"/>
                </a:lnTo>
                <a:lnTo>
                  <a:pt x="8603663" y="7306557"/>
                </a:lnTo>
                <a:lnTo>
                  <a:pt x="8549915" y="7308446"/>
                </a:lnTo>
                <a:lnTo>
                  <a:pt x="8549915" y="7211624"/>
                </a:lnTo>
                <a:lnTo>
                  <a:pt x="8599600" y="7209391"/>
                </a:lnTo>
                <a:lnTo>
                  <a:pt x="8644521" y="7202770"/>
                </a:lnTo>
                <a:lnTo>
                  <a:pt x="8684903" y="7191881"/>
                </a:lnTo>
                <a:lnTo>
                  <a:pt x="8720974" y="7176841"/>
                </a:lnTo>
                <a:lnTo>
                  <a:pt x="8781085" y="7134781"/>
                </a:lnTo>
                <a:lnTo>
                  <a:pt x="8826665" y="7077537"/>
                </a:lnTo>
                <a:lnTo>
                  <a:pt x="8844570" y="7043516"/>
                </a:lnTo>
                <a:lnTo>
                  <a:pt x="8859522" y="7006054"/>
                </a:lnTo>
                <a:lnTo>
                  <a:pt x="8871746" y="6965269"/>
                </a:lnTo>
                <a:lnTo>
                  <a:pt x="8881469" y="6921279"/>
                </a:lnTo>
                <a:lnTo>
                  <a:pt x="8888916" y="6874203"/>
                </a:lnTo>
                <a:lnTo>
                  <a:pt x="8894315" y="6824158"/>
                </a:lnTo>
                <a:lnTo>
                  <a:pt x="8897891" y="6771263"/>
                </a:lnTo>
                <a:lnTo>
                  <a:pt x="8899870" y="6715637"/>
                </a:lnTo>
                <a:lnTo>
                  <a:pt x="8900480" y="6657396"/>
                </a:lnTo>
                <a:lnTo>
                  <a:pt x="8899838" y="6599727"/>
                </a:lnTo>
                <a:lnTo>
                  <a:pt x="8897768" y="6544638"/>
                </a:lnTo>
                <a:lnTo>
                  <a:pt x="8894058" y="6492245"/>
                </a:lnTo>
                <a:lnTo>
                  <a:pt x="8888492" y="6442669"/>
                </a:lnTo>
                <a:lnTo>
                  <a:pt x="8880857" y="6396025"/>
                </a:lnTo>
                <a:lnTo>
                  <a:pt x="8870939" y="6352434"/>
                </a:lnTo>
                <a:lnTo>
                  <a:pt x="8858523" y="6312013"/>
                </a:lnTo>
                <a:lnTo>
                  <a:pt x="8843396" y="6274881"/>
                </a:lnTo>
                <a:lnTo>
                  <a:pt x="8825343" y="6241155"/>
                </a:lnTo>
                <a:lnTo>
                  <a:pt x="8779605" y="6184396"/>
                </a:lnTo>
                <a:lnTo>
                  <a:pt x="8719596" y="6142683"/>
                </a:lnTo>
                <a:lnTo>
                  <a:pt x="8683704" y="6127764"/>
                </a:lnTo>
                <a:lnTo>
                  <a:pt x="8643603" y="6116961"/>
                </a:lnTo>
                <a:lnTo>
                  <a:pt x="8599078" y="6110393"/>
                </a:lnTo>
                <a:lnTo>
                  <a:pt x="8549915" y="6108177"/>
                </a:lnTo>
                <a:close/>
                <a:moveTo>
                  <a:pt x="8458035" y="6009685"/>
                </a:moveTo>
                <a:lnTo>
                  <a:pt x="8458035" y="6108177"/>
                </a:lnTo>
                <a:lnTo>
                  <a:pt x="8409149" y="6110393"/>
                </a:lnTo>
                <a:lnTo>
                  <a:pt x="8364868" y="6116961"/>
                </a:lnTo>
                <a:lnTo>
                  <a:pt x="8324982" y="6127764"/>
                </a:lnTo>
                <a:lnTo>
                  <a:pt x="8289276" y="6142683"/>
                </a:lnTo>
                <a:lnTo>
                  <a:pt x="8229561" y="6184396"/>
                </a:lnTo>
                <a:lnTo>
                  <a:pt x="8184027" y="6241155"/>
                </a:lnTo>
                <a:lnTo>
                  <a:pt x="8166048" y="6274881"/>
                </a:lnTo>
                <a:lnTo>
                  <a:pt x="8150978" y="6312013"/>
                </a:lnTo>
                <a:lnTo>
                  <a:pt x="8138606" y="6352434"/>
                </a:lnTo>
                <a:lnTo>
                  <a:pt x="8128718" y="6396025"/>
                </a:lnTo>
                <a:lnTo>
                  <a:pt x="8121104" y="6442669"/>
                </a:lnTo>
                <a:lnTo>
                  <a:pt x="8115551" y="6492245"/>
                </a:lnTo>
                <a:lnTo>
                  <a:pt x="8111847" y="6544638"/>
                </a:lnTo>
                <a:lnTo>
                  <a:pt x="8109780" y="6599727"/>
                </a:lnTo>
                <a:lnTo>
                  <a:pt x="8109138" y="6657396"/>
                </a:lnTo>
                <a:lnTo>
                  <a:pt x="8109764" y="6715637"/>
                </a:lnTo>
                <a:lnTo>
                  <a:pt x="8111786" y="6771263"/>
                </a:lnTo>
                <a:lnTo>
                  <a:pt x="8115423" y="6824158"/>
                </a:lnTo>
                <a:lnTo>
                  <a:pt x="8120892" y="6874203"/>
                </a:lnTo>
                <a:lnTo>
                  <a:pt x="8128413" y="6921279"/>
                </a:lnTo>
                <a:lnTo>
                  <a:pt x="8138202" y="6965269"/>
                </a:lnTo>
                <a:lnTo>
                  <a:pt x="8150479" y="7006054"/>
                </a:lnTo>
                <a:lnTo>
                  <a:pt x="8165461" y="7043516"/>
                </a:lnTo>
                <a:lnTo>
                  <a:pt x="8183367" y="7077537"/>
                </a:lnTo>
                <a:lnTo>
                  <a:pt x="8228821" y="7134781"/>
                </a:lnTo>
                <a:lnTo>
                  <a:pt x="8288587" y="7176841"/>
                </a:lnTo>
                <a:lnTo>
                  <a:pt x="8324382" y="7191881"/>
                </a:lnTo>
                <a:lnTo>
                  <a:pt x="8364410" y="7202770"/>
                </a:lnTo>
                <a:lnTo>
                  <a:pt x="8408888" y="7209391"/>
                </a:lnTo>
                <a:lnTo>
                  <a:pt x="8458035" y="7211624"/>
                </a:lnTo>
                <a:lnTo>
                  <a:pt x="8458035" y="7308446"/>
                </a:lnTo>
                <a:lnTo>
                  <a:pt x="8404513" y="7306557"/>
                </a:lnTo>
                <a:lnTo>
                  <a:pt x="8355032" y="7300944"/>
                </a:lnTo>
                <a:lnTo>
                  <a:pt x="8309453" y="7291690"/>
                </a:lnTo>
                <a:lnTo>
                  <a:pt x="8267634" y="7278878"/>
                </a:lnTo>
                <a:lnTo>
                  <a:pt x="8229437" y="7262591"/>
                </a:lnTo>
                <a:lnTo>
                  <a:pt x="8194720" y="7242910"/>
                </a:lnTo>
                <a:lnTo>
                  <a:pt x="8163344" y="7219920"/>
                </a:lnTo>
                <a:lnTo>
                  <a:pt x="8135168" y="7193701"/>
                </a:lnTo>
                <a:lnTo>
                  <a:pt x="8110051" y="7164338"/>
                </a:lnTo>
                <a:lnTo>
                  <a:pt x="8087855" y="7131912"/>
                </a:lnTo>
                <a:lnTo>
                  <a:pt x="8068437" y="7096506"/>
                </a:lnTo>
                <a:lnTo>
                  <a:pt x="8051660" y="7058203"/>
                </a:lnTo>
                <a:lnTo>
                  <a:pt x="8037381" y="7017085"/>
                </a:lnTo>
                <a:lnTo>
                  <a:pt x="8025461" y="6973236"/>
                </a:lnTo>
                <a:lnTo>
                  <a:pt x="8015759" y="6926737"/>
                </a:lnTo>
                <a:lnTo>
                  <a:pt x="8008136" y="6877672"/>
                </a:lnTo>
                <a:lnTo>
                  <a:pt x="8002451" y="6826122"/>
                </a:lnTo>
                <a:lnTo>
                  <a:pt x="7998564" y="6772172"/>
                </a:lnTo>
                <a:lnTo>
                  <a:pt x="7996334" y="6715902"/>
                </a:lnTo>
                <a:lnTo>
                  <a:pt x="7995623" y="6657396"/>
                </a:lnTo>
                <a:lnTo>
                  <a:pt x="7996358" y="6599140"/>
                </a:lnTo>
                <a:lnTo>
                  <a:pt x="7998654" y="6543120"/>
                </a:lnTo>
                <a:lnTo>
                  <a:pt x="8002643" y="6489415"/>
                </a:lnTo>
                <a:lnTo>
                  <a:pt x="8008456" y="6438109"/>
                </a:lnTo>
                <a:lnTo>
                  <a:pt x="8016229" y="6389281"/>
                </a:lnTo>
                <a:lnTo>
                  <a:pt x="8026092" y="6343014"/>
                </a:lnTo>
                <a:lnTo>
                  <a:pt x="8038178" y="6299388"/>
                </a:lnTo>
                <a:lnTo>
                  <a:pt x="8052621" y="6258486"/>
                </a:lnTo>
                <a:lnTo>
                  <a:pt x="8069553" y="6220388"/>
                </a:lnTo>
                <a:lnTo>
                  <a:pt x="8089106" y="6185176"/>
                </a:lnTo>
                <a:lnTo>
                  <a:pt x="8111414" y="6152931"/>
                </a:lnTo>
                <a:lnTo>
                  <a:pt x="8136610" y="6123735"/>
                </a:lnTo>
                <a:lnTo>
                  <a:pt x="8164825" y="6097669"/>
                </a:lnTo>
                <a:lnTo>
                  <a:pt x="8196192" y="6074814"/>
                </a:lnTo>
                <a:lnTo>
                  <a:pt x="8230845" y="6055253"/>
                </a:lnTo>
                <a:lnTo>
                  <a:pt x="8268916" y="6039065"/>
                </a:lnTo>
                <a:lnTo>
                  <a:pt x="8310538" y="6026333"/>
                </a:lnTo>
                <a:lnTo>
                  <a:pt x="8355843" y="6017138"/>
                </a:lnTo>
                <a:lnTo>
                  <a:pt x="8404964" y="6011561"/>
                </a:lnTo>
                <a:close/>
                <a:moveTo>
                  <a:pt x="1409388" y="6009685"/>
                </a:moveTo>
                <a:lnTo>
                  <a:pt x="1462459" y="6011561"/>
                </a:lnTo>
                <a:lnTo>
                  <a:pt x="1511579" y="6017138"/>
                </a:lnTo>
                <a:lnTo>
                  <a:pt x="1556884" y="6026333"/>
                </a:lnTo>
                <a:lnTo>
                  <a:pt x="1598508" y="6039065"/>
                </a:lnTo>
                <a:lnTo>
                  <a:pt x="1636578" y="6055253"/>
                </a:lnTo>
                <a:lnTo>
                  <a:pt x="1671231" y="6074814"/>
                </a:lnTo>
                <a:lnTo>
                  <a:pt x="1702600" y="6097669"/>
                </a:lnTo>
                <a:lnTo>
                  <a:pt x="1730815" y="6123735"/>
                </a:lnTo>
                <a:lnTo>
                  <a:pt x="1756009" y="6152931"/>
                </a:lnTo>
                <a:lnTo>
                  <a:pt x="1778317" y="6185176"/>
                </a:lnTo>
                <a:lnTo>
                  <a:pt x="1797871" y="6220388"/>
                </a:lnTo>
                <a:lnTo>
                  <a:pt x="1814804" y="6258486"/>
                </a:lnTo>
                <a:lnTo>
                  <a:pt x="1829247" y="6299388"/>
                </a:lnTo>
                <a:lnTo>
                  <a:pt x="1841333" y="6343014"/>
                </a:lnTo>
                <a:lnTo>
                  <a:pt x="1851196" y="6389281"/>
                </a:lnTo>
                <a:lnTo>
                  <a:pt x="1858969" y="6438109"/>
                </a:lnTo>
                <a:lnTo>
                  <a:pt x="1864782" y="6489415"/>
                </a:lnTo>
                <a:lnTo>
                  <a:pt x="1868770" y="6543120"/>
                </a:lnTo>
                <a:lnTo>
                  <a:pt x="1871067" y="6599140"/>
                </a:lnTo>
                <a:lnTo>
                  <a:pt x="1871802" y="6657396"/>
                </a:lnTo>
                <a:lnTo>
                  <a:pt x="1871103" y="6715902"/>
                </a:lnTo>
                <a:lnTo>
                  <a:pt x="1868906" y="6772172"/>
                </a:lnTo>
                <a:lnTo>
                  <a:pt x="1865069" y="6826122"/>
                </a:lnTo>
                <a:lnTo>
                  <a:pt x="1859448" y="6877672"/>
                </a:lnTo>
                <a:lnTo>
                  <a:pt x="1851900" y="6926737"/>
                </a:lnTo>
                <a:lnTo>
                  <a:pt x="1842280" y="6973236"/>
                </a:lnTo>
                <a:lnTo>
                  <a:pt x="1830443" y="7017085"/>
                </a:lnTo>
                <a:lnTo>
                  <a:pt x="1816246" y="7058203"/>
                </a:lnTo>
                <a:lnTo>
                  <a:pt x="1799544" y="7096506"/>
                </a:lnTo>
                <a:lnTo>
                  <a:pt x="1780195" y="7131912"/>
                </a:lnTo>
                <a:lnTo>
                  <a:pt x="1758055" y="7164338"/>
                </a:lnTo>
                <a:lnTo>
                  <a:pt x="1732977" y="7193701"/>
                </a:lnTo>
                <a:lnTo>
                  <a:pt x="1704820" y="7219920"/>
                </a:lnTo>
                <a:lnTo>
                  <a:pt x="1673440" y="7242910"/>
                </a:lnTo>
                <a:lnTo>
                  <a:pt x="1638691" y="7262591"/>
                </a:lnTo>
                <a:lnTo>
                  <a:pt x="1600431" y="7278878"/>
                </a:lnTo>
                <a:lnTo>
                  <a:pt x="1558512" y="7291690"/>
                </a:lnTo>
                <a:lnTo>
                  <a:pt x="1512797" y="7300944"/>
                </a:lnTo>
                <a:lnTo>
                  <a:pt x="1463136" y="7306557"/>
                </a:lnTo>
                <a:lnTo>
                  <a:pt x="1409388" y="7308446"/>
                </a:lnTo>
                <a:lnTo>
                  <a:pt x="1409388" y="7211624"/>
                </a:lnTo>
                <a:lnTo>
                  <a:pt x="1459074" y="7209391"/>
                </a:lnTo>
                <a:lnTo>
                  <a:pt x="1503995" y="7202770"/>
                </a:lnTo>
                <a:lnTo>
                  <a:pt x="1544377" y="7191881"/>
                </a:lnTo>
                <a:lnTo>
                  <a:pt x="1580448" y="7176841"/>
                </a:lnTo>
                <a:lnTo>
                  <a:pt x="1640559" y="7134781"/>
                </a:lnTo>
                <a:lnTo>
                  <a:pt x="1686139" y="7077537"/>
                </a:lnTo>
                <a:lnTo>
                  <a:pt x="1704044" y="7043516"/>
                </a:lnTo>
                <a:lnTo>
                  <a:pt x="1718997" y="7006054"/>
                </a:lnTo>
                <a:lnTo>
                  <a:pt x="1731220" y="6965269"/>
                </a:lnTo>
                <a:lnTo>
                  <a:pt x="1740944" y="6921279"/>
                </a:lnTo>
                <a:lnTo>
                  <a:pt x="1748390" y="6874203"/>
                </a:lnTo>
                <a:lnTo>
                  <a:pt x="1753790" y="6824158"/>
                </a:lnTo>
                <a:lnTo>
                  <a:pt x="1757366" y="6771263"/>
                </a:lnTo>
                <a:lnTo>
                  <a:pt x="1759345" y="6715637"/>
                </a:lnTo>
                <a:lnTo>
                  <a:pt x="1759955" y="6657396"/>
                </a:lnTo>
                <a:lnTo>
                  <a:pt x="1759313" y="6599727"/>
                </a:lnTo>
                <a:lnTo>
                  <a:pt x="1757242" y="6544638"/>
                </a:lnTo>
                <a:lnTo>
                  <a:pt x="1753533" y="6492245"/>
                </a:lnTo>
                <a:lnTo>
                  <a:pt x="1747967" y="6442669"/>
                </a:lnTo>
                <a:lnTo>
                  <a:pt x="1740332" y="6396025"/>
                </a:lnTo>
                <a:lnTo>
                  <a:pt x="1730413" y="6352434"/>
                </a:lnTo>
                <a:lnTo>
                  <a:pt x="1717998" y="6312013"/>
                </a:lnTo>
                <a:lnTo>
                  <a:pt x="1702871" y="6274881"/>
                </a:lnTo>
                <a:lnTo>
                  <a:pt x="1684817" y="6241155"/>
                </a:lnTo>
                <a:lnTo>
                  <a:pt x="1639079" y="6184396"/>
                </a:lnTo>
                <a:lnTo>
                  <a:pt x="1579070" y="6142683"/>
                </a:lnTo>
                <a:lnTo>
                  <a:pt x="1543178" y="6127764"/>
                </a:lnTo>
                <a:lnTo>
                  <a:pt x="1503076" y="6116961"/>
                </a:lnTo>
                <a:lnTo>
                  <a:pt x="1458551" y="6110393"/>
                </a:lnTo>
                <a:lnTo>
                  <a:pt x="1409388" y="6108177"/>
                </a:lnTo>
                <a:close/>
                <a:moveTo>
                  <a:pt x="1317509" y="6009685"/>
                </a:moveTo>
                <a:lnTo>
                  <a:pt x="1317509" y="6108177"/>
                </a:lnTo>
                <a:lnTo>
                  <a:pt x="1268623" y="6110393"/>
                </a:lnTo>
                <a:lnTo>
                  <a:pt x="1224343" y="6116961"/>
                </a:lnTo>
                <a:lnTo>
                  <a:pt x="1184456" y="6127764"/>
                </a:lnTo>
                <a:lnTo>
                  <a:pt x="1148750" y="6142683"/>
                </a:lnTo>
                <a:lnTo>
                  <a:pt x="1089035" y="6184396"/>
                </a:lnTo>
                <a:lnTo>
                  <a:pt x="1043502" y="6241155"/>
                </a:lnTo>
                <a:lnTo>
                  <a:pt x="1025523" y="6274881"/>
                </a:lnTo>
                <a:lnTo>
                  <a:pt x="1010453" y="6312013"/>
                </a:lnTo>
                <a:lnTo>
                  <a:pt x="998080" y="6352434"/>
                </a:lnTo>
                <a:lnTo>
                  <a:pt x="988193" y="6396025"/>
                </a:lnTo>
                <a:lnTo>
                  <a:pt x="980578" y="6442669"/>
                </a:lnTo>
                <a:lnTo>
                  <a:pt x="975024" y="6492245"/>
                </a:lnTo>
                <a:lnTo>
                  <a:pt x="971321" y="6544638"/>
                </a:lnTo>
                <a:lnTo>
                  <a:pt x="969254" y="6599727"/>
                </a:lnTo>
                <a:lnTo>
                  <a:pt x="968612" y="6657396"/>
                </a:lnTo>
                <a:lnTo>
                  <a:pt x="969237" y="6715637"/>
                </a:lnTo>
                <a:lnTo>
                  <a:pt x="971260" y="6771263"/>
                </a:lnTo>
                <a:lnTo>
                  <a:pt x="974897" y="6824158"/>
                </a:lnTo>
                <a:lnTo>
                  <a:pt x="980366" y="6874203"/>
                </a:lnTo>
                <a:lnTo>
                  <a:pt x="987887" y="6921279"/>
                </a:lnTo>
                <a:lnTo>
                  <a:pt x="997676" y="6965269"/>
                </a:lnTo>
                <a:lnTo>
                  <a:pt x="1009953" y="7006054"/>
                </a:lnTo>
                <a:lnTo>
                  <a:pt x="1024935" y="7043516"/>
                </a:lnTo>
                <a:lnTo>
                  <a:pt x="1042841" y="7077537"/>
                </a:lnTo>
                <a:lnTo>
                  <a:pt x="1088295" y="7134781"/>
                </a:lnTo>
                <a:lnTo>
                  <a:pt x="1148061" y="7176841"/>
                </a:lnTo>
                <a:lnTo>
                  <a:pt x="1183856" y="7191881"/>
                </a:lnTo>
                <a:lnTo>
                  <a:pt x="1223884" y="7202770"/>
                </a:lnTo>
                <a:lnTo>
                  <a:pt x="1268362" y="7209391"/>
                </a:lnTo>
                <a:lnTo>
                  <a:pt x="1317509" y="7211624"/>
                </a:lnTo>
                <a:lnTo>
                  <a:pt x="1317509" y="7308446"/>
                </a:lnTo>
                <a:lnTo>
                  <a:pt x="1263987" y="7306557"/>
                </a:lnTo>
                <a:lnTo>
                  <a:pt x="1214506" y="7300944"/>
                </a:lnTo>
                <a:lnTo>
                  <a:pt x="1168927" y="7291690"/>
                </a:lnTo>
                <a:lnTo>
                  <a:pt x="1127108" y="7278878"/>
                </a:lnTo>
                <a:lnTo>
                  <a:pt x="1088911" y="7262591"/>
                </a:lnTo>
                <a:lnTo>
                  <a:pt x="1054194" y="7242910"/>
                </a:lnTo>
                <a:lnTo>
                  <a:pt x="1022818" y="7219920"/>
                </a:lnTo>
                <a:lnTo>
                  <a:pt x="994641" y="7193701"/>
                </a:lnTo>
                <a:lnTo>
                  <a:pt x="969525" y="7164338"/>
                </a:lnTo>
                <a:lnTo>
                  <a:pt x="947329" y="7131912"/>
                </a:lnTo>
                <a:lnTo>
                  <a:pt x="927911" y="7096506"/>
                </a:lnTo>
                <a:lnTo>
                  <a:pt x="911133" y="7058203"/>
                </a:lnTo>
                <a:lnTo>
                  <a:pt x="896855" y="7017085"/>
                </a:lnTo>
                <a:lnTo>
                  <a:pt x="884935" y="6973236"/>
                </a:lnTo>
                <a:lnTo>
                  <a:pt x="875233" y="6926737"/>
                </a:lnTo>
                <a:lnTo>
                  <a:pt x="867610" y="6877672"/>
                </a:lnTo>
                <a:lnTo>
                  <a:pt x="861924" y="6826122"/>
                </a:lnTo>
                <a:lnTo>
                  <a:pt x="858037" y="6772172"/>
                </a:lnTo>
                <a:lnTo>
                  <a:pt x="855809" y="6715902"/>
                </a:lnTo>
                <a:lnTo>
                  <a:pt x="855097" y="6657396"/>
                </a:lnTo>
                <a:lnTo>
                  <a:pt x="855832" y="6599140"/>
                </a:lnTo>
                <a:lnTo>
                  <a:pt x="858128" y="6543120"/>
                </a:lnTo>
                <a:lnTo>
                  <a:pt x="862117" y="6489415"/>
                </a:lnTo>
                <a:lnTo>
                  <a:pt x="867930" y="6438109"/>
                </a:lnTo>
                <a:lnTo>
                  <a:pt x="875703" y="6389281"/>
                </a:lnTo>
                <a:lnTo>
                  <a:pt x="885565" y="6343014"/>
                </a:lnTo>
                <a:lnTo>
                  <a:pt x="897652" y="6299388"/>
                </a:lnTo>
                <a:lnTo>
                  <a:pt x="912095" y="6258486"/>
                </a:lnTo>
                <a:lnTo>
                  <a:pt x="929026" y="6220388"/>
                </a:lnTo>
                <a:lnTo>
                  <a:pt x="948580" y="6185176"/>
                </a:lnTo>
                <a:lnTo>
                  <a:pt x="970888" y="6152931"/>
                </a:lnTo>
                <a:lnTo>
                  <a:pt x="996084" y="6123735"/>
                </a:lnTo>
                <a:lnTo>
                  <a:pt x="1024299" y="6097669"/>
                </a:lnTo>
                <a:lnTo>
                  <a:pt x="1055666" y="6074814"/>
                </a:lnTo>
                <a:lnTo>
                  <a:pt x="1090319" y="6055253"/>
                </a:lnTo>
                <a:lnTo>
                  <a:pt x="1128390" y="6039065"/>
                </a:lnTo>
                <a:lnTo>
                  <a:pt x="1170012" y="6026333"/>
                </a:lnTo>
                <a:lnTo>
                  <a:pt x="1215317" y="6017138"/>
                </a:lnTo>
                <a:lnTo>
                  <a:pt x="1264438" y="6011561"/>
                </a:lnTo>
                <a:close/>
                <a:moveTo>
                  <a:pt x="505166" y="5528915"/>
                </a:moveTo>
                <a:lnTo>
                  <a:pt x="547395" y="5532593"/>
                </a:lnTo>
                <a:lnTo>
                  <a:pt x="580078" y="5545817"/>
                </a:lnTo>
                <a:lnTo>
                  <a:pt x="601179" y="5571874"/>
                </a:lnTo>
                <a:lnTo>
                  <a:pt x="608666" y="5614052"/>
                </a:lnTo>
                <a:lnTo>
                  <a:pt x="601179" y="5658159"/>
                </a:lnTo>
                <a:lnTo>
                  <a:pt x="580078" y="5685208"/>
                </a:lnTo>
                <a:lnTo>
                  <a:pt x="547395" y="5698798"/>
                </a:lnTo>
                <a:lnTo>
                  <a:pt x="505166" y="5702529"/>
                </a:lnTo>
                <a:lnTo>
                  <a:pt x="462936" y="5698798"/>
                </a:lnTo>
                <a:lnTo>
                  <a:pt x="430252" y="5685208"/>
                </a:lnTo>
                <a:lnTo>
                  <a:pt x="409151" y="5658159"/>
                </a:lnTo>
                <a:lnTo>
                  <a:pt x="401665" y="5614052"/>
                </a:lnTo>
                <a:lnTo>
                  <a:pt x="409385" y="5571874"/>
                </a:lnTo>
                <a:lnTo>
                  <a:pt x="430878" y="5545817"/>
                </a:lnTo>
                <a:lnTo>
                  <a:pt x="463640" y="5532593"/>
                </a:lnTo>
                <a:close/>
                <a:moveTo>
                  <a:pt x="2465444" y="5378664"/>
                </a:moveTo>
                <a:lnTo>
                  <a:pt x="3370236" y="5378664"/>
                </a:lnTo>
                <a:lnTo>
                  <a:pt x="3370236" y="5485502"/>
                </a:lnTo>
                <a:lnTo>
                  <a:pt x="2465444" y="5485502"/>
                </a:lnTo>
                <a:close/>
                <a:moveTo>
                  <a:pt x="2465444" y="5029768"/>
                </a:moveTo>
                <a:lnTo>
                  <a:pt x="3370236" y="5029768"/>
                </a:lnTo>
                <a:lnTo>
                  <a:pt x="3370236" y="5136606"/>
                </a:lnTo>
                <a:lnTo>
                  <a:pt x="2465444" y="5136606"/>
                </a:lnTo>
                <a:close/>
                <a:moveTo>
                  <a:pt x="505166" y="4827784"/>
                </a:moveTo>
                <a:lnTo>
                  <a:pt x="547395" y="4831253"/>
                </a:lnTo>
                <a:lnTo>
                  <a:pt x="580078" y="4844268"/>
                </a:lnTo>
                <a:lnTo>
                  <a:pt x="601179" y="4870743"/>
                </a:lnTo>
                <a:lnTo>
                  <a:pt x="608666" y="4914590"/>
                </a:lnTo>
                <a:lnTo>
                  <a:pt x="601179" y="4957028"/>
                </a:lnTo>
                <a:lnTo>
                  <a:pt x="580078" y="4983660"/>
                </a:lnTo>
                <a:lnTo>
                  <a:pt x="547395" y="4997458"/>
                </a:lnTo>
                <a:lnTo>
                  <a:pt x="505166" y="5001397"/>
                </a:lnTo>
                <a:lnTo>
                  <a:pt x="463901" y="4997458"/>
                </a:lnTo>
                <a:lnTo>
                  <a:pt x="431713" y="4983660"/>
                </a:lnTo>
                <a:lnTo>
                  <a:pt x="410794" y="4957028"/>
                </a:lnTo>
                <a:lnTo>
                  <a:pt x="403334" y="4914590"/>
                </a:lnTo>
                <a:lnTo>
                  <a:pt x="410794" y="4870743"/>
                </a:lnTo>
                <a:lnTo>
                  <a:pt x="431713" y="4844268"/>
                </a:lnTo>
                <a:lnTo>
                  <a:pt x="463901" y="4831253"/>
                </a:lnTo>
                <a:close/>
                <a:moveTo>
                  <a:pt x="4111651" y="4507266"/>
                </a:moveTo>
                <a:lnTo>
                  <a:pt x="4164721" y="4509142"/>
                </a:lnTo>
                <a:lnTo>
                  <a:pt x="4213842" y="4514719"/>
                </a:lnTo>
                <a:lnTo>
                  <a:pt x="4259148" y="4523914"/>
                </a:lnTo>
                <a:lnTo>
                  <a:pt x="4300769" y="4536646"/>
                </a:lnTo>
                <a:lnTo>
                  <a:pt x="4338840" y="4552834"/>
                </a:lnTo>
                <a:lnTo>
                  <a:pt x="4373493" y="4572395"/>
                </a:lnTo>
                <a:lnTo>
                  <a:pt x="4404861" y="4595250"/>
                </a:lnTo>
                <a:lnTo>
                  <a:pt x="4433076" y="4621316"/>
                </a:lnTo>
                <a:lnTo>
                  <a:pt x="4458271" y="4650512"/>
                </a:lnTo>
                <a:lnTo>
                  <a:pt x="4480579" y="4682757"/>
                </a:lnTo>
                <a:lnTo>
                  <a:pt x="4500133" y="4717969"/>
                </a:lnTo>
                <a:lnTo>
                  <a:pt x="4517065" y="4756067"/>
                </a:lnTo>
                <a:lnTo>
                  <a:pt x="4531508" y="4796969"/>
                </a:lnTo>
                <a:lnTo>
                  <a:pt x="4543594" y="4840595"/>
                </a:lnTo>
                <a:lnTo>
                  <a:pt x="4553457" y="4886863"/>
                </a:lnTo>
                <a:lnTo>
                  <a:pt x="4561230" y="4935691"/>
                </a:lnTo>
                <a:lnTo>
                  <a:pt x="4567043" y="4986997"/>
                </a:lnTo>
                <a:lnTo>
                  <a:pt x="4571032" y="5040702"/>
                </a:lnTo>
                <a:lnTo>
                  <a:pt x="4573328" y="5096722"/>
                </a:lnTo>
                <a:lnTo>
                  <a:pt x="4574064" y="5154978"/>
                </a:lnTo>
                <a:lnTo>
                  <a:pt x="4573364" y="5213483"/>
                </a:lnTo>
                <a:lnTo>
                  <a:pt x="4571167" y="5269753"/>
                </a:lnTo>
                <a:lnTo>
                  <a:pt x="4567331" y="5323704"/>
                </a:lnTo>
                <a:lnTo>
                  <a:pt x="4561710" y="5375253"/>
                </a:lnTo>
                <a:lnTo>
                  <a:pt x="4554162" y="5424318"/>
                </a:lnTo>
                <a:lnTo>
                  <a:pt x="4544541" y="5470817"/>
                </a:lnTo>
                <a:lnTo>
                  <a:pt x="4532704" y="5514667"/>
                </a:lnTo>
                <a:lnTo>
                  <a:pt x="4518507" y="5555784"/>
                </a:lnTo>
                <a:lnTo>
                  <a:pt x="4501806" y="5594087"/>
                </a:lnTo>
                <a:lnTo>
                  <a:pt x="4482457" y="5629493"/>
                </a:lnTo>
                <a:lnTo>
                  <a:pt x="4460316" y="5661919"/>
                </a:lnTo>
                <a:lnTo>
                  <a:pt x="4435240" y="5691283"/>
                </a:lnTo>
                <a:lnTo>
                  <a:pt x="4407083" y="5717501"/>
                </a:lnTo>
                <a:lnTo>
                  <a:pt x="4375702" y="5740492"/>
                </a:lnTo>
                <a:lnTo>
                  <a:pt x="4340953" y="5760173"/>
                </a:lnTo>
                <a:lnTo>
                  <a:pt x="4302693" y="5776460"/>
                </a:lnTo>
                <a:lnTo>
                  <a:pt x="4260776" y="5789272"/>
                </a:lnTo>
                <a:lnTo>
                  <a:pt x="4215059" y="5798526"/>
                </a:lnTo>
                <a:lnTo>
                  <a:pt x="4165399" y="5804139"/>
                </a:lnTo>
                <a:lnTo>
                  <a:pt x="4111651" y="5806028"/>
                </a:lnTo>
                <a:lnTo>
                  <a:pt x="4111651" y="5709205"/>
                </a:lnTo>
                <a:lnTo>
                  <a:pt x="4161336" y="5706972"/>
                </a:lnTo>
                <a:lnTo>
                  <a:pt x="4206256" y="5700351"/>
                </a:lnTo>
                <a:lnTo>
                  <a:pt x="4246640" y="5689462"/>
                </a:lnTo>
                <a:lnTo>
                  <a:pt x="4282711" y="5674422"/>
                </a:lnTo>
                <a:lnTo>
                  <a:pt x="4342822" y="5632362"/>
                </a:lnTo>
                <a:lnTo>
                  <a:pt x="4388401" y="5575118"/>
                </a:lnTo>
                <a:lnTo>
                  <a:pt x="4406307" y="5541097"/>
                </a:lnTo>
                <a:lnTo>
                  <a:pt x="4421259" y="5503636"/>
                </a:lnTo>
                <a:lnTo>
                  <a:pt x="4433483" y="5462851"/>
                </a:lnTo>
                <a:lnTo>
                  <a:pt x="4443206" y="5418861"/>
                </a:lnTo>
                <a:lnTo>
                  <a:pt x="4450653" y="5371784"/>
                </a:lnTo>
                <a:lnTo>
                  <a:pt x="4456052" y="5321740"/>
                </a:lnTo>
                <a:lnTo>
                  <a:pt x="4459628" y="5268845"/>
                </a:lnTo>
                <a:lnTo>
                  <a:pt x="4461607" y="5213218"/>
                </a:lnTo>
                <a:lnTo>
                  <a:pt x="4462217" y="5154978"/>
                </a:lnTo>
                <a:lnTo>
                  <a:pt x="4461575" y="5097309"/>
                </a:lnTo>
                <a:lnTo>
                  <a:pt x="4459505" y="5042220"/>
                </a:lnTo>
                <a:lnTo>
                  <a:pt x="4455795" y="4989827"/>
                </a:lnTo>
                <a:lnTo>
                  <a:pt x="4450229" y="4940251"/>
                </a:lnTo>
                <a:lnTo>
                  <a:pt x="4442594" y="4893607"/>
                </a:lnTo>
                <a:lnTo>
                  <a:pt x="4432676" y="4850015"/>
                </a:lnTo>
                <a:lnTo>
                  <a:pt x="4420260" y="4809594"/>
                </a:lnTo>
                <a:lnTo>
                  <a:pt x="4405133" y="4772462"/>
                </a:lnTo>
                <a:lnTo>
                  <a:pt x="4387080" y="4738736"/>
                </a:lnTo>
                <a:lnTo>
                  <a:pt x="4341342" y="4681977"/>
                </a:lnTo>
                <a:lnTo>
                  <a:pt x="4281333" y="4640264"/>
                </a:lnTo>
                <a:lnTo>
                  <a:pt x="4245441" y="4625345"/>
                </a:lnTo>
                <a:lnTo>
                  <a:pt x="4205339" y="4614542"/>
                </a:lnTo>
                <a:lnTo>
                  <a:pt x="4160814" y="4607974"/>
                </a:lnTo>
                <a:lnTo>
                  <a:pt x="4111651" y="4605758"/>
                </a:lnTo>
                <a:close/>
                <a:moveTo>
                  <a:pt x="4019781" y="4507266"/>
                </a:moveTo>
                <a:lnTo>
                  <a:pt x="4019781" y="4605758"/>
                </a:lnTo>
                <a:lnTo>
                  <a:pt x="3970895" y="4607974"/>
                </a:lnTo>
                <a:lnTo>
                  <a:pt x="3926615" y="4614542"/>
                </a:lnTo>
                <a:lnTo>
                  <a:pt x="3886728" y="4625345"/>
                </a:lnTo>
                <a:lnTo>
                  <a:pt x="3851022" y="4640264"/>
                </a:lnTo>
                <a:lnTo>
                  <a:pt x="3791307" y="4681977"/>
                </a:lnTo>
                <a:lnTo>
                  <a:pt x="3745774" y="4738736"/>
                </a:lnTo>
                <a:lnTo>
                  <a:pt x="3727795" y="4772462"/>
                </a:lnTo>
                <a:lnTo>
                  <a:pt x="3712725" y="4809594"/>
                </a:lnTo>
                <a:lnTo>
                  <a:pt x="3700353" y="4850015"/>
                </a:lnTo>
                <a:lnTo>
                  <a:pt x="3690465" y="4893607"/>
                </a:lnTo>
                <a:lnTo>
                  <a:pt x="3682853" y="4940251"/>
                </a:lnTo>
                <a:lnTo>
                  <a:pt x="3677301" y="4989827"/>
                </a:lnTo>
                <a:lnTo>
                  <a:pt x="3673597" y="5042220"/>
                </a:lnTo>
                <a:lnTo>
                  <a:pt x="3671530" y="5097309"/>
                </a:lnTo>
                <a:lnTo>
                  <a:pt x="3670887" y="5154978"/>
                </a:lnTo>
                <a:lnTo>
                  <a:pt x="3671513" y="5213218"/>
                </a:lnTo>
                <a:lnTo>
                  <a:pt x="3673535" y="5268845"/>
                </a:lnTo>
                <a:lnTo>
                  <a:pt x="3677173" y="5321740"/>
                </a:lnTo>
                <a:lnTo>
                  <a:pt x="3682642" y="5371784"/>
                </a:lnTo>
                <a:lnTo>
                  <a:pt x="3690160" y="5418861"/>
                </a:lnTo>
                <a:lnTo>
                  <a:pt x="3699949" y="5462851"/>
                </a:lnTo>
                <a:lnTo>
                  <a:pt x="3712226" y="5503636"/>
                </a:lnTo>
                <a:lnTo>
                  <a:pt x="3727208" y="5541097"/>
                </a:lnTo>
                <a:lnTo>
                  <a:pt x="3745113" y="5575118"/>
                </a:lnTo>
                <a:lnTo>
                  <a:pt x="3790567" y="5632362"/>
                </a:lnTo>
                <a:lnTo>
                  <a:pt x="3850333" y="5674422"/>
                </a:lnTo>
                <a:lnTo>
                  <a:pt x="3886128" y="5689462"/>
                </a:lnTo>
                <a:lnTo>
                  <a:pt x="3926156" y="5700351"/>
                </a:lnTo>
                <a:lnTo>
                  <a:pt x="3970634" y="5706972"/>
                </a:lnTo>
                <a:lnTo>
                  <a:pt x="4019781" y="5709205"/>
                </a:lnTo>
                <a:lnTo>
                  <a:pt x="4019781" y="5806028"/>
                </a:lnTo>
                <a:lnTo>
                  <a:pt x="3966259" y="5804139"/>
                </a:lnTo>
                <a:lnTo>
                  <a:pt x="3916778" y="5798526"/>
                </a:lnTo>
                <a:lnTo>
                  <a:pt x="3871199" y="5789272"/>
                </a:lnTo>
                <a:lnTo>
                  <a:pt x="3829380" y="5776460"/>
                </a:lnTo>
                <a:lnTo>
                  <a:pt x="3791183" y="5760173"/>
                </a:lnTo>
                <a:lnTo>
                  <a:pt x="3756466" y="5740492"/>
                </a:lnTo>
                <a:lnTo>
                  <a:pt x="3725090" y="5717501"/>
                </a:lnTo>
                <a:lnTo>
                  <a:pt x="3696914" y="5691283"/>
                </a:lnTo>
                <a:lnTo>
                  <a:pt x="3671799" y="5661919"/>
                </a:lnTo>
                <a:lnTo>
                  <a:pt x="3649604" y="5629493"/>
                </a:lnTo>
                <a:lnTo>
                  <a:pt x="3630186" y="5594087"/>
                </a:lnTo>
                <a:lnTo>
                  <a:pt x="3613408" y="5555784"/>
                </a:lnTo>
                <a:lnTo>
                  <a:pt x="3599129" y="5514667"/>
                </a:lnTo>
                <a:lnTo>
                  <a:pt x="3587210" y="5470817"/>
                </a:lnTo>
                <a:lnTo>
                  <a:pt x="3577507" y="5424318"/>
                </a:lnTo>
                <a:lnTo>
                  <a:pt x="3569884" y="5375253"/>
                </a:lnTo>
                <a:lnTo>
                  <a:pt x="3564199" y="5323704"/>
                </a:lnTo>
                <a:lnTo>
                  <a:pt x="3560312" y="5269753"/>
                </a:lnTo>
                <a:lnTo>
                  <a:pt x="3558082" y="5213483"/>
                </a:lnTo>
                <a:lnTo>
                  <a:pt x="3557372" y="5154978"/>
                </a:lnTo>
                <a:lnTo>
                  <a:pt x="3558107" y="5096722"/>
                </a:lnTo>
                <a:lnTo>
                  <a:pt x="3560402" y="5040702"/>
                </a:lnTo>
                <a:lnTo>
                  <a:pt x="3564391" y="4986997"/>
                </a:lnTo>
                <a:lnTo>
                  <a:pt x="3570205" y="4935691"/>
                </a:lnTo>
                <a:lnTo>
                  <a:pt x="3577977" y="4886863"/>
                </a:lnTo>
                <a:lnTo>
                  <a:pt x="3587840" y="4840595"/>
                </a:lnTo>
                <a:lnTo>
                  <a:pt x="3599926" y="4796969"/>
                </a:lnTo>
                <a:lnTo>
                  <a:pt x="3614369" y="4756067"/>
                </a:lnTo>
                <a:lnTo>
                  <a:pt x="3631302" y="4717969"/>
                </a:lnTo>
                <a:lnTo>
                  <a:pt x="3650855" y="4682757"/>
                </a:lnTo>
                <a:lnTo>
                  <a:pt x="3673163" y="4650512"/>
                </a:lnTo>
                <a:lnTo>
                  <a:pt x="3698356" y="4621316"/>
                </a:lnTo>
                <a:lnTo>
                  <a:pt x="3726571" y="4595250"/>
                </a:lnTo>
                <a:lnTo>
                  <a:pt x="3757938" y="4572395"/>
                </a:lnTo>
                <a:lnTo>
                  <a:pt x="3792591" y="4552834"/>
                </a:lnTo>
                <a:lnTo>
                  <a:pt x="3830662" y="4536646"/>
                </a:lnTo>
                <a:lnTo>
                  <a:pt x="3872284" y="4523914"/>
                </a:lnTo>
                <a:lnTo>
                  <a:pt x="3917589" y="4514719"/>
                </a:lnTo>
                <a:lnTo>
                  <a:pt x="3966710" y="4509142"/>
                </a:lnTo>
                <a:close/>
                <a:moveTo>
                  <a:pt x="0" y="3876244"/>
                </a:moveTo>
                <a:lnTo>
                  <a:pt x="904792" y="3876244"/>
                </a:lnTo>
                <a:lnTo>
                  <a:pt x="904792" y="3983083"/>
                </a:lnTo>
                <a:lnTo>
                  <a:pt x="0" y="3983083"/>
                </a:lnTo>
                <a:close/>
                <a:moveTo>
                  <a:pt x="0" y="3527349"/>
                </a:moveTo>
                <a:lnTo>
                  <a:pt x="904792" y="3527349"/>
                </a:lnTo>
                <a:lnTo>
                  <a:pt x="904792" y="3634187"/>
                </a:lnTo>
                <a:lnTo>
                  <a:pt x="0" y="3634187"/>
                </a:lnTo>
                <a:close/>
                <a:moveTo>
                  <a:pt x="1599039" y="3011203"/>
                </a:moveTo>
                <a:lnTo>
                  <a:pt x="1972978" y="3011203"/>
                </a:lnTo>
                <a:lnTo>
                  <a:pt x="1972978" y="3106453"/>
                </a:lnTo>
                <a:lnTo>
                  <a:pt x="1972978" y="4205003"/>
                </a:lnTo>
                <a:lnTo>
                  <a:pt x="1972978" y="4300253"/>
                </a:lnTo>
                <a:lnTo>
                  <a:pt x="1599039" y="4300253"/>
                </a:lnTo>
                <a:lnTo>
                  <a:pt x="1599039" y="4205003"/>
                </a:lnTo>
                <a:lnTo>
                  <a:pt x="1857788" y="4205003"/>
                </a:lnTo>
                <a:lnTo>
                  <a:pt x="1857788" y="3106453"/>
                </a:lnTo>
                <a:lnTo>
                  <a:pt x="1599039" y="3106453"/>
                </a:lnTo>
                <a:close/>
                <a:moveTo>
                  <a:pt x="1125303" y="3011203"/>
                </a:moveTo>
                <a:lnTo>
                  <a:pt x="1499242" y="3011203"/>
                </a:lnTo>
                <a:lnTo>
                  <a:pt x="1499242" y="3106453"/>
                </a:lnTo>
                <a:lnTo>
                  <a:pt x="1240492" y="3106453"/>
                </a:lnTo>
                <a:lnTo>
                  <a:pt x="1240492" y="4205003"/>
                </a:lnTo>
                <a:lnTo>
                  <a:pt x="1499242" y="4205003"/>
                </a:lnTo>
                <a:lnTo>
                  <a:pt x="1499242" y="4300253"/>
                </a:lnTo>
                <a:lnTo>
                  <a:pt x="1125303" y="4300253"/>
                </a:lnTo>
                <a:lnTo>
                  <a:pt x="1125303" y="4205003"/>
                </a:lnTo>
                <a:lnTo>
                  <a:pt x="1125303" y="3106453"/>
                </a:lnTo>
                <a:close/>
                <a:moveTo>
                  <a:pt x="3600665" y="3004837"/>
                </a:moveTo>
                <a:lnTo>
                  <a:pt x="3653736" y="3006713"/>
                </a:lnTo>
                <a:lnTo>
                  <a:pt x="3702854" y="3012290"/>
                </a:lnTo>
                <a:lnTo>
                  <a:pt x="3748160" y="3021485"/>
                </a:lnTo>
                <a:lnTo>
                  <a:pt x="3789782" y="3034217"/>
                </a:lnTo>
                <a:lnTo>
                  <a:pt x="3827853" y="3050405"/>
                </a:lnTo>
                <a:lnTo>
                  <a:pt x="3862506" y="3069966"/>
                </a:lnTo>
                <a:lnTo>
                  <a:pt x="3893873" y="3092821"/>
                </a:lnTo>
                <a:lnTo>
                  <a:pt x="3922088" y="3118887"/>
                </a:lnTo>
                <a:lnTo>
                  <a:pt x="3947284" y="3148083"/>
                </a:lnTo>
                <a:lnTo>
                  <a:pt x="3969592" y="3180328"/>
                </a:lnTo>
                <a:lnTo>
                  <a:pt x="3989145" y="3215540"/>
                </a:lnTo>
                <a:lnTo>
                  <a:pt x="4006077" y="3253638"/>
                </a:lnTo>
                <a:lnTo>
                  <a:pt x="4020520" y="3294540"/>
                </a:lnTo>
                <a:lnTo>
                  <a:pt x="4032607" y="3338166"/>
                </a:lnTo>
                <a:lnTo>
                  <a:pt x="4042470" y="3384433"/>
                </a:lnTo>
                <a:lnTo>
                  <a:pt x="4050242" y="3433261"/>
                </a:lnTo>
                <a:lnTo>
                  <a:pt x="4056056" y="3484567"/>
                </a:lnTo>
                <a:lnTo>
                  <a:pt x="4060044" y="3538272"/>
                </a:lnTo>
                <a:lnTo>
                  <a:pt x="4062340" y="3594292"/>
                </a:lnTo>
                <a:lnTo>
                  <a:pt x="4063076" y="3652548"/>
                </a:lnTo>
                <a:lnTo>
                  <a:pt x="4062376" y="3711053"/>
                </a:lnTo>
                <a:lnTo>
                  <a:pt x="4060179" y="3767323"/>
                </a:lnTo>
                <a:lnTo>
                  <a:pt x="4056343" y="3821273"/>
                </a:lnTo>
                <a:lnTo>
                  <a:pt x="4050722" y="3872823"/>
                </a:lnTo>
                <a:lnTo>
                  <a:pt x="4043174" y="3921888"/>
                </a:lnTo>
                <a:lnTo>
                  <a:pt x="4033553" y="3968387"/>
                </a:lnTo>
                <a:lnTo>
                  <a:pt x="4021716" y="4012236"/>
                </a:lnTo>
                <a:lnTo>
                  <a:pt x="4007519" y="4053354"/>
                </a:lnTo>
                <a:lnTo>
                  <a:pt x="3990818" y="4091657"/>
                </a:lnTo>
                <a:lnTo>
                  <a:pt x="3971469" y="4127063"/>
                </a:lnTo>
                <a:lnTo>
                  <a:pt x="3949328" y="4159489"/>
                </a:lnTo>
                <a:lnTo>
                  <a:pt x="3924252" y="4188852"/>
                </a:lnTo>
                <a:lnTo>
                  <a:pt x="3896095" y="4215071"/>
                </a:lnTo>
                <a:lnTo>
                  <a:pt x="3864714" y="4238061"/>
                </a:lnTo>
                <a:lnTo>
                  <a:pt x="3829965" y="4257742"/>
                </a:lnTo>
                <a:lnTo>
                  <a:pt x="3791705" y="4274029"/>
                </a:lnTo>
                <a:lnTo>
                  <a:pt x="3749788" y="4286841"/>
                </a:lnTo>
                <a:lnTo>
                  <a:pt x="3704071" y="4296095"/>
                </a:lnTo>
                <a:lnTo>
                  <a:pt x="3654414" y="4301708"/>
                </a:lnTo>
                <a:lnTo>
                  <a:pt x="3600665" y="4303597"/>
                </a:lnTo>
                <a:lnTo>
                  <a:pt x="3600665" y="4206775"/>
                </a:lnTo>
                <a:lnTo>
                  <a:pt x="3650351" y="4204542"/>
                </a:lnTo>
                <a:lnTo>
                  <a:pt x="3695268" y="4197921"/>
                </a:lnTo>
                <a:lnTo>
                  <a:pt x="3735652" y="4187032"/>
                </a:lnTo>
                <a:lnTo>
                  <a:pt x="3771723" y="4171992"/>
                </a:lnTo>
                <a:lnTo>
                  <a:pt x="3831834" y="4129932"/>
                </a:lnTo>
                <a:lnTo>
                  <a:pt x="3877413" y="4072688"/>
                </a:lnTo>
                <a:lnTo>
                  <a:pt x="3895319" y="4038667"/>
                </a:lnTo>
                <a:lnTo>
                  <a:pt x="3910271" y="4001206"/>
                </a:lnTo>
                <a:lnTo>
                  <a:pt x="3922495" y="3960421"/>
                </a:lnTo>
                <a:lnTo>
                  <a:pt x="3932218" y="3916431"/>
                </a:lnTo>
                <a:lnTo>
                  <a:pt x="3939665" y="3869354"/>
                </a:lnTo>
                <a:lnTo>
                  <a:pt x="3945064" y="3819310"/>
                </a:lnTo>
                <a:lnTo>
                  <a:pt x="3948640" y="3766415"/>
                </a:lnTo>
                <a:lnTo>
                  <a:pt x="3950619" y="3710788"/>
                </a:lnTo>
                <a:lnTo>
                  <a:pt x="3951229" y="3652548"/>
                </a:lnTo>
                <a:lnTo>
                  <a:pt x="3950587" y="3594879"/>
                </a:lnTo>
                <a:lnTo>
                  <a:pt x="3948517" y="3539790"/>
                </a:lnTo>
                <a:lnTo>
                  <a:pt x="3944807" y="3487397"/>
                </a:lnTo>
                <a:lnTo>
                  <a:pt x="3939241" y="3437821"/>
                </a:lnTo>
                <a:lnTo>
                  <a:pt x="3931606" y="3391177"/>
                </a:lnTo>
                <a:lnTo>
                  <a:pt x="3921688" y="3347586"/>
                </a:lnTo>
                <a:lnTo>
                  <a:pt x="3909272" y="3307165"/>
                </a:lnTo>
                <a:lnTo>
                  <a:pt x="3894145" y="3270033"/>
                </a:lnTo>
                <a:lnTo>
                  <a:pt x="3876092" y="3236307"/>
                </a:lnTo>
                <a:lnTo>
                  <a:pt x="3830354" y="3179548"/>
                </a:lnTo>
                <a:lnTo>
                  <a:pt x="3770345" y="3137835"/>
                </a:lnTo>
                <a:lnTo>
                  <a:pt x="3734453" y="3122916"/>
                </a:lnTo>
                <a:lnTo>
                  <a:pt x="3694351" y="3112113"/>
                </a:lnTo>
                <a:lnTo>
                  <a:pt x="3649829" y="3105545"/>
                </a:lnTo>
                <a:lnTo>
                  <a:pt x="3600665" y="3103329"/>
                </a:lnTo>
                <a:close/>
                <a:moveTo>
                  <a:pt x="3508797" y="3004837"/>
                </a:moveTo>
                <a:lnTo>
                  <a:pt x="3508797" y="3103329"/>
                </a:lnTo>
                <a:lnTo>
                  <a:pt x="3459910" y="3105545"/>
                </a:lnTo>
                <a:lnTo>
                  <a:pt x="3415630" y="3112113"/>
                </a:lnTo>
                <a:lnTo>
                  <a:pt x="3375743" y="3122916"/>
                </a:lnTo>
                <a:lnTo>
                  <a:pt x="3340039" y="3137835"/>
                </a:lnTo>
                <a:lnTo>
                  <a:pt x="3280323" y="3179548"/>
                </a:lnTo>
                <a:lnTo>
                  <a:pt x="3234789" y="3236307"/>
                </a:lnTo>
                <a:lnTo>
                  <a:pt x="3216810" y="3270033"/>
                </a:lnTo>
                <a:lnTo>
                  <a:pt x="3201740" y="3307165"/>
                </a:lnTo>
                <a:lnTo>
                  <a:pt x="3189368" y="3347586"/>
                </a:lnTo>
                <a:lnTo>
                  <a:pt x="3179480" y="3391177"/>
                </a:lnTo>
                <a:lnTo>
                  <a:pt x="3171865" y="3437821"/>
                </a:lnTo>
                <a:lnTo>
                  <a:pt x="3166313" y="3487397"/>
                </a:lnTo>
                <a:lnTo>
                  <a:pt x="3162609" y="3539790"/>
                </a:lnTo>
                <a:lnTo>
                  <a:pt x="3160541" y="3594879"/>
                </a:lnTo>
                <a:lnTo>
                  <a:pt x="3159899" y="3652548"/>
                </a:lnTo>
                <a:lnTo>
                  <a:pt x="3160527" y="3710788"/>
                </a:lnTo>
                <a:lnTo>
                  <a:pt x="3162547" y="3766415"/>
                </a:lnTo>
                <a:lnTo>
                  <a:pt x="3166185" y="3819310"/>
                </a:lnTo>
                <a:lnTo>
                  <a:pt x="3171653" y="3869354"/>
                </a:lnTo>
                <a:lnTo>
                  <a:pt x="3179175" y="3916431"/>
                </a:lnTo>
                <a:lnTo>
                  <a:pt x="3188965" y="3960421"/>
                </a:lnTo>
                <a:lnTo>
                  <a:pt x="3201241" y="4001206"/>
                </a:lnTo>
                <a:lnTo>
                  <a:pt x="3216223" y="4038667"/>
                </a:lnTo>
                <a:lnTo>
                  <a:pt x="3234129" y="4072688"/>
                </a:lnTo>
                <a:lnTo>
                  <a:pt x="3279582" y="4129932"/>
                </a:lnTo>
                <a:lnTo>
                  <a:pt x="3339348" y="4171992"/>
                </a:lnTo>
                <a:lnTo>
                  <a:pt x="3375143" y="4187032"/>
                </a:lnTo>
                <a:lnTo>
                  <a:pt x="3415171" y="4197921"/>
                </a:lnTo>
                <a:lnTo>
                  <a:pt x="3459650" y="4204542"/>
                </a:lnTo>
                <a:lnTo>
                  <a:pt x="3508797" y="4206775"/>
                </a:lnTo>
                <a:lnTo>
                  <a:pt x="3508797" y="4303597"/>
                </a:lnTo>
                <a:lnTo>
                  <a:pt x="3455275" y="4301708"/>
                </a:lnTo>
                <a:lnTo>
                  <a:pt x="3405793" y="4296095"/>
                </a:lnTo>
                <a:lnTo>
                  <a:pt x="3360214" y="4286841"/>
                </a:lnTo>
                <a:lnTo>
                  <a:pt x="3318395" y="4274029"/>
                </a:lnTo>
                <a:lnTo>
                  <a:pt x="3280198" y="4257742"/>
                </a:lnTo>
                <a:lnTo>
                  <a:pt x="3245481" y="4238061"/>
                </a:lnTo>
                <a:lnTo>
                  <a:pt x="3214105" y="4215071"/>
                </a:lnTo>
                <a:lnTo>
                  <a:pt x="3185929" y="4188852"/>
                </a:lnTo>
                <a:lnTo>
                  <a:pt x="3160812" y="4159489"/>
                </a:lnTo>
                <a:lnTo>
                  <a:pt x="3138616" y="4127063"/>
                </a:lnTo>
                <a:lnTo>
                  <a:pt x="3119198" y="4091657"/>
                </a:lnTo>
                <a:lnTo>
                  <a:pt x="3102421" y="4053354"/>
                </a:lnTo>
                <a:lnTo>
                  <a:pt x="3088141" y="4012236"/>
                </a:lnTo>
                <a:lnTo>
                  <a:pt x="3076222" y="3968387"/>
                </a:lnTo>
                <a:lnTo>
                  <a:pt x="3066519" y="3921888"/>
                </a:lnTo>
                <a:lnTo>
                  <a:pt x="3058896" y="3872823"/>
                </a:lnTo>
                <a:lnTo>
                  <a:pt x="3053212" y="3821273"/>
                </a:lnTo>
                <a:lnTo>
                  <a:pt x="3049324" y="3767323"/>
                </a:lnTo>
                <a:lnTo>
                  <a:pt x="3047094" y="3711053"/>
                </a:lnTo>
                <a:lnTo>
                  <a:pt x="3046384" y="3652548"/>
                </a:lnTo>
                <a:lnTo>
                  <a:pt x="3047118" y="3594292"/>
                </a:lnTo>
                <a:lnTo>
                  <a:pt x="3049414" y="3538272"/>
                </a:lnTo>
                <a:lnTo>
                  <a:pt x="3053403" y="3484567"/>
                </a:lnTo>
                <a:lnTo>
                  <a:pt x="3059217" y="3433261"/>
                </a:lnTo>
                <a:lnTo>
                  <a:pt x="3066990" y="3384433"/>
                </a:lnTo>
                <a:lnTo>
                  <a:pt x="3076852" y="3338166"/>
                </a:lnTo>
                <a:lnTo>
                  <a:pt x="3088939" y="3294540"/>
                </a:lnTo>
                <a:lnTo>
                  <a:pt x="3103381" y="3253638"/>
                </a:lnTo>
                <a:lnTo>
                  <a:pt x="3120314" y="3215540"/>
                </a:lnTo>
                <a:lnTo>
                  <a:pt x="3139867" y="3180328"/>
                </a:lnTo>
                <a:lnTo>
                  <a:pt x="3162174" y="3148083"/>
                </a:lnTo>
                <a:lnTo>
                  <a:pt x="3187372" y="3118887"/>
                </a:lnTo>
                <a:lnTo>
                  <a:pt x="3215586" y="3092821"/>
                </a:lnTo>
                <a:lnTo>
                  <a:pt x="3246953" y="3069966"/>
                </a:lnTo>
                <a:lnTo>
                  <a:pt x="3281606" y="3050405"/>
                </a:lnTo>
                <a:lnTo>
                  <a:pt x="3319678" y="3034217"/>
                </a:lnTo>
                <a:lnTo>
                  <a:pt x="3361299" y="3021485"/>
                </a:lnTo>
                <a:lnTo>
                  <a:pt x="3406605" y="3012290"/>
                </a:lnTo>
                <a:lnTo>
                  <a:pt x="3455726" y="3006713"/>
                </a:lnTo>
                <a:close/>
                <a:moveTo>
                  <a:pt x="3637118" y="2373826"/>
                </a:moveTo>
                <a:lnTo>
                  <a:pt x="4541909" y="2373826"/>
                </a:lnTo>
                <a:lnTo>
                  <a:pt x="4541909" y="2480664"/>
                </a:lnTo>
                <a:lnTo>
                  <a:pt x="3637118" y="2480664"/>
                </a:lnTo>
                <a:close/>
                <a:moveTo>
                  <a:pt x="2550201" y="2373826"/>
                </a:moveTo>
                <a:lnTo>
                  <a:pt x="3454993" y="2373826"/>
                </a:lnTo>
                <a:lnTo>
                  <a:pt x="3454993" y="2480664"/>
                </a:lnTo>
                <a:lnTo>
                  <a:pt x="2550201" y="2480664"/>
                </a:lnTo>
                <a:close/>
                <a:moveTo>
                  <a:pt x="3637119" y="2024930"/>
                </a:moveTo>
                <a:lnTo>
                  <a:pt x="4541909" y="2024930"/>
                </a:lnTo>
                <a:lnTo>
                  <a:pt x="4541909" y="2131769"/>
                </a:lnTo>
                <a:lnTo>
                  <a:pt x="3637119" y="2131769"/>
                </a:lnTo>
                <a:close/>
                <a:moveTo>
                  <a:pt x="2550201" y="2024930"/>
                </a:moveTo>
                <a:lnTo>
                  <a:pt x="3454993" y="2024930"/>
                </a:lnTo>
                <a:lnTo>
                  <a:pt x="3454993" y="2131769"/>
                </a:lnTo>
                <a:lnTo>
                  <a:pt x="2550201" y="2131769"/>
                </a:lnTo>
                <a:close/>
                <a:moveTo>
                  <a:pt x="6133380" y="1502419"/>
                </a:moveTo>
                <a:lnTo>
                  <a:pt x="6186450" y="1504296"/>
                </a:lnTo>
                <a:lnTo>
                  <a:pt x="6235571" y="1509872"/>
                </a:lnTo>
                <a:lnTo>
                  <a:pt x="6280876" y="1519068"/>
                </a:lnTo>
                <a:lnTo>
                  <a:pt x="6322498" y="1531799"/>
                </a:lnTo>
                <a:lnTo>
                  <a:pt x="6360569" y="1547987"/>
                </a:lnTo>
                <a:lnTo>
                  <a:pt x="6395222" y="1567548"/>
                </a:lnTo>
                <a:lnTo>
                  <a:pt x="6426589" y="1590403"/>
                </a:lnTo>
                <a:lnTo>
                  <a:pt x="6454804" y="1616469"/>
                </a:lnTo>
                <a:lnTo>
                  <a:pt x="6480000" y="1645665"/>
                </a:lnTo>
                <a:lnTo>
                  <a:pt x="6502308" y="1677910"/>
                </a:lnTo>
                <a:lnTo>
                  <a:pt x="6521861" y="1713122"/>
                </a:lnTo>
                <a:lnTo>
                  <a:pt x="6538793" y="1751221"/>
                </a:lnTo>
                <a:lnTo>
                  <a:pt x="6553236" y="1792122"/>
                </a:lnTo>
                <a:lnTo>
                  <a:pt x="6565323" y="1835748"/>
                </a:lnTo>
                <a:lnTo>
                  <a:pt x="6575186" y="1882015"/>
                </a:lnTo>
                <a:lnTo>
                  <a:pt x="6582958" y="1930843"/>
                </a:lnTo>
                <a:lnTo>
                  <a:pt x="6588772" y="1982149"/>
                </a:lnTo>
                <a:lnTo>
                  <a:pt x="6592760" y="2035854"/>
                </a:lnTo>
                <a:lnTo>
                  <a:pt x="6595056" y="2091874"/>
                </a:lnTo>
                <a:lnTo>
                  <a:pt x="6595792" y="2150130"/>
                </a:lnTo>
                <a:lnTo>
                  <a:pt x="6595092" y="2208635"/>
                </a:lnTo>
                <a:lnTo>
                  <a:pt x="6592895" y="2264905"/>
                </a:lnTo>
                <a:lnTo>
                  <a:pt x="6589059" y="2318855"/>
                </a:lnTo>
                <a:lnTo>
                  <a:pt x="6583438" y="2370405"/>
                </a:lnTo>
                <a:lnTo>
                  <a:pt x="6575890" y="2419470"/>
                </a:lnTo>
                <a:lnTo>
                  <a:pt x="6566269" y="2465969"/>
                </a:lnTo>
                <a:lnTo>
                  <a:pt x="6554432" y="2509818"/>
                </a:lnTo>
                <a:lnTo>
                  <a:pt x="6540235" y="2550936"/>
                </a:lnTo>
                <a:lnTo>
                  <a:pt x="6523535" y="2589239"/>
                </a:lnTo>
                <a:lnTo>
                  <a:pt x="6504186" y="2624645"/>
                </a:lnTo>
                <a:lnTo>
                  <a:pt x="6482045" y="2657071"/>
                </a:lnTo>
                <a:lnTo>
                  <a:pt x="6456968" y="2686434"/>
                </a:lnTo>
                <a:lnTo>
                  <a:pt x="6428811" y="2712653"/>
                </a:lnTo>
                <a:lnTo>
                  <a:pt x="6397430" y="2735643"/>
                </a:lnTo>
                <a:lnTo>
                  <a:pt x="6362682" y="2755324"/>
                </a:lnTo>
                <a:lnTo>
                  <a:pt x="6324421" y="2771611"/>
                </a:lnTo>
                <a:lnTo>
                  <a:pt x="6282504" y="2784423"/>
                </a:lnTo>
                <a:lnTo>
                  <a:pt x="6236788" y="2793677"/>
                </a:lnTo>
                <a:lnTo>
                  <a:pt x="6187128" y="2799290"/>
                </a:lnTo>
                <a:lnTo>
                  <a:pt x="6133380" y="2801179"/>
                </a:lnTo>
                <a:lnTo>
                  <a:pt x="6133380" y="2704356"/>
                </a:lnTo>
                <a:lnTo>
                  <a:pt x="6183065" y="2702123"/>
                </a:lnTo>
                <a:lnTo>
                  <a:pt x="6227986" y="2695502"/>
                </a:lnTo>
                <a:lnTo>
                  <a:pt x="6268368" y="2684613"/>
                </a:lnTo>
                <a:lnTo>
                  <a:pt x="6304439" y="2669573"/>
                </a:lnTo>
                <a:lnTo>
                  <a:pt x="6364550" y="2627513"/>
                </a:lnTo>
                <a:lnTo>
                  <a:pt x="6410130" y="2570269"/>
                </a:lnTo>
                <a:lnTo>
                  <a:pt x="6428035" y="2536249"/>
                </a:lnTo>
                <a:lnTo>
                  <a:pt x="6442987" y="2498787"/>
                </a:lnTo>
                <a:lnTo>
                  <a:pt x="6455211" y="2458002"/>
                </a:lnTo>
                <a:lnTo>
                  <a:pt x="6464934" y="2414012"/>
                </a:lnTo>
                <a:lnTo>
                  <a:pt x="6472381" y="2366936"/>
                </a:lnTo>
                <a:lnTo>
                  <a:pt x="6477780" y="2316891"/>
                </a:lnTo>
                <a:lnTo>
                  <a:pt x="6481356" y="2263996"/>
                </a:lnTo>
                <a:lnTo>
                  <a:pt x="6483335" y="2208370"/>
                </a:lnTo>
                <a:lnTo>
                  <a:pt x="6483945" y="2150130"/>
                </a:lnTo>
                <a:lnTo>
                  <a:pt x="6483303" y="2092461"/>
                </a:lnTo>
                <a:lnTo>
                  <a:pt x="6481233" y="2037371"/>
                </a:lnTo>
                <a:lnTo>
                  <a:pt x="6477523" y="1984979"/>
                </a:lnTo>
                <a:lnTo>
                  <a:pt x="6471957" y="1935402"/>
                </a:lnTo>
                <a:lnTo>
                  <a:pt x="6464322" y="1888759"/>
                </a:lnTo>
                <a:lnTo>
                  <a:pt x="6454404" y="1845167"/>
                </a:lnTo>
                <a:lnTo>
                  <a:pt x="6441988" y="1804746"/>
                </a:lnTo>
                <a:lnTo>
                  <a:pt x="6426861" y="1767614"/>
                </a:lnTo>
                <a:lnTo>
                  <a:pt x="6408808" y="1733888"/>
                </a:lnTo>
                <a:lnTo>
                  <a:pt x="6363070" y="1677129"/>
                </a:lnTo>
                <a:lnTo>
                  <a:pt x="6303061" y="1635416"/>
                </a:lnTo>
                <a:lnTo>
                  <a:pt x="6267169" y="1620497"/>
                </a:lnTo>
                <a:lnTo>
                  <a:pt x="6227068" y="1609694"/>
                </a:lnTo>
                <a:lnTo>
                  <a:pt x="6182543" y="1603125"/>
                </a:lnTo>
                <a:lnTo>
                  <a:pt x="6133380" y="1600910"/>
                </a:lnTo>
                <a:close/>
                <a:moveTo>
                  <a:pt x="6041530" y="1502419"/>
                </a:moveTo>
                <a:lnTo>
                  <a:pt x="6041530" y="1600910"/>
                </a:lnTo>
                <a:lnTo>
                  <a:pt x="5992644" y="1603125"/>
                </a:lnTo>
                <a:lnTo>
                  <a:pt x="5948363" y="1609694"/>
                </a:lnTo>
                <a:lnTo>
                  <a:pt x="5908477" y="1620497"/>
                </a:lnTo>
                <a:lnTo>
                  <a:pt x="5872771" y="1635416"/>
                </a:lnTo>
                <a:lnTo>
                  <a:pt x="5813056" y="1677129"/>
                </a:lnTo>
                <a:lnTo>
                  <a:pt x="5767522" y="1733888"/>
                </a:lnTo>
                <a:lnTo>
                  <a:pt x="5749543" y="1767614"/>
                </a:lnTo>
                <a:lnTo>
                  <a:pt x="5734473" y="1804746"/>
                </a:lnTo>
                <a:lnTo>
                  <a:pt x="5722101" y="1845167"/>
                </a:lnTo>
                <a:lnTo>
                  <a:pt x="5712213" y="1888759"/>
                </a:lnTo>
                <a:lnTo>
                  <a:pt x="5704599" y="1935402"/>
                </a:lnTo>
                <a:lnTo>
                  <a:pt x="5699046" y="1984979"/>
                </a:lnTo>
                <a:lnTo>
                  <a:pt x="5695342" y="2037371"/>
                </a:lnTo>
                <a:lnTo>
                  <a:pt x="5693275" y="2092461"/>
                </a:lnTo>
                <a:lnTo>
                  <a:pt x="5692633" y="2150130"/>
                </a:lnTo>
                <a:lnTo>
                  <a:pt x="5693259" y="2208370"/>
                </a:lnTo>
                <a:lnTo>
                  <a:pt x="5695281" y="2263996"/>
                </a:lnTo>
                <a:lnTo>
                  <a:pt x="5698918" y="2316891"/>
                </a:lnTo>
                <a:lnTo>
                  <a:pt x="5704387" y="2366936"/>
                </a:lnTo>
                <a:lnTo>
                  <a:pt x="5711908" y="2414012"/>
                </a:lnTo>
                <a:lnTo>
                  <a:pt x="5721697" y="2458002"/>
                </a:lnTo>
                <a:lnTo>
                  <a:pt x="5733974" y="2498787"/>
                </a:lnTo>
                <a:lnTo>
                  <a:pt x="5748956" y="2536249"/>
                </a:lnTo>
                <a:lnTo>
                  <a:pt x="5766862" y="2570269"/>
                </a:lnTo>
                <a:lnTo>
                  <a:pt x="5812316" y="2627513"/>
                </a:lnTo>
                <a:lnTo>
                  <a:pt x="5872082" y="2669573"/>
                </a:lnTo>
                <a:lnTo>
                  <a:pt x="5907877" y="2684613"/>
                </a:lnTo>
                <a:lnTo>
                  <a:pt x="5947905" y="2695502"/>
                </a:lnTo>
                <a:lnTo>
                  <a:pt x="5992383" y="2702123"/>
                </a:lnTo>
                <a:lnTo>
                  <a:pt x="6041530" y="2704356"/>
                </a:lnTo>
                <a:lnTo>
                  <a:pt x="6041530" y="2801179"/>
                </a:lnTo>
                <a:lnTo>
                  <a:pt x="5988008" y="2799290"/>
                </a:lnTo>
                <a:lnTo>
                  <a:pt x="5938527" y="2793677"/>
                </a:lnTo>
                <a:lnTo>
                  <a:pt x="5892948" y="2784423"/>
                </a:lnTo>
                <a:lnTo>
                  <a:pt x="5851129" y="2771611"/>
                </a:lnTo>
                <a:lnTo>
                  <a:pt x="5812932" y="2755324"/>
                </a:lnTo>
                <a:lnTo>
                  <a:pt x="5778215" y="2735643"/>
                </a:lnTo>
                <a:lnTo>
                  <a:pt x="5746839" y="2712653"/>
                </a:lnTo>
                <a:lnTo>
                  <a:pt x="5718663" y="2686434"/>
                </a:lnTo>
                <a:lnTo>
                  <a:pt x="5693546" y="2657071"/>
                </a:lnTo>
                <a:lnTo>
                  <a:pt x="5671350" y="2624645"/>
                </a:lnTo>
                <a:lnTo>
                  <a:pt x="5651932" y="2589239"/>
                </a:lnTo>
                <a:lnTo>
                  <a:pt x="5635155" y="2550936"/>
                </a:lnTo>
                <a:lnTo>
                  <a:pt x="5620876" y="2509818"/>
                </a:lnTo>
                <a:lnTo>
                  <a:pt x="5608956" y="2465969"/>
                </a:lnTo>
                <a:lnTo>
                  <a:pt x="5599254" y="2419470"/>
                </a:lnTo>
                <a:lnTo>
                  <a:pt x="5591631" y="2370405"/>
                </a:lnTo>
                <a:lnTo>
                  <a:pt x="5585946" y="2318855"/>
                </a:lnTo>
                <a:lnTo>
                  <a:pt x="5582059" y="2264905"/>
                </a:lnTo>
                <a:lnTo>
                  <a:pt x="5579829" y="2208635"/>
                </a:lnTo>
                <a:lnTo>
                  <a:pt x="5579118" y="2150130"/>
                </a:lnTo>
                <a:lnTo>
                  <a:pt x="5579853" y="2091874"/>
                </a:lnTo>
                <a:lnTo>
                  <a:pt x="5582149" y="2035854"/>
                </a:lnTo>
                <a:lnTo>
                  <a:pt x="5586138" y="1982149"/>
                </a:lnTo>
                <a:lnTo>
                  <a:pt x="5591951" y="1930843"/>
                </a:lnTo>
                <a:lnTo>
                  <a:pt x="5599724" y="1882015"/>
                </a:lnTo>
                <a:lnTo>
                  <a:pt x="5609587" y="1835748"/>
                </a:lnTo>
                <a:lnTo>
                  <a:pt x="5621673" y="1792122"/>
                </a:lnTo>
                <a:lnTo>
                  <a:pt x="5636116" y="1751221"/>
                </a:lnTo>
                <a:lnTo>
                  <a:pt x="5653048" y="1713122"/>
                </a:lnTo>
                <a:lnTo>
                  <a:pt x="5672601" y="1677910"/>
                </a:lnTo>
                <a:lnTo>
                  <a:pt x="5694909" y="1645665"/>
                </a:lnTo>
                <a:lnTo>
                  <a:pt x="5720105" y="1616469"/>
                </a:lnTo>
                <a:lnTo>
                  <a:pt x="5748320" y="1590403"/>
                </a:lnTo>
                <a:lnTo>
                  <a:pt x="5779687" y="1567548"/>
                </a:lnTo>
                <a:lnTo>
                  <a:pt x="5814340" y="1547987"/>
                </a:lnTo>
                <a:lnTo>
                  <a:pt x="5852411" y="1531799"/>
                </a:lnTo>
                <a:lnTo>
                  <a:pt x="5894033" y="1519068"/>
                </a:lnTo>
                <a:lnTo>
                  <a:pt x="5939338" y="1509872"/>
                </a:lnTo>
                <a:lnTo>
                  <a:pt x="5988459" y="1504296"/>
                </a:lnTo>
                <a:close/>
                <a:moveTo>
                  <a:pt x="4160590" y="1021648"/>
                </a:moveTo>
                <a:lnTo>
                  <a:pt x="4367589" y="1021648"/>
                </a:lnTo>
                <a:lnTo>
                  <a:pt x="4367589" y="1195261"/>
                </a:lnTo>
                <a:lnTo>
                  <a:pt x="4160590" y="1195261"/>
                </a:lnTo>
                <a:close/>
                <a:moveTo>
                  <a:pt x="5799344" y="871408"/>
                </a:moveTo>
                <a:lnTo>
                  <a:pt x="6704136" y="871408"/>
                </a:lnTo>
                <a:lnTo>
                  <a:pt x="6704136" y="978246"/>
                </a:lnTo>
                <a:lnTo>
                  <a:pt x="5799344" y="978246"/>
                </a:lnTo>
                <a:close/>
                <a:moveTo>
                  <a:pt x="5799344" y="522512"/>
                </a:moveTo>
                <a:lnTo>
                  <a:pt x="6704136" y="522512"/>
                </a:lnTo>
                <a:lnTo>
                  <a:pt x="6704136" y="629350"/>
                </a:lnTo>
                <a:lnTo>
                  <a:pt x="5799344" y="629350"/>
                </a:lnTo>
                <a:close/>
                <a:moveTo>
                  <a:pt x="7774691" y="6383"/>
                </a:moveTo>
                <a:lnTo>
                  <a:pt x="8148629" y="6383"/>
                </a:lnTo>
                <a:lnTo>
                  <a:pt x="8148629" y="101632"/>
                </a:lnTo>
                <a:lnTo>
                  <a:pt x="7889880" y="101632"/>
                </a:lnTo>
                <a:lnTo>
                  <a:pt x="7889880" y="1200182"/>
                </a:lnTo>
                <a:lnTo>
                  <a:pt x="8148629" y="1200182"/>
                </a:lnTo>
                <a:lnTo>
                  <a:pt x="8148629" y="1295432"/>
                </a:lnTo>
                <a:lnTo>
                  <a:pt x="7774691" y="1295432"/>
                </a:lnTo>
                <a:lnTo>
                  <a:pt x="7774691" y="1200182"/>
                </a:lnTo>
                <a:lnTo>
                  <a:pt x="7774691" y="101632"/>
                </a:lnTo>
                <a:close/>
                <a:moveTo>
                  <a:pt x="8243417" y="0"/>
                </a:moveTo>
                <a:lnTo>
                  <a:pt x="8296487" y="1877"/>
                </a:lnTo>
                <a:lnTo>
                  <a:pt x="8345608" y="7454"/>
                </a:lnTo>
                <a:lnTo>
                  <a:pt x="8390913" y="16649"/>
                </a:lnTo>
                <a:lnTo>
                  <a:pt x="8432534" y="29381"/>
                </a:lnTo>
                <a:lnTo>
                  <a:pt x="8470605" y="45569"/>
                </a:lnTo>
                <a:lnTo>
                  <a:pt x="8505258" y="65130"/>
                </a:lnTo>
                <a:lnTo>
                  <a:pt x="8536626" y="87984"/>
                </a:lnTo>
                <a:lnTo>
                  <a:pt x="8564841" y="114050"/>
                </a:lnTo>
                <a:lnTo>
                  <a:pt x="8590036" y="143246"/>
                </a:lnTo>
                <a:lnTo>
                  <a:pt x="8612344" y="175491"/>
                </a:lnTo>
                <a:lnTo>
                  <a:pt x="8631898" y="210703"/>
                </a:lnTo>
                <a:lnTo>
                  <a:pt x="8648830" y="248801"/>
                </a:lnTo>
                <a:lnTo>
                  <a:pt x="8663273" y="289703"/>
                </a:lnTo>
                <a:lnTo>
                  <a:pt x="8675359" y="333329"/>
                </a:lnTo>
                <a:lnTo>
                  <a:pt x="8685222" y="379596"/>
                </a:lnTo>
                <a:lnTo>
                  <a:pt x="8692995" y="428424"/>
                </a:lnTo>
                <a:lnTo>
                  <a:pt x="8698808" y="479730"/>
                </a:lnTo>
                <a:lnTo>
                  <a:pt x="8702797" y="533435"/>
                </a:lnTo>
                <a:lnTo>
                  <a:pt x="8705093" y="589455"/>
                </a:lnTo>
                <a:lnTo>
                  <a:pt x="8705829" y="647711"/>
                </a:lnTo>
                <a:lnTo>
                  <a:pt x="8705129" y="706216"/>
                </a:lnTo>
                <a:lnTo>
                  <a:pt x="8702932" y="762486"/>
                </a:lnTo>
                <a:lnTo>
                  <a:pt x="8699096" y="816436"/>
                </a:lnTo>
                <a:lnTo>
                  <a:pt x="8693475" y="867986"/>
                </a:lnTo>
                <a:lnTo>
                  <a:pt x="8685927" y="917051"/>
                </a:lnTo>
                <a:lnTo>
                  <a:pt x="8676306" y="963550"/>
                </a:lnTo>
                <a:lnTo>
                  <a:pt x="8664469" y="1007399"/>
                </a:lnTo>
                <a:lnTo>
                  <a:pt x="8650272" y="1048517"/>
                </a:lnTo>
                <a:lnTo>
                  <a:pt x="8633571" y="1086820"/>
                </a:lnTo>
                <a:lnTo>
                  <a:pt x="8614222" y="1122226"/>
                </a:lnTo>
                <a:lnTo>
                  <a:pt x="8592081" y="1154652"/>
                </a:lnTo>
                <a:lnTo>
                  <a:pt x="8567005" y="1184015"/>
                </a:lnTo>
                <a:lnTo>
                  <a:pt x="8538848" y="1210234"/>
                </a:lnTo>
                <a:lnTo>
                  <a:pt x="8507467" y="1233224"/>
                </a:lnTo>
                <a:lnTo>
                  <a:pt x="8472718" y="1252905"/>
                </a:lnTo>
                <a:lnTo>
                  <a:pt x="8434458" y="1269193"/>
                </a:lnTo>
                <a:lnTo>
                  <a:pt x="8392541" y="1282004"/>
                </a:lnTo>
                <a:lnTo>
                  <a:pt x="8346825" y="1291258"/>
                </a:lnTo>
                <a:lnTo>
                  <a:pt x="8297165" y="1296871"/>
                </a:lnTo>
                <a:lnTo>
                  <a:pt x="8243417" y="1298760"/>
                </a:lnTo>
                <a:lnTo>
                  <a:pt x="8243417" y="1201938"/>
                </a:lnTo>
                <a:lnTo>
                  <a:pt x="8293102" y="1199705"/>
                </a:lnTo>
                <a:lnTo>
                  <a:pt x="8338022" y="1193084"/>
                </a:lnTo>
                <a:lnTo>
                  <a:pt x="8378405" y="1182195"/>
                </a:lnTo>
                <a:lnTo>
                  <a:pt x="8414476" y="1167155"/>
                </a:lnTo>
                <a:lnTo>
                  <a:pt x="8474587" y="1125095"/>
                </a:lnTo>
                <a:lnTo>
                  <a:pt x="8520166" y="1067851"/>
                </a:lnTo>
                <a:lnTo>
                  <a:pt x="8538072" y="1033830"/>
                </a:lnTo>
                <a:lnTo>
                  <a:pt x="8553024" y="996369"/>
                </a:lnTo>
                <a:lnTo>
                  <a:pt x="8565248" y="955584"/>
                </a:lnTo>
                <a:lnTo>
                  <a:pt x="8574971" y="911594"/>
                </a:lnTo>
                <a:lnTo>
                  <a:pt x="8582418" y="864517"/>
                </a:lnTo>
                <a:lnTo>
                  <a:pt x="8587817" y="814473"/>
                </a:lnTo>
                <a:lnTo>
                  <a:pt x="8591393" y="761578"/>
                </a:lnTo>
                <a:lnTo>
                  <a:pt x="8593372" y="705951"/>
                </a:lnTo>
                <a:lnTo>
                  <a:pt x="8593982" y="647711"/>
                </a:lnTo>
                <a:lnTo>
                  <a:pt x="8593340" y="590042"/>
                </a:lnTo>
                <a:lnTo>
                  <a:pt x="8591270" y="534953"/>
                </a:lnTo>
                <a:lnTo>
                  <a:pt x="8587560" y="482561"/>
                </a:lnTo>
                <a:lnTo>
                  <a:pt x="8581994" y="432984"/>
                </a:lnTo>
                <a:lnTo>
                  <a:pt x="8574359" y="386340"/>
                </a:lnTo>
                <a:lnTo>
                  <a:pt x="8564441" y="342749"/>
                </a:lnTo>
                <a:lnTo>
                  <a:pt x="8552025" y="302328"/>
                </a:lnTo>
                <a:lnTo>
                  <a:pt x="8536898" y="265196"/>
                </a:lnTo>
                <a:lnTo>
                  <a:pt x="8518845" y="231470"/>
                </a:lnTo>
                <a:lnTo>
                  <a:pt x="8473107" y="174711"/>
                </a:lnTo>
                <a:lnTo>
                  <a:pt x="8413098" y="132998"/>
                </a:lnTo>
                <a:lnTo>
                  <a:pt x="8377206" y="118079"/>
                </a:lnTo>
                <a:lnTo>
                  <a:pt x="8337105" y="107277"/>
                </a:lnTo>
                <a:lnTo>
                  <a:pt x="8292580" y="100708"/>
                </a:lnTo>
                <a:lnTo>
                  <a:pt x="8243417" y="98492"/>
                </a:lnTo>
                <a:close/>
                <a:moveTo>
                  <a:pt x="3109502" y="0"/>
                </a:moveTo>
                <a:lnTo>
                  <a:pt x="3162572" y="1876"/>
                </a:lnTo>
                <a:lnTo>
                  <a:pt x="3211694" y="7453"/>
                </a:lnTo>
                <a:lnTo>
                  <a:pt x="3256998" y="16648"/>
                </a:lnTo>
                <a:lnTo>
                  <a:pt x="3298621" y="29380"/>
                </a:lnTo>
                <a:lnTo>
                  <a:pt x="3336692" y="45568"/>
                </a:lnTo>
                <a:lnTo>
                  <a:pt x="3371345" y="65129"/>
                </a:lnTo>
                <a:lnTo>
                  <a:pt x="3402713" y="87984"/>
                </a:lnTo>
                <a:lnTo>
                  <a:pt x="3430928" y="114050"/>
                </a:lnTo>
                <a:lnTo>
                  <a:pt x="3456123" y="143246"/>
                </a:lnTo>
                <a:lnTo>
                  <a:pt x="3478431" y="175491"/>
                </a:lnTo>
                <a:lnTo>
                  <a:pt x="3497985" y="210703"/>
                </a:lnTo>
                <a:lnTo>
                  <a:pt x="3514917" y="248801"/>
                </a:lnTo>
                <a:lnTo>
                  <a:pt x="3529360" y="289703"/>
                </a:lnTo>
                <a:lnTo>
                  <a:pt x="3541446" y="333329"/>
                </a:lnTo>
                <a:lnTo>
                  <a:pt x="3551309" y="379596"/>
                </a:lnTo>
                <a:lnTo>
                  <a:pt x="3559082" y="428424"/>
                </a:lnTo>
                <a:lnTo>
                  <a:pt x="3564896" y="479730"/>
                </a:lnTo>
                <a:lnTo>
                  <a:pt x="3568884" y="533435"/>
                </a:lnTo>
                <a:lnTo>
                  <a:pt x="3571180" y="589455"/>
                </a:lnTo>
                <a:lnTo>
                  <a:pt x="3571916" y="647711"/>
                </a:lnTo>
                <a:lnTo>
                  <a:pt x="3571216" y="706216"/>
                </a:lnTo>
                <a:lnTo>
                  <a:pt x="3569019" y="762486"/>
                </a:lnTo>
                <a:lnTo>
                  <a:pt x="3565183" y="816436"/>
                </a:lnTo>
                <a:lnTo>
                  <a:pt x="3559562" y="867986"/>
                </a:lnTo>
                <a:lnTo>
                  <a:pt x="3552014" y="917051"/>
                </a:lnTo>
                <a:lnTo>
                  <a:pt x="3542393" y="963550"/>
                </a:lnTo>
                <a:lnTo>
                  <a:pt x="3530556" y="1007399"/>
                </a:lnTo>
                <a:lnTo>
                  <a:pt x="3516359" y="1048517"/>
                </a:lnTo>
                <a:lnTo>
                  <a:pt x="3499658" y="1086820"/>
                </a:lnTo>
                <a:lnTo>
                  <a:pt x="3480309" y="1122226"/>
                </a:lnTo>
                <a:lnTo>
                  <a:pt x="3458168" y="1154652"/>
                </a:lnTo>
                <a:lnTo>
                  <a:pt x="3433091" y="1184015"/>
                </a:lnTo>
                <a:lnTo>
                  <a:pt x="3404934" y="1210234"/>
                </a:lnTo>
                <a:lnTo>
                  <a:pt x="3373554" y="1233224"/>
                </a:lnTo>
                <a:lnTo>
                  <a:pt x="3338805" y="1252905"/>
                </a:lnTo>
                <a:lnTo>
                  <a:pt x="3300544" y="1269192"/>
                </a:lnTo>
                <a:lnTo>
                  <a:pt x="3258627" y="1282004"/>
                </a:lnTo>
                <a:lnTo>
                  <a:pt x="3212910" y="1291258"/>
                </a:lnTo>
                <a:lnTo>
                  <a:pt x="3163250" y="1296871"/>
                </a:lnTo>
                <a:lnTo>
                  <a:pt x="3109502" y="1298760"/>
                </a:lnTo>
                <a:lnTo>
                  <a:pt x="3109502" y="1201938"/>
                </a:lnTo>
                <a:lnTo>
                  <a:pt x="3159187" y="1199705"/>
                </a:lnTo>
                <a:lnTo>
                  <a:pt x="3204108" y="1193084"/>
                </a:lnTo>
                <a:lnTo>
                  <a:pt x="3244491" y="1182195"/>
                </a:lnTo>
                <a:lnTo>
                  <a:pt x="3280562" y="1167155"/>
                </a:lnTo>
                <a:lnTo>
                  <a:pt x="3340673" y="1125095"/>
                </a:lnTo>
                <a:lnTo>
                  <a:pt x="3386253" y="1067851"/>
                </a:lnTo>
                <a:lnTo>
                  <a:pt x="3404158" y="1033830"/>
                </a:lnTo>
                <a:lnTo>
                  <a:pt x="3419110" y="996369"/>
                </a:lnTo>
                <a:lnTo>
                  <a:pt x="3431334" y="955584"/>
                </a:lnTo>
                <a:lnTo>
                  <a:pt x="3441057" y="911594"/>
                </a:lnTo>
                <a:lnTo>
                  <a:pt x="3448504" y="864517"/>
                </a:lnTo>
                <a:lnTo>
                  <a:pt x="3453903" y="814473"/>
                </a:lnTo>
                <a:lnTo>
                  <a:pt x="3457479" y="761578"/>
                </a:lnTo>
                <a:lnTo>
                  <a:pt x="3459458" y="705951"/>
                </a:lnTo>
                <a:lnTo>
                  <a:pt x="3460068" y="647711"/>
                </a:lnTo>
                <a:lnTo>
                  <a:pt x="3459426" y="590042"/>
                </a:lnTo>
                <a:lnTo>
                  <a:pt x="3457356" y="534953"/>
                </a:lnTo>
                <a:lnTo>
                  <a:pt x="3453646" y="482560"/>
                </a:lnTo>
                <a:lnTo>
                  <a:pt x="3448080" y="432984"/>
                </a:lnTo>
                <a:lnTo>
                  <a:pt x="3440445" y="386340"/>
                </a:lnTo>
                <a:lnTo>
                  <a:pt x="3430527" y="342749"/>
                </a:lnTo>
                <a:lnTo>
                  <a:pt x="3418111" y="302328"/>
                </a:lnTo>
                <a:lnTo>
                  <a:pt x="3402984" y="265196"/>
                </a:lnTo>
                <a:lnTo>
                  <a:pt x="3384931" y="231470"/>
                </a:lnTo>
                <a:lnTo>
                  <a:pt x="3339193" y="174711"/>
                </a:lnTo>
                <a:lnTo>
                  <a:pt x="3279183" y="132998"/>
                </a:lnTo>
                <a:lnTo>
                  <a:pt x="3243291" y="118079"/>
                </a:lnTo>
                <a:lnTo>
                  <a:pt x="3203191" y="107276"/>
                </a:lnTo>
                <a:lnTo>
                  <a:pt x="3158665" y="100708"/>
                </a:lnTo>
                <a:lnTo>
                  <a:pt x="3109502" y="98492"/>
                </a:lnTo>
                <a:close/>
                <a:moveTo>
                  <a:pt x="3017637" y="0"/>
                </a:moveTo>
                <a:lnTo>
                  <a:pt x="3017637" y="98492"/>
                </a:lnTo>
                <a:lnTo>
                  <a:pt x="2968752" y="100708"/>
                </a:lnTo>
                <a:lnTo>
                  <a:pt x="2924471" y="107277"/>
                </a:lnTo>
                <a:lnTo>
                  <a:pt x="2884585" y="118079"/>
                </a:lnTo>
                <a:lnTo>
                  <a:pt x="2848878" y="132998"/>
                </a:lnTo>
                <a:lnTo>
                  <a:pt x="2789164" y="174711"/>
                </a:lnTo>
                <a:lnTo>
                  <a:pt x="2743630" y="231470"/>
                </a:lnTo>
                <a:lnTo>
                  <a:pt x="2725650" y="265196"/>
                </a:lnTo>
                <a:lnTo>
                  <a:pt x="2710579" y="302328"/>
                </a:lnTo>
                <a:lnTo>
                  <a:pt x="2698207" y="342749"/>
                </a:lnTo>
                <a:lnTo>
                  <a:pt x="2688320" y="386340"/>
                </a:lnTo>
                <a:lnTo>
                  <a:pt x="2680706" y="432984"/>
                </a:lnTo>
                <a:lnTo>
                  <a:pt x="2675153" y="482561"/>
                </a:lnTo>
                <a:lnTo>
                  <a:pt x="2671448" y="534953"/>
                </a:lnTo>
                <a:lnTo>
                  <a:pt x="2669382" y="590042"/>
                </a:lnTo>
                <a:lnTo>
                  <a:pt x="2668740" y="647711"/>
                </a:lnTo>
                <a:lnTo>
                  <a:pt x="2669365" y="705951"/>
                </a:lnTo>
                <a:lnTo>
                  <a:pt x="2671388" y="761578"/>
                </a:lnTo>
                <a:lnTo>
                  <a:pt x="2675025" y="814473"/>
                </a:lnTo>
                <a:lnTo>
                  <a:pt x="2680494" y="864517"/>
                </a:lnTo>
                <a:lnTo>
                  <a:pt x="2688015" y="911594"/>
                </a:lnTo>
                <a:lnTo>
                  <a:pt x="2697803" y="955584"/>
                </a:lnTo>
                <a:lnTo>
                  <a:pt x="2710081" y="996369"/>
                </a:lnTo>
                <a:lnTo>
                  <a:pt x="2725063" y="1033830"/>
                </a:lnTo>
                <a:lnTo>
                  <a:pt x="2742969" y="1067851"/>
                </a:lnTo>
                <a:lnTo>
                  <a:pt x="2788423" y="1125095"/>
                </a:lnTo>
                <a:lnTo>
                  <a:pt x="2848189" y="1167155"/>
                </a:lnTo>
                <a:lnTo>
                  <a:pt x="2883984" y="1182195"/>
                </a:lnTo>
                <a:lnTo>
                  <a:pt x="2924012" y="1193084"/>
                </a:lnTo>
                <a:lnTo>
                  <a:pt x="2968491" y="1199705"/>
                </a:lnTo>
                <a:lnTo>
                  <a:pt x="3017637" y="1201938"/>
                </a:lnTo>
                <a:lnTo>
                  <a:pt x="3017637" y="1298760"/>
                </a:lnTo>
                <a:lnTo>
                  <a:pt x="2964115" y="1296871"/>
                </a:lnTo>
                <a:lnTo>
                  <a:pt x="2914634" y="1291258"/>
                </a:lnTo>
                <a:lnTo>
                  <a:pt x="2869056" y="1282004"/>
                </a:lnTo>
                <a:lnTo>
                  <a:pt x="2827236" y="1269193"/>
                </a:lnTo>
                <a:lnTo>
                  <a:pt x="2789039" y="1252905"/>
                </a:lnTo>
                <a:lnTo>
                  <a:pt x="2754322" y="1233224"/>
                </a:lnTo>
                <a:lnTo>
                  <a:pt x="2722946" y="1210234"/>
                </a:lnTo>
                <a:lnTo>
                  <a:pt x="2694770" y="1184015"/>
                </a:lnTo>
                <a:lnTo>
                  <a:pt x="2669653" y="1154652"/>
                </a:lnTo>
                <a:lnTo>
                  <a:pt x="2647457" y="1122226"/>
                </a:lnTo>
                <a:lnTo>
                  <a:pt x="2628039" y="1086820"/>
                </a:lnTo>
                <a:lnTo>
                  <a:pt x="2611262" y="1048517"/>
                </a:lnTo>
                <a:lnTo>
                  <a:pt x="2596982" y="1007399"/>
                </a:lnTo>
                <a:lnTo>
                  <a:pt x="2585062" y="963550"/>
                </a:lnTo>
                <a:lnTo>
                  <a:pt x="2575361" y="917051"/>
                </a:lnTo>
                <a:lnTo>
                  <a:pt x="2567737" y="867986"/>
                </a:lnTo>
                <a:lnTo>
                  <a:pt x="2562052" y="816436"/>
                </a:lnTo>
                <a:lnTo>
                  <a:pt x="2558166" y="762486"/>
                </a:lnTo>
                <a:lnTo>
                  <a:pt x="2555936" y="706216"/>
                </a:lnTo>
                <a:lnTo>
                  <a:pt x="2555225" y="647711"/>
                </a:lnTo>
                <a:lnTo>
                  <a:pt x="2555961" y="589455"/>
                </a:lnTo>
                <a:lnTo>
                  <a:pt x="2558256" y="533435"/>
                </a:lnTo>
                <a:lnTo>
                  <a:pt x="2562245" y="479730"/>
                </a:lnTo>
                <a:lnTo>
                  <a:pt x="2568057" y="428424"/>
                </a:lnTo>
                <a:lnTo>
                  <a:pt x="2575830" y="379596"/>
                </a:lnTo>
                <a:lnTo>
                  <a:pt x="2585694" y="333329"/>
                </a:lnTo>
                <a:lnTo>
                  <a:pt x="2597780" y="289703"/>
                </a:lnTo>
                <a:lnTo>
                  <a:pt x="2612222" y="248801"/>
                </a:lnTo>
                <a:lnTo>
                  <a:pt x="2629156" y="210703"/>
                </a:lnTo>
                <a:lnTo>
                  <a:pt x="2648708" y="175491"/>
                </a:lnTo>
                <a:lnTo>
                  <a:pt x="2671016" y="143246"/>
                </a:lnTo>
                <a:lnTo>
                  <a:pt x="2696212" y="114050"/>
                </a:lnTo>
                <a:lnTo>
                  <a:pt x="2724427" y="87984"/>
                </a:lnTo>
                <a:lnTo>
                  <a:pt x="2755794" y="65130"/>
                </a:lnTo>
                <a:lnTo>
                  <a:pt x="2790448" y="45569"/>
                </a:lnTo>
                <a:lnTo>
                  <a:pt x="2828518" y="29382"/>
                </a:lnTo>
                <a:lnTo>
                  <a:pt x="2870141" y="16649"/>
                </a:lnTo>
                <a:lnTo>
                  <a:pt x="2915445" y="7455"/>
                </a:lnTo>
                <a:lnTo>
                  <a:pt x="2964567" y="1877"/>
                </a:lnTo>
                <a:close/>
              </a:path>
            </a:pathLst>
          </a:custGeom>
          <a:solidFill>
            <a:srgbClr val="4D7836"/>
          </a:solidFill>
        </p:spPr>
        <p:txBody>
          <a:bodyPr wrap="square" lIns="0" tIns="0" rIns="0" bIns="0" rtlCol="0">
            <a:noAutofit/>
          </a:bodyPr>
          <a:lstStyle/>
          <a:p>
            <a:endParaRPr lang="da-DK" sz="1350"/>
          </a:p>
        </p:txBody>
      </p:sp>
    </p:spTree>
    <p:extLst>
      <p:ext uri="{BB962C8B-B14F-4D97-AF65-F5344CB8AC3E}">
        <p14:creationId xmlns:p14="http://schemas.microsoft.com/office/powerpoint/2010/main" val="36087056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ortrætter (2)">
    <p:spTree>
      <p:nvGrpSpPr>
        <p:cNvPr id="1" name=""/>
        <p:cNvGrpSpPr/>
        <p:nvPr/>
      </p:nvGrpSpPr>
      <p:grpSpPr>
        <a:xfrm>
          <a:off x="0" y="0"/>
          <a:ext cx="0" cy="0"/>
          <a:chOff x="0" y="0"/>
          <a:chExt cx="0" cy="0"/>
        </a:xfrm>
      </p:grpSpPr>
      <p:sp>
        <p:nvSpPr>
          <p:cNvPr id="3" name="Pladsholder til billede 5">
            <a:extLst>
              <a:ext uri="{FF2B5EF4-FFF2-40B4-BE49-F238E27FC236}">
                <a16:creationId xmlns:a16="http://schemas.microsoft.com/office/drawing/2014/main" id="{070C87B3-473D-BAA3-B871-825DD0DF37A4}"/>
              </a:ext>
            </a:extLst>
          </p:cNvPr>
          <p:cNvSpPr>
            <a:spLocks noGrp="1" noChangeAspect="1"/>
          </p:cNvSpPr>
          <p:nvPr>
            <p:ph type="pic" sz="quarter" idx="10"/>
          </p:nvPr>
        </p:nvSpPr>
        <p:spPr>
          <a:xfrm>
            <a:off x="1009650" y="1851497"/>
            <a:ext cx="1145744" cy="1145744"/>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4" name="Pladsholder til tekst 3">
            <a:extLst>
              <a:ext uri="{FF2B5EF4-FFF2-40B4-BE49-F238E27FC236}">
                <a16:creationId xmlns:a16="http://schemas.microsoft.com/office/drawing/2014/main" id="{C2EDAD55-A7F4-5B25-A8DC-F70270CD0480}"/>
              </a:ext>
            </a:extLst>
          </p:cNvPr>
          <p:cNvSpPr>
            <a:spLocks noGrp="1"/>
          </p:cNvSpPr>
          <p:nvPr>
            <p:ph type="body" sz="quarter" idx="15" hasCustomPrompt="1"/>
          </p:nvPr>
        </p:nvSpPr>
        <p:spPr>
          <a:xfrm>
            <a:off x="2312023" y="1857599"/>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a:t>Fornavn</a:t>
            </a:r>
          </a:p>
        </p:txBody>
      </p:sp>
      <p:sp>
        <p:nvSpPr>
          <p:cNvPr id="5" name="Pladsholder til tekst 3">
            <a:extLst>
              <a:ext uri="{FF2B5EF4-FFF2-40B4-BE49-F238E27FC236}">
                <a16:creationId xmlns:a16="http://schemas.microsoft.com/office/drawing/2014/main" id="{BE721C77-7419-9D0B-B82F-06496C42C3FA}"/>
              </a:ext>
            </a:extLst>
          </p:cNvPr>
          <p:cNvSpPr>
            <a:spLocks noGrp="1"/>
          </p:cNvSpPr>
          <p:nvPr>
            <p:ph type="body" sz="quarter" idx="19"/>
          </p:nvPr>
        </p:nvSpPr>
        <p:spPr>
          <a:xfrm>
            <a:off x="2312023" y="2205153"/>
            <a:ext cx="1620000" cy="705721"/>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6" name="Pladsholder til tekst 3">
            <a:extLst>
              <a:ext uri="{FF2B5EF4-FFF2-40B4-BE49-F238E27FC236}">
                <a16:creationId xmlns:a16="http://schemas.microsoft.com/office/drawing/2014/main" id="{6440A9A6-1676-EB07-0143-78F08C58E9D7}"/>
              </a:ext>
            </a:extLst>
          </p:cNvPr>
          <p:cNvSpPr>
            <a:spLocks noGrp="1"/>
          </p:cNvSpPr>
          <p:nvPr>
            <p:ph type="body" sz="quarter" idx="20" hasCustomPrompt="1"/>
          </p:nvPr>
        </p:nvSpPr>
        <p:spPr>
          <a:xfrm>
            <a:off x="2312023" y="2006282"/>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a:t>Efternavn</a:t>
            </a:r>
          </a:p>
        </p:txBody>
      </p:sp>
      <p:sp>
        <p:nvSpPr>
          <p:cNvPr id="7" name="Pladsholder til billede 5">
            <a:extLst>
              <a:ext uri="{FF2B5EF4-FFF2-40B4-BE49-F238E27FC236}">
                <a16:creationId xmlns:a16="http://schemas.microsoft.com/office/drawing/2014/main" id="{482A5E1A-5D6D-EBC8-CAED-2066E631A837}"/>
              </a:ext>
            </a:extLst>
          </p:cNvPr>
          <p:cNvSpPr>
            <a:spLocks noGrp="1" noChangeAspect="1"/>
          </p:cNvSpPr>
          <p:nvPr>
            <p:ph type="pic" sz="quarter" idx="21"/>
          </p:nvPr>
        </p:nvSpPr>
        <p:spPr>
          <a:xfrm>
            <a:off x="4200210" y="1851497"/>
            <a:ext cx="1145744" cy="1145744"/>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8" name="Pladsholder til tekst 3">
            <a:extLst>
              <a:ext uri="{FF2B5EF4-FFF2-40B4-BE49-F238E27FC236}">
                <a16:creationId xmlns:a16="http://schemas.microsoft.com/office/drawing/2014/main" id="{8CB47331-95D8-D802-D5E6-BCBBBEDA86D9}"/>
              </a:ext>
            </a:extLst>
          </p:cNvPr>
          <p:cNvSpPr>
            <a:spLocks noGrp="1"/>
          </p:cNvSpPr>
          <p:nvPr>
            <p:ph type="body" sz="quarter" idx="22" hasCustomPrompt="1"/>
          </p:nvPr>
        </p:nvSpPr>
        <p:spPr>
          <a:xfrm>
            <a:off x="5502583" y="1857599"/>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a:t>Fornavn</a:t>
            </a:r>
          </a:p>
        </p:txBody>
      </p:sp>
      <p:sp>
        <p:nvSpPr>
          <p:cNvPr id="9" name="Pladsholder til tekst 3">
            <a:extLst>
              <a:ext uri="{FF2B5EF4-FFF2-40B4-BE49-F238E27FC236}">
                <a16:creationId xmlns:a16="http://schemas.microsoft.com/office/drawing/2014/main" id="{CE4890B4-ABA5-E0C8-F125-E7DB211380DD}"/>
              </a:ext>
            </a:extLst>
          </p:cNvPr>
          <p:cNvSpPr>
            <a:spLocks noGrp="1"/>
          </p:cNvSpPr>
          <p:nvPr>
            <p:ph type="body" sz="quarter" idx="23"/>
          </p:nvPr>
        </p:nvSpPr>
        <p:spPr>
          <a:xfrm>
            <a:off x="5502583" y="2205153"/>
            <a:ext cx="1620000" cy="705721"/>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10" name="Pladsholder til tekst 3">
            <a:extLst>
              <a:ext uri="{FF2B5EF4-FFF2-40B4-BE49-F238E27FC236}">
                <a16:creationId xmlns:a16="http://schemas.microsoft.com/office/drawing/2014/main" id="{D4216E8E-D5DE-C9A9-D7B7-AEF2AF54B1CB}"/>
              </a:ext>
            </a:extLst>
          </p:cNvPr>
          <p:cNvSpPr>
            <a:spLocks noGrp="1"/>
          </p:cNvSpPr>
          <p:nvPr>
            <p:ph type="body" sz="quarter" idx="24" hasCustomPrompt="1"/>
          </p:nvPr>
        </p:nvSpPr>
        <p:spPr>
          <a:xfrm>
            <a:off x="5502583" y="2006282"/>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a:t>Efternavn</a:t>
            </a:r>
          </a:p>
        </p:txBody>
      </p:sp>
      <p:sp>
        <p:nvSpPr>
          <p:cNvPr id="2" name="Titel 1">
            <a:extLst>
              <a:ext uri="{FF2B5EF4-FFF2-40B4-BE49-F238E27FC236}">
                <a16:creationId xmlns:a16="http://schemas.microsoft.com/office/drawing/2014/main" id="{8102D4A4-A722-E685-821D-EF20513EAE12}"/>
              </a:ext>
            </a:extLst>
          </p:cNvPr>
          <p:cNvSpPr>
            <a:spLocks noGrp="1"/>
          </p:cNvSpPr>
          <p:nvPr>
            <p:ph type="title"/>
          </p:nvPr>
        </p:nvSpPr>
        <p:spPr>
          <a:xfrm>
            <a:off x="1009650" y="951222"/>
            <a:ext cx="2991910" cy="828838"/>
          </a:xfrm>
        </p:spPr>
        <p:txBody>
          <a:bodyPr/>
          <a:lstStyle/>
          <a:p>
            <a:r>
              <a:rPr lang="da-DK"/>
              <a:t>Klik for at redigere titeltypografien i masteren</a:t>
            </a:r>
            <a:endParaRPr lang="en-GB"/>
          </a:p>
        </p:txBody>
      </p:sp>
      <p:sp>
        <p:nvSpPr>
          <p:cNvPr id="11" name="Pladsholder til tekst 5">
            <a:extLst>
              <a:ext uri="{FF2B5EF4-FFF2-40B4-BE49-F238E27FC236}">
                <a16:creationId xmlns:a16="http://schemas.microsoft.com/office/drawing/2014/main" id="{85B26F96-0536-AA3C-FB51-BA4B01FD5896}"/>
              </a:ext>
            </a:extLst>
          </p:cNvPr>
          <p:cNvSpPr>
            <a:spLocks noGrp="1"/>
          </p:cNvSpPr>
          <p:nvPr>
            <p:ph type="body" sz="quarter" idx="11"/>
          </p:nvPr>
        </p:nvSpPr>
        <p:spPr>
          <a:xfrm>
            <a:off x="1009779" y="735323"/>
            <a:ext cx="2992548" cy="144462"/>
          </a:xfrm>
        </p:spPr>
        <p:txBody>
          <a:bodyPr vert="horz" lIns="14400" tIns="0" rIns="0" bIns="0" rtlCol="0">
            <a:noAutofit/>
          </a:bodyPr>
          <a:lstStyle>
            <a:lvl1pPr marL="0" indent="0">
              <a:buNone/>
              <a:defRPr lang="en-GB" sz="1000" cap="all" dirty="0">
                <a:solidFill>
                  <a:srgbClr val="878787"/>
                </a:solidFill>
                <a:latin typeface="Neue Haas Grotesk Text Pro" panose="020B0504020202020204" pitchFamily="34" charset="77"/>
              </a:defRPr>
            </a:lvl1pPr>
          </a:lstStyle>
          <a:p>
            <a:pPr marL="171450" lvl="0" indent="-171450"/>
            <a:r>
              <a:rPr lang="da-DK"/>
              <a:t>Klik for at redigere teksttypografierne i masteren</a:t>
            </a:r>
          </a:p>
        </p:txBody>
      </p:sp>
    </p:spTree>
    <p:extLst>
      <p:ext uri="{BB962C8B-B14F-4D97-AF65-F5344CB8AC3E}">
        <p14:creationId xmlns:p14="http://schemas.microsoft.com/office/powerpoint/2010/main" val="265385380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reaker D">
    <p:bg>
      <p:bgRef idx="1001">
        <a:schemeClr val="bg1"/>
      </p:bgRef>
    </p:bg>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3BB9AE99-772C-4228-AF46-BF964994F324}" type="datetime2">
              <a:rPr lang="da-DK" smtClean="0"/>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6" name="Mikro grafik 1">
            <a:extLst>
              <a:ext uri="{FF2B5EF4-FFF2-40B4-BE49-F238E27FC236}">
                <a16:creationId xmlns:a16="http://schemas.microsoft.com/office/drawing/2014/main" id="{CF298011-2AEF-EC84-54F2-B43A8661A425}"/>
              </a:ext>
            </a:extLst>
          </p:cNvPr>
          <p:cNvSpPr/>
          <p:nvPr userDrawn="1"/>
        </p:nvSpPr>
        <p:spPr>
          <a:xfrm>
            <a:off x="257176" y="930323"/>
            <a:ext cx="4065815" cy="3297127"/>
          </a:xfrm>
          <a:custGeom>
            <a:avLst/>
            <a:gdLst>
              <a:gd name="connsiteX0" fmla="*/ 6351898 w 9012328"/>
              <a:gd name="connsiteY0" fmla="*/ 7031333 h 7308446"/>
              <a:gd name="connsiteX1" fmla="*/ 6558899 w 9012328"/>
              <a:gd name="connsiteY1" fmla="*/ 7031333 h 7308446"/>
              <a:gd name="connsiteX2" fmla="*/ 6558899 w 9012328"/>
              <a:gd name="connsiteY2" fmla="*/ 7204946 h 7308446"/>
              <a:gd name="connsiteX3" fmla="*/ 6351898 w 9012328"/>
              <a:gd name="connsiteY3" fmla="*/ 7204946 h 7308446"/>
              <a:gd name="connsiteX4" fmla="*/ 3333905 w 9012328"/>
              <a:gd name="connsiteY4" fmla="*/ 6881094 h 7308446"/>
              <a:gd name="connsiteX5" fmla="*/ 4238693 w 9012328"/>
              <a:gd name="connsiteY5" fmla="*/ 6881094 h 7308446"/>
              <a:gd name="connsiteX6" fmla="*/ 4238693 w 9012328"/>
              <a:gd name="connsiteY6" fmla="*/ 6987931 h 7308446"/>
              <a:gd name="connsiteX7" fmla="*/ 3333905 w 9012328"/>
              <a:gd name="connsiteY7" fmla="*/ 6987931 h 7308446"/>
              <a:gd name="connsiteX8" fmla="*/ 3333905 w 9012328"/>
              <a:gd name="connsiteY8" fmla="*/ 6532197 h 7308446"/>
              <a:gd name="connsiteX9" fmla="*/ 4238693 w 9012328"/>
              <a:gd name="connsiteY9" fmla="*/ 6532197 h 7308446"/>
              <a:gd name="connsiteX10" fmla="*/ 4238693 w 9012328"/>
              <a:gd name="connsiteY10" fmla="*/ 6639034 h 7308446"/>
              <a:gd name="connsiteX11" fmla="*/ 3333905 w 9012328"/>
              <a:gd name="connsiteY11" fmla="*/ 6639034 h 7308446"/>
              <a:gd name="connsiteX12" fmla="*/ 5357969 w 9012328"/>
              <a:gd name="connsiteY12" fmla="*/ 6016022 h 7308446"/>
              <a:gd name="connsiteX13" fmla="*/ 5731908 w 9012328"/>
              <a:gd name="connsiteY13" fmla="*/ 6016022 h 7308446"/>
              <a:gd name="connsiteX14" fmla="*/ 5731908 w 9012328"/>
              <a:gd name="connsiteY14" fmla="*/ 6111272 h 7308446"/>
              <a:gd name="connsiteX15" fmla="*/ 5731908 w 9012328"/>
              <a:gd name="connsiteY15" fmla="*/ 7209822 h 7308446"/>
              <a:gd name="connsiteX16" fmla="*/ 5731908 w 9012328"/>
              <a:gd name="connsiteY16" fmla="*/ 7305072 h 7308446"/>
              <a:gd name="connsiteX17" fmla="*/ 5357969 w 9012328"/>
              <a:gd name="connsiteY17" fmla="*/ 7305072 h 7308446"/>
              <a:gd name="connsiteX18" fmla="*/ 5357969 w 9012328"/>
              <a:gd name="connsiteY18" fmla="*/ 7209822 h 7308446"/>
              <a:gd name="connsiteX19" fmla="*/ 5616719 w 9012328"/>
              <a:gd name="connsiteY19" fmla="*/ 7209822 h 7308446"/>
              <a:gd name="connsiteX20" fmla="*/ 5616719 w 9012328"/>
              <a:gd name="connsiteY20" fmla="*/ 6111272 h 7308446"/>
              <a:gd name="connsiteX21" fmla="*/ 5357969 w 9012328"/>
              <a:gd name="connsiteY21" fmla="*/ 6111272 h 7308446"/>
              <a:gd name="connsiteX22" fmla="*/ 4884222 w 9012328"/>
              <a:gd name="connsiteY22" fmla="*/ 6016022 h 7308446"/>
              <a:gd name="connsiteX23" fmla="*/ 5258161 w 9012328"/>
              <a:gd name="connsiteY23" fmla="*/ 6016022 h 7308446"/>
              <a:gd name="connsiteX24" fmla="*/ 5258161 w 9012328"/>
              <a:gd name="connsiteY24" fmla="*/ 6111272 h 7308446"/>
              <a:gd name="connsiteX25" fmla="*/ 4999412 w 9012328"/>
              <a:gd name="connsiteY25" fmla="*/ 6111272 h 7308446"/>
              <a:gd name="connsiteX26" fmla="*/ 4999412 w 9012328"/>
              <a:gd name="connsiteY26" fmla="*/ 7209822 h 7308446"/>
              <a:gd name="connsiteX27" fmla="*/ 5258161 w 9012328"/>
              <a:gd name="connsiteY27" fmla="*/ 7209822 h 7308446"/>
              <a:gd name="connsiteX28" fmla="*/ 5258161 w 9012328"/>
              <a:gd name="connsiteY28" fmla="*/ 7305072 h 7308446"/>
              <a:gd name="connsiteX29" fmla="*/ 4884222 w 9012328"/>
              <a:gd name="connsiteY29" fmla="*/ 7305072 h 7308446"/>
              <a:gd name="connsiteX30" fmla="*/ 4884222 w 9012328"/>
              <a:gd name="connsiteY30" fmla="*/ 7209822 h 7308446"/>
              <a:gd name="connsiteX31" fmla="*/ 4884222 w 9012328"/>
              <a:gd name="connsiteY31" fmla="*/ 6111272 h 7308446"/>
              <a:gd name="connsiteX32" fmla="*/ 8549915 w 9012328"/>
              <a:gd name="connsiteY32" fmla="*/ 6009685 h 7308446"/>
              <a:gd name="connsiteX33" fmla="*/ 8602985 w 9012328"/>
              <a:gd name="connsiteY33" fmla="*/ 6011561 h 7308446"/>
              <a:gd name="connsiteX34" fmla="*/ 8652106 w 9012328"/>
              <a:gd name="connsiteY34" fmla="*/ 6017138 h 7308446"/>
              <a:gd name="connsiteX35" fmla="*/ 8697411 w 9012328"/>
              <a:gd name="connsiteY35" fmla="*/ 6026333 h 7308446"/>
              <a:gd name="connsiteX36" fmla="*/ 8739033 w 9012328"/>
              <a:gd name="connsiteY36" fmla="*/ 6039065 h 7308446"/>
              <a:gd name="connsiteX37" fmla="*/ 8777104 w 9012328"/>
              <a:gd name="connsiteY37" fmla="*/ 6055253 h 7308446"/>
              <a:gd name="connsiteX38" fmla="*/ 8811757 w 9012328"/>
              <a:gd name="connsiteY38" fmla="*/ 6074814 h 7308446"/>
              <a:gd name="connsiteX39" fmla="*/ 8843125 w 9012328"/>
              <a:gd name="connsiteY39" fmla="*/ 6097669 h 7308446"/>
              <a:gd name="connsiteX40" fmla="*/ 8871340 w 9012328"/>
              <a:gd name="connsiteY40" fmla="*/ 6123735 h 7308446"/>
              <a:gd name="connsiteX41" fmla="*/ 8896535 w 9012328"/>
              <a:gd name="connsiteY41" fmla="*/ 6152931 h 7308446"/>
              <a:gd name="connsiteX42" fmla="*/ 8918843 w 9012328"/>
              <a:gd name="connsiteY42" fmla="*/ 6185176 h 7308446"/>
              <a:gd name="connsiteX43" fmla="*/ 8938397 w 9012328"/>
              <a:gd name="connsiteY43" fmla="*/ 6220388 h 7308446"/>
              <a:gd name="connsiteX44" fmla="*/ 8955329 w 9012328"/>
              <a:gd name="connsiteY44" fmla="*/ 6258486 h 7308446"/>
              <a:gd name="connsiteX45" fmla="*/ 8969772 w 9012328"/>
              <a:gd name="connsiteY45" fmla="*/ 6299388 h 7308446"/>
              <a:gd name="connsiteX46" fmla="*/ 8981858 w 9012328"/>
              <a:gd name="connsiteY46" fmla="*/ 6343014 h 7308446"/>
              <a:gd name="connsiteX47" fmla="*/ 8991721 w 9012328"/>
              <a:gd name="connsiteY47" fmla="*/ 6389281 h 7308446"/>
              <a:gd name="connsiteX48" fmla="*/ 8999494 w 9012328"/>
              <a:gd name="connsiteY48" fmla="*/ 6438109 h 7308446"/>
              <a:gd name="connsiteX49" fmla="*/ 9005308 w 9012328"/>
              <a:gd name="connsiteY49" fmla="*/ 6489415 h 7308446"/>
              <a:gd name="connsiteX50" fmla="*/ 9009296 w 9012328"/>
              <a:gd name="connsiteY50" fmla="*/ 6543120 h 7308446"/>
              <a:gd name="connsiteX51" fmla="*/ 9011592 w 9012328"/>
              <a:gd name="connsiteY51" fmla="*/ 6599140 h 7308446"/>
              <a:gd name="connsiteX52" fmla="*/ 9012328 w 9012328"/>
              <a:gd name="connsiteY52" fmla="*/ 6657396 h 7308446"/>
              <a:gd name="connsiteX53" fmla="*/ 9011628 w 9012328"/>
              <a:gd name="connsiteY53" fmla="*/ 6715902 h 7308446"/>
              <a:gd name="connsiteX54" fmla="*/ 9009431 w 9012328"/>
              <a:gd name="connsiteY54" fmla="*/ 6772172 h 7308446"/>
              <a:gd name="connsiteX55" fmla="*/ 9005595 w 9012328"/>
              <a:gd name="connsiteY55" fmla="*/ 6826122 h 7308446"/>
              <a:gd name="connsiteX56" fmla="*/ 8999974 w 9012328"/>
              <a:gd name="connsiteY56" fmla="*/ 6877672 h 7308446"/>
              <a:gd name="connsiteX57" fmla="*/ 8992426 w 9012328"/>
              <a:gd name="connsiteY57" fmla="*/ 6926737 h 7308446"/>
              <a:gd name="connsiteX58" fmla="*/ 8982805 w 9012328"/>
              <a:gd name="connsiteY58" fmla="*/ 6973236 h 7308446"/>
              <a:gd name="connsiteX59" fmla="*/ 8970968 w 9012328"/>
              <a:gd name="connsiteY59" fmla="*/ 7017085 h 7308446"/>
              <a:gd name="connsiteX60" fmla="*/ 8956771 w 9012328"/>
              <a:gd name="connsiteY60" fmla="*/ 7058203 h 7308446"/>
              <a:gd name="connsiteX61" fmla="*/ 8940070 w 9012328"/>
              <a:gd name="connsiteY61" fmla="*/ 7096506 h 7308446"/>
              <a:gd name="connsiteX62" fmla="*/ 8920721 w 9012328"/>
              <a:gd name="connsiteY62" fmla="*/ 7131912 h 7308446"/>
              <a:gd name="connsiteX63" fmla="*/ 8898580 w 9012328"/>
              <a:gd name="connsiteY63" fmla="*/ 7164338 h 7308446"/>
              <a:gd name="connsiteX64" fmla="*/ 8873503 w 9012328"/>
              <a:gd name="connsiteY64" fmla="*/ 7193701 h 7308446"/>
              <a:gd name="connsiteX65" fmla="*/ 8845346 w 9012328"/>
              <a:gd name="connsiteY65" fmla="*/ 7219920 h 7308446"/>
              <a:gd name="connsiteX66" fmla="*/ 8813966 w 9012328"/>
              <a:gd name="connsiteY66" fmla="*/ 7242910 h 7308446"/>
              <a:gd name="connsiteX67" fmla="*/ 8779217 w 9012328"/>
              <a:gd name="connsiteY67" fmla="*/ 7262591 h 7308446"/>
              <a:gd name="connsiteX68" fmla="*/ 8740956 w 9012328"/>
              <a:gd name="connsiteY68" fmla="*/ 7278878 h 7308446"/>
              <a:gd name="connsiteX69" fmla="*/ 8699039 w 9012328"/>
              <a:gd name="connsiteY69" fmla="*/ 7291690 h 7308446"/>
              <a:gd name="connsiteX70" fmla="*/ 8653323 w 9012328"/>
              <a:gd name="connsiteY70" fmla="*/ 7300944 h 7308446"/>
              <a:gd name="connsiteX71" fmla="*/ 8603663 w 9012328"/>
              <a:gd name="connsiteY71" fmla="*/ 7306557 h 7308446"/>
              <a:gd name="connsiteX72" fmla="*/ 8549915 w 9012328"/>
              <a:gd name="connsiteY72" fmla="*/ 7308446 h 7308446"/>
              <a:gd name="connsiteX73" fmla="*/ 8549915 w 9012328"/>
              <a:gd name="connsiteY73" fmla="*/ 7211624 h 7308446"/>
              <a:gd name="connsiteX74" fmla="*/ 8599600 w 9012328"/>
              <a:gd name="connsiteY74" fmla="*/ 7209391 h 7308446"/>
              <a:gd name="connsiteX75" fmla="*/ 8644521 w 9012328"/>
              <a:gd name="connsiteY75" fmla="*/ 7202770 h 7308446"/>
              <a:gd name="connsiteX76" fmla="*/ 8684903 w 9012328"/>
              <a:gd name="connsiteY76" fmla="*/ 7191881 h 7308446"/>
              <a:gd name="connsiteX77" fmla="*/ 8720974 w 9012328"/>
              <a:gd name="connsiteY77" fmla="*/ 7176841 h 7308446"/>
              <a:gd name="connsiteX78" fmla="*/ 8781085 w 9012328"/>
              <a:gd name="connsiteY78" fmla="*/ 7134781 h 7308446"/>
              <a:gd name="connsiteX79" fmla="*/ 8826665 w 9012328"/>
              <a:gd name="connsiteY79" fmla="*/ 7077537 h 7308446"/>
              <a:gd name="connsiteX80" fmla="*/ 8844570 w 9012328"/>
              <a:gd name="connsiteY80" fmla="*/ 7043516 h 7308446"/>
              <a:gd name="connsiteX81" fmla="*/ 8859522 w 9012328"/>
              <a:gd name="connsiteY81" fmla="*/ 7006054 h 7308446"/>
              <a:gd name="connsiteX82" fmla="*/ 8871746 w 9012328"/>
              <a:gd name="connsiteY82" fmla="*/ 6965269 h 7308446"/>
              <a:gd name="connsiteX83" fmla="*/ 8881469 w 9012328"/>
              <a:gd name="connsiteY83" fmla="*/ 6921279 h 7308446"/>
              <a:gd name="connsiteX84" fmla="*/ 8888916 w 9012328"/>
              <a:gd name="connsiteY84" fmla="*/ 6874203 h 7308446"/>
              <a:gd name="connsiteX85" fmla="*/ 8894315 w 9012328"/>
              <a:gd name="connsiteY85" fmla="*/ 6824158 h 7308446"/>
              <a:gd name="connsiteX86" fmla="*/ 8897891 w 9012328"/>
              <a:gd name="connsiteY86" fmla="*/ 6771263 h 7308446"/>
              <a:gd name="connsiteX87" fmla="*/ 8899870 w 9012328"/>
              <a:gd name="connsiteY87" fmla="*/ 6715637 h 7308446"/>
              <a:gd name="connsiteX88" fmla="*/ 8900480 w 9012328"/>
              <a:gd name="connsiteY88" fmla="*/ 6657396 h 7308446"/>
              <a:gd name="connsiteX89" fmla="*/ 8899838 w 9012328"/>
              <a:gd name="connsiteY89" fmla="*/ 6599727 h 7308446"/>
              <a:gd name="connsiteX90" fmla="*/ 8897768 w 9012328"/>
              <a:gd name="connsiteY90" fmla="*/ 6544638 h 7308446"/>
              <a:gd name="connsiteX91" fmla="*/ 8894058 w 9012328"/>
              <a:gd name="connsiteY91" fmla="*/ 6492245 h 7308446"/>
              <a:gd name="connsiteX92" fmla="*/ 8888492 w 9012328"/>
              <a:gd name="connsiteY92" fmla="*/ 6442669 h 7308446"/>
              <a:gd name="connsiteX93" fmla="*/ 8880857 w 9012328"/>
              <a:gd name="connsiteY93" fmla="*/ 6396025 h 7308446"/>
              <a:gd name="connsiteX94" fmla="*/ 8870939 w 9012328"/>
              <a:gd name="connsiteY94" fmla="*/ 6352434 h 7308446"/>
              <a:gd name="connsiteX95" fmla="*/ 8858523 w 9012328"/>
              <a:gd name="connsiteY95" fmla="*/ 6312013 h 7308446"/>
              <a:gd name="connsiteX96" fmla="*/ 8843396 w 9012328"/>
              <a:gd name="connsiteY96" fmla="*/ 6274881 h 7308446"/>
              <a:gd name="connsiteX97" fmla="*/ 8825343 w 9012328"/>
              <a:gd name="connsiteY97" fmla="*/ 6241155 h 7308446"/>
              <a:gd name="connsiteX98" fmla="*/ 8779605 w 9012328"/>
              <a:gd name="connsiteY98" fmla="*/ 6184396 h 7308446"/>
              <a:gd name="connsiteX99" fmla="*/ 8719596 w 9012328"/>
              <a:gd name="connsiteY99" fmla="*/ 6142683 h 7308446"/>
              <a:gd name="connsiteX100" fmla="*/ 8683704 w 9012328"/>
              <a:gd name="connsiteY100" fmla="*/ 6127764 h 7308446"/>
              <a:gd name="connsiteX101" fmla="*/ 8643603 w 9012328"/>
              <a:gd name="connsiteY101" fmla="*/ 6116961 h 7308446"/>
              <a:gd name="connsiteX102" fmla="*/ 8599078 w 9012328"/>
              <a:gd name="connsiteY102" fmla="*/ 6110393 h 7308446"/>
              <a:gd name="connsiteX103" fmla="*/ 8549915 w 9012328"/>
              <a:gd name="connsiteY103" fmla="*/ 6108177 h 7308446"/>
              <a:gd name="connsiteX104" fmla="*/ 8458035 w 9012328"/>
              <a:gd name="connsiteY104" fmla="*/ 6009685 h 7308446"/>
              <a:gd name="connsiteX105" fmla="*/ 8458035 w 9012328"/>
              <a:gd name="connsiteY105" fmla="*/ 6108177 h 7308446"/>
              <a:gd name="connsiteX106" fmla="*/ 8409149 w 9012328"/>
              <a:gd name="connsiteY106" fmla="*/ 6110393 h 7308446"/>
              <a:gd name="connsiteX107" fmla="*/ 8364868 w 9012328"/>
              <a:gd name="connsiteY107" fmla="*/ 6116961 h 7308446"/>
              <a:gd name="connsiteX108" fmla="*/ 8324982 w 9012328"/>
              <a:gd name="connsiteY108" fmla="*/ 6127764 h 7308446"/>
              <a:gd name="connsiteX109" fmla="*/ 8289276 w 9012328"/>
              <a:gd name="connsiteY109" fmla="*/ 6142683 h 7308446"/>
              <a:gd name="connsiteX110" fmla="*/ 8229561 w 9012328"/>
              <a:gd name="connsiteY110" fmla="*/ 6184396 h 7308446"/>
              <a:gd name="connsiteX111" fmla="*/ 8184027 w 9012328"/>
              <a:gd name="connsiteY111" fmla="*/ 6241155 h 7308446"/>
              <a:gd name="connsiteX112" fmla="*/ 8166048 w 9012328"/>
              <a:gd name="connsiteY112" fmla="*/ 6274881 h 7308446"/>
              <a:gd name="connsiteX113" fmla="*/ 8150978 w 9012328"/>
              <a:gd name="connsiteY113" fmla="*/ 6312013 h 7308446"/>
              <a:gd name="connsiteX114" fmla="*/ 8138606 w 9012328"/>
              <a:gd name="connsiteY114" fmla="*/ 6352434 h 7308446"/>
              <a:gd name="connsiteX115" fmla="*/ 8128718 w 9012328"/>
              <a:gd name="connsiteY115" fmla="*/ 6396025 h 7308446"/>
              <a:gd name="connsiteX116" fmla="*/ 8121104 w 9012328"/>
              <a:gd name="connsiteY116" fmla="*/ 6442669 h 7308446"/>
              <a:gd name="connsiteX117" fmla="*/ 8115551 w 9012328"/>
              <a:gd name="connsiteY117" fmla="*/ 6492245 h 7308446"/>
              <a:gd name="connsiteX118" fmla="*/ 8111847 w 9012328"/>
              <a:gd name="connsiteY118" fmla="*/ 6544638 h 7308446"/>
              <a:gd name="connsiteX119" fmla="*/ 8109780 w 9012328"/>
              <a:gd name="connsiteY119" fmla="*/ 6599727 h 7308446"/>
              <a:gd name="connsiteX120" fmla="*/ 8109138 w 9012328"/>
              <a:gd name="connsiteY120" fmla="*/ 6657396 h 7308446"/>
              <a:gd name="connsiteX121" fmla="*/ 8109764 w 9012328"/>
              <a:gd name="connsiteY121" fmla="*/ 6715637 h 7308446"/>
              <a:gd name="connsiteX122" fmla="*/ 8111786 w 9012328"/>
              <a:gd name="connsiteY122" fmla="*/ 6771263 h 7308446"/>
              <a:gd name="connsiteX123" fmla="*/ 8115423 w 9012328"/>
              <a:gd name="connsiteY123" fmla="*/ 6824158 h 7308446"/>
              <a:gd name="connsiteX124" fmla="*/ 8120892 w 9012328"/>
              <a:gd name="connsiteY124" fmla="*/ 6874203 h 7308446"/>
              <a:gd name="connsiteX125" fmla="*/ 8128413 w 9012328"/>
              <a:gd name="connsiteY125" fmla="*/ 6921279 h 7308446"/>
              <a:gd name="connsiteX126" fmla="*/ 8138202 w 9012328"/>
              <a:gd name="connsiteY126" fmla="*/ 6965269 h 7308446"/>
              <a:gd name="connsiteX127" fmla="*/ 8150479 w 9012328"/>
              <a:gd name="connsiteY127" fmla="*/ 7006054 h 7308446"/>
              <a:gd name="connsiteX128" fmla="*/ 8165461 w 9012328"/>
              <a:gd name="connsiteY128" fmla="*/ 7043516 h 7308446"/>
              <a:gd name="connsiteX129" fmla="*/ 8183367 w 9012328"/>
              <a:gd name="connsiteY129" fmla="*/ 7077537 h 7308446"/>
              <a:gd name="connsiteX130" fmla="*/ 8228821 w 9012328"/>
              <a:gd name="connsiteY130" fmla="*/ 7134781 h 7308446"/>
              <a:gd name="connsiteX131" fmla="*/ 8288587 w 9012328"/>
              <a:gd name="connsiteY131" fmla="*/ 7176841 h 7308446"/>
              <a:gd name="connsiteX132" fmla="*/ 8324382 w 9012328"/>
              <a:gd name="connsiteY132" fmla="*/ 7191881 h 7308446"/>
              <a:gd name="connsiteX133" fmla="*/ 8364410 w 9012328"/>
              <a:gd name="connsiteY133" fmla="*/ 7202770 h 7308446"/>
              <a:gd name="connsiteX134" fmla="*/ 8408888 w 9012328"/>
              <a:gd name="connsiteY134" fmla="*/ 7209391 h 7308446"/>
              <a:gd name="connsiteX135" fmla="*/ 8458035 w 9012328"/>
              <a:gd name="connsiteY135" fmla="*/ 7211624 h 7308446"/>
              <a:gd name="connsiteX136" fmla="*/ 8458035 w 9012328"/>
              <a:gd name="connsiteY136" fmla="*/ 7308446 h 7308446"/>
              <a:gd name="connsiteX137" fmla="*/ 8404513 w 9012328"/>
              <a:gd name="connsiteY137" fmla="*/ 7306557 h 7308446"/>
              <a:gd name="connsiteX138" fmla="*/ 8355032 w 9012328"/>
              <a:gd name="connsiteY138" fmla="*/ 7300944 h 7308446"/>
              <a:gd name="connsiteX139" fmla="*/ 8309453 w 9012328"/>
              <a:gd name="connsiteY139" fmla="*/ 7291690 h 7308446"/>
              <a:gd name="connsiteX140" fmla="*/ 8267634 w 9012328"/>
              <a:gd name="connsiteY140" fmla="*/ 7278878 h 7308446"/>
              <a:gd name="connsiteX141" fmla="*/ 8229437 w 9012328"/>
              <a:gd name="connsiteY141" fmla="*/ 7262591 h 7308446"/>
              <a:gd name="connsiteX142" fmla="*/ 8194720 w 9012328"/>
              <a:gd name="connsiteY142" fmla="*/ 7242910 h 7308446"/>
              <a:gd name="connsiteX143" fmla="*/ 8163344 w 9012328"/>
              <a:gd name="connsiteY143" fmla="*/ 7219920 h 7308446"/>
              <a:gd name="connsiteX144" fmla="*/ 8135168 w 9012328"/>
              <a:gd name="connsiteY144" fmla="*/ 7193701 h 7308446"/>
              <a:gd name="connsiteX145" fmla="*/ 8110051 w 9012328"/>
              <a:gd name="connsiteY145" fmla="*/ 7164338 h 7308446"/>
              <a:gd name="connsiteX146" fmla="*/ 8087855 w 9012328"/>
              <a:gd name="connsiteY146" fmla="*/ 7131912 h 7308446"/>
              <a:gd name="connsiteX147" fmla="*/ 8068437 w 9012328"/>
              <a:gd name="connsiteY147" fmla="*/ 7096506 h 7308446"/>
              <a:gd name="connsiteX148" fmla="*/ 8051660 w 9012328"/>
              <a:gd name="connsiteY148" fmla="*/ 7058203 h 7308446"/>
              <a:gd name="connsiteX149" fmla="*/ 8037381 w 9012328"/>
              <a:gd name="connsiteY149" fmla="*/ 7017085 h 7308446"/>
              <a:gd name="connsiteX150" fmla="*/ 8025461 w 9012328"/>
              <a:gd name="connsiteY150" fmla="*/ 6973236 h 7308446"/>
              <a:gd name="connsiteX151" fmla="*/ 8015759 w 9012328"/>
              <a:gd name="connsiteY151" fmla="*/ 6926737 h 7308446"/>
              <a:gd name="connsiteX152" fmla="*/ 8008136 w 9012328"/>
              <a:gd name="connsiteY152" fmla="*/ 6877672 h 7308446"/>
              <a:gd name="connsiteX153" fmla="*/ 8002451 w 9012328"/>
              <a:gd name="connsiteY153" fmla="*/ 6826122 h 7308446"/>
              <a:gd name="connsiteX154" fmla="*/ 7998564 w 9012328"/>
              <a:gd name="connsiteY154" fmla="*/ 6772172 h 7308446"/>
              <a:gd name="connsiteX155" fmla="*/ 7996334 w 9012328"/>
              <a:gd name="connsiteY155" fmla="*/ 6715902 h 7308446"/>
              <a:gd name="connsiteX156" fmla="*/ 7995623 w 9012328"/>
              <a:gd name="connsiteY156" fmla="*/ 6657396 h 7308446"/>
              <a:gd name="connsiteX157" fmla="*/ 7996358 w 9012328"/>
              <a:gd name="connsiteY157" fmla="*/ 6599140 h 7308446"/>
              <a:gd name="connsiteX158" fmla="*/ 7998654 w 9012328"/>
              <a:gd name="connsiteY158" fmla="*/ 6543120 h 7308446"/>
              <a:gd name="connsiteX159" fmla="*/ 8002643 w 9012328"/>
              <a:gd name="connsiteY159" fmla="*/ 6489415 h 7308446"/>
              <a:gd name="connsiteX160" fmla="*/ 8008456 w 9012328"/>
              <a:gd name="connsiteY160" fmla="*/ 6438109 h 7308446"/>
              <a:gd name="connsiteX161" fmla="*/ 8016229 w 9012328"/>
              <a:gd name="connsiteY161" fmla="*/ 6389281 h 7308446"/>
              <a:gd name="connsiteX162" fmla="*/ 8026092 w 9012328"/>
              <a:gd name="connsiteY162" fmla="*/ 6343014 h 7308446"/>
              <a:gd name="connsiteX163" fmla="*/ 8038178 w 9012328"/>
              <a:gd name="connsiteY163" fmla="*/ 6299388 h 7308446"/>
              <a:gd name="connsiteX164" fmla="*/ 8052621 w 9012328"/>
              <a:gd name="connsiteY164" fmla="*/ 6258486 h 7308446"/>
              <a:gd name="connsiteX165" fmla="*/ 8069553 w 9012328"/>
              <a:gd name="connsiteY165" fmla="*/ 6220388 h 7308446"/>
              <a:gd name="connsiteX166" fmla="*/ 8089106 w 9012328"/>
              <a:gd name="connsiteY166" fmla="*/ 6185176 h 7308446"/>
              <a:gd name="connsiteX167" fmla="*/ 8111414 w 9012328"/>
              <a:gd name="connsiteY167" fmla="*/ 6152931 h 7308446"/>
              <a:gd name="connsiteX168" fmla="*/ 8136610 w 9012328"/>
              <a:gd name="connsiteY168" fmla="*/ 6123735 h 7308446"/>
              <a:gd name="connsiteX169" fmla="*/ 8164825 w 9012328"/>
              <a:gd name="connsiteY169" fmla="*/ 6097669 h 7308446"/>
              <a:gd name="connsiteX170" fmla="*/ 8196192 w 9012328"/>
              <a:gd name="connsiteY170" fmla="*/ 6074814 h 7308446"/>
              <a:gd name="connsiteX171" fmla="*/ 8230845 w 9012328"/>
              <a:gd name="connsiteY171" fmla="*/ 6055253 h 7308446"/>
              <a:gd name="connsiteX172" fmla="*/ 8268916 w 9012328"/>
              <a:gd name="connsiteY172" fmla="*/ 6039065 h 7308446"/>
              <a:gd name="connsiteX173" fmla="*/ 8310538 w 9012328"/>
              <a:gd name="connsiteY173" fmla="*/ 6026333 h 7308446"/>
              <a:gd name="connsiteX174" fmla="*/ 8355843 w 9012328"/>
              <a:gd name="connsiteY174" fmla="*/ 6017138 h 7308446"/>
              <a:gd name="connsiteX175" fmla="*/ 8404964 w 9012328"/>
              <a:gd name="connsiteY175" fmla="*/ 6011561 h 7308446"/>
              <a:gd name="connsiteX176" fmla="*/ 1409388 w 9012328"/>
              <a:gd name="connsiteY176" fmla="*/ 6009685 h 7308446"/>
              <a:gd name="connsiteX177" fmla="*/ 1462459 w 9012328"/>
              <a:gd name="connsiteY177" fmla="*/ 6011561 h 7308446"/>
              <a:gd name="connsiteX178" fmla="*/ 1511579 w 9012328"/>
              <a:gd name="connsiteY178" fmla="*/ 6017138 h 7308446"/>
              <a:gd name="connsiteX179" fmla="*/ 1556884 w 9012328"/>
              <a:gd name="connsiteY179" fmla="*/ 6026333 h 7308446"/>
              <a:gd name="connsiteX180" fmla="*/ 1598508 w 9012328"/>
              <a:gd name="connsiteY180" fmla="*/ 6039065 h 7308446"/>
              <a:gd name="connsiteX181" fmla="*/ 1636578 w 9012328"/>
              <a:gd name="connsiteY181" fmla="*/ 6055253 h 7308446"/>
              <a:gd name="connsiteX182" fmla="*/ 1671231 w 9012328"/>
              <a:gd name="connsiteY182" fmla="*/ 6074814 h 7308446"/>
              <a:gd name="connsiteX183" fmla="*/ 1702600 w 9012328"/>
              <a:gd name="connsiteY183" fmla="*/ 6097669 h 7308446"/>
              <a:gd name="connsiteX184" fmla="*/ 1730815 w 9012328"/>
              <a:gd name="connsiteY184" fmla="*/ 6123735 h 7308446"/>
              <a:gd name="connsiteX185" fmla="*/ 1756009 w 9012328"/>
              <a:gd name="connsiteY185" fmla="*/ 6152931 h 7308446"/>
              <a:gd name="connsiteX186" fmla="*/ 1778317 w 9012328"/>
              <a:gd name="connsiteY186" fmla="*/ 6185176 h 7308446"/>
              <a:gd name="connsiteX187" fmla="*/ 1797871 w 9012328"/>
              <a:gd name="connsiteY187" fmla="*/ 6220388 h 7308446"/>
              <a:gd name="connsiteX188" fmla="*/ 1814804 w 9012328"/>
              <a:gd name="connsiteY188" fmla="*/ 6258486 h 7308446"/>
              <a:gd name="connsiteX189" fmla="*/ 1829247 w 9012328"/>
              <a:gd name="connsiteY189" fmla="*/ 6299388 h 7308446"/>
              <a:gd name="connsiteX190" fmla="*/ 1841333 w 9012328"/>
              <a:gd name="connsiteY190" fmla="*/ 6343014 h 7308446"/>
              <a:gd name="connsiteX191" fmla="*/ 1851196 w 9012328"/>
              <a:gd name="connsiteY191" fmla="*/ 6389281 h 7308446"/>
              <a:gd name="connsiteX192" fmla="*/ 1858969 w 9012328"/>
              <a:gd name="connsiteY192" fmla="*/ 6438109 h 7308446"/>
              <a:gd name="connsiteX193" fmla="*/ 1864782 w 9012328"/>
              <a:gd name="connsiteY193" fmla="*/ 6489415 h 7308446"/>
              <a:gd name="connsiteX194" fmla="*/ 1868770 w 9012328"/>
              <a:gd name="connsiteY194" fmla="*/ 6543120 h 7308446"/>
              <a:gd name="connsiteX195" fmla="*/ 1871067 w 9012328"/>
              <a:gd name="connsiteY195" fmla="*/ 6599140 h 7308446"/>
              <a:gd name="connsiteX196" fmla="*/ 1871802 w 9012328"/>
              <a:gd name="connsiteY196" fmla="*/ 6657396 h 7308446"/>
              <a:gd name="connsiteX197" fmla="*/ 1871103 w 9012328"/>
              <a:gd name="connsiteY197" fmla="*/ 6715902 h 7308446"/>
              <a:gd name="connsiteX198" fmla="*/ 1868906 w 9012328"/>
              <a:gd name="connsiteY198" fmla="*/ 6772172 h 7308446"/>
              <a:gd name="connsiteX199" fmla="*/ 1865069 w 9012328"/>
              <a:gd name="connsiteY199" fmla="*/ 6826122 h 7308446"/>
              <a:gd name="connsiteX200" fmla="*/ 1859448 w 9012328"/>
              <a:gd name="connsiteY200" fmla="*/ 6877672 h 7308446"/>
              <a:gd name="connsiteX201" fmla="*/ 1851900 w 9012328"/>
              <a:gd name="connsiteY201" fmla="*/ 6926737 h 7308446"/>
              <a:gd name="connsiteX202" fmla="*/ 1842280 w 9012328"/>
              <a:gd name="connsiteY202" fmla="*/ 6973236 h 7308446"/>
              <a:gd name="connsiteX203" fmla="*/ 1830443 w 9012328"/>
              <a:gd name="connsiteY203" fmla="*/ 7017085 h 7308446"/>
              <a:gd name="connsiteX204" fmla="*/ 1816246 w 9012328"/>
              <a:gd name="connsiteY204" fmla="*/ 7058203 h 7308446"/>
              <a:gd name="connsiteX205" fmla="*/ 1799544 w 9012328"/>
              <a:gd name="connsiteY205" fmla="*/ 7096506 h 7308446"/>
              <a:gd name="connsiteX206" fmla="*/ 1780195 w 9012328"/>
              <a:gd name="connsiteY206" fmla="*/ 7131912 h 7308446"/>
              <a:gd name="connsiteX207" fmla="*/ 1758055 w 9012328"/>
              <a:gd name="connsiteY207" fmla="*/ 7164338 h 7308446"/>
              <a:gd name="connsiteX208" fmla="*/ 1732977 w 9012328"/>
              <a:gd name="connsiteY208" fmla="*/ 7193701 h 7308446"/>
              <a:gd name="connsiteX209" fmla="*/ 1704820 w 9012328"/>
              <a:gd name="connsiteY209" fmla="*/ 7219920 h 7308446"/>
              <a:gd name="connsiteX210" fmla="*/ 1673440 w 9012328"/>
              <a:gd name="connsiteY210" fmla="*/ 7242910 h 7308446"/>
              <a:gd name="connsiteX211" fmla="*/ 1638691 w 9012328"/>
              <a:gd name="connsiteY211" fmla="*/ 7262591 h 7308446"/>
              <a:gd name="connsiteX212" fmla="*/ 1600431 w 9012328"/>
              <a:gd name="connsiteY212" fmla="*/ 7278878 h 7308446"/>
              <a:gd name="connsiteX213" fmla="*/ 1558512 w 9012328"/>
              <a:gd name="connsiteY213" fmla="*/ 7291690 h 7308446"/>
              <a:gd name="connsiteX214" fmla="*/ 1512797 w 9012328"/>
              <a:gd name="connsiteY214" fmla="*/ 7300944 h 7308446"/>
              <a:gd name="connsiteX215" fmla="*/ 1463136 w 9012328"/>
              <a:gd name="connsiteY215" fmla="*/ 7306557 h 7308446"/>
              <a:gd name="connsiteX216" fmla="*/ 1409388 w 9012328"/>
              <a:gd name="connsiteY216" fmla="*/ 7308446 h 7308446"/>
              <a:gd name="connsiteX217" fmla="*/ 1409388 w 9012328"/>
              <a:gd name="connsiteY217" fmla="*/ 7211624 h 7308446"/>
              <a:gd name="connsiteX218" fmla="*/ 1459074 w 9012328"/>
              <a:gd name="connsiteY218" fmla="*/ 7209391 h 7308446"/>
              <a:gd name="connsiteX219" fmla="*/ 1503995 w 9012328"/>
              <a:gd name="connsiteY219" fmla="*/ 7202770 h 7308446"/>
              <a:gd name="connsiteX220" fmla="*/ 1544377 w 9012328"/>
              <a:gd name="connsiteY220" fmla="*/ 7191881 h 7308446"/>
              <a:gd name="connsiteX221" fmla="*/ 1580448 w 9012328"/>
              <a:gd name="connsiteY221" fmla="*/ 7176841 h 7308446"/>
              <a:gd name="connsiteX222" fmla="*/ 1640559 w 9012328"/>
              <a:gd name="connsiteY222" fmla="*/ 7134781 h 7308446"/>
              <a:gd name="connsiteX223" fmla="*/ 1686139 w 9012328"/>
              <a:gd name="connsiteY223" fmla="*/ 7077537 h 7308446"/>
              <a:gd name="connsiteX224" fmla="*/ 1704044 w 9012328"/>
              <a:gd name="connsiteY224" fmla="*/ 7043516 h 7308446"/>
              <a:gd name="connsiteX225" fmla="*/ 1718997 w 9012328"/>
              <a:gd name="connsiteY225" fmla="*/ 7006054 h 7308446"/>
              <a:gd name="connsiteX226" fmla="*/ 1731220 w 9012328"/>
              <a:gd name="connsiteY226" fmla="*/ 6965269 h 7308446"/>
              <a:gd name="connsiteX227" fmla="*/ 1740944 w 9012328"/>
              <a:gd name="connsiteY227" fmla="*/ 6921279 h 7308446"/>
              <a:gd name="connsiteX228" fmla="*/ 1748390 w 9012328"/>
              <a:gd name="connsiteY228" fmla="*/ 6874203 h 7308446"/>
              <a:gd name="connsiteX229" fmla="*/ 1753790 w 9012328"/>
              <a:gd name="connsiteY229" fmla="*/ 6824158 h 7308446"/>
              <a:gd name="connsiteX230" fmla="*/ 1757366 w 9012328"/>
              <a:gd name="connsiteY230" fmla="*/ 6771263 h 7308446"/>
              <a:gd name="connsiteX231" fmla="*/ 1759345 w 9012328"/>
              <a:gd name="connsiteY231" fmla="*/ 6715637 h 7308446"/>
              <a:gd name="connsiteX232" fmla="*/ 1759955 w 9012328"/>
              <a:gd name="connsiteY232" fmla="*/ 6657396 h 7308446"/>
              <a:gd name="connsiteX233" fmla="*/ 1759313 w 9012328"/>
              <a:gd name="connsiteY233" fmla="*/ 6599727 h 7308446"/>
              <a:gd name="connsiteX234" fmla="*/ 1757242 w 9012328"/>
              <a:gd name="connsiteY234" fmla="*/ 6544638 h 7308446"/>
              <a:gd name="connsiteX235" fmla="*/ 1753533 w 9012328"/>
              <a:gd name="connsiteY235" fmla="*/ 6492245 h 7308446"/>
              <a:gd name="connsiteX236" fmla="*/ 1747967 w 9012328"/>
              <a:gd name="connsiteY236" fmla="*/ 6442669 h 7308446"/>
              <a:gd name="connsiteX237" fmla="*/ 1740332 w 9012328"/>
              <a:gd name="connsiteY237" fmla="*/ 6396025 h 7308446"/>
              <a:gd name="connsiteX238" fmla="*/ 1730413 w 9012328"/>
              <a:gd name="connsiteY238" fmla="*/ 6352434 h 7308446"/>
              <a:gd name="connsiteX239" fmla="*/ 1717998 w 9012328"/>
              <a:gd name="connsiteY239" fmla="*/ 6312013 h 7308446"/>
              <a:gd name="connsiteX240" fmla="*/ 1702871 w 9012328"/>
              <a:gd name="connsiteY240" fmla="*/ 6274881 h 7308446"/>
              <a:gd name="connsiteX241" fmla="*/ 1684817 w 9012328"/>
              <a:gd name="connsiteY241" fmla="*/ 6241155 h 7308446"/>
              <a:gd name="connsiteX242" fmla="*/ 1639079 w 9012328"/>
              <a:gd name="connsiteY242" fmla="*/ 6184396 h 7308446"/>
              <a:gd name="connsiteX243" fmla="*/ 1579070 w 9012328"/>
              <a:gd name="connsiteY243" fmla="*/ 6142683 h 7308446"/>
              <a:gd name="connsiteX244" fmla="*/ 1543178 w 9012328"/>
              <a:gd name="connsiteY244" fmla="*/ 6127764 h 7308446"/>
              <a:gd name="connsiteX245" fmla="*/ 1503076 w 9012328"/>
              <a:gd name="connsiteY245" fmla="*/ 6116961 h 7308446"/>
              <a:gd name="connsiteX246" fmla="*/ 1458551 w 9012328"/>
              <a:gd name="connsiteY246" fmla="*/ 6110393 h 7308446"/>
              <a:gd name="connsiteX247" fmla="*/ 1409388 w 9012328"/>
              <a:gd name="connsiteY247" fmla="*/ 6108177 h 7308446"/>
              <a:gd name="connsiteX248" fmla="*/ 1317509 w 9012328"/>
              <a:gd name="connsiteY248" fmla="*/ 6009685 h 7308446"/>
              <a:gd name="connsiteX249" fmla="*/ 1317509 w 9012328"/>
              <a:gd name="connsiteY249" fmla="*/ 6108177 h 7308446"/>
              <a:gd name="connsiteX250" fmla="*/ 1268623 w 9012328"/>
              <a:gd name="connsiteY250" fmla="*/ 6110393 h 7308446"/>
              <a:gd name="connsiteX251" fmla="*/ 1224343 w 9012328"/>
              <a:gd name="connsiteY251" fmla="*/ 6116961 h 7308446"/>
              <a:gd name="connsiteX252" fmla="*/ 1184456 w 9012328"/>
              <a:gd name="connsiteY252" fmla="*/ 6127764 h 7308446"/>
              <a:gd name="connsiteX253" fmla="*/ 1148750 w 9012328"/>
              <a:gd name="connsiteY253" fmla="*/ 6142683 h 7308446"/>
              <a:gd name="connsiteX254" fmla="*/ 1089035 w 9012328"/>
              <a:gd name="connsiteY254" fmla="*/ 6184396 h 7308446"/>
              <a:gd name="connsiteX255" fmla="*/ 1043502 w 9012328"/>
              <a:gd name="connsiteY255" fmla="*/ 6241155 h 7308446"/>
              <a:gd name="connsiteX256" fmla="*/ 1025523 w 9012328"/>
              <a:gd name="connsiteY256" fmla="*/ 6274881 h 7308446"/>
              <a:gd name="connsiteX257" fmla="*/ 1010453 w 9012328"/>
              <a:gd name="connsiteY257" fmla="*/ 6312013 h 7308446"/>
              <a:gd name="connsiteX258" fmla="*/ 998080 w 9012328"/>
              <a:gd name="connsiteY258" fmla="*/ 6352434 h 7308446"/>
              <a:gd name="connsiteX259" fmla="*/ 988193 w 9012328"/>
              <a:gd name="connsiteY259" fmla="*/ 6396025 h 7308446"/>
              <a:gd name="connsiteX260" fmla="*/ 980578 w 9012328"/>
              <a:gd name="connsiteY260" fmla="*/ 6442669 h 7308446"/>
              <a:gd name="connsiteX261" fmla="*/ 975024 w 9012328"/>
              <a:gd name="connsiteY261" fmla="*/ 6492245 h 7308446"/>
              <a:gd name="connsiteX262" fmla="*/ 971321 w 9012328"/>
              <a:gd name="connsiteY262" fmla="*/ 6544638 h 7308446"/>
              <a:gd name="connsiteX263" fmla="*/ 969254 w 9012328"/>
              <a:gd name="connsiteY263" fmla="*/ 6599727 h 7308446"/>
              <a:gd name="connsiteX264" fmla="*/ 968612 w 9012328"/>
              <a:gd name="connsiteY264" fmla="*/ 6657396 h 7308446"/>
              <a:gd name="connsiteX265" fmla="*/ 969237 w 9012328"/>
              <a:gd name="connsiteY265" fmla="*/ 6715637 h 7308446"/>
              <a:gd name="connsiteX266" fmla="*/ 971260 w 9012328"/>
              <a:gd name="connsiteY266" fmla="*/ 6771263 h 7308446"/>
              <a:gd name="connsiteX267" fmla="*/ 974897 w 9012328"/>
              <a:gd name="connsiteY267" fmla="*/ 6824158 h 7308446"/>
              <a:gd name="connsiteX268" fmla="*/ 980366 w 9012328"/>
              <a:gd name="connsiteY268" fmla="*/ 6874203 h 7308446"/>
              <a:gd name="connsiteX269" fmla="*/ 987887 w 9012328"/>
              <a:gd name="connsiteY269" fmla="*/ 6921279 h 7308446"/>
              <a:gd name="connsiteX270" fmla="*/ 997676 w 9012328"/>
              <a:gd name="connsiteY270" fmla="*/ 6965269 h 7308446"/>
              <a:gd name="connsiteX271" fmla="*/ 1009953 w 9012328"/>
              <a:gd name="connsiteY271" fmla="*/ 7006054 h 7308446"/>
              <a:gd name="connsiteX272" fmla="*/ 1024935 w 9012328"/>
              <a:gd name="connsiteY272" fmla="*/ 7043516 h 7308446"/>
              <a:gd name="connsiteX273" fmla="*/ 1042841 w 9012328"/>
              <a:gd name="connsiteY273" fmla="*/ 7077537 h 7308446"/>
              <a:gd name="connsiteX274" fmla="*/ 1088295 w 9012328"/>
              <a:gd name="connsiteY274" fmla="*/ 7134781 h 7308446"/>
              <a:gd name="connsiteX275" fmla="*/ 1148061 w 9012328"/>
              <a:gd name="connsiteY275" fmla="*/ 7176841 h 7308446"/>
              <a:gd name="connsiteX276" fmla="*/ 1183856 w 9012328"/>
              <a:gd name="connsiteY276" fmla="*/ 7191881 h 7308446"/>
              <a:gd name="connsiteX277" fmla="*/ 1223884 w 9012328"/>
              <a:gd name="connsiteY277" fmla="*/ 7202770 h 7308446"/>
              <a:gd name="connsiteX278" fmla="*/ 1268362 w 9012328"/>
              <a:gd name="connsiteY278" fmla="*/ 7209391 h 7308446"/>
              <a:gd name="connsiteX279" fmla="*/ 1317509 w 9012328"/>
              <a:gd name="connsiteY279" fmla="*/ 7211624 h 7308446"/>
              <a:gd name="connsiteX280" fmla="*/ 1317509 w 9012328"/>
              <a:gd name="connsiteY280" fmla="*/ 7308446 h 7308446"/>
              <a:gd name="connsiteX281" fmla="*/ 1263987 w 9012328"/>
              <a:gd name="connsiteY281" fmla="*/ 7306557 h 7308446"/>
              <a:gd name="connsiteX282" fmla="*/ 1214506 w 9012328"/>
              <a:gd name="connsiteY282" fmla="*/ 7300944 h 7308446"/>
              <a:gd name="connsiteX283" fmla="*/ 1168927 w 9012328"/>
              <a:gd name="connsiteY283" fmla="*/ 7291690 h 7308446"/>
              <a:gd name="connsiteX284" fmla="*/ 1127108 w 9012328"/>
              <a:gd name="connsiteY284" fmla="*/ 7278878 h 7308446"/>
              <a:gd name="connsiteX285" fmla="*/ 1088911 w 9012328"/>
              <a:gd name="connsiteY285" fmla="*/ 7262591 h 7308446"/>
              <a:gd name="connsiteX286" fmla="*/ 1054194 w 9012328"/>
              <a:gd name="connsiteY286" fmla="*/ 7242910 h 7308446"/>
              <a:gd name="connsiteX287" fmla="*/ 1022818 w 9012328"/>
              <a:gd name="connsiteY287" fmla="*/ 7219920 h 7308446"/>
              <a:gd name="connsiteX288" fmla="*/ 994641 w 9012328"/>
              <a:gd name="connsiteY288" fmla="*/ 7193701 h 7308446"/>
              <a:gd name="connsiteX289" fmla="*/ 969525 w 9012328"/>
              <a:gd name="connsiteY289" fmla="*/ 7164338 h 7308446"/>
              <a:gd name="connsiteX290" fmla="*/ 947329 w 9012328"/>
              <a:gd name="connsiteY290" fmla="*/ 7131912 h 7308446"/>
              <a:gd name="connsiteX291" fmla="*/ 927911 w 9012328"/>
              <a:gd name="connsiteY291" fmla="*/ 7096506 h 7308446"/>
              <a:gd name="connsiteX292" fmla="*/ 911133 w 9012328"/>
              <a:gd name="connsiteY292" fmla="*/ 7058203 h 7308446"/>
              <a:gd name="connsiteX293" fmla="*/ 896855 w 9012328"/>
              <a:gd name="connsiteY293" fmla="*/ 7017085 h 7308446"/>
              <a:gd name="connsiteX294" fmla="*/ 884935 w 9012328"/>
              <a:gd name="connsiteY294" fmla="*/ 6973236 h 7308446"/>
              <a:gd name="connsiteX295" fmla="*/ 875233 w 9012328"/>
              <a:gd name="connsiteY295" fmla="*/ 6926737 h 7308446"/>
              <a:gd name="connsiteX296" fmla="*/ 867610 w 9012328"/>
              <a:gd name="connsiteY296" fmla="*/ 6877672 h 7308446"/>
              <a:gd name="connsiteX297" fmla="*/ 861924 w 9012328"/>
              <a:gd name="connsiteY297" fmla="*/ 6826122 h 7308446"/>
              <a:gd name="connsiteX298" fmla="*/ 858037 w 9012328"/>
              <a:gd name="connsiteY298" fmla="*/ 6772172 h 7308446"/>
              <a:gd name="connsiteX299" fmla="*/ 855809 w 9012328"/>
              <a:gd name="connsiteY299" fmla="*/ 6715902 h 7308446"/>
              <a:gd name="connsiteX300" fmla="*/ 855097 w 9012328"/>
              <a:gd name="connsiteY300" fmla="*/ 6657396 h 7308446"/>
              <a:gd name="connsiteX301" fmla="*/ 855832 w 9012328"/>
              <a:gd name="connsiteY301" fmla="*/ 6599140 h 7308446"/>
              <a:gd name="connsiteX302" fmla="*/ 858128 w 9012328"/>
              <a:gd name="connsiteY302" fmla="*/ 6543120 h 7308446"/>
              <a:gd name="connsiteX303" fmla="*/ 862117 w 9012328"/>
              <a:gd name="connsiteY303" fmla="*/ 6489415 h 7308446"/>
              <a:gd name="connsiteX304" fmla="*/ 867930 w 9012328"/>
              <a:gd name="connsiteY304" fmla="*/ 6438109 h 7308446"/>
              <a:gd name="connsiteX305" fmla="*/ 875703 w 9012328"/>
              <a:gd name="connsiteY305" fmla="*/ 6389281 h 7308446"/>
              <a:gd name="connsiteX306" fmla="*/ 885565 w 9012328"/>
              <a:gd name="connsiteY306" fmla="*/ 6343014 h 7308446"/>
              <a:gd name="connsiteX307" fmla="*/ 897652 w 9012328"/>
              <a:gd name="connsiteY307" fmla="*/ 6299388 h 7308446"/>
              <a:gd name="connsiteX308" fmla="*/ 912095 w 9012328"/>
              <a:gd name="connsiteY308" fmla="*/ 6258486 h 7308446"/>
              <a:gd name="connsiteX309" fmla="*/ 929026 w 9012328"/>
              <a:gd name="connsiteY309" fmla="*/ 6220388 h 7308446"/>
              <a:gd name="connsiteX310" fmla="*/ 948580 w 9012328"/>
              <a:gd name="connsiteY310" fmla="*/ 6185176 h 7308446"/>
              <a:gd name="connsiteX311" fmla="*/ 970888 w 9012328"/>
              <a:gd name="connsiteY311" fmla="*/ 6152931 h 7308446"/>
              <a:gd name="connsiteX312" fmla="*/ 996084 w 9012328"/>
              <a:gd name="connsiteY312" fmla="*/ 6123735 h 7308446"/>
              <a:gd name="connsiteX313" fmla="*/ 1024299 w 9012328"/>
              <a:gd name="connsiteY313" fmla="*/ 6097669 h 7308446"/>
              <a:gd name="connsiteX314" fmla="*/ 1055666 w 9012328"/>
              <a:gd name="connsiteY314" fmla="*/ 6074814 h 7308446"/>
              <a:gd name="connsiteX315" fmla="*/ 1090319 w 9012328"/>
              <a:gd name="connsiteY315" fmla="*/ 6055253 h 7308446"/>
              <a:gd name="connsiteX316" fmla="*/ 1128390 w 9012328"/>
              <a:gd name="connsiteY316" fmla="*/ 6039065 h 7308446"/>
              <a:gd name="connsiteX317" fmla="*/ 1170012 w 9012328"/>
              <a:gd name="connsiteY317" fmla="*/ 6026333 h 7308446"/>
              <a:gd name="connsiteX318" fmla="*/ 1215317 w 9012328"/>
              <a:gd name="connsiteY318" fmla="*/ 6017138 h 7308446"/>
              <a:gd name="connsiteX319" fmla="*/ 1264438 w 9012328"/>
              <a:gd name="connsiteY319" fmla="*/ 6011561 h 7308446"/>
              <a:gd name="connsiteX320" fmla="*/ 505166 w 9012328"/>
              <a:gd name="connsiteY320" fmla="*/ 5528915 h 7308446"/>
              <a:gd name="connsiteX321" fmla="*/ 547395 w 9012328"/>
              <a:gd name="connsiteY321" fmla="*/ 5532593 h 7308446"/>
              <a:gd name="connsiteX322" fmla="*/ 580078 w 9012328"/>
              <a:gd name="connsiteY322" fmla="*/ 5545817 h 7308446"/>
              <a:gd name="connsiteX323" fmla="*/ 601179 w 9012328"/>
              <a:gd name="connsiteY323" fmla="*/ 5571874 h 7308446"/>
              <a:gd name="connsiteX324" fmla="*/ 608666 w 9012328"/>
              <a:gd name="connsiteY324" fmla="*/ 5614052 h 7308446"/>
              <a:gd name="connsiteX325" fmla="*/ 601179 w 9012328"/>
              <a:gd name="connsiteY325" fmla="*/ 5658159 h 7308446"/>
              <a:gd name="connsiteX326" fmla="*/ 580078 w 9012328"/>
              <a:gd name="connsiteY326" fmla="*/ 5685208 h 7308446"/>
              <a:gd name="connsiteX327" fmla="*/ 547395 w 9012328"/>
              <a:gd name="connsiteY327" fmla="*/ 5698798 h 7308446"/>
              <a:gd name="connsiteX328" fmla="*/ 505166 w 9012328"/>
              <a:gd name="connsiteY328" fmla="*/ 5702529 h 7308446"/>
              <a:gd name="connsiteX329" fmla="*/ 462936 w 9012328"/>
              <a:gd name="connsiteY329" fmla="*/ 5698798 h 7308446"/>
              <a:gd name="connsiteX330" fmla="*/ 430252 w 9012328"/>
              <a:gd name="connsiteY330" fmla="*/ 5685208 h 7308446"/>
              <a:gd name="connsiteX331" fmla="*/ 409151 w 9012328"/>
              <a:gd name="connsiteY331" fmla="*/ 5658159 h 7308446"/>
              <a:gd name="connsiteX332" fmla="*/ 401665 w 9012328"/>
              <a:gd name="connsiteY332" fmla="*/ 5614052 h 7308446"/>
              <a:gd name="connsiteX333" fmla="*/ 409385 w 9012328"/>
              <a:gd name="connsiteY333" fmla="*/ 5571874 h 7308446"/>
              <a:gd name="connsiteX334" fmla="*/ 430878 w 9012328"/>
              <a:gd name="connsiteY334" fmla="*/ 5545817 h 7308446"/>
              <a:gd name="connsiteX335" fmla="*/ 463640 w 9012328"/>
              <a:gd name="connsiteY335" fmla="*/ 5532593 h 7308446"/>
              <a:gd name="connsiteX336" fmla="*/ 2465444 w 9012328"/>
              <a:gd name="connsiteY336" fmla="*/ 5378664 h 7308446"/>
              <a:gd name="connsiteX337" fmla="*/ 3370236 w 9012328"/>
              <a:gd name="connsiteY337" fmla="*/ 5378664 h 7308446"/>
              <a:gd name="connsiteX338" fmla="*/ 3370236 w 9012328"/>
              <a:gd name="connsiteY338" fmla="*/ 5485502 h 7308446"/>
              <a:gd name="connsiteX339" fmla="*/ 2465444 w 9012328"/>
              <a:gd name="connsiteY339" fmla="*/ 5485502 h 7308446"/>
              <a:gd name="connsiteX340" fmla="*/ 2465444 w 9012328"/>
              <a:gd name="connsiteY340" fmla="*/ 5029768 h 7308446"/>
              <a:gd name="connsiteX341" fmla="*/ 3370236 w 9012328"/>
              <a:gd name="connsiteY341" fmla="*/ 5029768 h 7308446"/>
              <a:gd name="connsiteX342" fmla="*/ 3370236 w 9012328"/>
              <a:gd name="connsiteY342" fmla="*/ 5136606 h 7308446"/>
              <a:gd name="connsiteX343" fmla="*/ 2465444 w 9012328"/>
              <a:gd name="connsiteY343" fmla="*/ 5136606 h 7308446"/>
              <a:gd name="connsiteX344" fmla="*/ 505166 w 9012328"/>
              <a:gd name="connsiteY344" fmla="*/ 4827784 h 7308446"/>
              <a:gd name="connsiteX345" fmla="*/ 547395 w 9012328"/>
              <a:gd name="connsiteY345" fmla="*/ 4831253 h 7308446"/>
              <a:gd name="connsiteX346" fmla="*/ 580078 w 9012328"/>
              <a:gd name="connsiteY346" fmla="*/ 4844268 h 7308446"/>
              <a:gd name="connsiteX347" fmla="*/ 601179 w 9012328"/>
              <a:gd name="connsiteY347" fmla="*/ 4870743 h 7308446"/>
              <a:gd name="connsiteX348" fmla="*/ 608666 w 9012328"/>
              <a:gd name="connsiteY348" fmla="*/ 4914590 h 7308446"/>
              <a:gd name="connsiteX349" fmla="*/ 601179 w 9012328"/>
              <a:gd name="connsiteY349" fmla="*/ 4957028 h 7308446"/>
              <a:gd name="connsiteX350" fmla="*/ 580078 w 9012328"/>
              <a:gd name="connsiteY350" fmla="*/ 4983660 h 7308446"/>
              <a:gd name="connsiteX351" fmla="*/ 547395 w 9012328"/>
              <a:gd name="connsiteY351" fmla="*/ 4997458 h 7308446"/>
              <a:gd name="connsiteX352" fmla="*/ 505166 w 9012328"/>
              <a:gd name="connsiteY352" fmla="*/ 5001397 h 7308446"/>
              <a:gd name="connsiteX353" fmla="*/ 463901 w 9012328"/>
              <a:gd name="connsiteY353" fmla="*/ 4997458 h 7308446"/>
              <a:gd name="connsiteX354" fmla="*/ 431713 w 9012328"/>
              <a:gd name="connsiteY354" fmla="*/ 4983660 h 7308446"/>
              <a:gd name="connsiteX355" fmla="*/ 410794 w 9012328"/>
              <a:gd name="connsiteY355" fmla="*/ 4957028 h 7308446"/>
              <a:gd name="connsiteX356" fmla="*/ 403334 w 9012328"/>
              <a:gd name="connsiteY356" fmla="*/ 4914590 h 7308446"/>
              <a:gd name="connsiteX357" fmla="*/ 410794 w 9012328"/>
              <a:gd name="connsiteY357" fmla="*/ 4870743 h 7308446"/>
              <a:gd name="connsiteX358" fmla="*/ 431713 w 9012328"/>
              <a:gd name="connsiteY358" fmla="*/ 4844268 h 7308446"/>
              <a:gd name="connsiteX359" fmla="*/ 463901 w 9012328"/>
              <a:gd name="connsiteY359" fmla="*/ 4831253 h 7308446"/>
              <a:gd name="connsiteX360" fmla="*/ 4111651 w 9012328"/>
              <a:gd name="connsiteY360" fmla="*/ 4507266 h 7308446"/>
              <a:gd name="connsiteX361" fmla="*/ 4164721 w 9012328"/>
              <a:gd name="connsiteY361" fmla="*/ 4509142 h 7308446"/>
              <a:gd name="connsiteX362" fmla="*/ 4213842 w 9012328"/>
              <a:gd name="connsiteY362" fmla="*/ 4514719 h 7308446"/>
              <a:gd name="connsiteX363" fmla="*/ 4259148 w 9012328"/>
              <a:gd name="connsiteY363" fmla="*/ 4523914 h 7308446"/>
              <a:gd name="connsiteX364" fmla="*/ 4300769 w 9012328"/>
              <a:gd name="connsiteY364" fmla="*/ 4536646 h 7308446"/>
              <a:gd name="connsiteX365" fmla="*/ 4338840 w 9012328"/>
              <a:gd name="connsiteY365" fmla="*/ 4552834 h 7308446"/>
              <a:gd name="connsiteX366" fmla="*/ 4373493 w 9012328"/>
              <a:gd name="connsiteY366" fmla="*/ 4572395 h 7308446"/>
              <a:gd name="connsiteX367" fmla="*/ 4404861 w 9012328"/>
              <a:gd name="connsiteY367" fmla="*/ 4595250 h 7308446"/>
              <a:gd name="connsiteX368" fmla="*/ 4433076 w 9012328"/>
              <a:gd name="connsiteY368" fmla="*/ 4621316 h 7308446"/>
              <a:gd name="connsiteX369" fmla="*/ 4458271 w 9012328"/>
              <a:gd name="connsiteY369" fmla="*/ 4650512 h 7308446"/>
              <a:gd name="connsiteX370" fmla="*/ 4480579 w 9012328"/>
              <a:gd name="connsiteY370" fmla="*/ 4682757 h 7308446"/>
              <a:gd name="connsiteX371" fmla="*/ 4500133 w 9012328"/>
              <a:gd name="connsiteY371" fmla="*/ 4717969 h 7308446"/>
              <a:gd name="connsiteX372" fmla="*/ 4517065 w 9012328"/>
              <a:gd name="connsiteY372" fmla="*/ 4756067 h 7308446"/>
              <a:gd name="connsiteX373" fmla="*/ 4531508 w 9012328"/>
              <a:gd name="connsiteY373" fmla="*/ 4796969 h 7308446"/>
              <a:gd name="connsiteX374" fmla="*/ 4543594 w 9012328"/>
              <a:gd name="connsiteY374" fmla="*/ 4840595 h 7308446"/>
              <a:gd name="connsiteX375" fmla="*/ 4553457 w 9012328"/>
              <a:gd name="connsiteY375" fmla="*/ 4886863 h 7308446"/>
              <a:gd name="connsiteX376" fmla="*/ 4561230 w 9012328"/>
              <a:gd name="connsiteY376" fmla="*/ 4935691 h 7308446"/>
              <a:gd name="connsiteX377" fmla="*/ 4567043 w 9012328"/>
              <a:gd name="connsiteY377" fmla="*/ 4986997 h 7308446"/>
              <a:gd name="connsiteX378" fmla="*/ 4571032 w 9012328"/>
              <a:gd name="connsiteY378" fmla="*/ 5040702 h 7308446"/>
              <a:gd name="connsiteX379" fmla="*/ 4573328 w 9012328"/>
              <a:gd name="connsiteY379" fmla="*/ 5096722 h 7308446"/>
              <a:gd name="connsiteX380" fmla="*/ 4574064 w 9012328"/>
              <a:gd name="connsiteY380" fmla="*/ 5154978 h 7308446"/>
              <a:gd name="connsiteX381" fmla="*/ 4573364 w 9012328"/>
              <a:gd name="connsiteY381" fmla="*/ 5213483 h 7308446"/>
              <a:gd name="connsiteX382" fmla="*/ 4571167 w 9012328"/>
              <a:gd name="connsiteY382" fmla="*/ 5269753 h 7308446"/>
              <a:gd name="connsiteX383" fmla="*/ 4567331 w 9012328"/>
              <a:gd name="connsiteY383" fmla="*/ 5323704 h 7308446"/>
              <a:gd name="connsiteX384" fmla="*/ 4561710 w 9012328"/>
              <a:gd name="connsiteY384" fmla="*/ 5375253 h 7308446"/>
              <a:gd name="connsiteX385" fmla="*/ 4554162 w 9012328"/>
              <a:gd name="connsiteY385" fmla="*/ 5424318 h 7308446"/>
              <a:gd name="connsiteX386" fmla="*/ 4544541 w 9012328"/>
              <a:gd name="connsiteY386" fmla="*/ 5470817 h 7308446"/>
              <a:gd name="connsiteX387" fmla="*/ 4532704 w 9012328"/>
              <a:gd name="connsiteY387" fmla="*/ 5514667 h 7308446"/>
              <a:gd name="connsiteX388" fmla="*/ 4518507 w 9012328"/>
              <a:gd name="connsiteY388" fmla="*/ 5555784 h 7308446"/>
              <a:gd name="connsiteX389" fmla="*/ 4501806 w 9012328"/>
              <a:gd name="connsiteY389" fmla="*/ 5594087 h 7308446"/>
              <a:gd name="connsiteX390" fmla="*/ 4482457 w 9012328"/>
              <a:gd name="connsiteY390" fmla="*/ 5629493 h 7308446"/>
              <a:gd name="connsiteX391" fmla="*/ 4460316 w 9012328"/>
              <a:gd name="connsiteY391" fmla="*/ 5661919 h 7308446"/>
              <a:gd name="connsiteX392" fmla="*/ 4435240 w 9012328"/>
              <a:gd name="connsiteY392" fmla="*/ 5691283 h 7308446"/>
              <a:gd name="connsiteX393" fmla="*/ 4407083 w 9012328"/>
              <a:gd name="connsiteY393" fmla="*/ 5717501 h 7308446"/>
              <a:gd name="connsiteX394" fmla="*/ 4375702 w 9012328"/>
              <a:gd name="connsiteY394" fmla="*/ 5740492 h 7308446"/>
              <a:gd name="connsiteX395" fmla="*/ 4340953 w 9012328"/>
              <a:gd name="connsiteY395" fmla="*/ 5760173 h 7308446"/>
              <a:gd name="connsiteX396" fmla="*/ 4302693 w 9012328"/>
              <a:gd name="connsiteY396" fmla="*/ 5776460 h 7308446"/>
              <a:gd name="connsiteX397" fmla="*/ 4260776 w 9012328"/>
              <a:gd name="connsiteY397" fmla="*/ 5789272 h 7308446"/>
              <a:gd name="connsiteX398" fmla="*/ 4215059 w 9012328"/>
              <a:gd name="connsiteY398" fmla="*/ 5798526 h 7308446"/>
              <a:gd name="connsiteX399" fmla="*/ 4165399 w 9012328"/>
              <a:gd name="connsiteY399" fmla="*/ 5804139 h 7308446"/>
              <a:gd name="connsiteX400" fmla="*/ 4111651 w 9012328"/>
              <a:gd name="connsiteY400" fmla="*/ 5806028 h 7308446"/>
              <a:gd name="connsiteX401" fmla="*/ 4111651 w 9012328"/>
              <a:gd name="connsiteY401" fmla="*/ 5709205 h 7308446"/>
              <a:gd name="connsiteX402" fmla="*/ 4161336 w 9012328"/>
              <a:gd name="connsiteY402" fmla="*/ 5706972 h 7308446"/>
              <a:gd name="connsiteX403" fmla="*/ 4206256 w 9012328"/>
              <a:gd name="connsiteY403" fmla="*/ 5700351 h 7308446"/>
              <a:gd name="connsiteX404" fmla="*/ 4246640 w 9012328"/>
              <a:gd name="connsiteY404" fmla="*/ 5689462 h 7308446"/>
              <a:gd name="connsiteX405" fmla="*/ 4282711 w 9012328"/>
              <a:gd name="connsiteY405" fmla="*/ 5674422 h 7308446"/>
              <a:gd name="connsiteX406" fmla="*/ 4342822 w 9012328"/>
              <a:gd name="connsiteY406" fmla="*/ 5632362 h 7308446"/>
              <a:gd name="connsiteX407" fmla="*/ 4388401 w 9012328"/>
              <a:gd name="connsiteY407" fmla="*/ 5575118 h 7308446"/>
              <a:gd name="connsiteX408" fmla="*/ 4406307 w 9012328"/>
              <a:gd name="connsiteY408" fmla="*/ 5541097 h 7308446"/>
              <a:gd name="connsiteX409" fmla="*/ 4421259 w 9012328"/>
              <a:gd name="connsiteY409" fmla="*/ 5503636 h 7308446"/>
              <a:gd name="connsiteX410" fmla="*/ 4433483 w 9012328"/>
              <a:gd name="connsiteY410" fmla="*/ 5462851 h 7308446"/>
              <a:gd name="connsiteX411" fmla="*/ 4443206 w 9012328"/>
              <a:gd name="connsiteY411" fmla="*/ 5418861 h 7308446"/>
              <a:gd name="connsiteX412" fmla="*/ 4450653 w 9012328"/>
              <a:gd name="connsiteY412" fmla="*/ 5371784 h 7308446"/>
              <a:gd name="connsiteX413" fmla="*/ 4456052 w 9012328"/>
              <a:gd name="connsiteY413" fmla="*/ 5321740 h 7308446"/>
              <a:gd name="connsiteX414" fmla="*/ 4459628 w 9012328"/>
              <a:gd name="connsiteY414" fmla="*/ 5268845 h 7308446"/>
              <a:gd name="connsiteX415" fmla="*/ 4461607 w 9012328"/>
              <a:gd name="connsiteY415" fmla="*/ 5213218 h 7308446"/>
              <a:gd name="connsiteX416" fmla="*/ 4462217 w 9012328"/>
              <a:gd name="connsiteY416" fmla="*/ 5154978 h 7308446"/>
              <a:gd name="connsiteX417" fmla="*/ 4461575 w 9012328"/>
              <a:gd name="connsiteY417" fmla="*/ 5097309 h 7308446"/>
              <a:gd name="connsiteX418" fmla="*/ 4459505 w 9012328"/>
              <a:gd name="connsiteY418" fmla="*/ 5042220 h 7308446"/>
              <a:gd name="connsiteX419" fmla="*/ 4455795 w 9012328"/>
              <a:gd name="connsiteY419" fmla="*/ 4989827 h 7308446"/>
              <a:gd name="connsiteX420" fmla="*/ 4450229 w 9012328"/>
              <a:gd name="connsiteY420" fmla="*/ 4940251 h 7308446"/>
              <a:gd name="connsiteX421" fmla="*/ 4442594 w 9012328"/>
              <a:gd name="connsiteY421" fmla="*/ 4893607 h 7308446"/>
              <a:gd name="connsiteX422" fmla="*/ 4432676 w 9012328"/>
              <a:gd name="connsiteY422" fmla="*/ 4850015 h 7308446"/>
              <a:gd name="connsiteX423" fmla="*/ 4420260 w 9012328"/>
              <a:gd name="connsiteY423" fmla="*/ 4809594 h 7308446"/>
              <a:gd name="connsiteX424" fmla="*/ 4405133 w 9012328"/>
              <a:gd name="connsiteY424" fmla="*/ 4772462 h 7308446"/>
              <a:gd name="connsiteX425" fmla="*/ 4387080 w 9012328"/>
              <a:gd name="connsiteY425" fmla="*/ 4738736 h 7308446"/>
              <a:gd name="connsiteX426" fmla="*/ 4341342 w 9012328"/>
              <a:gd name="connsiteY426" fmla="*/ 4681977 h 7308446"/>
              <a:gd name="connsiteX427" fmla="*/ 4281333 w 9012328"/>
              <a:gd name="connsiteY427" fmla="*/ 4640264 h 7308446"/>
              <a:gd name="connsiteX428" fmla="*/ 4245441 w 9012328"/>
              <a:gd name="connsiteY428" fmla="*/ 4625345 h 7308446"/>
              <a:gd name="connsiteX429" fmla="*/ 4205339 w 9012328"/>
              <a:gd name="connsiteY429" fmla="*/ 4614542 h 7308446"/>
              <a:gd name="connsiteX430" fmla="*/ 4160814 w 9012328"/>
              <a:gd name="connsiteY430" fmla="*/ 4607974 h 7308446"/>
              <a:gd name="connsiteX431" fmla="*/ 4111651 w 9012328"/>
              <a:gd name="connsiteY431" fmla="*/ 4605758 h 7308446"/>
              <a:gd name="connsiteX432" fmla="*/ 4019781 w 9012328"/>
              <a:gd name="connsiteY432" fmla="*/ 4507266 h 7308446"/>
              <a:gd name="connsiteX433" fmla="*/ 4019781 w 9012328"/>
              <a:gd name="connsiteY433" fmla="*/ 4605758 h 7308446"/>
              <a:gd name="connsiteX434" fmla="*/ 3970895 w 9012328"/>
              <a:gd name="connsiteY434" fmla="*/ 4607974 h 7308446"/>
              <a:gd name="connsiteX435" fmla="*/ 3926615 w 9012328"/>
              <a:gd name="connsiteY435" fmla="*/ 4614542 h 7308446"/>
              <a:gd name="connsiteX436" fmla="*/ 3886728 w 9012328"/>
              <a:gd name="connsiteY436" fmla="*/ 4625345 h 7308446"/>
              <a:gd name="connsiteX437" fmla="*/ 3851022 w 9012328"/>
              <a:gd name="connsiteY437" fmla="*/ 4640264 h 7308446"/>
              <a:gd name="connsiteX438" fmla="*/ 3791307 w 9012328"/>
              <a:gd name="connsiteY438" fmla="*/ 4681977 h 7308446"/>
              <a:gd name="connsiteX439" fmla="*/ 3745774 w 9012328"/>
              <a:gd name="connsiteY439" fmla="*/ 4738736 h 7308446"/>
              <a:gd name="connsiteX440" fmla="*/ 3727795 w 9012328"/>
              <a:gd name="connsiteY440" fmla="*/ 4772462 h 7308446"/>
              <a:gd name="connsiteX441" fmla="*/ 3712725 w 9012328"/>
              <a:gd name="connsiteY441" fmla="*/ 4809594 h 7308446"/>
              <a:gd name="connsiteX442" fmla="*/ 3700353 w 9012328"/>
              <a:gd name="connsiteY442" fmla="*/ 4850015 h 7308446"/>
              <a:gd name="connsiteX443" fmla="*/ 3690465 w 9012328"/>
              <a:gd name="connsiteY443" fmla="*/ 4893607 h 7308446"/>
              <a:gd name="connsiteX444" fmla="*/ 3682853 w 9012328"/>
              <a:gd name="connsiteY444" fmla="*/ 4940251 h 7308446"/>
              <a:gd name="connsiteX445" fmla="*/ 3677301 w 9012328"/>
              <a:gd name="connsiteY445" fmla="*/ 4989827 h 7308446"/>
              <a:gd name="connsiteX446" fmla="*/ 3673597 w 9012328"/>
              <a:gd name="connsiteY446" fmla="*/ 5042220 h 7308446"/>
              <a:gd name="connsiteX447" fmla="*/ 3671530 w 9012328"/>
              <a:gd name="connsiteY447" fmla="*/ 5097309 h 7308446"/>
              <a:gd name="connsiteX448" fmla="*/ 3670887 w 9012328"/>
              <a:gd name="connsiteY448" fmla="*/ 5154978 h 7308446"/>
              <a:gd name="connsiteX449" fmla="*/ 3671513 w 9012328"/>
              <a:gd name="connsiteY449" fmla="*/ 5213218 h 7308446"/>
              <a:gd name="connsiteX450" fmla="*/ 3673535 w 9012328"/>
              <a:gd name="connsiteY450" fmla="*/ 5268845 h 7308446"/>
              <a:gd name="connsiteX451" fmla="*/ 3677173 w 9012328"/>
              <a:gd name="connsiteY451" fmla="*/ 5321740 h 7308446"/>
              <a:gd name="connsiteX452" fmla="*/ 3682642 w 9012328"/>
              <a:gd name="connsiteY452" fmla="*/ 5371784 h 7308446"/>
              <a:gd name="connsiteX453" fmla="*/ 3690160 w 9012328"/>
              <a:gd name="connsiteY453" fmla="*/ 5418861 h 7308446"/>
              <a:gd name="connsiteX454" fmla="*/ 3699949 w 9012328"/>
              <a:gd name="connsiteY454" fmla="*/ 5462851 h 7308446"/>
              <a:gd name="connsiteX455" fmla="*/ 3712226 w 9012328"/>
              <a:gd name="connsiteY455" fmla="*/ 5503636 h 7308446"/>
              <a:gd name="connsiteX456" fmla="*/ 3727208 w 9012328"/>
              <a:gd name="connsiteY456" fmla="*/ 5541097 h 7308446"/>
              <a:gd name="connsiteX457" fmla="*/ 3745113 w 9012328"/>
              <a:gd name="connsiteY457" fmla="*/ 5575118 h 7308446"/>
              <a:gd name="connsiteX458" fmla="*/ 3790567 w 9012328"/>
              <a:gd name="connsiteY458" fmla="*/ 5632362 h 7308446"/>
              <a:gd name="connsiteX459" fmla="*/ 3850333 w 9012328"/>
              <a:gd name="connsiteY459" fmla="*/ 5674422 h 7308446"/>
              <a:gd name="connsiteX460" fmla="*/ 3886128 w 9012328"/>
              <a:gd name="connsiteY460" fmla="*/ 5689462 h 7308446"/>
              <a:gd name="connsiteX461" fmla="*/ 3926156 w 9012328"/>
              <a:gd name="connsiteY461" fmla="*/ 5700351 h 7308446"/>
              <a:gd name="connsiteX462" fmla="*/ 3970634 w 9012328"/>
              <a:gd name="connsiteY462" fmla="*/ 5706972 h 7308446"/>
              <a:gd name="connsiteX463" fmla="*/ 4019781 w 9012328"/>
              <a:gd name="connsiteY463" fmla="*/ 5709205 h 7308446"/>
              <a:gd name="connsiteX464" fmla="*/ 4019781 w 9012328"/>
              <a:gd name="connsiteY464" fmla="*/ 5806028 h 7308446"/>
              <a:gd name="connsiteX465" fmla="*/ 3966259 w 9012328"/>
              <a:gd name="connsiteY465" fmla="*/ 5804139 h 7308446"/>
              <a:gd name="connsiteX466" fmla="*/ 3916778 w 9012328"/>
              <a:gd name="connsiteY466" fmla="*/ 5798526 h 7308446"/>
              <a:gd name="connsiteX467" fmla="*/ 3871199 w 9012328"/>
              <a:gd name="connsiteY467" fmla="*/ 5789272 h 7308446"/>
              <a:gd name="connsiteX468" fmla="*/ 3829380 w 9012328"/>
              <a:gd name="connsiteY468" fmla="*/ 5776460 h 7308446"/>
              <a:gd name="connsiteX469" fmla="*/ 3791183 w 9012328"/>
              <a:gd name="connsiteY469" fmla="*/ 5760173 h 7308446"/>
              <a:gd name="connsiteX470" fmla="*/ 3756466 w 9012328"/>
              <a:gd name="connsiteY470" fmla="*/ 5740492 h 7308446"/>
              <a:gd name="connsiteX471" fmla="*/ 3725090 w 9012328"/>
              <a:gd name="connsiteY471" fmla="*/ 5717501 h 7308446"/>
              <a:gd name="connsiteX472" fmla="*/ 3696914 w 9012328"/>
              <a:gd name="connsiteY472" fmla="*/ 5691283 h 7308446"/>
              <a:gd name="connsiteX473" fmla="*/ 3671799 w 9012328"/>
              <a:gd name="connsiteY473" fmla="*/ 5661919 h 7308446"/>
              <a:gd name="connsiteX474" fmla="*/ 3649604 w 9012328"/>
              <a:gd name="connsiteY474" fmla="*/ 5629493 h 7308446"/>
              <a:gd name="connsiteX475" fmla="*/ 3630186 w 9012328"/>
              <a:gd name="connsiteY475" fmla="*/ 5594087 h 7308446"/>
              <a:gd name="connsiteX476" fmla="*/ 3613408 w 9012328"/>
              <a:gd name="connsiteY476" fmla="*/ 5555784 h 7308446"/>
              <a:gd name="connsiteX477" fmla="*/ 3599129 w 9012328"/>
              <a:gd name="connsiteY477" fmla="*/ 5514667 h 7308446"/>
              <a:gd name="connsiteX478" fmla="*/ 3587210 w 9012328"/>
              <a:gd name="connsiteY478" fmla="*/ 5470817 h 7308446"/>
              <a:gd name="connsiteX479" fmla="*/ 3577507 w 9012328"/>
              <a:gd name="connsiteY479" fmla="*/ 5424318 h 7308446"/>
              <a:gd name="connsiteX480" fmla="*/ 3569884 w 9012328"/>
              <a:gd name="connsiteY480" fmla="*/ 5375253 h 7308446"/>
              <a:gd name="connsiteX481" fmla="*/ 3564199 w 9012328"/>
              <a:gd name="connsiteY481" fmla="*/ 5323704 h 7308446"/>
              <a:gd name="connsiteX482" fmla="*/ 3560312 w 9012328"/>
              <a:gd name="connsiteY482" fmla="*/ 5269753 h 7308446"/>
              <a:gd name="connsiteX483" fmla="*/ 3558082 w 9012328"/>
              <a:gd name="connsiteY483" fmla="*/ 5213483 h 7308446"/>
              <a:gd name="connsiteX484" fmla="*/ 3557372 w 9012328"/>
              <a:gd name="connsiteY484" fmla="*/ 5154978 h 7308446"/>
              <a:gd name="connsiteX485" fmla="*/ 3558107 w 9012328"/>
              <a:gd name="connsiteY485" fmla="*/ 5096722 h 7308446"/>
              <a:gd name="connsiteX486" fmla="*/ 3560402 w 9012328"/>
              <a:gd name="connsiteY486" fmla="*/ 5040702 h 7308446"/>
              <a:gd name="connsiteX487" fmla="*/ 3564391 w 9012328"/>
              <a:gd name="connsiteY487" fmla="*/ 4986997 h 7308446"/>
              <a:gd name="connsiteX488" fmla="*/ 3570205 w 9012328"/>
              <a:gd name="connsiteY488" fmla="*/ 4935691 h 7308446"/>
              <a:gd name="connsiteX489" fmla="*/ 3577977 w 9012328"/>
              <a:gd name="connsiteY489" fmla="*/ 4886863 h 7308446"/>
              <a:gd name="connsiteX490" fmla="*/ 3587840 w 9012328"/>
              <a:gd name="connsiteY490" fmla="*/ 4840595 h 7308446"/>
              <a:gd name="connsiteX491" fmla="*/ 3599926 w 9012328"/>
              <a:gd name="connsiteY491" fmla="*/ 4796969 h 7308446"/>
              <a:gd name="connsiteX492" fmla="*/ 3614369 w 9012328"/>
              <a:gd name="connsiteY492" fmla="*/ 4756067 h 7308446"/>
              <a:gd name="connsiteX493" fmla="*/ 3631302 w 9012328"/>
              <a:gd name="connsiteY493" fmla="*/ 4717969 h 7308446"/>
              <a:gd name="connsiteX494" fmla="*/ 3650855 w 9012328"/>
              <a:gd name="connsiteY494" fmla="*/ 4682757 h 7308446"/>
              <a:gd name="connsiteX495" fmla="*/ 3673163 w 9012328"/>
              <a:gd name="connsiteY495" fmla="*/ 4650512 h 7308446"/>
              <a:gd name="connsiteX496" fmla="*/ 3698356 w 9012328"/>
              <a:gd name="connsiteY496" fmla="*/ 4621316 h 7308446"/>
              <a:gd name="connsiteX497" fmla="*/ 3726571 w 9012328"/>
              <a:gd name="connsiteY497" fmla="*/ 4595250 h 7308446"/>
              <a:gd name="connsiteX498" fmla="*/ 3757938 w 9012328"/>
              <a:gd name="connsiteY498" fmla="*/ 4572395 h 7308446"/>
              <a:gd name="connsiteX499" fmla="*/ 3792591 w 9012328"/>
              <a:gd name="connsiteY499" fmla="*/ 4552834 h 7308446"/>
              <a:gd name="connsiteX500" fmla="*/ 3830662 w 9012328"/>
              <a:gd name="connsiteY500" fmla="*/ 4536646 h 7308446"/>
              <a:gd name="connsiteX501" fmla="*/ 3872284 w 9012328"/>
              <a:gd name="connsiteY501" fmla="*/ 4523914 h 7308446"/>
              <a:gd name="connsiteX502" fmla="*/ 3917589 w 9012328"/>
              <a:gd name="connsiteY502" fmla="*/ 4514719 h 7308446"/>
              <a:gd name="connsiteX503" fmla="*/ 3966710 w 9012328"/>
              <a:gd name="connsiteY503" fmla="*/ 4509142 h 7308446"/>
              <a:gd name="connsiteX504" fmla="*/ 0 w 9012328"/>
              <a:gd name="connsiteY504" fmla="*/ 3876244 h 7308446"/>
              <a:gd name="connsiteX505" fmla="*/ 904792 w 9012328"/>
              <a:gd name="connsiteY505" fmla="*/ 3876244 h 7308446"/>
              <a:gd name="connsiteX506" fmla="*/ 904792 w 9012328"/>
              <a:gd name="connsiteY506" fmla="*/ 3983083 h 7308446"/>
              <a:gd name="connsiteX507" fmla="*/ 0 w 9012328"/>
              <a:gd name="connsiteY507" fmla="*/ 3983083 h 7308446"/>
              <a:gd name="connsiteX508" fmla="*/ 0 w 9012328"/>
              <a:gd name="connsiteY508" fmla="*/ 3527349 h 7308446"/>
              <a:gd name="connsiteX509" fmla="*/ 904792 w 9012328"/>
              <a:gd name="connsiteY509" fmla="*/ 3527349 h 7308446"/>
              <a:gd name="connsiteX510" fmla="*/ 904792 w 9012328"/>
              <a:gd name="connsiteY510" fmla="*/ 3634187 h 7308446"/>
              <a:gd name="connsiteX511" fmla="*/ 0 w 9012328"/>
              <a:gd name="connsiteY511" fmla="*/ 3634187 h 7308446"/>
              <a:gd name="connsiteX512" fmla="*/ 1599039 w 9012328"/>
              <a:gd name="connsiteY512" fmla="*/ 3011203 h 7308446"/>
              <a:gd name="connsiteX513" fmla="*/ 1972978 w 9012328"/>
              <a:gd name="connsiteY513" fmla="*/ 3011203 h 7308446"/>
              <a:gd name="connsiteX514" fmla="*/ 1972978 w 9012328"/>
              <a:gd name="connsiteY514" fmla="*/ 3106453 h 7308446"/>
              <a:gd name="connsiteX515" fmla="*/ 1972978 w 9012328"/>
              <a:gd name="connsiteY515" fmla="*/ 4205003 h 7308446"/>
              <a:gd name="connsiteX516" fmla="*/ 1972978 w 9012328"/>
              <a:gd name="connsiteY516" fmla="*/ 4300253 h 7308446"/>
              <a:gd name="connsiteX517" fmla="*/ 1599039 w 9012328"/>
              <a:gd name="connsiteY517" fmla="*/ 4300253 h 7308446"/>
              <a:gd name="connsiteX518" fmla="*/ 1599039 w 9012328"/>
              <a:gd name="connsiteY518" fmla="*/ 4205003 h 7308446"/>
              <a:gd name="connsiteX519" fmla="*/ 1857788 w 9012328"/>
              <a:gd name="connsiteY519" fmla="*/ 4205003 h 7308446"/>
              <a:gd name="connsiteX520" fmla="*/ 1857788 w 9012328"/>
              <a:gd name="connsiteY520" fmla="*/ 3106453 h 7308446"/>
              <a:gd name="connsiteX521" fmla="*/ 1599039 w 9012328"/>
              <a:gd name="connsiteY521" fmla="*/ 3106453 h 7308446"/>
              <a:gd name="connsiteX522" fmla="*/ 1125303 w 9012328"/>
              <a:gd name="connsiteY522" fmla="*/ 3011203 h 7308446"/>
              <a:gd name="connsiteX523" fmla="*/ 1499242 w 9012328"/>
              <a:gd name="connsiteY523" fmla="*/ 3011203 h 7308446"/>
              <a:gd name="connsiteX524" fmla="*/ 1499242 w 9012328"/>
              <a:gd name="connsiteY524" fmla="*/ 3106453 h 7308446"/>
              <a:gd name="connsiteX525" fmla="*/ 1240492 w 9012328"/>
              <a:gd name="connsiteY525" fmla="*/ 3106453 h 7308446"/>
              <a:gd name="connsiteX526" fmla="*/ 1240492 w 9012328"/>
              <a:gd name="connsiteY526" fmla="*/ 4205003 h 7308446"/>
              <a:gd name="connsiteX527" fmla="*/ 1499242 w 9012328"/>
              <a:gd name="connsiteY527" fmla="*/ 4205003 h 7308446"/>
              <a:gd name="connsiteX528" fmla="*/ 1499242 w 9012328"/>
              <a:gd name="connsiteY528" fmla="*/ 4300253 h 7308446"/>
              <a:gd name="connsiteX529" fmla="*/ 1125303 w 9012328"/>
              <a:gd name="connsiteY529" fmla="*/ 4300253 h 7308446"/>
              <a:gd name="connsiteX530" fmla="*/ 1125303 w 9012328"/>
              <a:gd name="connsiteY530" fmla="*/ 4205003 h 7308446"/>
              <a:gd name="connsiteX531" fmla="*/ 1125303 w 9012328"/>
              <a:gd name="connsiteY531" fmla="*/ 3106453 h 7308446"/>
              <a:gd name="connsiteX532" fmla="*/ 3600665 w 9012328"/>
              <a:gd name="connsiteY532" fmla="*/ 3004837 h 7308446"/>
              <a:gd name="connsiteX533" fmla="*/ 3653736 w 9012328"/>
              <a:gd name="connsiteY533" fmla="*/ 3006713 h 7308446"/>
              <a:gd name="connsiteX534" fmla="*/ 3702854 w 9012328"/>
              <a:gd name="connsiteY534" fmla="*/ 3012290 h 7308446"/>
              <a:gd name="connsiteX535" fmla="*/ 3748160 w 9012328"/>
              <a:gd name="connsiteY535" fmla="*/ 3021485 h 7308446"/>
              <a:gd name="connsiteX536" fmla="*/ 3789782 w 9012328"/>
              <a:gd name="connsiteY536" fmla="*/ 3034217 h 7308446"/>
              <a:gd name="connsiteX537" fmla="*/ 3827853 w 9012328"/>
              <a:gd name="connsiteY537" fmla="*/ 3050405 h 7308446"/>
              <a:gd name="connsiteX538" fmla="*/ 3862506 w 9012328"/>
              <a:gd name="connsiteY538" fmla="*/ 3069966 h 7308446"/>
              <a:gd name="connsiteX539" fmla="*/ 3893873 w 9012328"/>
              <a:gd name="connsiteY539" fmla="*/ 3092821 h 7308446"/>
              <a:gd name="connsiteX540" fmla="*/ 3922088 w 9012328"/>
              <a:gd name="connsiteY540" fmla="*/ 3118887 h 7308446"/>
              <a:gd name="connsiteX541" fmla="*/ 3947284 w 9012328"/>
              <a:gd name="connsiteY541" fmla="*/ 3148083 h 7308446"/>
              <a:gd name="connsiteX542" fmla="*/ 3969592 w 9012328"/>
              <a:gd name="connsiteY542" fmla="*/ 3180328 h 7308446"/>
              <a:gd name="connsiteX543" fmla="*/ 3989145 w 9012328"/>
              <a:gd name="connsiteY543" fmla="*/ 3215540 h 7308446"/>
              <a:gd name="connsiteX544" fmla="*/ 4006077 w 9012328"/>
              <a:gd name="connsiteY544" fmla="*/ 3253638 h 7308446"/>
              <a:gd name="connsiteX545" fmla="*/ 4020520 w 9012328"/>
              <a:gd name="connsiteY545" fmla="*/ 3294540 h 7308446"/>
              <a:gd name="connsiteX546" fmla="*/ 4032607 w 9012328"/>
              <a:gd name="connsiteY546" fmla="*/ 3338166 h 7308446"/>
              <a:gd name="connsiteX547" fmla="*/ 4042470 w 9012328"/>
              <a:gd name="connsiteY547" fmla="*/ 3384433 h 7308446"/>
              <a:gd name="connsiteX548" fmla="*/ 4050242 w 9012328"/>
              <a:gd name="connsiteY548" fmla="*/ 3433261 h 7308446"/>
              <a:gd name="connsiteX549" fmla="*/ 4056056 w 9012328"/>
              <a:gd name="connsiteY549" fmla="*/ 3484567 h 7308446"/>
              <a:gd name="connsiteX550" fmla="*/ 4060044 w 9012328"/>
              <a:gd name="connsiteY550" fmla="*/ 3538272 h 7308446"/>
              <a:gd name="connsiteX551" fmla="*/ 4062340 w 9012328"/>
              <a:gd name="connsiteY551" fmla="*/ 3594292 h 7308446"/>
              <a:gd name="connsiteX552" fmla="*/ 4063076 w 9012328"/>
              <a:gd name="connsiteY552" fmla="*/ 3652548 h 7308446"/>
              <a:gd name="connsiteX553" fmla="*/ 4062376 w 9012328"/>
              <a:gd name="connsiteY553" fmla="*/ 3711053 h 7308446"/>
              <a:gd name="connsiteX554" fmla="*/ 4060179 w 9012328"/>
              <a:gd name="connsiteY554" fmla="*/ 3767323 h 7308446"/>
              <a:gd name="connsiteX555" fmla="*/ 4056343 w 9012328"/>
              <a:gd name="connsiteY555" fmla="*/ 3821273 h 7308446"/>
              <a:gd name="connsiteX556" fmla="*/ 4050722 w 9012328"/>
              <a:gd name="connsiteY556" fmla="*/ 3872823 h 7308446"/>
              <a:gd name="connsiteX557" fmla="*/ 4043174 w 9012328"/>
              <a:gd name="connsiteY557" fmla="*/ 3921888 h 7308446"/>
              <a:gd name="connsiteX558" fmla="*/ 4033553 w 9012328"/>
              <a:gd name="connsiteY558" fmla="*/ 3968387 h 7308446"/>
              <a:gd name="connsiteX559" fmla="*/ 4021716 w 9012328"/>
              <a:gd name="connsiteY559" fmla="*/ 4012236 h 7308446"/>
              <a:gd name="connsiteX560" fmla="*/ 4007519 w 9012328"/>
              <a:gd name="connsiteY560" fmla="*/ 4053354 h 7308446"/>
              <a:gd name="connsiteX561" fmla="*/ 3990818 w 9012328"/>
              <a:gd name="connsiteY561" fmla="*/ 4091657 h 7308446"/>
              <a:gd name="connsiteX562" fmla="*/ 3971469 w 9012328"/>
              <a:gd name="connsiteY562" fmla="*/ 4127063 h 7308446"/>
              <a:gd name="connsiteX563" fmla="*/ 3949328 w 9012328"/>
              <a:gd name="connsiteY563" fmla="*/ 4159489 h 7308446"/>
              <a:gd name="connsiteX564" fmla="*/ 3924252 w 9012328"/>
              <a:gd name="connsiteY564" fmla="*/ 4188852 h 7308446"/>
              <a:gd name="connsiteX565" fmla="*/ 3896095 w 9012328"/>
              <a:gd name="connsiteY565" fmla="*/ 4215071 h 7308446"/>
              <a:gd name="connsiteX566" fmla="*/ 3864714 w 9012328"/>
              <a:gd name="connsiteY566" fmla="*/ 4238061 h 7308446"/>
              <a:gd name="connsiteX567" fmla="*/ 3829965 w 9012328"/>
              <a:gd name="connsiteY567" fmla="*/ 4257742 h 7308446"/>
              <a:gd name="connsiteX568" fmla="*/ 3791705 w 9012328"/>
              <a:gd name="connsiteY568" fmla="*/ 4274029 h 7308446"/>
              <a:gd name="connsiteX569" fmla="*/ 3749788 w 9012328"/>
              <a:gd name="connsiteY569" fmla="*/ 4286841 h 7308446"/>
              <a:gd name="connsiteX570" fmla="*/ 3704071 w 9012328"/>
              <a:gd name="connsiteY570" fmla="*/ 4296095 h 7308446"/>
              <a:gd name="connsiteX571" fmla="*/ 3654414 w 9012328"/>
              <a:gd name="connsiteY571" fmla="*/ 4301708 h 7308446"/>
              <a:gd name="connsiteX572" fmla="*/ 3600665 w 9012328"/>
              <a:gd name="connsiteY572" fmla="*/ 4303597 h 7308446"/>
              <a:gd name="connsiteX573" fmla="*/ 3600665 w 9012328"/>
              <a:gd name="connsiteY573" fmla="*/ 4206775 h 7308446"/>
              <a:gd name="connsiteX574" fmla="*/ 3650351 w 9012328"/>
              <a:gd name="connsiteY574" fmla="*/ 4204542 h 7308446"/>
              <a:gd name="connsiteX575" fmla="*/ 3695268 w 9012328"/>
              <a:gd name="connsiteY575" fmla="*/ 4197921 h 7308446"/>
              <a:gd name="connsiteX576" fmla="*/ 3735652 w 9012328"/>
              <a:gd name="connsiteY576" fmla="*/ 4187032 h 7308446"/>
              <a:gd name="connsiteX577" fmla="*/ 3771723 w 9012328"/>
              <a:gd name="connsiteY577" fmla="*/ 4171992 h 7308446"/>
              <a:gd name="connsiteX578" fmla="*/ 3831834 w 9012328"/>
              <a:gd name="connsiteY578" fmla="*/ 4129932 h 7308446"/>
              <a:gd name="connsiteX579" fmla="*/ 3877413 w 9012328"/>
              <a:gd name="connsiteY579" fmla="*/ 4072688 h 7308446"/>
              <a:gd name="connsiteX580" fmla="*/ 3895319 w 9012328"/>
              <a:gd name="connsiteY580" fmla="*/ 4038667 h 7308446"/>
              <a:gd name="connsiteX581" fmla="*/ 3910271 w 9012328"/>
              <a:gd name="connsiteY581" fmla="*/ 4001206 h 7308446"/>
              <a:gd name="connsiteX582" fmla="*/ 3922495 w 9012328"/>
              <a:gd name="connsiteY582" fmla="*/ 3960421 h 7308446"/>
              <a:gd name="connsiteX583" fmla="*/ 3932218 w 9012328"/>
              <a:gd name="connsiteY583" fmla="*/ 3916431 h 7308446"/>
              <a:gd name="connsiteX584" fmla="*/ 3939665 w 9012328"/>
              <a:gd name="connsiteY584" fmla="*/ 3869354 h 7308446"/>
              <a:gd name="connsiteX585" fmla="*/ 3945064 w 9012328"/>
              <a:gd name="connsiteY585" fmla="*/ 3819310 h 7308446"/>
              <a:gd name="connsiteX586" fmla="*/ 3948640 w 9012328"/>
              <a:gd name="connsiteY586" fmla="*/ 3766415 h 7308446"/>
              <a:gd name="connsiteX587" fmla="*/ 3950619 w 9012328"/>
              <a:gd name="connsiteY587" fmla="*/ 3710788 h 7308446"/>
              <a:gd name="connsiteX588" fmla="*/ 3951229 w 9012328"/>
              <a:gd name="connsiteY588" fmla="*/ 3652548 h 7308446"/>
              <a:gd name="connsiteX589" fmla="*/ 3950587 w 9012328"/>
              <a:gd name="connsiteY589" fmla="*/ 3594879 h 7308446"/>
              <a:gd name="connsiteX590" fmla="*/ 3948517 w 9012328"/>
              <a:gd name="connsiteY590" fmla="*/ 3539790 h 7308446"/>
              <a:gd name="connsiteX591" fmla="*/ 3944807 w 9012328"/>
              <a:gd name="connsiteY591" fmla="*/ 3487397 h 7308446"/>
              <a:gd name="connsiteX592" fmla="*/ 3939241 w 9012328"/>
              <a:gd name="connsiteY592" fmla="*/ 3437821 h 7308446"/>
              <a:gd name="connsiteX593" fmla="*/ 3931606 w 9012328"/>
              <a:gd name="connsiteY593" fmla="*/ 3391177 h 7308446"/>
              <a:gd name="connsiteX594" fmla="*/ 3921688 w 9012328"/>
              <a:gd name="connsiteY594" fmla="*/ 3347586 h 7308446"/>
              <a:gd name="connsiteX595" fmla="*/ 3909272 w 9012328"/>
              <a:gd name="connsiteY595" fmla="*/ 3307165 h 7308446"/>
              <a:gd name="connsiteX596" fmla="*/ 3894145 w 9012328"/>
              <a:gd name="connsiteY596" fmla="*/ 3270033 h 7308446"/>
              <a:gd name="connsiteX597" fmla="*/ 3876092 w 9012328"/>
              <a:gd name="connsiteY597" fmla="*/ 3236307 h 7308446"/>
              <a:gd name="connsiteX598" fmla="*/ 3830354 w 9012328"/>
              <a:gd name="connsiteY598" fmla="*/ 3179548 h 7308446"/>
              <a:gd name="connsiteX599" fmla="*/ 3770345 w 9012328"/>
              <a:gd name="connsiteY599" fmla="*/ 3137835 h 7308446"/>
              <a:gd name="connsiteX600" fmla="*/ 3734453 w 9012328"/>
              <a:gd name="connsiteY600" fmla="*/ 3122916 h 7308446"/>
              <a:gd name="connsiteX601" fmla="*/ 3694351 w 9012328"/>
              <a:gd name="connsiteY601" fmla="*/ 3112113 h 7308446"/>
              <a:gd name="connsiteX602" fmla="*/ 3649829 w 9012328"/>
              <a:gd name="connsiteY602" fmla="*/ 3105545 h 7308446"/>
              <a:gd name="connsiteX603" fmla="*/ 3600665 w 9012328"/>
              <a:gd name="connsiteY603" fmla="*/ 3103329 h 7308446"/>
              <a:gd name="connsiteX604" fmla="*/ 3508797 w 9012328"/>
              <a:gd name="connsiteY604" fmla="*/ 3004837 h 7308446"/>
              <a:gd name="connsiteX605" fmla="*/ 3508797 w 9012328"/>
              <a:gd name="connsiteY605" fmla="*/ 3103329 h 7308446"/>
              <a:gd name="connsiteX606" fmla="*/ 3459910 w 9012328"/>
              <a:gd name="connsiteY606" fmla="*/ 3105545 h 7308446"/>
              <a:gd name="connsiteX607" fmla="*/ 3415630 w 9012328"/>
              <a:gd name="connsiteY607" fmla="*/ 3112113 h 7308446"/>
              <a:gd name="connsiteX608" fmla="*/ 3375743 w 9012328"/>
              <a:gd name="connsiteY608" fmla="*/ 3122916 h 7308446"/>
              <a:gd name="connsiteX609" fmla="*/ 3340039 w 9012328"/>
              <a:gd name="connsiteY609" fmla="*/ 3137835 h 7308446"/>
              <a:gd name="connsiteX610" fmla="*/ 3280323 w 9012328"/>
              <a:gd name="connsiteY610" fmla="*/ 3179548 h 7308446"/>
              <a:gd name="connsiteX611" fmla="*/ 3234789 w 9012328"/>
              <a:gd name="connsiteY611" fmla="*/ 3236307 h 7308446"/>
              <a:gd name="connsiteX612" fmla="*/ 3216810 w 9012328"/>
              <a:gd name="connsiteY612" fmla="*/ 3270033 h 7308446"/>
              <a:gd name="connsiteX613" fmla="*/ 3201740 w 9012328"/>
              <a:gd name="connsiteY613" fmla="*/ 3307165 h 7308446"/>
              <a:gd name="connsiteX614" fmla="*/ 3189368 w 9012328"/>
              <a:gd name="connsiteY614" fmla="*/ 3347586 h 7308446"/>
              <a:gd name="connsiteX615" fmla="*/ 3179480 w 9012328"/>
              <a:gd name="connsiteY615" fmla="*/ 3391177 h 7308446"/>
              <a:gd name="connsiteX616" fmla="*/ 3171865 w 9012328"/>
              <a:gd name="connsiteY616" fmla="*/ 3437821 h 7308446"/>
              <a:gd name="connsiteX617" fmla="*/ 3166313 w 9012328"/>
              <a:gd name="connsiteY617" fmla="*/ 3487397 h 7308446"/>
              <a:gd name="connsiteX618" fmla="*/ 3162609 w 9012328"/>
              <a:gd name="connsiteY618" fmla="*/ 3539790 h 7308446"/>
              <a:gd name="connsiteX619" fmla="*/ 3160541 w 9012328"/>
              <a:gd name="connsiteY619" fmla="*/ 3594879 h 7308446"/>
              <a:gd name="connsiteX620" fmla="*/ 3159899 w 9012328"/>
              <a:gd name="connsiteY620" fmla="*/ 3652548 h 7308446"/>
              <a:gd name="connsiteX621" fmla="*/ 3160527 w 9012328"/>
              <a:gd name="connsiteY621" fmla="*/ 3710788 h 7308446"/>
              <a:gd name="connsiteX622" fmla="*/ 3162547 w 9012328"/>
              <a:gd name="connsiteY622" fmla="*/ 3766415 h 7308446"/>
              <a:gd name="connsiteX623" fmla="*/ 3166185 w 9012328"/>
              <a:gd name="connsiteY623" fmla="*/ 3819310 h 7308446"/>
              <a:gd name="connsiteX624" fmla="*/ 3171653 w 9012328"/>
              <a:gd name="connsiteY624" fmla="*/ 3869354 h 7308446"/>
              <a:gd name="connsiteX625" fmla="*/ 3179175 w 9012328"/>
              <a:gd name="connsiteY625" fmla="*/ 3916431 h 7308446"/>
              <a:gd name="connsiteX626" fmla="*/ 3188965 w 9012328"/>
              <a:gd name="connsiteY626" fmla="*/ 3960421 h 7308446"/>
              <a:gd name="connsiteX627" fmla="*/ 3201241 w 9012328"/>
              <a:gd name="connsiteY627" fmla="*/ 4001206 h 7308446"/>
              <a:gd name="connsiteX628" fmla="*/ 3216223 w 9012328"/>
              <a:gd name="connsiteY628" fmla="*/ 4038667 h 7308446"/>
              <a:gd name="connsiteX629" fmla="*/ 3234129 w 9012328"/>
              <a:gd name="connsiteY629" fmla="*/ 4072688 h 7308446"/>
              <a:gd name="connsiteX630" fmla="*/ 3279582 w 9012328"/>
              <a:gd name="connsiteY630" fmla="*/ 4129932 h 7308446"/>
              <a:gd name="connsiteX631" fmla="*/ 3339348 w 9012328"/>
              <a:gd name="connsiteY631" fmla="*/ 4171992 h 7308446"/>
              <a:gd name="connsiteX632" fmla="*/ 3375143 w 9012328"/>
              <a:gd name="connsiteY632" fmla="*/ 4187032 h 7308446"/>
              <a:gd name="connsiteX633" fmla="*/ 3415171 w 9012328"/>
              <a:gd name="connsiteY633" fmla="*/ 4197921 h 7308446"/>
              <a:gd name="connsiteX634" fmla="*/ 3459650 w 9012328"/>
              <a:gd name="connsiteY634" fmla="*/ 4204542 h 7308446"/>
              <a:gd name="connsiteX635" fmla="*/ 3508797 w 9012328"/>
              <a:gd name="connsiteY635" fmla="*/ 4206775 h 7308446"/>
              <a:gd name="connsiteX636" fmla="*/ 3508797 w 9012328"/>
              <a:gd name="connsiteY636" fmla="*/ 4303597 h 7308446"/>
              <a:gd name="connsiteX637" fmla="*/ 3455275 w 9012328"/>
              <a:gd name="connsiteY637" fmla="*/ 4301708 h 7308446"/>
              <a:gd name="connsiteX638" fmla="*/ 3405793 w 9012328"/>
              <a:gd name="connsiteY638" fmla="*/ 4296095 h 7308446"/>
              <a:gd name="connsiteX639" fmla="*/ 3360214 w 9012328"/>
              <a:gd name="connsiteY639" fmla="*/ 4286841 h 7308446"/>
              <a:gd name="connsiteX640" fmla="*/ 3318395 w 9012328"/>
              <a:gd name="connsiteY640" fmla="*/ 4274029 h 7308446"/>
              <a:gd name="connsiteX641" fmla="*/ 3280198 w 9012328"/>
              <a:gd name="connsiteY641" fmla="*/ 4257742 h 7308446"/>
              <a:gd name="connsiteX642" fmla="*/ 3245481 w 9012328"/>
              <a:gd name="connsiteY642" fmla="*/ 4238061 h 7308446"/>
              <a:gd name="connsiteX643" fmla="*/ 3214105 w 9012328"/>
              <a:gd name="connsiteY643" fmla="*/ 4215071 h 7308446"/>
              <a:gd name="connsiteX644" fmla="*/ 3185929 w 9012328"/>
              <a:gd name="connsiteY644" fmla="*/ 4188852 h 7308446"/>
              <a:gd name="connsiteX645" fmla="*/ 3160812 w 9012328"/>
              <a:gd name="connsiteY645" fmla="*/ 4159489 h 7308446"/>
              <a:gd name="connsiteX646" fmla="*/ 3138616 w 9012328"/>
              <a:gd name="connsiteY646" fmla="*/ 4127063 h 7308446"/>
              <a:gd name="connsiteX647" fmla="*/ 3119198 w 9012328"/>
              <a:gd name="connsiteY647" fmla="*/ 4091657 h 7308446"/>
              <a:gd name="connsiteX648" fmla="*/ 3102421 w 9012328"/>
              <a:gd name="connsiteY648" fmla="*/ 4053354 h 7308446"/>
              <a:gd name="connsiteX649" fmla="*/ 3088141 w 9012328"/>
              <a:gd name="connsiteY649" fmla="*/ 4012236 h 7308446"/>
              <a:gd name="connsiteX650" fmla="*/ 3076222 w 9012328"/>
              <a:gd name="connsiteY650" fmla="*/ 3968387 h 7308446"/>
              <a:gd name="connsiteX651" fmla="*/ 3066519 w 9012328"/>
              <a:gd name="connsiteY651" fmla="*/ 3921888 h 7308446"/>
              <a:gd name="connsiteX652" fmla="*/ 3058896 w 9012328"/>
              <a:gd name="connsiteY652" fmla="*/ 3872823 h 7308446"/>
              <a:gd name="connsiteX653" fmla="*/ 3053212 w 9012328"/>
              <a:gd name="connsiteY653" fmla="*/ 3821273 h 7308446"/>
              <a:gd name="connsiteX654" fmla="*/ 3049324 w 9012328"/>
              <a:gd name="connsiteY654" fmla="*/ 3767323 h 7308446"/>
              <a:gd name="connsiteX655" fmla="*/ 3047094 w 9012328"/>
              <a:gd name="connsiteY655" fmla="*/ 3711053 h 7308446"/>
              <a:gd name="connsiteX656" fmla="*/ 3046384 w 9012328"/>
              <a:gd name="connsiteY656" fmla="*/ 3652548 h 7308446"/>
              <a:gd name="connsiteX657" fmla="*/ 3047118 w 9012328"/>
              <a:gd name="connsiteY657" fmla="*/ 3594292 h 7308446"/>
              <a:gd name="connsiteX658" fmla="*/ 3049414 w 9012328"/>
              <a:gd name="connsiteY658" fmla="*/ 3538272 h 7308446"/>
              <a:gd name="connsiteX659" fmla="*/ 3053403 w 9012328"/>
              <a:gd name="connsiteY659" fmla="*/ 3484567 h 7308446"/>
              <a:gd name="connsiteX660" fmla="*/ 3059217 w 9012328"/>
              <a:gd name="connsiteY660" fmla="*/ 3433261 h 7308446"/>
              <a:gd name="connsiteX661" fmla="*/ 3066990 w 9012328"/>
              <a:gd name="connsiteY661" fmla="*/ 3384433 h 7308446"/>
              <a:gd name="connsiteX662" fmla="*/ 3076852 w 9012328"/>
              <a:gd name="connsiteY662" fmla="*/ 3338166 h 7308446"/>
              <a:gd name="connsiteX663" fmla="*/ 3088939 w 9012328"/>
              <a:gd name="connsiteY663" fmla="*/ 3294540 h 7308446"/>
              <a:gd name="connsiteX664" fmla="*/ 3103381 w 9012328"/>
              <a:gd name="connsiteY664" fmla="*/ 3253638 h 7308446"/>
              <a:gd name="connsiteX665" fmla="*/ 3120314 w 9012328"/>
              <a:gd name="connsiteY665" fmla="*/ 3215540 h 7308446"/>
              <a:gd name="connsiteX666" fmla="*/ 3139867 w 9012328"/>
              <a:gd name="connsiteY666" fmla="*/ 3180328 h 7308446"/>
              <a:gd name="connsiteX667" fmla="*/ 3162174 w 9012328"/>
              <a:gd name="connsiteY667" fmla="*/ 3148083 h 7308446"/>
              <a:gd name="connsiteX668" fmla="*/ 3187372 w 9012328"/>
              <a:gd name="connsiteY668" fmla="*/ 3118887 h 7308446"/>
              <a:gd name="connsiteX669" fmla="*/ 3215586 w 9012328"/>
              <a:gd name="connsiteY669" fmla="*/ 3092821 h 7308446"/>
              <a:gd name="connsiteX670" fmla="*/ 3246953 w 9012328"/>
              <a:gd name="connsiteY670" fmla="*/ 3069966 h 7308446"/>
              <a:gd name="connsiteX671" fmla="*/ 3281606 w 9012328"/>
              <a:gd name="connsiteY671" fmla="*/ 3050405 h 7308446"/>
              <a:gd name="connsiteX672" fmla="*/ 3319678 w 9012328"/>
              <a:gd name="connsiteY672" fmla="*/ 3034217 h 7308446"/>
              <a:gd name="connsiteX673" fmla="*/ 3361299 w 9012328"/>
              <a:gd name="connsiteY673" fmla="*/ 3021485 h 7308446"/>
              <a:gd name="connsiteX674" fmla="*/ 3406605 w 9012328"/>
              <a:gd name="connsiteY674" fmla="*/ 3012290 h 7308446"/>
              <a:gd name="connsiteX675" fmla="*/ 3455726 w 9012328"/>
              <a:gd name="connsiteY675" fmla="*/ 3006713 h 7308446"/>
              <a:gd name="connsiteX676" fmla="*/ 3637118 w 9012328"/>
              <a:gd name="connsiteY676" fmla="*/ 2373826 h 7308446"/>
              <a:gd name="connsiteX677" fmla="*/ 4541909 w 9012328"/>
              <a:gd name="connsiteY677" fmla="*/ 2373826 h 7308446"/>
              <a:gd name="connsiteX678" fmla="*/ 4541909 w 9012328"/>
              <a:gd name="connsiteY678" fmla="*/ 2480664 h 7308446"/>
              <a:gd name="connsiteX679" fmla="*/ 3637118 w 9012328"/>
              <a:gd name="connsiteY679" fmla="*/ 2480664 h 7308446"/>
              <a:gd name="connsiteX680" fmla="*/ 2550201 w 9012328"/>
              <a:gd name="connsiteY680" fmla="*/ 2373826 h 7308446"/>
              <a:gd name="connsiteX681" fmla="*/ 3454993 w 9012328"/>
              <a:gd name="connsiteY681" fmla="*/ 2373826 h 7308446"/>
              <a:gd name="connsiteX682" fmla="*/ 3454993 w 9012328"/>
              <a:gd name="connsiteY682" fmla="*/ 2480664 h 7308446"/>
              <a:gd name="connsiteX683" fmla="*/ 2550201 w 9012328"/>
              <a:gd name="connsiteY683" fmla="*/ 2480664 h 7308446"/>
              <a:gd name="connsiteX684" fmla="*/ 3637119 w 9012328"/>
              <a:gd name="connsiteY684" fmla="*/ 2024930 h 7308446"/>
              <a:gd name="connsiteX685" fmla="*/ 4541909 w 9012328"/>
              <a:gd name="connsiteY685" fmla="*/ 2024930 h 7308446"/>
              <a:gd name="connsiteX686" fmla="*/ 4541909 w 9012328"/>
              <a:gd name="connsiteY686" fmla="*/ 2131769 h 7308446"/>
              <a:gd name="connsiteX687" fmla="*/ 3637119 w 9012328"/>
              <a:gd name="connsiteY687" fmla="*/ 2131769 h 7308446"/>
              <a:gd name="connsiteX688" fmla="*/ 2550201 w 9012328"/>
              <a:gd name="connsiteY688" fmla="*/ 2024930 h 7308446"/>
              <a:gd name="connsiteX689" fmla="*/ 3454993 w 9012328"/>
              <a:gd name="connsiteY689" fmla="*/ 2024930 h 7308446"/>
              <a:gd name="connsiteX690" fmla="*/ 3454993 w 9012328"/>
              <a:gd name="connsiteY690" fmla="*/ 2131769 h 7308446"/>
              <a:gd name="connsiteX691" fmla="*/ 2550201 w 9012328"/>
              <a:gd name="connsiteY691" fmla="*/ 2131769 h 7308446"/>
              <a:gd name="connsiteX692" fmla="*/ 6133380 w 9012328"/>
              <a:gd name="connsiteY692" fmla="*/ 1502419 h 7308446"/>
              <a:gd name="connsiteX693" fmla="*/ 6186450 w 9012328"/>
              <a:gd name="connsiteY693" fmla="*/ 1504296 h 7308446"/>
              <a:gd name="connsiteX694" fmla="*/ 6235571 w 9012328"/>
              <a:gd name="connsiteY694" fmla="*/ 1509872 h 7308446"/>
              <a:gd name="connsiteX695" fmla="*/ 6280876 w 9012328"/>
              <a:gd name="connsiteY695" fmla="*/ 1519068 h 7308446"/>
              <a:gd name="connsiteX696" fmla="*/ 6322498 w 9012328"/>
              <a:gd name="connsiteY696" fmla="*/ 1531799 h 7308446"/>
              <a:gd name="connsiteX697" fmla="*/ 6360569 w 9012328"/>
              <a:gd name="connsiteY697" fmla="*/ 1547987 h 7308446"/>
              <a:gd name="connsiteX698" fmla="*/ 6395222 w 9012328"/>
              <a:gd name="connsiteY698" fmla="*/ 1567548 h 7308446"/>
              <a:gd name="connsiteX699" fmla="*/ 6426589 w 9012328"/>
              <a:gd name="connsiteY699" fmla="*/ 1590403 h 7308446"/>
              <a:gd name="connsiteX700" fmla="*/ 6454804 w 9012328"/>
              <a:gd name="connsiteY700" fmla="*/ 1616469 h 7308446"/>
              <a:gd name="connsiteX701" fmla="*/ 6480000 w 9012328"/>
              <a:gd name="connsiteY701" fmla="*/ 1645665 h 7308446"/>
              <a:gd name="connsiteX702" fmla="*/ 6502308 w 9012328"/>
              <a:gd name="connsiteY702" fmla="*/ 1677910 h 7308446"/>
              <a:gd name="connsiteX703" fmla="*/ 6521861 w 9012328"/>
              <a:gd name="connsiteY703" fmla="*/ 1713122 h 7308446"/>
              <a:gd name="connsiteX704" fmla="*/ 6538793 w 9012328"/>
              <a:gd name="connsiteY704" fmla="*/ 1751221 h 7308446"/>
              <a:gd name="connsiteX705" fmla="*/ 6553236 w 9012328"/>
              <a:gd name="connsiteY705" fmla="*/ 1792122 h 7308446"/>
              <a:gd name="connsiteX706" fmla="*/ 6565323 w 9012328"/>
              <a:gd name="connsiteY706" fmla="*/ 1835748 h 7308446"/>
              <a:gd name="connsiteX707" fmla="*/ 6575186 w 9012328"/>
              <a:gd name="connsiteY707" fmla="*/ 1882015 h 7308446"/>
              <a:gd name="connsiteX708" fmla="*/ 6582958 w 9012328"/>
              <a:gd name="connsiteY708" fmla="*/ 1930843 h 7308446"/>
              <a:gd name="connsiteX709" fmla="*/ 6588772 w 9012328"/>
              <a:gd name="connsiteY709" fmla="*/ 1982149 h 7308446"/>
              <a:gd name="connsiteX710" fmla="*/ 6592760 w 9012328"/>
              <a:gd name="connsiteY710" fmla="*/ 2035854 h 7308446"/>
              <a:gd name="connsiteX711" fmla="*/ 6595056 w 9012328"/>
              <a:gd name="connsiteY711" fmla="*/ 2091874 h 7308446"/>
              <a:gd name="connsiteX712" fmla="*/ 6595792 w 9012328"/>
              <a:gd name="connsiteY712" fmla="*/ 2150130 h 7308446"/>
              <a:gd name="connsiteX713" fmla="*/ 6595092 w 9012328"/>
              <a:gd name="connsiteY713" fmla="*/ 2208635 h 7308446"/>
              <a:gd name="connsiteX714" fmla="*/ 6592895 w 9012328"/>
              <a:gd name="connsiteY714" fmla="*/ 2264905 h 7308446"/>
              <a:gd name="connsiteX715" fmla="*/ 6589059 w 9012328"/>
              <a:gd name="connsiteY715" fmla="*/ 2318855 h 7308446"/>
              <a:gd name="connsiteX716" fmla="*/ 6583438 w 9012328"/>
              <a:gd name="connsiteY716" fmla="*/ 2370405 h 7308446"/>
              <a:gd name="connsiteX717" fmla="*/ 6575890 w 9012328"/>
              <a:gd name="connsiteY717" fmla="*/ 2419470 h 7308446"/>
              <a:gd name="connsiteX718" fmla="*/ 6566269 w 9012328"/>
              <a:gd name="connsiteY718" fmla="*/ 2465969 h 7308446"/>
              <a:gd name="connsiteX719" fmla="*/ 6554432 w 9012328"/>
              <a:gd name="connsiteY719" fmla="*/ 2509818 h 7308446"/>
              <a:gd name="connsiteX720" fmla="*/ 6540235 w 9012328"/>
              <a:gd name="connsiteY720" fmla="*/ 2550936 h 7308446"/>
              <a:gd name="connsiteX721" fmla="*/ 6523535 w 9012328"/>
              <a:gd name="connsiteY721" fmla="*/ 2589239 h 7308446"/>
              <a:gd name="connsiteX722" fmla="*/ 6504186 w 9012328"/>
              <a:gd name="connsiteY722" fmla="*/ 2624645 h 7308446"/>
              <a:gd name="connsiteX723" fmla="*/ 6482045 w 9012328"/>
              <a:gd name="connsiteY723" fmla="*/ 2657071 h 7308446"/>
              <a:gd name="connsiteX724" fmla="*/ 6456968 w 9012328"/>
              <a:gd name="connsiteY724" fmla="*/ 2686434 h 7308446"/>
              <a:gd name="connsiteX725" fmla="*/ 6428811 w 9012328"/>
              <a:gd name="connsiteY725" fmla="*/ 2712653 h 7308446"/>
              <a:gd name="connsiteX726" fmla="*/ 6397430 w 9012328"/>
              <a:gd name="connsiteY726" fmla="*/ 2735643 h 7308446"/>
              <a:gd name="connsiteX727" fmla="*/ 6362682 w 9012328"/>
              <a:gd name="connsiteY727" fmla="*/ 2755324 h 7308446"/>
              <a:gd name="connsiteX728" fmla="*/ 6324421 w 9012328"/>
              <a:gd name="connsiteY728" fmla="*/ 2771611 h 7308446"/>
              <a:gd name="connsiteX729" fmla="*/ 6282504 w 9012328"/>
              <a:gd name="connsiteY729" fmla="*/ 2784423 h 7308446"/>
              <a:gd name="connsiteX730" fmla="*/ 6236788 w 9012328"/>
              <a:gd name="connsiteY730" fmla="*/ 2793677 h 7308446"/>
              <a:gd name="connsiteX731" fmla="*/ 6187128 w 9012328"/>
              <a:gd name="connsiteY731" fmla="*/ 2799290 h 7308446"/>
              <a:gd name="connsiteX732" fmla="*/ 6133380 w 9012328"/>
              <a:gd name="connsiteY732" fmla="*/ 2801179 h 7308446"/>
              <a:gd name="connsiteX733" fmla="*/ 6133380 w 9012328"/>
              <a:gd name="connsiteY733" fmla="*/ 2704356 h 7308446"/>
              <a:gd name="connsiteX734" fmla="*/ 6183065 w 9012328"/>
              <a:gd name="connsiteY734" fmla="*/ 2702123 h 7308446"/>
              <a:gd name="connsiteX735" fmla="*/ 6227986 w 9012328"/>
              <a:gd name="connsiteY735" fmla="*/ 2695502 h 7308446"/>
              <a:gd name="connsiteX736" fmla="*/ 6268368 w 9012328"/>
              <a:gd name="connsiteY736" fmla="*/ 2684613 h 7308446"/>
              <a:gd name="connsiteX737" fmla="*/ 6304439 w 9012328"/>
              <a:gd name="connsiteY737" fmla="*/ 2669573 h 7308446"/>
              <a:gd name="connsiteX738" fmla="*/ 6364550 w 9012328"/>
              <a:gd name="connsiteY738" fmla="*/ 2627513 h 7308446"/>
              <a:gd name="connsiteX739" fmla="*/ 6410130 w 9012328"/>
              <a:gd name="connsiteY739" fmla="*/ 2570269 h 7308446"/>
              <a:gd name="connsiteX740" fmla="*/ 6428035 w 9012328"/>
              <a:gd name="connsiteY740" fmla="*/ 2536249 h 7308446"/>
              <a:gd name="connsiteX741" fmla="*/ 6442987 w 9012328"/>
              <a:gd name="connsiteY741" fmla="*/ 2498787 h 7308446"/>
              <a:gd name="connsiteX742" fmla="*/ 6455211 w 9012328"/>
              <a:gd name="connsiteY742" fmla="*/ 2458002 h 7308446"/>
              <a:gd name="connsiteX743" fmla="*/ 6464934 w 9012328"/>
              <a:gd name="connsiteY743" fmla="*/ 2414012 h 7308446"/>
              <a:gd name="connsiteX744" fmla="*/ 6472381 w 9012328"/>
              <a:gd name="connsiteY744" fmla="*/ 2366936 h 7308446"/>
              <a:gd name="connsiteX745" fmla="*/ 6477780 w 9012328"/>
              <a:gd name="connsiteY745" fmla="*/ 2316891 h 7308446"/>
              <a:gd name="connsiteX746" fmla="*/ 6481356 w 9012328"/>
              <a:gd name="connsiteY746" fmla="*/ 2263996 h 7308446"/>
              <a:gd name="connsiteX747" fmla="*/ 6483335 w 9012328"/>
              <a:gd name="connsiteY747" fmla="*/ 2208370 h 7308446"/>
              <a:gd name="connsiteX748" fmla="*/ 6483945 w 9012328"/>
              <a:gd name="connsiteY748" fmla="*/ 2150130 h 7308446"/>
              <a:gd name="connsiteX749" fmla="*/ 6483303 w 9012328"/>
              <a:gd name="connsiteY749" fmla="*/ 2092461 h 7308446"/>
              <a:gd name="connsiteX750" fmla="*/ 6481233 w 9012328"/>
              <a:gd name="connsiteY750" fmla="*/ 2037371 h 7308446"/>
              <a:gd name="connsiteX751" fmla="*/ 6477523 w 9012328"/>
              <a:gd name="connsiteY751" fmla="*/ 1984979 h 7308446"/>
              <a:gd name="connsiteX752" fmla="*/ 6471957 w 9012328"/>
              <a:gd name="connsiteY752" fmla="*/ 1935402 h 7308446"/>
              <a:gd name="connsiteX753" fmla="*/ 6464322 w 9012328"/>
              <a:gd name="connsiteY753" fmla="*/ 1888759 h 7308446"/>
              <a:gd name="connsiteX754" fmla="*/ 6454404 w 9012328"/>
              <a:gd name="connsiteY754" fmla="*/ 1845167 h 7308446"/>
              <a:gd name="connsiteX755" fmla="*/ 6441988 w 9012328"/>
              <a:gd name="connsiteY755" fmla="*/ 1804746 h 7308446"/>
              <a:gd name="connsiteX756" fmla="*/ 6426861 w 9012328"/>
              <a:gd name="connsiteY756" fmla="*/ 1767614 h 7308446"/>
              <a:gd name="connsiteX757" fmla="*/ 6408808 w 9012328"/>
              <a:gd name="connsiteY757" fmla="*/ 1733888 h 7308446"/>
              <a:gd name="connsiteX758" fmla="*/ 6363070 w 9012328"/>
              <a:gd name="connsiteY758" fmla="*/ 1677129 h 7308446"/>
              <a:gd name="connsiteX759" fmla="*/ 6303061 w 9012328"/>
              <a:gd name="connsiteY759" fmla="*/ 1635416 h 7308446"/>
              <a:gd name="connsiteX760" fmla="*/ 6267169 w 9012328"/>
              <a:gd name="connsiteY760" fmla="*/ 1620497 h 7308446"/>
              <a:gd name="connsiteX761" fmla="*/ 6227068 w 9012328"/>
              <a:gd name="connsiteY761" fmla="*/ 1609694 h 7308446"/>
              <a:gd name="connsiteX762" fmla="*/ 6182543 w 9012328"/>
              <a:gd name="connsiteY762" fmla="*/ 1603125 h 7308446"/>
              <a:gd name="connsiteX763" fmla="*/ 6133380 w 9012328"/>
              <a:gd name="connsiteY763" fmla="*/ 1600910 h 7308446"/>
              <a:gd name="connsiteX764" fmla="*/ 6041530 w 9012328"/>
              <a:gd name="connsiteY764" fmla="*/ 1502419 h 7308446"/>
              <a:gd name="connsiteX765" fmla="*/ 6041530 w 9012328"/>
              <a:gd name="connsiteY765" fmla="*/ 1600910 h 7308446"/>
              <a:gd name="connsiteX766" fmla="*/ 5992644 w 9012328"/>
              <a:gd name="connsiteY766" fmla="*/ 1603125 h 7308446"/>
              <a:gd name="connsiteX767" fmla="*/ 5948363 w 9012328"/>
              <a:gd name="connsiteY767" fmla="*/ 1609694 h 7308446"/>
              <a:gd name="connsiteX768" fmla="*/ 5908477 w 9012328"/>
              <a:gd name="connsiteY768" fmla="*/ 1620497 h 7308446"/>
              <a:gd name="connsiteX769" fmla="*/ 5872771 w 9012328"/>
              <a:gd name="connsiteY769" fmla="*/ 1635416 h 7308446"/>
              <a:gd name="connsiteX770" fmla="*/ 5813056 w 9012328"/>
              <a:gd name="connsiteY770" fmla="*/ 1677129 h 7308446"/>
              <a:gd name="connsiteX771" fmla="*/ 5767522 w 9012328"/>
              <a:gd name="connsiteY771" fmla="*/ 1733888 h 7308446"/>
              <a:gd name="connsiteX772" fmla="*/ 5749543 w 9012328"/>
              <a:gd name="connsiteY772" fmla="*/ 1767614 h 7308446"/>
              <a:gd name="connsiteX773" fmla="*/ 5734473 w 9012328"/>
              <a:gd name="connsiteY773" fmla="*/ 1804746 h 7308446"/>
              <a:gd name="connsiteX774" fmla="*/ 5722101 w 9012328"/>
              <a:gd name="connsiteY774" fmla="*/ 1845167 h 7308446"/>
              <a:gd name="connsiteX775" fmla="*/ 5712213 w 9012328"/>
              <a:gd name="connsiteY775" fmla="*/ 1888759 h 7308446"/>
              <a:gd name="connsiteX776" fmla="*/ 5704599 w 9012328"/>
              <a:gd name="connsiteY776" fmla="*/ 1935402 h 7308446"/>
              <a:gd name="connsiteX777" fmla="*/ 5699046 w 9012328"/>
              <a:gd name="connsiteY777" fmla="*/ 1984979 h 7308446"/>
              <a:gd name="connsiteX778" fmla="*/ 5695342 w 9012328"/>
              <a:gd name="connsiteY778" fmla="*/ 2037371 h 7308446"/>
              <a:gd name="connsiteX779" fmla="*/ 5693275 w 9012328"/>
              <a:gd name="connsiteY779" fmla="*/ 2092461 h 7308446"/>
              <a:gd name="connsiteX780" fmla="*/ 5692633 w 9012328"/>
              <a:gd name="connsiteY780" fmla="*/ 2150130 h 7308446"/>
              <a:gd name="connsiteX781" fmla="*/ 5693259 w 9012328"/>
              <a:gd name="connsiteY781" fmla="*/ 2208370 h 7308446"/>
              <a:gd name="connsiteX782" fmla="*/ 5695281 w 9012328"/>
              <a:gd name="connsiteY782" fmla="*/ 2263996 h 7308446"/>
              <a:gd name="connsiteX783" fmla="*/ 5698918 w 9012328"/>
              <a:gd name="connsiteY783" fmla="*/ 2316891 h 7308446"/>
              <a:gd name="connsiteX784" fmla="*/ 5704387 w 9012328"/>
              <a:gd name="connsiteY784" fmla="*/ 2366936 h 7308446"/>
              <a:gd name="connsiteX785" fmla="*/ 5711908 w 9012328"/>
              <a:gd name="connsiteY785" fmla="*/ 2414012 h 7308446"/>
              <a:gd name="connsiteX786" fmla="*/ 5721697 w 9012328"/>
              <a:gd name="connsiteY786" fmla="*/ 2458002 h 7308446"/>
              <a:gd name="connsiteX787" fmla="*/ 5733974 w 9012328"/>
              <a:gd name="connsiteY787" fmla="*/ 2498787 h 7308446"/>
              <a:gd name="connsiteX788" fmla="*/ 5748956 w 9012328"/>
              <a:gd name="connsiteY788" fmla="*/ 2536249 h 7308446"/>
              <a:gd name="connsiteX789" fmla="*/ 5766862 w 9012328"/>
              <a:gd name="connsiteY789" fmla="*/ 2570269 h 7308446"/>
              <a:gd name="connsiteX790" fmla="*/ 5812316 w 9012328"/>
              <a:gd name="connsiteY790" fmla="*/ 2627513 h 7308446"/>
              <a:gd name="connsiteX791" fmla="*/ 5872082 w 9012328"/>
              <a:gd name="connsiteY791" fmla="*/ 2669573 h 7308446"/>
              <a:gd name="connsiteX792" fmla="*/ 5907877 w 9012328"/>
              <a:gd name="connsiteY792" fmla="*/ 2684613 h 7308446"/>
              <a:gd name="connsiteX793" fmla="*/ 5947905 w 9012328"/>
              <a:gd name="connsiteY793" fmla="*/ 2695502 h 7308446"/>
              <a:gd name="connsiteX794" fmla="*/ 5992383 w 9012328"/>
              <a:gd name="connsiteY794" fmla="*/ 2702123 h 7308446"/>
              <a:gd name="connsiteX795" fmla="*/ 6041530 w 9012328"/>
              <a:gd name="connsiteY795" fmla="*/ 2704356 h 7308446"/>
              <a:gd name="connsiteX796" fmla="*/ 6041530 w 9012328"/>
              <a:gd name="connsiteY796" fmla="*/ 2801179 h 7308446"/>
              <a:gd name="connsiteX797" fmla="*/ 5988008 w 9012328"/>
              <a:gd name="connsiteY797" fmla="*/ 2799290 h 7308446"/>
              <a:gd name="connsiteX798" fmla="*/ 5938527 w 9012328"/>
              <a:gd name="connsiteY798" fmla="*/ 2793677 h 7308446"/>
              <a:gd name="connsiteX799" fmla="*/ 5892948 w 9012328"/>
              <a:gd name="connsiteY799" fmla="*/ 2784423 h 7308446"/>
              <a:gd name="connsiteX800" fmla="*/ 5851129 w 9012328"/>
              <a:gd name="connsiteY800" fmla="*/ 2771611 h 7308446"/>
              <a:gd name="connsiteX801" fmla="*/ 5812932 w 9012328"/>
              <a:gd name="connsiteY801" fmla="*/ 2755324 h 7308446"/>
              <a:gd name="connsiteX802" fmla="*/ 5778215 w 9012328"/>
              <a:gd name="connsiteY802" fmla="*/ 2735643 h 7308446"/>
              <a:gd name="connsiteX803" fmla="*/ 5746839 w 9012328"/>
              <a:gd name="connsiteY803" fmla="*/ 2712653 h 7308446"/>
              <a:gd name="connsiteX804" fmla="*/ 5718663 w 9012328"/>
              <a:gd name="connsiteY804" fmla="*/ 2686434 h 7308446"/>
              <a:gd name="connsiteX805" fmla="*/ 5693546 w 9012328"/>
              <a:gd name="connsiteY805" fmla="*/ 2657071 h 7308446"/>
              <a:gd name="connsiteX806" fmla="*/ 5671350 w 9012328"/>
              <a:gd name="connsiteY806" fmla="*/ 2624645 h 7308446"/>
              <a:gd name="connsiteX807" fmla="*/ 5651932 w 9012328"/>
              <a:gd name="connsiteY807" fmla="*/ 2589239 h 7308446"/>
              <a:gd name="connsiteX808" fmla="*/ 5635155 w 9012328"/>
              <a:gd name="connsiteY808" fmla="*/ 2550936 h 7308446"/>
              <a:gd name="connsiteX809" fmla="*/ 5620876 w 9012328"/>
              <a:gd name="connsiteY809" fmla="*/ 2509818 h 7308446"/>
              <a:gd name="connsiteX810" fmla="*/ 5608956 w 9012328"/>
              <a:gd name="connsiteY810" fmla="*/ 2465969 h 7308446"/>
              <a:gd name="connsiteX811" fmla="*/ 5599254 w 9012328"/>
              <a:gd name="connsiteY811" fmla="*/ 2419470 h 7308446"/>
              <a:gd name="connsiteX812" fmla="*/ 5591631 w 9012328"/>
              <a:gd name="connsiteY812" fmla="*/ 2370405 h 7308446"/>
              <a:gd name="connsiteX813" fmla="*/ 5585946 w 9012328"/>
              <a:gd name="connsiteY813" fmla="*/ 2318855 h 7308446"/>
              <a:gd name="connsiteX814" fmla="*/ 5582059 w 9012328"/>
              <a:gd name="connsiteY814" fmla="*/ 2264905 h 7308446"/>
              <a:gd name="connsiteX815" fmla="*/ 5579829 w 9012328"/>
              <a:gd name="connsiteY815" fmla="*/ 2208635 h 7308446"/>
              <a:gd name="connsiteX816" fmla="*/ 5579118 w 9012328"/>
              <a:gd name="connsiteY816" fmla="*/ 2150130 h 7308446"/>
              <a:gd name="connsiteX817" fmla="*/ 5579853 w 9012328"/>
              <a:gd name="connsiteY817" fmla="*/ 2091874 h 7308446"/>
              <a:gd name="connsiteX818" fmla="*/ 5582149 w 9012328"/>
              <a:gd name="connsiteY818" fmla="*/ 2035854 h 7308446"/>
              <a:gd name="connsiteX819" fmla="*/ 5586138 w 9012328"/>
              <a:gd name="connsiteY819" fmla="*/ 1982149 h 7308446"/>
              <a:gd name="connsiteX820" fmla="*/ 5591951 w 9012328"/>
              <a:gd name="connsiteY820" fmla="*/ 1930843 h 7308446"/>
              <a:gd name="connsiteX821" fmla="*/ 5599724 w 9012328"/>
              <a:gd name="connsiteY821" fmla="*/ 1882015 h 7308446"/>
              <a:gd name="connsiteX822" fmla="*/ 5609587 w 9012328"/>
              <a:gd name="connsiteY822" fmla="*/ 1835748 h 7308446"/>
              <a:gd name="connsiteX823" fmla="*/ 5621673 w 9012328"/>
              <a:gd name="connsiteY823" fmla="*/ 1792122 h 7308446"/>
              <a:gd name="connsiteX824" fmla="*/ 5636116 w 9012328"/>
              <a:gd name="connsiteY824" fmla="*/ 1751221 h 7308446"/>
              <a:gd name="connsiteX825" fmla="*/ 5653048 w 9012328"/>
              <a:gd name="connsiteY825" fmla="*/ 1713122 h 7308446"/>
              <a:gd name="connsiteX826" fmla="*/ 5672601 w 9012328"/>
              <a:gd name="connsiteY826" fmla="*/ 1677910 h 7308446"/>
              <a:gd name="connsiteX827" fmla="*/ 5694909 w 9012328"/>
              <a:gd name="connsiteY827" fmla="*/ 1645665 h 7308446"/>
              <a:gd name="connsiteX828" fmla="*/ 5720105 w 9012328"/>
              <a:gd name="connsiteY828" fmla="*/ 1616469 h 7308446"/>
              <a:gd name="connsiteX829" fmla="*/ 5748320 w 9012328"/>
              <a:gd name="connsiteY829" fmla="*/ 1590403 h 7308446"/>
              <a:gd name="connsiteX830" fmla="*/ 5779687 w 9012328"/>
              <a:gd name="connsiteY830" fmla="*/ 1567548 h 7308446"/>
              <a:gd name="connsiteX831" fmla="*/ 5814340 w 9012328"/>
              <a:gd name="connsiteY831" fmla="*/ 1547987 h 7308446"/>
              <a:gd name="connsiteX832" fmla="*/ 5852411 w 9012328"/>
              <a:gd name="connsiteY832" fmla="*/ 1531799 h 7308446"/>
              <a:gd name="connsiteX833" fmla="*/ 5894033 w 9012328"/>
              <a:gd name="connsiteY833" fmla="*/ 1519068 h 7308446"/>
              <a:gd name="connsiteX834" fmla="*/ 5939338 w 9012328"/>
              <a:gd name="connsiteY834" fmla="*/ 1509872 h 7308446"/>
              <a:gd name="connsiteX835" fmla="*/ 5988459 w 9012328"/>
              <a:gd name="connsiteY835" fmla="*/ 1504296 h 7308446"/>
              <a:gd name="connsiteX836" fmla="*/ 4160590 w 9012328"/>
              <a:gd name="connsiteY836" fmla="*/ 1021648 h 7308446"/>
              <a:gd name="connsiteX837" fmla="*/ 4367589 w 9012328"/>
              <a:gd name="connsiteY837" fmla="*/ 1021648 h 7308446"/>
              <a:gd name="connsiteX838" fmla="*/ 4367589 w 9012328"/>
              <a:gd name="connsiteY838" fmla="*/ 1195261 h 7308446"/>
              <a:gd name="connsiteX839" fmla="*/ 4160590 w 9012328"/>
              <a:gd name="connsiteY839" fmla="*/ 1195261 h 7308446"/>
              <a:gd name="connsiteX840" fmla="*/ 5799344 w 9012328"/>
              <a:gd name="connsiteY840" fmla="*/ 871408 h 7308446"/>
              <a:gd name="connsiteX841" fmla="*/ 6704136 w 9012328"/>
              <a:gd name="connsiteY841" fmla="*/ 871408 h 7308446"/>
              <a:gd name="connsiteX842" fmla="*/ 6704136 w 9012328"/>
              <a:gd name="connsiteY842" fmla="*/ 978246 h 7308446"/>
              <a:gd name="connsiteX843" fmla="*/ 5799344 w 9012328"/>
              <a:gd name="connsiteY843" fmla="*/ 978246 h 7308446"/>
              <a:gd name="connsiteX844" fmla="*/ 5799344 w 9012328"/>
              <a:gd name="connsiteY844" fmla="*/ 522512 h 7308446"/>
              <a:gd name="connsiteX845" fmla="*/ 6704136 w 9012328"/>
              <a:gd name="connsiteY845" fmla="*/ 522512 h 7308446"/>
              <a:gd name="connsiteX846" fmla="*/ 6704136 w 9012328"/>
              <a:gd name="connsiteY846" fmla="*/ 629350 h 7308446"/>
              <a:gd name="connsiteX847" fmla="*/ 5799344 w 9012328"/>
              <a:gd name="connsiteY847" fmla="*/ 629350 h 7308446"/>
              <a:gd name="connsiteX848" fmla="*/ 7774691 w 9012328"/>
              <a:gd name="connsiteY848" fmla="*/ 6383 h 7308446"/>
              <a:gd name="connsiteX849" fmla="*/ 8148629 w 9012328"/>
              <a:gd name="connsiteY849" fmla="*/ 6383 h 7308446"/>
              <a:gd name="connsiteX850" fmla="*/ 8148629 w 9012328"/>
              <a:gd name="connsiteY850" fmla="*/ 101632 h 7308446"/>
              <a:gd name="connsiteX851" fmla="*/ 7889880 w 9012328"/>
              <a:gd name="connsiteY851" fmla="*/ 101632 h 7308446"/>
              <a:gd name="connsiteX852" fmla="*/ 7889880 w 9012328"/>
              <a:gd name="connsiteY852" fmla="*/ 1200182 h 7308446"/>
              <a:gd name="connsiteX853" fmla="*/ 8148629 w 9012328"/>
              <a:gd name="connsiteY853" fmla="*/ 1200182 h 7308446"/>
              <a:gd name="connsiteX854" fmla="*/ 8148629 w 9012328"/>
              <a:gd name="connsiteY854" fmla="*/ 1295432 h 7308446"/>
              <a:gd name="connsiteX855" fmla="*/ 7774691 w 9012328"/>
              <a:gd name="connsiteY855" fmla="*/ 1295432 h 7308446"/>
              <a:gd name="connsiteX856" fmla="*/ 7774691 w 9012328"/>
              <a:gd name="connsiteY856" fmla="*/ 1200182 h 7308446"/>
              <a:gd name="connsiteX857" fmla="*/ 7774691 w 9012328"/>
              <a:gd name="connsiteY857" fmla="*/ 101632 h 7308446"/>
              <a:gd name="connsiteX858" fmla="*/ 8243417 w 9012328"/>
              <a:gd name="connsiteY858" fmla="*/ 0 h 7308446"/>
              <a:gd name="connsiteX859" fmla="*/ 8296487 w 9012328"/>
              <a:gd name="connsiteY859" fmla="*/ 1877 h 7308446"/>
              <a:gd name="connsiteX860" fmla="*/ 8345608 w 9012328"/>
              <a:gd name="connsiteY860" fmla="*/ 7454 h 7308446"/>
              <a:gd name="connsiteX861" fmla="*/ 8390913 w 9012328"/>
              <a:gd name="connsiteY861" fmla="*/ 16649 h 7308446"/>
              <a:gd name="connsiteX862" fmla="*/ 8432534 w 9012328"/>
              <a:gd name="connsiteY862" fmla="*/ 29381 h 7308446"/>
              <a:gd name="connsiteX863" fmla="*/ 8470605 w 9012328"/>
              <a:gd name="connsiteY863" fmla="*/ 45569 h 7308446"/>
              <a:gd name="connsiteX864" fmla="*/ 8505258 w 9012328"/>
              <a:gd name="connsiteY864" fmla="*/ 65130 h 7308446"/>
              <a:gd name="connsiteX865" fmla="*/ 8536626 w 9012328"/>
              <a:gd name="connsiteY865" fmla="*/ 87984 h 7308446"/>
              <a:gd name="connsiteX866" fmla="*/ 8564841 w 9012328"/>
              <a:gd name="connsiteY866" fmla="*/ 114050 h 7308446"/>
              <a:gd name="connsiteX867" fmla="*/ 8590036 w 9012328"/>
              <a:gd name="connsiteY867" fmla="*/ 143246 h 7308446"/>
              <a:gd name="connsiteX868" fmla="*/ 8612344 w 9012328"/>
              <a:gd name="connsiteY868" fmla="*/ 175491 h 7308446"/>
              <a:gd name="connsiteX869" fmla="*/ 8631898 w 9012328"/>
              <a:gd name="connsiteY869" fmla="*/ 210703 h 7308446"/>
              <a:gd name="connsiteX870" fmla="*/ 8648830 w 9012328"/>
              <a:gd name="connsiteY870" fmla="*/ 248801 h 7308446"/>
              <a:gd name="connsiteX871" fmla="*/ 8663273 w 9012328"/>
              <a:gd name="connsiteY871" fmla="*/ 289703 h 7308446"/>
              <a:gd name="connsiteX872" fmla="*/ 8675359 w 9012328"/>
              <a:gd name="connsiteY872" fmla="*/ 333329 h 7308446"/>
              <a:gd name="connsiteX873" fmla="*/ 8685222 w 9012328"/>
              <a:gd name="connsiteY873" fmla="*/ 379596 h 7308446"/>
              <a:gd name="connsiteX874" fmla="*/ 8692995 w 9012328"/>
              <a:gd name="connsiteY874" fmla="*/ 428424 h 7308446"/>
              <a:gd name="connsiteX875" fmla="*/ 8698808 w 9012328"/>
              <a:gd name="connsiteY875" fmla="*/ 479730 h 7308446"/>
              <a:gd name="connsiteX876" fmla="*/ 8702797 w 9012328"/>
              <a:gd name="connsiteY876" fmla="*/ 533435 h 7308446"/>
              <a:gd name="connsiteX877" fmla="*/ 8705093 w 9012328"/>
              <a:gd name="connsiteY877" fmla="*/ 589455 h 7308446"/>
              <a:gd name="connsiteX878" fmla="*/ 8705829 w 9012328"/>
              <a:gd name="connsiteY878" fmla="*/ 647711 h 7308446"/>
              <a:gd name="connsiteX879" fmla="*/ 8705129 w 9012328"/>
              <a:gd name="connsiteY879" fmla="*/ 706216 h 7308446"/>
              <a:gd name="connsiteX880" fmla="*/ 8702932 w 9012328"/>
              <a:gd name="connsiteY880" fmla="*/ 762486 h 7308446"/>
              <a:gd name="connsiteX881" fmla="*/ 8699096 w 9012328"/>
              <a:gd name="connsiteY881" fmla="*/ 816436 h 7308446"/>
              <a:gd name="connsiteX882" fmla="*/ 8693475 w 9012328"/>
              <a:gd name="connsiteY882" fmla="*/ 867986 h 7308446"/>
              <a:gd name="connsiteX883" fmla="*/ 8685927 w 9012328"/>
              <a:gd name="connsiteY883" fmla="*/ 917051 h 7308446"/>
              <a:gd name="connsiteX884" fmla="*/ 8676306 w 9012328"/>
              <a:gd name="connsiteY884" fmla="*/ 963550 h 7308446"/>
              <a:gd name="connsiteX885" fmla="*/ 8664469 w 9012328"/>
              <a:gd name="connsiteY885" fmla="*/ 1007399 h 7308446"/>
              <a:gd name="connsiteX886" fmla="*/ 8650272 w 9012328"/>
              <a:gd name="connsiteY886" fmla="*/ 1048517 h 7308446"/>
              <a:gd name="connsiteX887" fmla="*/ 8633571 w 9012328"/>
              <a:gd name="connsiteY887" fmla="*/ 1086820 h 7308446"/>
              <a:gd name="connsiteX888" fmla="*/ 8614222 w 9012328"/>
              <a:gd name="connsiteY888" fmla="*/ 1122226 h 7308446"/>
              <a:gd name="connsiteX889" fmla="*/ 8592081 w 9012328"/>
              <a:gd name="connsiteY889" fmla="*/ 1154652 h 7308446"/>
              <a:gd name="connsiteX890" fmla="*/ 8567005 w 9012328"/>
              <a:gd name="connsiteY890" fmla="*/ 1184015 h 7308446"/>
              <a:gd name="connsiteX891" fmla="*/ 8538848 w 9012328"/>
              <a:gd name="connsiteY891" fmla="*/ 1210234 h 7308446"/>
              <a:gd name="connsiteX892" fmla="*/ 8507467 w 9012328"/>
              <a:gd name="connsiteY892" fmla="*/ 1233224 h 7308446"/>
              <a:gd name="connsiteX893" fmla="*/ 8472718 w 9012328"/>
              <a:gd name="connsiteY893" fmla="*/ 1252905 h 7308446"/>
              <a:gd name="connsiteX894" fmla="*/ 8434458 w 9012328"/>
              <a:gd name="connsiteY894" fmla="*/ 1269193 h 7308446"/>
              <a:gd name="connsiteX895" fmla="*/ 8392541 w 9012328"/>
              <a:gd name="connsiteY895" fmla="*/ 1282004 h 7308446"/>
              <a:gd name="connsiteX896" fmla="*/ 8346825 w 9012328"/>
              <a:gd name="connsiteY896" fmla="*/ 1291258 h 7308446"/>
              <a:gd name="connsiteX897" fmla="*/ 8297165 w 9012328"/>
              <a:gd name="connsiteY897" fmla="*/ 1296871 h 7308446"/>
              <a:gd name="connsiteX898" fmla="*/ 8243417 w 9012328"/>
              <a:gd name="connsiteY898" fmla="*/ 1298760 h 7308446"/>
              <a:gd name="connsiteX899" fmla="*/ 8243417 w 9012328"/>
              <a:gd name="connsiteY899" fmla="*/ 1201938 h 7308446"/>
              <a:gd name="connsiteX900" fmla="*/ 8293102 w 9012328"/>
              <a:gd name="connsiteY900" fmla="*/ 1199705 h 7308446"/>
              <a:gd name="connsiteX901" fmla="*/ 8338022 w 9012328"/>
              <a:gd name="connsiteY901" fmla="*/ 1193084 h 7308446"/>
              <a:gd name="connsiteX902" fmla="*/ 8378405 w 9012328"/>
              <a:gd name="connsiteY902" fmla="*/ 1182195 h 7308446"/>
              <a:gd name="connsiteX903" fmla="*/ 8414476 w 9012328"/>
              <a:gd name="connsiteY903" fmla="*/ 1167155 h 7308446"/>
              <a:gd name="connsiteX904" fmla="*/ 8474587 w 9012328"/>
              <a:gd name="connsiteY904" fmla="*/ 1125095 h 7308446"/>
              <a:gd name="connsiteX905" fmla="*/ 8520166 w 9012328"/>
              <a:gd name="connsiteY905" fmla="*/ 1067851 h 7308446"/>
              <a:gd name="connsiteX906" fmla="*/ 8538072 w 9012328"/>
              <a:gd name="connsiteY906" fmla="*/ 1033830 h 7308446"/>
              <a:gd name="connsiteX907" fmla="*/ 8553024 w 9012328"/>
              <a:gd name="connsiteY907" fmla="*/ 996369 h 7308446"/>
              <a:gd name="connsiteX908" fmla="*/ 8565248 w 9012328"/>
              <a:gd name="connsiteY908" fmla="*/ 955584 h 7308446"/>
              <a:gd name="connsiteX909" fmla="*/ 8574971 w 9012328"/>
              <a:gd name="connsiteY909" fmla="*/ 911594 h 7308446"/>
              <a:gd name="connsiteX910" fmla="*/ 8582418 w 9012328"/>
              <a:gd name="connsiteY910" fmla="*/ 864517 h 7308446"/>
              <a:gd name="connsiteX911" fmla="*/ 8587817 w 9012328"/>
              <a:gd name="connsiteY911" fmla="*/ 814473 h 7308446"/>
              <a:gd name="connsiteX912" fmla="*/ 8591393 w 9012328"/>
              <a:gd name="connsiteY912" fmla="*/ 761578 h 7308446"/>
              <a:gd name="connsiteX913" fmla="*/ 8593372 w 9012328"/>
              <a:gd name="connsiteY913" fmla="*/ 705951 h 7308446"/>
              <a:gd name="connsiteX914" fmla="*/ 8593982 w 9012328"/>
              <a:gd name="connsiteY914" fmla="*/ 647711 h 7308446"/>
              <a:gd name="connsiteX915" fmla="*/ 8593340 w 9012328"/>
              <a:gd name="connsiteY915" fmla="*/ 590042 h 7308446"/>
              <a:gd name="connsiteX916" fmla="*/ 8591270 w 9012328"/>
              <a:gd name="connsiteY916" fmla="*/ 534953 h 7308446"/>
              <a:gd name="connsiteX917" fmla="*/ 8587560 w 9012328"/>
              <a:gd name="connsiteY917" fmla="*/ 482561 h 7308446"/>
              <a:gd name="connsiteX918" fmla="*/ 8581994 w 9012328"/>
              <a:gd name="connsiteY918" fmla="*/ 432984 h 7308446"/>
              <a:gd name="connsiteX919" fmla="*/ 8574359 w 9012328"/>
              <a:gd name="connsiteY919" fmla="*/ 386340 h 7308446"/>
              <a:gd name="connsiteX920" fmla="*/ 8564441 w 9012328"/>
              <a:gd name="connsiteY920" fmla="*/ 342749 h 7308446"/>
              <a:gd name="connsiteX921" fmla="*/ 8552025 w 9012328"/>
              <a:gd name="connsiteY921" fmla="*/ 302328 h 7308446"/>
              <a:gd name="connsiteX922" fmla="*/ 8536898 w 9012328"/>
              <a:gd name="connsiteY922" fmla="*/ 265196 h 7308446"/>
              <a:gd name="connsiteX923" fmla="*/ 8518845 w 9012328"/>
              <a:gd name="connsiteY923" fmla="*/ 231470 h 7308446"/>
              <a:gd name="connsiteX924" fmla="*/ 8473107 w 9012328"/>
              <a:gd name="connsiteY924" fmla="*/ 174711 h 7308446"/>
              <a:gd name="connsiteX925" fmla="*/ 8413098 w 9012328"/>
              <a:gd name="connsiteY925" fmla="*/ 132998 h 7308446"/>
              <a:gd name="connsiteX926" fmla="*/ 8377206 w 9012328"/>
              <a:gd name="connsiteY926" fmla="*/ 118079 h 7308446"/>
              <a:gd name="connsiteX927" fmla="*/ 8337105 w 9012328"/>
              <a:gd name="connsiteY927" fmla="*/ 107277 h 7308446"/>
              <a:gd name="connsiteX928" fmla="*/ 8292580 w 9012328"/>
              <a:gd name="connsiteY928" fmla="*/ 100708 h 7308446"/>
              <a:gd name="connsiteX929" fmla="*/ 8243417 w 9012328"/>
              <a:gd name="connsiteY929" fmla="*/ 98492 h 7308446"/>
              <a:gd name="connsiteX930" fmla="*/ 3109502 w 9012328"/>
              <a:gd name="connsiteY930" fmla="*/ 0 h 7308446"/>
              <a:gd name="connsiteX931" fmla="*/ 3162572 w 9012328"/>
              <a:gd name="connsiteY931" fmla="*/ 1876 h 7308446"/>
              <a:gd name="connsiteX932" fmla="*/ 3211694 w 9012328"/>
              <a:gd name="connsiteY932" fmla="*/ 7453 h 7308446"/>
              <a:gd name="connsiteX933" fmla="*/ 3256998 w 9012328"/>
              <a:gd name="connsiteY933" fmla="*/ 16648 h 7308446"/>
              <a:gd name="connsiteX934" fmla="*/ 3298621 w 9012328"/>
              <a:gd name="connsiteY934" fmla="*/ 29380 h 7308446"/>
              <a:gd name="connsiteX935" fmla="*/ 3336692 w 9012328"/>
              <a:gd name="connsiteY935" fmla="*/ 45568 h 7308446"/>
              <a:gd name="connsiteX936" fmla="*/ 3371345 w 9012328"/>
              <a:gd name="connsiteY936" fmla="*/ 65129 h 7308446"/>
              <a:gd name="connsiteX937" fmla="*/ 3402713 w 9012328"/>
              <a:gd name="connsiteY937" fmla="*/ 87984 h 7308446"/>
              <a:gd name="connsiteX938" fmla="*/ 3430928 w 9012328"/>
              <a:gd name="connsiteY938" fmla="*/ 114050 h 7308446"/>
              <a:gd name="connsiteX939" fmla="*/ 3456123 w 9012328"/>
              <a:gd name="connsiteY939" fmla="*/ 143246 h 7308446"/>
              <a:gd name="connsiteX940" fmla="*/ 3478431 w 9012328"/>
              <a:gd name="connsiteY940" fmla="*/ 175491 h 7308446"/>
              <a:gd name="connsiteX941" fmla="*/ 3497985 w 9012328"/>
              <a:gd name="connsiteY941" fmla="*/ 210703 h 7308446"/>
              <a:gd name="connsiteX942" fmla="*/ 3514917 w 9012328"/>
              <a:gd name="connsiteY942" fmla="*/ 248801 h 7308446"/>
              <a:gd name="connsiteX943" fmla="*/ 3529360 w 9012328"/>
              <a:gd name="connsiteY943" fmla="*/ 289703 h 7308446"/>
              <a:gd name="connsiteX944" fmla="*/ 3541446 w 9012328"/>
              <a:gd name="connsiteY944" fmla="*/ 333329 h 7308446"/>
              <a:gd name="connsiteX945" fmla="*/ 3551309 w 9012328"/>
              <a:gd name="connsiteY945" fmla="*/ 379596 h 7308446"/>
              <a:gd name="connsiteX946" fmla="*/ 3559082 w 9012328"/>
              <a:gd name="connsiteY946" fmla="*/ 428424 h 7308446"/>
              <a:gd name="connsiteX947" fmla="*/ 3564896 w 9012328"/>
              <a:gd name="connsiteY947" fmla="*/ 479730 h 7308446"/>
              <a:gd name="connsiteX948" fmla="*/ 3568884 w 9012328"/>
              <a:gd name="connsiteY948" fmla="*/ 533435 h 7308446"/>
              <a:gd name="connsiteX949" fmla="*/ 3571180 w 9012328"/>
              <a:gd name="connsiteY949" fmla="*/ 589455 h 7308446"/>
              <a:gd name="connsiteX950" fmla="*/ 3571916 w 9012328"/>
              <a:gd name="connsiteY950" fmla="*/ 647711 h 7308446"/>
              <a:gd name="connsiteX951" fmla="*/ 3571216 w 9012328"/>
              <a:gd name="connsiteY951" fmla="*/ 706216 h 7308446"/>
              <a:gd name="connsiteX952" fmla="*/ 3569019 w 9012328"/>
              <a:gd name="connsiteY952" fmla="*/ 762486 h 7308446"/>
              <a:gd name="connsiteX953" fmla="*/ 3565183 w 9012328"/>
              <a:gd name="connsiteY953" fmla="*/ 816436 h 7308446"/>
              <a:gd name="connsiteX954" fmla="*/ 3559562 w 9012328"/>
              <a:gd name="connsiteY954" fmla="*/ 867986 h 7308446"/>
              <a:gd name="connsiteX955" fmla="*/ 3552014 w 9012328"/>
              <a:gd name="connsiteY955" fmla="*/ 917051 h 7308446"/>
              <a:gd name="connsiteX956" fmla="*/ 3542393 w 9012328"/>
              <a:gd name="connsiteY956" fmla="*/ 963550 h 7308446"/>
              <a:gd name="connsiteX957" fmla="*/ 3530556 w 9012328"/>
              <a:gd name="connsiteY957" fmla="*/ 1007399 h 7308446"/>
              <a:gd name="connsiteX958" fmla="*/ 3516359 w 9012328"/>
              <a:gd name="connsiteY958" fmla="*/ 1048517 h 7308446"/>
              <a:gd name="connsiteX959" fmla="*/ 3499658 w 9012328"/>
              <a:gd name="connsiteY959" fmla="*/ 1086820 h 7308446"/>
              <a:gd name="connsiteX960" fmla="*/ 3480309 w 9012328"/>
              <a:gd name="connsiteY960" fmla="*/ 1122226 h 7308446"/>
              <a:gd name="connsiteX961" fmla="*/ 3458168 w 9012328"/>
              <a:gd name="connsiteY961" fmla="*/ 1154652 h 7308446"/>
              <a:gd name="connsiteX962" fmla="*/ 3433091 w 9012328"/>
              <a:gd name="connsiteY962" fmla="*/ 1184015 h 7308446"/>
              <a:gd name="connsiteX963" fmla="*/ 3404934 w 9012328"/>
              <a:gd name="connsiteY963" fmla="*/ 1210234 h 7308446"/>
              <a:gd name="connsiteX964" fmla="*/ 3373554 w 9012328"/>
              <a:gd name="connsiteY964" fmla="*/ 1233224 h 7308446"/>
              <a:gd name="connsiteX965" fmla="*/ 3338805 w 9012328"/>
              <a:gd name="connsiteY965" fmla="*/ 1252905 h 7308446"/>
              <a:gd name="connsiteX966" fmla="*/ 3300544 w 9012328"/>
              <a:gd name="connsiteY966" fmla="*/ 1269192 h 7308446"/>
              <a:gd name="connsiteX967" fmla="*/ 3258627 w 9012328"/>
              <a:gd name="connsiteY967" fmla="*/ 1282004 h 7308446"/>
              <a:gd name="connsiteX968" fmla="*/ 3212910 w 9012328"/>
              <a:gd name="connsiteY968" fmla="*/ 1291258 h 7308446"/>
              <a:gd name="connsiteX969" fmla="*/ 3163250 w 9012328"/>
              <a:gd name="connsiteY969" fmla="*/ 1296871 h 7308446"/>
              <a:gd name="connsiteX970" fmla="*/ 3109502 w 9012328"/>
              <a:gd name="connsiteY970" fmla="*/ 1298760 h 7308446"/>
              <a:gd name="connsiteX971" fmla="*/ 3109502 w 9012328"/>
              <a:gd name="connsiteY971" fmla="*/ 1201938 h 7308446"/>
              <a:gd name="connsiteX972" fmla="*/ 3159187 w 9012328"/>
              <a:gd name="connsiteY972" fmla="*/ 1199705 h 7308446"/>
              <a:gd name="connsiteX973" fmla="*/ 3204108 w 9012328"/>
              <a:gd name="connsiteY973" fmla="*/ 1193084 h 7308446"/>
              <a:gd name="connsiteX974" fmla="*/ 3244491 w 9012328"/>
              <a:gd name="connsiteY974" fmla="*/ 1182195 h 7308446"/>
              <a:gd name="connsiteX975" fmla="*/ 3280562 w 9012328"/>
              <a:gd name="connsiteY975" fmla="*/ 1167155 h 7308446"/>
              <a:gd name="connsiteX976" fmla="*/ 3340673 w 9012328"/>
              <a:gd name="connsiteY976" fmla="*/ 1125095 h 7308446"/>
              <a:gd name="connsiteX977" fmla="*/ 3386253 w 9012328"/>
              <a:gd name="connsiteY977" fmla="*/ 1067851 h 7308446"/>
              <a:gd name="connsiteX978" fmla="*/ 3404158 w 9012328"/>
              <a:gd name="connsiteY978" fmla="*/ 1033830 h 7308446"/>
              <a:gd name="connsiteX979" fmla="*/ 3419110 w 9012328"/>
              <a:gd name="connsiteY979" fmla="*/ 996369 h 7308446"/>
              <a:gd name="connsiteX980" fmla="*/ 3431334 w 9012328"/>
              <a:gd name="connsiteY980" fmla="*/ 955584 h 7308446"/>
              <a:gd name="connsiteX981" fmla="*/ 3441057 w 9012328"/>
              <a:gd name="connsiteY981" fmla="*/ 911594 h 7308446"/>
              <a:gd name="connsiteX982" fmla="*/ 3448504 w 9012328"/>
              <a:gd name="connsiteY982" fmla="*/ 864517 h 7308446"/>
              <a:gd name="connsiteX983" fmla="*/ 3453903 w 9012328"/>
              <a:gd name="connsiteY983" fmla="*/ 814473 h 7308446"/>
              <a:gd name="connsiteX984" fmla="*/ 3457479 w 9012328"/>
              <a:gd name="connsiteY984" fmla="*/ 761578 h 7308446"/>
              <a:gd name="connsiteX985" fmla="*/ 3459458 w 9012328"/>
              <a:gd name="connsiteY985" fmla="*/ 705951 h 7308446"/>
              <a:gd name="connsiteX986" fmla="*/ 3460068 w 9012328"/>
              <a:gd name="connsiteY986" fmla="*/ 647711 h 7308446"/>
              <a:gd name="connsiteX987" fmla="*/ 3459426 w 9012328"/>
              <a:gd name="connsiteY987" fmla="*/ 590042 h 7308446"/>
              <a:gd name="connsiteX988" fmla="*/ 3457356 w 9012328"/>
              <a:gd name="connsiteY988" fmla="*/ 534953 h 7308446"/>
              <a:gd name="connsiteX989" fmla="*/ 3453646 w 9012328"/>
              <a:gd name="connsiteY989" fmla="*/ 482560 h 7308446"/>
              <a:gd name="connsiteX990" fmla="*/ 3448080 w 9012328"/>
              <a:gd name="connsiteY990" fmla="*/ 432984 h 7308446"/>
              <a:gd name="connsiteX991" fmla="*/ 3440445 w 9012328"/>
              <a:gd name="connsiteY991" fmla="*/ 386340 h 7308446"/>
              <a:gd name="connsiteX992" fmla="*/ 3430527 w 9012328"/>
              <a:gd name="connsiteY992" fmla="*/ 342749 h 7308446"/>
              <a:gd name="connsiteX993" fmla="*/ 3418111 w 9012328"/>
              <a:gd name="connsiteY993" fmla="*/ 302328 h 7308446"/>
              <a:gd name="connsiteX994" fmla="*/ 3402984 w 9012328"/>
              <a:gd name="connsiteY994" fmla="*/ 265196 h 7308446"/>
              <a:gd name="connsiteX995" fmla="*/ 3384931 w 9012328"/>
              <a:gd name="connsiteY995" fmla="*/ 231470 h 7308446"/>
              <a:gd name="connsiteX996" fmla="*/ 3339193 w 9012328"/>
              <a:gd name="connsiteY996" fmla="*/ 174711 h 7308446"/>
              <a:gd name="connsiteX997" fmla="*/ 3279183 w 9012328"/>
              <a:gd name="connsiteY997" fmla="*/ 132998 h 7308446"/>
              <a:gd name="connsiteX998" fmla="*/ 3243291 w 9012328"/>
              <a:gd name="connsiteY998" fmla="*/ 118079 h 7308446"/>
              <a:gd name="connsiteX999" fmla="*/ 3203191 w 9012328"/>
              <a:gd name="connsiteY999" fmla="*/ 107276 h 7308446"/>
              <a:gd name="connsiteX1000" fmla="*/ 3158665 w 9012328"/>
              <a:gd name="connsiteY1000" fmla="*/ 100708 h 7308446"/>
              <a:gd name="connsiteX1001" fmla="*/ 3109502 w 9012328"/>
              <a:gd name="connsiteY1001" fmla="*/ 98492 h 7308446"/>
              <a:gd name="connsiteX1002" fmla="*/ 3017637 w 9012328"/>
              <a:gd name="connsiteY1002" fmla="*/ 0 h 7308446"/>
              <a:gd name="connsiteX1003" fmla="*/ 3017637 w 9012328"/>
              <a:gd name="connsiteY1003" fmla="*/ 98492 h 7308446"/>
              <a:gd name="connsiteX1004" fmla="*/ 2968752 w 9012328"/>
              <a:gd name="connsiteY1004" fmla="*/ 100708 h 7308446"/>
              <a:gd name="connsiteX1005" fmla="*/ 2924471 w 9012328"/>
              <a:gd name="connsiteY1005" fmla="*/ 107277 h 7308446"/>
              <a:gd name="connsiteX1006" fmla="*/ 2884585 w 9012328"/>
              <a:gd name="connsiteY1006" fmla="*/ 118079 h 7308446"/>
              <a:gd name="connsiteX1007" fmla="*/ 2848878 w 9012328"/>
              <a:gd name="connsiteY1007" fmla="*/ 132998 h 7308446"/>
              <a:gd name="connsiteX1008" fmla="*/ 2789164 w 9012328"/>
              <a:gd name="connsiteY1008" fmla="*/ 174711 h 7308446"/>
              <a:gd name="connsiteX1009" fmla="*/ 2743630 w 9012328"/>
              <a:gd name="connsiteY1009" fmla="*/ 231470 h 7308446"/>
              <a:gd name="connsiteX1010" fmla="*/ 2725650 w 9012328"/>
              <a:gd name="connsiteY1010" fmla="*/ 265196 h 7308446"/>
              <a:gd name="connsiteX1011" fmla="*/ 2710579 w 9012328"/>
              <a:gd name="connsiteY1011" fmla="*/ 302328 h 7308446"/>
              <a:gd name="connsiteX1012" fmla="*/ 2698207 w 9012328"/>
              <a:gd name="connsiteY1012" fmla="*/ 342749 h 7308446"/>
              <a:gd name="connsiteX1013" fmla="*/ 2688320 w 9012328"/>
              <a:gd name="connsiteY1013" fmla="*/ 386340 h 7308446"/>
              <a:gd name="connsiteX1014" fmla="*/ 2680706 w 9012328"/>
              <a:gd name="connsiteY1014" fmla="*/ 432984 h 7308446"/>
              <a:gd name="connsiteX1015" fmla="*/ 2675153 w 9012328"/>
              <a:gd name="connsiteY1015" fmla="*/ 482561 h 7308446"/>
              <a:gd name="connsiteX1016" fmla="*/ 2671448 w 9012328"/>
              <a:gd name="connsiteY1016" fmla="*/ 534953 h 7308446"/>
              <a:gd name="connsiteX1017" fmla="*/ 2669382 w 9012328"/>
              <a:gd name="connsiteY1017" fmla="*/ 590042 h 7308446"/>
              <a:gd name="connsiteX1018" fmla="*/ 2668740 w 9012328"/>
              <a:gd name="connsiteY1018" fmla="*/ 647711 h 7308446"/>
              <a:gd name="connsiteX1019" fmla="*/ 2669365 w 9012328"/>
              <a:gd name="connsiteY1019" fmla="*/ 705951 h 7308446"/>
              <a:gd name="connsiteX1020" fmla="*/ 2671388 w 9012328"/>
              <a:gd name="connsiteY1020" fmla="*/ 761578 h 7308446"/>
              <a:gd name="connsiteX1021" fmla="*/ 2675025 w 9012328"/>
              <a:gd name="connsiteY1021" fmla="*/ 814473 h 7308446"/>
              <a:gd name="connsiteX1022" fmla="*/ 2680494 w 9012328"/>
              <a:gd name="connsiteY1022" fmla="*/ 864517 h 7308446"/>
              <a:gd name="connsiteX1023" fmla="*/ 2688015 w 9012328"/>
              <a:gd name="connsiteY1023" fmla="*/ 911594 h 7308446"/>
              <a:gd name="connsiteX1024" fmla="*/ 2697803 w 9012328"/>
              <a:gd name="connsiteY1024" fmla="*/ 955584 h 7308446"/>
              <a:gd name="connsiteX1025" fmla="*/ 2710081 w 9012328"/>
              <a:gd name="connsiteY1025" fmla="*/ 996369 h 7308446"/>
              <a:gd name="connsiteX1026" fmla="*/ 2725063 w 9012328"/>
              <a:gd name="connsiteY1026" fmla="*/ 1033830 h 7308446"/>
              <a:gd name="connsiteX1027" fmla="*/ 2742969 w 9012328"/>
              <a:gd name="connsiteY1027" fmla="*/ 1067851 h 7308446"/>
              <a:gd name="connsiteX1028" fmla="*/ 2788423 w 9012328"/>
              <a:gd name="connsiteY1028" fmla="*/ 1125095 h 7308446"/>
              <a:gd name="connsiteX1029" fmla="*/ 2848189 w 9012328"/>
              <a:gd name="connsiteY1029" fmla="*/ 1167155 h 7308446"/>
              <a:gd name="connsiteX1030" fmla="*/ 2883984 w 9012328"/>
              <a:gd name="connsiteY1030" fmla="*/ 1182195 h 7308446"/>
              <a:gd name="connsiteX1031" fmla="*/ 2924012 w 9012328"/>
              <a:gd name="connsiteY1031" fmla="*/ 1193084 h 7308446"/>
              <a:gd name="connsiteX1032" fmla="*/ 2968491 w 9012328"/>
              <a:gd name="connsiteY1032" fmla="*/ 1199705 h 7308446"/>
              <a:gd name="connsiteX1033" fmla="*/ 3017637 w 9012328"/>
              <a:gd name="connsiteY1033" fmla="*/ 1201938 h 7308446"/>
              <a:gd name="connsiteX1034" fmla="*/ 3017637 w 9012328"/>
              <a:gd name="connsiteY1034" fmla="*/ 1298760 h 7308446"/>
              <a:gd name="connsiteX1035" fmla="*/ 2964115 w 9012328"/>
              <a:gd name="connsiteY1035" fmla="*/ 1296871 h 7308446"/>
              <a:gd name="connsiteX1036" fmla="*/ 2914634 w 9012328"/>
              <a:gd name="connsiteY1036" fmla="*/ 1291258 h 7308446"/>
              <a:gd name="connsiteX1037" fmla="*/ 2869056 w 9012328"/>
              <a:gd name="connsiteY1037" fmla="*/ 1282004 h 7308446"/>
              <a:gd name="connsiteX1038" fmla="*/ 2827236 w 9012328"/>
              <a:gd name="connsiteY1038" fmla="*/ 1269193 h 7308446"/>
              <a:gd name="connsiteX1039" fmla="*/ 2789039 w 9012328"/>
              <a:gd name="connsiteY1039" fmla="*/ 1252905 h 7308446"/>
              <a:gd name="connsiteX1040" fmla="*/ 2754322 w 9012328"/>
              <a:gd name="connsiteY1040" fmla="*/ 1233224 h 7308446"/>
              <a:gd name="connsiteX1041" fmla="*/ 2722946 w 9012328"/>
              <a:gd name="connsiteY1041" fmla="*/ 1210234 h 7308446"/>
              <a:gd name="connsiteX1042" fmla="*/ 2694770 w 9012328"/>
              <a:gd name="connsiteY1042" fmla="*/ 1184015 h 7308446"/>
              <a:gd name="connsiteX1043" fmla="*/ 2669653 w 9012328"/>
              <a:gd name="connsiteY1043" fmla="*/ 1154652 h 7308446"/>
              <a:gd name="connsiteX1044" fmla="*/ 2647457 w 9012328"/>
              <a:gd name="connsiteY1044" fmla="*/ 1122226 h 7308446"/>
              <a:gd name="connsiteX1045" fmla="*/ 2628039 w 9012328"/>
              <a:gd name="connsiteY1045" fmla="*/ 1086820 h 7308446"/>
              <a:gd name="connsiteX1046" fmla="*/ 2611262 w 9012328"/>
              <a:gd name="connsiteY1046" fmla="*/ 1048517 h 7308446"/>
              <a:gd name="connsiteX1047" fmla="*/ 2596982 w 9012328"/>
              <a:gd name="connsiteY1047" fmla="*/ 1007399 h 7308446"/>
              <a:gd name="connsiteX1048" fmla="*/ 2585062 w 9012328"/>
              <a:gd name="connsiteY1048" fmla="*/ 963550 h 7308446"/>
              <a:gd name="connsiteX1049" fmla="*/ 2575361 w 9012328"/>
              <a:gd name="connsiteY1049" fmla="*/ 917051 h 7308446"/>
              <a:gd name="connsiteX1050" fmla="*/ 2567737 w 9012328"/>
              <a:gd name="connsiteY1050" fmla="*/ 867986 h 7308446"/>
              <a:gd name="connsiteX1051" fmla="*/ 2562052 w 9012328"/>
              <a:gd name="connsiteY1051" fmla="*/ 816436 h 7308446"/>
              <a:gd name="connsiteX1052" fmla="*/ 2558166 w 9012328"/>
              <a:gd name="connsiteY1052" fmla="*/ 762486 h 7308446"/>
              <a:gd name="connsiteX1053" fmla="*/ 2555936 w 9012328"/>
              <a:gd name="connsiteY1053" fmla="*/ 706216 h 7308446"/>
              <a:gd name="connsiteX1054" fmla="*/ 2555225 w 9012328"/>
              <a:gd name="connsiteY1054" fmla="*/ 647711 h 7308446"/>
              <a:gd name="connsiteX1055" fmla="*/ 2555961 w 9012328"/>
              <a:gd name="connsiteY1055" fmla="*/ 589455 h 7308446"/>
              <a:gd name="connsiteX1056" fmla="*/ 2558256 w 9012328"/>
              <a:gd name="connsiteY1056" fmla="*/ 533435 h 7308446"/>
              <a:gd name="connsiteX1057" fmla="*/ 2562245 w 9012328"/>
              <a:gd name="connsiteY1057" fmla="*/ 479730 h 7308446"/>
              <a:gd name="connsiteX1058" fmla="*/ 2568057 w 9012328"/>
              <a:gd name="connsiteY1058" fmla="*/ 428424 h 7308446"/>
              <a:gd name="connsiteX1059" fmla="*/ 2575830 w 9012328"/>
              <a:gd name="connsiteY1059" fmla="*/ 379596 h 7308446"/>
              <a:gd name="connsiteX1060" fmla="*/ 2585694 w 9012328"/>
              <a:gd name="connsiteY1060" fmla="*/ 333329 h 7308446"/>
              <a:gd name="connsiteX1061" fmla="*/ 2597780 w 9012328"/>
              <a:gd name="connsiteY1061" fmla="*/ 289703 h 7308446"/>
              <a:gd name="connsiteX1062" fmla="*/ 2612222 w 9012328"/>
              <a:gd name="connsiteY1062" fmla="*/ 248801 h 7308446"/>
              <a:gd name="connsiteX1063" fmla="*/ 2629156 w 9012328"/>
              <a:gd name="connsiteY1063" fmla="*/ 210703 h 7308446"/>
              <a:gd name="connsiteX1064" fmla="*/ 2648708 w 9012328"/>
              <a:gd name="connsiteY1064" fmla="*/ 175491 h 7308446"/>
              <a:gd name="connsiteX1065" fmla="*/ 2671016 w 9012328"/>
              <a:gd name="connsiteY1065" fmla="*/ 143246 h 7308446"/>
              <a:gd name="connsiteX1066" fmla="*/ 2696212 w 9012328"/>
              <a:gd name="connsiteY1066" fmla="*/ 114050 h 7308446"/>
              <a:gd name="connsiteX1067" fmla="*/ 2724427 w 9012328"/>
              <a:gd name="connsiteY1067" fmla="*/ 87984 h 7308446"/>
              <a:gd name="connsiteX1068" fmla="*/ 2755794 w 9012328"/>
              <a:gd name="connsiteY1068" fmla="*/ 65130 h 7308446"/>
              <a:gd name="connsiteX1069" fmla="*/ 2790448 w 9012328"/>
              <a:gd name="connsiteY1069" fmla="*/ 45569 h 7308446"/>
              <a:gd name="connsiteX1070" fmla="*/ 2828518 w 9012328"/>
              <a:gd name="connsiteY1070" fmla="*/ 29382 h 7308446"/>
              <a:gd name="connsiteX1071" fmla="*/ 2870141 w 9012328"/>
              <a:gd name="connsiteY1071" fmla="*/ 16649 h 7308446"/>
              <a:gd name="connsiteX1072" fmla="*/ 2915445 w 9012328"/>
              <a:gd name="connsiteY1072" fmla="*/ 7455 h 7308446"/>
              <a:gd name="connsiteX1073" fmla="*/ 2964567 w 9012328"/>
              <a:gd name="connsiteY1073" fmla="*/ 1877 h 730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Lst>
            <a:rect l="l" t="t" r="r" b="b"/>
            <a:pathLst>
              <a:path w="9012328" h="7308446">
                <a:moveTo>
                  <a:pt x="6351898" y="7031333"/>
                </a:moveTo>
                <a:lnTo>
                  <a:pt x="6558899" y="7031333"/>
                </a:lnTo>
                <a:lnTo>
                  <a:pt x="6558899" y="7204946"/>
                </a:lnTo>
                <a:lnTo>
                  <a:pt x="6351898" y="7204946"/>
                </a:lnTo>
                <a:close/>
                <a:moveTo>
                  <a:pt x="3333905" y="6881094"/>
                </a:moveTo>
                <a:lnTo>
                  <a:pt x="4238693" y="6881094"/>
                </a:lnTo>
                <a:lnTo>
                  <a:pt x="4238693" y="6987931"/>
                </a:lnTo>
                <a:lnTo>
                  <a:pt x="3333905" y="6987931"/>
                </a:lnTo>
                <a:close/>
                <a:moveTo>
                  <a:pt x="3333905" y="6532197"/>
                </a:moveTo>
                <a:lnTo>
                  <a:pt x="4238693" y="6532197"/>
                </a:lnTo>
                <a:lnTo>
                  <a:pt x="4238693" y="6639034"/>
                </a:lnTo>
                <a:lnTo>
                  <a:pt x="3333905" y="6639034"/>
                </a:lnTo>
                <a:close/>
                <a:moveTo>
                  <a:pt x="5357969" y="6016022"/>
                </a:moveTo>
                <a:lnTo>
                  <a:pt x="5731908" y="6016022"/>
                </a:lnTo>
                <a:lnTo>
                  <a:pt x="5731908" y="6111272"/>
                </a:lnTo>
                <a:lnTo>
                  <a:pt x="5731908" y="7209822"/>
                </a:lnTo>
                <a:lnTo>
                  <a:pt x="5731908" y="7305072"/>
                </a:lnTo>
                <a:lnTo>
                  <a:pt x="5357969" y="7305072"/>
                </a:lnTo>
                <a:lnTo>
                  <a:pt x="5357969" y="7209822"/>
                </a:lnTo>
                <a:lnTo>
                  <a:pt x="5616719" y="7209822"/>
                </a:lnTo>
                <a:lnTo>
                  <a:pt x="5616719" y="6111272"/>
                </a:lnTo>
                <a:lnTo>
                  <a:pt x="5357969" y="6111272"/>
                </a:lnTo>
                <a:close/>
                <a:moveTo>
                  <a:pt x="4884222" y="6016022"/>
                </a:moveTo>
                <a:lnTo>
                  <a:pt x="5258161" y="6016022"/>
                </a:lnTo>
                <a:lnTo>
                  <a:pt x="5258161" y="6111272"/>
                </a:lnTo>
                <a:lnTo>
                  <a:pt x="4999412" y="6111272"/>
                </a:lnTo>
                <a:lnTo>
                  <a:pt x="4999412" y="7209822"/>
                </a:lnTo>
                <a:lnTo>
                  <a:pt x="5258161" y="7209822"/>
                </a:lnTo>
                <a:lnTo>
                  <a:pt x="5258161" y="7305072"/>
                </a:lnTo>
                <a:lnTo>
                  <a:pt x="4884222" y="7305072"/>
                </a:lnTo>
                <a:lnTo>
                  <a:pt x="4884222" y="7209822"/>
                </a:lnTo>
                <a:lnTo>
                  <a:pt x="4884222" y="6111272"/>
                </a:lnTo>
                <a:close/>
                <a:moveTo>
                  <a:pt x="8549915" y="6009685"/>
                </a:moveTo>
                <a:lnTo>
                  <a:pt x="8602985" y="6011561"/>
                </a:lnTo>
                <a:lnTo>
                  <a:pt x="8652106" y="6017138"/>
                </a:lnTo>
                <a:lnTo>
                  <a:pt x="8697411" y="6026333"/>
                </a:lnTo>
                <a:lnTo>
                  <a:pt x="8739033" y="6039065"/>
                </a:lnTo>
                <a:lnTo>
                  <a:pt x="8777104" y="6055253"/>
                </a:lnTo>
                <a:lnTo>
                  <a:pt x="8811757" y="6074814"/>
                </a:lnTo>
                <a:lnTo>
                  <a:pt x="8843125" y="6097669"/>
                </a:lnTo>
                <a:lnTo>
                  <a:pt x="8871340" y="6123735"/>
                </a:lnTo>
                <a:lnTo>
                  <a:pt x="8896535" y="6152931"/>
                </a:lnTo>
                <a:lnTo>
                  <a:pt x="8918843" y="6185176"/>
                </a:lnTo>
                <a:lnTo>
                  <a:pt x="8938397" y="6220388"/>
                </a:lnTo>
                <a:lnTo>
                  <a:pt x="8955329" y="6258486"/>
                </a:lnTo>
                <a:lnTo>
                  <a:pt x="8969772" y="6299388"/>
                </a:lnTo>
                <a:lnTo>
                  <a:pt x="8981858" y="6343014"/>
                </a:lnTo>
                <a:lnTo>
                  <a:pt x="8991721" y="6389281"/>
                </a:lnTo>
                <a:lnTo>
                  <a:pt x="8999494" y="6438109"/>
                </a:lnTo>
                <a:lnTo>
                  <a:pt x="9005308" y="6489415"/>
                </a:lnTo>
                <a:lnTo>
                  <a:pt x="9009296" y="6543120"/>
                </a:lnTo>
                <a:lnTo>
                  <a:pt x="9011592" y="6599140"/>
                </a:lnTo>
                <a:lnTo>
                  <a:pt x="9012328" y="6657396"/>
                </a:lnTo>
                <a:lnTo>
                  <a:pt x="9011628" y="6715902"/>
                </a:lnTo>
                <a:lnTo>
                  <a:pt x="9009431" y="6772172"/>
                </a:lnTo>
                <a:lnTo>
                  <a:pt x="9005595" y="6826122"/>
                </a:lnTo>
                <a:lnTo>
                  <a:pt x="8999974" y="6877672"/>
                </a:lnTo>
                <a:lnTo>
                  <a:pt x="8992426" y="6926737"/>
                </a:lnTo>
                <a:lnTo>
                  <a:pt x="8982805" y="6973236"/>
                </a:lnTo>
                <a:lnTo>
                  <a:pt x="8970968" y="7017085"/>
                </a:lnTo>
                <a:lnTo>
                  <a:pt x="8956771" y="7058203"/>
                </a:lnTo>
                <a:lnTo>
                  <a:pt x="8940070" y="7096506"/>
                </a:lnTo>
                <a:lnTo>
                  <a:pt x="8920721" y="7131912"/>
                </a:lnTo>
                <a:lnTo>
                  <a:pt x="8898580" y="7164338"/>
                </a:lnTo>
                <a:lnTo>
                  <a:pt x="8873503" y="7193701"/>
                </a:lnTo>
                <a:lnTo>
                  <a:pt x="8845346" y="7219920"/>
                </a:lnTo>
                <a:lnTo>
                  <a:pt x="8813966" y="7242910"/>
                </a:lnTo>
                <a:lnTo>
                  <a:pt x="8779217" y="7262591"/>
                </a:lnTo>
                <a:lnTo>
                  <a:pt x="8740956" y="7278878"/>
                </a:lnTo>
                <a:lnTo>
                  <a:pt x="8699039" y="7291690"/>
                </a:lnTo>
                <a:lnTo>
                  <a:pt x="8653323" y="7300944"/>
                </a:lnTo>
                <a:lnTo>
                  <a:pt x="8603663" y="7306557"/>
                </a:lnTo>
                <a:lnTo>
                  <a:pt x="8549915" y="7308446"/>
                </a:lnTo>
                <a:lnTo>
                  <a:pt x="8549915" y="7211624"/>
                </a:lnTo>
                <a:lnTo>
                  <a:pt x="8599600" y="7209391"/>
                </a:lnTo>
                <a:lnTo>
                  <a:pt x="8644521" y="7202770"/>
                </a:lnTo>
                <a:lnTo>
                  <a:pt x="8684903" y="7191881"/>
                </a:lnTo>
                <a:lnTo>
                  <a:pt x="8720974" y="7176841"/>
                </a:lnTo>
                <a:lnTo>
                  <a:pt x="8781085" y="7134781"/>
                </a:lnTo>
                <a:lnTo>
                  <a:pt x="8826665" y="7077537"/>
                </a:lnTo>
                <a:lnTo>
                  <a:pt x="8844570" y="7043516"/>
                </a:lnTo>
                <a:lnTo>
                  <a:pt x="8859522" y="7006054"/>
                </a:lnTo>
                <a:lnTo>
                  <a:pt x="8871746" y="6965269"/>
                </a:lnTo>
                <a:lnTo>
                  <a:pt x="8881469" y="6921279"/>
                </a:lnTo>
                <a:lnTo>
                  <a:pt x="8888916" y="6874203"/>
                </a:lnTo>
                <a:lnTo>
                  <a:pt x="8894315" y="6824158"/>
                </a:lnTo>
                <a:lnTo>
                  <a:pt x="8897891" y="6771263"/>
                </a:lnTo>
                <a:lnTo>
                  <a:pt x="8899870" y="6715637"/>
                </a:lnTo>
                <a:lnTo>
                  <a:pt x="8900480" y="6657396"/>
                </a:lnTo>
                <a:lnTo>
                  <a:pt x="8899838" y="6599727"/>
                </a:lnTo>
                <a:lnTo>
                  <a:pt x="8897768" y="6544638"/>
                </a:lnTo>
                <a:lnTo>
                  <a:pt x="8894058" y="6492245"/>
                </a:lnTo>
                <a:lnTo>
                  <a:pt x="8888492" y="6442669"/>
                </a:lnTo>
                <a:lnTo>
                  <a:pt x="8880857" y="6396025"/>
                </a:lnTo>
                <a:lnTo>
                  <a:pt x="8870939" y="6352434"/>
                </a:lnTo>
                <a:lnTo>
                  <a:pt x="8858523" y="6312013"/>
                </a:lnTo>
                <a:lnTo>
                  <a:pt x="8843396" y="6274881"/>
                </a:lnTo>
                <a:lnTo>
                  <a:pt x="8825343" y="6241155"/>
                </a:lnTo>
                <a:lnTo>
                  <a:pt x="8779605" y="6184396"/>
                </a:lnTo>
                <a:lnTo>
                  <a:pt x="8719596" y="6142683"/>
                </a:lnTo>
                <a:lnTo>
                  <a:pt x="8683704" y="6127764"/>
                </a:lnTo>
                <a:lnTo>
                  <a:pt x="8643603" y="6116961"/>
                </a:lnTo>
                <a:lnTo>
                  <a:pt x="8599078" y="6110393"/>
                </a:lnTo>
                <a:lnTo>
                  <a:pt x="8549915" y="6108177"/>
                </a:lnTo>
                <a:close/>
                <a:moveTo>
                  <a:pt x="8458035" y="6009685"/>
                </a:moveTo>
                <a:lnTo>
                  <a:pt x="8458035" y="6108177"/>
                </a:lnTo>
                <a:lnTo>
                  <a:pt x="8409149" y="6110393"/>
                </a:lnTo>
                <a:lnTo>
                  <a:pt x="8364868" y="6116961"/>
                </a:lnTo>
                <a:lnTo>
                  <a:pt x="8324982" y="6127764"/>
                </a:lnTo>
                <a:lnTo>
                  <a:pt x="8289276" y="6142683"/>
                </a:lnTo>
                <a:lnTo>
                  <a:pt x="8229561" y="6184396"/>
                </a:lnTo>
                <a:lnTo>
                  <a:pt x="8184027" y="6241155"/>
                </a:lnTo>
                <a:lnTo>
                  <a:pt x="8166048" y="6274881"/>
                </a:lnTo>
                <a:lnTo>
                  <a:pt x="8150978" y="6312013"/>
                </a:lnTo>
                <a:lnTo>
                  <a:pt x="8138606" y="6352434"/>
                </a:lnTo>
                <a:lnTo>
                  <a:pt x="8128718" y="6396025"/>
                </a:lnTo>
                <a:lnTo>
                  <a:pt x="8121104" y="6442669"/>
                </a:lnTo>
                <a:lnTo>
                  <a:pt x="8115551" y="6492245"/>
                </a:lnTo>
                <a:lnTo>
                  <a:pt x="8111847" y="6544638"/>
                </a:lnTo>
                <a:lnTo>
                  <a:pt x="8109780" y="6599727"/>
                </a:lnTo>
                <a:lnTo>
                  <a:pt x="8109138" y="6657396"/>
                </a:lnTo>
                <a:lnTo>
                  <a:pt x="8109764" y="6715637"/>
                </a:lnTo>
                <a:lnTo>
                  <a:pt x="8111786" y="6771263"/>
                </a:lnTo>
                <a:lnTo>
                  <a:pt x="8115423" y="6824158"/>
                </a:lnTo>
                <a:lnTo>
                  <a:pt x="8120892" y="6874203"/>
                </a:lnTo>
                <a:lnTo>
                  <a:pt x="8128413" y="6921279"/>
                </a:lnTo>
                <a:lnTo>
                  <a:pt x="8138202" y="6965269"/>
                </a:lnTo>
                <a:lnTo>
                  <a:pt x="8150479" y="7006054"/>
                </a:lnTo>
                <a:lnTo>
                  <a:pt x="8165461" y="7043516"/>
                </a:lnTo>
                <a:lnTo>
                  <a:pt x="8183367" y="7077537"/>
                </a:lnTo>
                <a:lnTo>
                  <a:pt x="8228821" y="7134781"/>
                </a:lnTo>
                <a:lnTo>
                  <a:pt x="8288587" y="7176841"/>
                </a:lnTo>
                <a:lnTo>
                  <a:pt x="8324382" y="7191881"/>
                </a:lnTo>
                <a:lnTo>
                  <a:pt x="8364410" y="7202770"/>
                </a:lnTo>
                <a:lnTo>
                  <a:pt x="8408888" y="7209391"/>
                </a:lnTo>
                <a:lnTo>
                  <a:pt x="8458035" y="7211624"/>
                </a:lnTo>
                <a:lnTo>
                  <a:pt x="8458035" y="7308446"/>
                </a:lnTo>
                <a:lnTo>
                  <a:pt x="8404513" y="7306557"/>
                </a:lnTo>
                <a:lnTo>
                  <a:pt x="8355032" y="7300944"/>
                </a:lnTo>
                <a:lnTo>
                  <a:pt x="8309453" y="7291690"/>
                </a:lnTo>
                <a:lnTo>
                  <a:pt x="8267634" y="7278878"/>
                </a:lnTo>
                <a:lnTo>
                  <a:pt x="8229437" y="7262591"/>
                </a:lnTo>
                <a:lnTo>
                  <a:pt x="8194720" y="7242910"/>
                </a:lnTo>
                <a:lnTo>
                  <a:pt x="8163344" y="7219920"/>
                </a:lnTo>
                <a:lnTo>
                  <a:pt x="8135168" y="7193701"/>
                </a:lnTo>
                <a:lnTo>
                  <a:pt x="8110051" y="7164338"/>
                </a:lnTo>
                <a:lnTo>
                  <a:pt x="8087855" y="7131912"/>
                </a:lnTo>
                <a:lnTo>
                  <a:pt x="8068437" y="7096506"/>
                </a:lnTo>
                <a:lnTo>
                  <a:pt x="8051660" y="7058203"/>
                </a:lnTo>
                <a:lnTo>
                  <a:pt x="8037381" y="7017085"/>
                </a:lnTo>
                <a:lnTo>
                  <a:pt x="8025461" y="6973236"/>
                </a:lnTo>
                <a:lnTo>
                  <a:pt x="8015759" y="6926737"/>
                </a:lnTo>
                <a:lnTo>
                  <a:pt x="8008136" y="6877672"/>
                </a:lnTo>
                <a:lnTo>
                  <a:pt x="8002451" y="6826122"/>
                </a:lnTo>
                <a:lnTo>
                  <a:pt x="7998564" y="6772172"/>
                </a:lnTo>
                <a:lnTo>
                  <a:pt x="7996334" y="6715902"/>
                </a:lnTo>
                <a:lnTo>
                  <a:pt x="7995623" y="6657396"/>
                </a:lnTo>
                <a:lnTo>
                  <a:pt x="7996358" y="6599140"/>
                </a:lnTo>
                <a:lnTo>
                  <a:pt x="7998654" y="6543120"/>
                </a:lnTo>
                <a:lnTo>
                  <a:pt x="8002643" y="6489415"/>
                </a:lnTo>
                <a:lnTo>
                  <a:pt x="8008456" y="6438109"/>
                </a:lnTo>
                <a:lnTo>
                  <a:pt x="8016229" y="6389281"/>
                </a:lnTo>
                <a:lnTo>
                  <a:pt x="8026092" y="6343014"/>
                </a:lnTo>
                <a:lnTo>
                  <a:pt x="8038178" y="6299388"/>
                </a:lnTo>
                <a:lnTo>
                  <a:pt x="8052621" y="6258486"/>
                </a:lnTo>
                <a:lnTo>
                  <a:pt x="8069553" y="6220388"/>
                </a:lnTo>
                <a:lnTo>
                  <a:pt x="8089106" y="6185176"/>
                </a:lnTo>
                <a:lnTo>
                  <a:pt x="8111414" y="6152931"/>
                </a:lnTo>
                <a:lnTo>
                  <a:pt x="8136610" y="6123735"/>
                </a:lnTo>
                <a:lnTo>
                  <a:pt x="8164825" y="6097669"/>
                </a:lnTo>
                <a:lnTo>
                  <a:pt x="8196192" y="6074814"/>
                </a:lnTo>
                <a:lnTo>
                  <a:pt x="8230845" y="6055253"/>
                </a:lnTo>
                <a:lnTo>
                  <a:pt x="8268916" y="6039065"/>
                </a:lnTo>
                <a:lnTo>
                  <a:pt x="8310538" y="6026333"/>
                </a:lnTo>
                <a:lnTo>
                  <a:pt x="8355843" y="6017138"/>
                </a:lnTo>
                <a:lnTo>
                  <a:pt x="8404964" y="6011561"/>
                </a:lnTo>
                <a:close/>
                <a:moveTo>
                  <a:pt x="1409388" y="6009685"/>
                </a:moveTo>
                <a:lnTo>
                  <a:pt x="1462459" y="6011561"/>
                </a:lnTo>
                <a:lnTo>
                  <a:pt x="1511579" y="6017138"/>
                </a:lnTo>
                <a:lnTo>
                  <a:pt x="1556884" y="6026333"/>
                </a:lnTo>
                <a:lnTo>
                  <a:pt x="1598508" y="6039065"/>
                </a:lnTo>
                <a:lnTo>
                  <a:pt x="1636578" y="6055253"/>
                </a:lnTo>
                <a:lnTo>
                  <a:pt x="1671231" y="6074814"/>
                </a:lnTo>
                <a:lnTo>
                  <a:pt x="1702600" y="6097669"/>
                </a:lnTo>
                <a:lnTo>
                  <a:pt x="1730815" y="6123735"/>
                </a:lnTo>
                <a:lnTo>
                  <a:pt x="1756009" y="6152931"/>
                </a:lnTo>
                <a:lnTo>
                  <a:pt x="1778317" y="6185176"/>
                </a:lnTo>
                <a:lnTo>
                  <a:pt x="1797871" y="6220388"/>
                </a:lnTo>
                <a:lnTo>
                  <a:pt x="1814804" y="6258486"/>
                </a:lnTo>
                <a:lnTo>
                  <a:pt x="1829247" y="6299388"/>
                </a:lnTo>
                <a:lnTo>
                  <a:pt x="1841333" y="6343014"/>
                </a:lnTo>
                <a:lnTo>
                  <a:pt x="1851196" y="6389281"/>
                </a:lnTo>
                <a:lnTo>
                  <a:pt x="1858969" y="6438109"/>
                </a:lnTo>
                <a:lnTo>
                  <a:pt x="1864782" y="6489415"/>
                </a:lnTo>
                <a:lnTo>
                  <a:pt x="1868770" y="6543120"/>
                </a:lnTo>
                <a:lnTo>
                  <a:pt x="1871067" y="6599140"/>
                </a:lnTo>
                <a:lnTo>
                  <a:pt x="1871802" y="6657396"/>
                </a:lnTo>
                <a:lnTo>
                  <a:pt x="1871103" y="6715902"/>
                </a:lnTo>
                <a:lnTo>
                  <a:pt x="1868906" y="6772172"/>
                </a:lnTo>
                <a:lnTo>
                  <a:pt x="1865069" y="6826122"/>
                </a:lnTo>
                <a:lnTo>
                  <a:pt x="1859448" y="6877672"/>
                </a:lnTo>
                <a:lnTo>
                  <a:pt x="1851900" y="6926737"/>
                </a:lnTo>
                <a:lnTo>
                  <a:pt x="1842280" y="6973236"/>
                </a:lnTo>
                <a:lnTo>
                  <a:pt x="1830443" y="7017085"/>
                </a:lnTo>
                <a:lnTo>
                  <a:pt x="1816246" y="7058203"/>
                </a:lnTo>
                <a:lnTo>
                  <a:pt x="1799544" y="7096506"/>
                </a:lnTo>
                <a:lnTo>
                  <a:pt x="1780195" y="7131912"/>
                </a:lnTo>
                <a:lnTo>
                  <a:pt x="1758055" y="7164338"/>
                </a:lnTo>
                <a:lnTo>
                  <a:pt x="1732977" y="7193701"/>
                </a:lnTo>
                <a:lnTo>
                  <a:pt x="1704820" y="7219920"/>
                </a:lnTo>
                <a:lnTo>
                  <a:pt x="1673440" y="7242910"/>
                </a:lnTo>
                <a:lnTo>
                  <a:pt x="1638691" y="7262591"/>
                </a:lnTo>
                <a:lnTo>
                  <a:pt x="1600431" y="7278878"/>
                </a:lnTo>
                <a:lnTo>
                  <a:pt x="1558512" y="7291690"/>
                </a:lnTo>
                <a:lnTo>
                  <a:pt x="1512797" y="7300944"/>
                </a:lnTo>
                <a:lnTo>
                  <a:pt x="1463136" y="7306557"/>
                </a:lnTo>
                <a:lnTo>
                  <a:pt x="1409388" y="7308446"/>
                </a:lnTo>
                <a:lnTo>
                  <a:pt x="1409388" y="7211624"/>
                </a:lnTo>
                <a:lnTo>
                  <a:pt x="1459074" y="7209391"/>
                </a:lnTo>
                <a:lnTo>
                  <a:pt x="1503995" y="7202770"/>
                </a:lnTo>
                <a:lnTo>
                  <a:pt x="1544377" y="7191881"/>
                </a:lnTo>
                <a:lnTo>
                  <a:pt x="1580448" y="7176841"/>
                </a:lnTo>
                <a:lnTo>
                  <a:pt x="1640559" y="7134781"/>
                </a:lnTo>
                <a:lnTo>
                  <a:pt x="1686139" y="7077537"/>
                </a:lnTo>
                <a:lnTo>
                  <a:pt x="1704044" y="7043516"/>
                </a:lnTo>
                <a:lnTo>
                  <a:pt x="1718997" y="7006054"/>
                </a:lnTo>
                <a:lnTo>
                  <a:pt x="1731220" y="6965269"/>
                </a:lnTo>
                <a:lnTo>
                  <a:pt x="1740944" y="6921279"/>
                </a:lnTo>
                <a:lnTo>
                  <a:pt x="1748390" y="6874203"/>
                </a:lnTo>
                <a:lnTo>
                  <a:pt x="1753790" y="6824158"/>
                </a:lnTo>
                <a:lnTo>
                  <a:pt x="1757366" y="6771263"/>
                </a:lnTo>
                <a:lnTo>
                  <a:pt x="1759345" y="6715637"/>
                </a:lnTo>
                <a:lnTo>
                  <a:pt x="1759955" y="6657396"/>
                </a:lnTo>
                <a:lnTo>
                  <a:pt x="1759313" y="6599727"/>
                </a:lnTo>
                <a:lnTo>
                  <a:pt x="1757242" y="6544638"/>
                </a:lnTo>
                <a:lnTo>
                  <a:pt x="1753533" y="6492245"/>
                </a:lnTo>
                <a:lnTo>
                  <a:pt x="1747967" y="6442669"/>
                </a:lnTo>
                <a:lnTo>
                  <a:pt x="1740332" y="6396025"/>
                </a:lnTo>
                <a:lnTo>
                  <a:pt x="1730413" y="6352434"/>
                </a:lnTo>
                <a:lnTo>
                  <a:pt x="1717998" y="6312013"/>
                </a:lnTo>
                <a:lnTo>
                  <a:pt x="1702871" y="6274881"/>
                </a:lnTo>
                <a:lnTo>
                  <a:pt x="1684817" y="6241155"/>
                </a:lnTo>
                <a:lnTo>
                  <a:pt x="1639079" y="6184396"/>
                </a:lnTo>
                <a:lnTo>
                  <a:pt x="1579070" y="6142683"/>
                </a:lnTo>
                <a:lnTo>
                  <a:pt x="1543178" y="6127764"/>
                </a:lnTo>
                <a:lnTo>
                  <a:pt x="1503076" y="6116961"/>
                </a:lnTo>
                <a:lnTo>
                  <a:pt x="1458551" y="6110393"/>
                </a:lnTo>
                <a:lnTo>
                  <a:pt x="1409388" y="6108177"/>
                </a:lnTo>
                <a:close/>
                <a:moveTo>
                  <a:pt x="1317509" y="6009685"/>
                </a:moveTo>
                <a:lnTo>
                  <a:pt x="1317509" y="6108177"/>
                </a:lnTo>
                <a:lnTo>
                  <a:pt x="1268623" y="6110393"/>
                </a:lnTo>
                <a:lnTo>
                  <a:pt x="1224343" y="6116961"/>
                </a:lnTo>
                <a:lnTo>
                  <a:pt x="1184456" y="6127764"/>
                </a:lnTo>
                <a:lnTo>
                  <a:pt x="1148750" y="6142683"/>
                </a:lnTo>
                <a:lnTo>
                  <a:pt x="1089035" y="6184396"/>
                </a:lnTo>
                <a:lnTo>
                  <a:pt x="1043502" y="6241155"/>
                </a:lnTo>
                <a:lnTo>
                  <a:pt x="1025523" y="6274881"/>
                </a:lnTo>
                <a:lnTo>
                  <a:pt x="1010453" y="6312013"/>
                </a:lnTo>
                <a:lnTo>
                  <a:pt x="998080" y="6352434"/>
                </a:lnTo>
                <a:lnTo>
                  <a:pt x="988193" y="6396025"/>
                </a:lnTo>
                <a:lnTo>
                  <a:pt x="980578" y="6442669"/>
                </a:lnTo>
                <a:lnTo>
                  <a:pt x="975024" y="6492245"/>
                </a:lnTo>
                <a:lnTo>
                  <a:pt x="971321" y="6544638"/>
                </a:lnTo>
                <a:lnTo>
                  <a:pt x="969254" y="6599727"/>
                </a:lnTo>
                <a:lnTo>
                  <a:pt x="968612" y="6657396"/>
                </a:lnTo>
                <a:lnTo>
                  <a:pt x="969237" y="6715637"/>
                </a:lnTo>
                <a:lnTo>
                  <a:pt x="971260" y="6771263"/>
                </a:lnTo>
                <a:lnTo>
                  <a:pt x="974897" y="6824158"/>
                </a:lnTo>
                <a:lnTo>
                  <a:pt x="980366" y="6874203"/>
                </a:lnTo>
                <a:lnTo>
                  <a:pt x="987887" y="6921279"/>
                </a:lnTo>
                <a:lnTo>
                  <a:pt x="997676" y="6965269"/>
                </a:lnTo>
                <a:lnTo>
                  <a:pt x="1009953" y="7006054"/>
                </a:lnTo>
                <a:lnTo>
                  <a:pt x="1024935" y="7043516"/>
                </a:lnTo>
                <a:lnTo>
                  <a:pt x="1042841" y="7077537"/>
                </a:lnTo>
                <a:lnTo>
                  <a:pt x="1088295" y="7134781"/>
                </a:lnTo>
                <a:lnTo>
                  <a:pt x="1148061" y="7176841"/>
                </a:lnTo>
                <a:lnTo>
                  <a:pt x="1183856" y="7191881"/>
                </a:lnTo>
                <a:lnTo>
                  <a:pt x="1223884" y="7202770"/>
                </a:lnTo>
                <a:lnTo>
                  <a:pt x="1268362" y="7209391"/>
                </a:lnTo>
                <a:lnTo>
                  <a:pt x="1317509" y="7211624"/>
                </a:lnTo>
                <a:lnTo>
                  <a:pt x="1317509" y="7308446"/>
                </a:lnTo>
                <a:lnTo>
                  <a:pt x="1263987" y="7306557"/>
                </a:lnTo>
                <a:lnTo>
                  <a:pt x="1214506" y="7300944"/>
                </a:lnTo>
                <a:lnTo>
                  <a:pt x="1168927" y="7291690"/>
                </a:lnTo>
                <a:lnTo>
                  <a:pt x="1127108" y="7278878"/>
                </a:lnTo>
                <a:lnTo>
                  <a:pt x="1088911" y="7262591"/>
                </a:lnTo>
                <a:lnTo>
                  <a:pt x="1054194" y="7242910"/>
                </a:lnTo>
                <a:lnTo>
                  <a:pt x="1022818" y="7219920"/>
                </a:lnTo>
                <a:lnTo>
                  <a:pt x="994641" y="7193701"/>
                </a:lnTo>
                <a:lnTo>
                  <a:pt x="969525" y="7164338"/>
                </a:lnTo>
                <a:lnTo>
                  <a:pt x="947329" y="7131912"/>
                </a:lnTo>
                <a:lnTo>
                  <a:pt x="927911" y="7096506"/>
                </a:lnTo>
                <a:lnTo>
                  <a:pt x="911133" y="7058203"/>
                </a:lnTo>
                <a:lnTo>
                  <a:pt x="896855" y="7017085"/>
                </a:lnTo>
                <a:lnTo>
                  <a:pt x="884935" y="6973236"/>
                </a:lnTo>
                <a:lnTo>
                  <a:pt x="875233" y="6926737"/>
                </a:lnTo>
                <a:lnTo>
                  <a:pt x="867610" y="6877672"/>
                </a:lnTo>
                <a:lnTo>
                  <a:pt x="861924" y="6826122"/>
                </a:lnTo>
                <a:lnTo>
                  <a:pt x="858037" y="6772172"/>
                </a:lnTo>
                <a:lnTo>
                  <a:pt x="855809" y="6715902"/>
                </a:lnTo>
                <a:lnTo>
                  <a:pt x="855097" y="6657396"/>
                </a:lnTo>
                <a:lnTo>
                  <a:pt x="855832" y="6599140"/>
                </a:lnTo>
                <a:lnTo>
                  <a:pt x="858128" y="6543120"/>
                </a:lnTo>
                <a:lnTo>
                  <a:pt x="862117" y="6489415"/>
                </a:lnTo>
                <a:lnTo>
                  <a:pt x="867930" y="6438109"/>
                </a:lnTo>
                <a:lnTo>
                  <a:pt x="875703" y="6389281"/>
                </a:lnTo>
                <a:lnTo>
                  <a:pt x="885565" y="6343014"/>
                </a:lnTo>
                <a:lnTo>
                  <a:pt x="897652" y="6299388"/>
                </a:lnTo>
                <a:lnTo>
                  <a:pt x="912095" y="6258486"/>
                </a:lnTo>
                <a:lnTo>
                  <a:pt x="929026" y="6220388"/>
                </a:lnTo>
                <a:lnTo>
                  <a:pt x="948580" y="6185176"/>
                </a:lnTo>
                <a:lnTo>
                  <a:pt x="970888" y="6152931"/>
                </a:lnTo>
                <a:lnTo>
                  <a:pt x="996084" y="6123735"/>
                </a:lnTo>
                <a:lnTo>
                  <a:pt x="1024299" y="6097669"/>
                </a:lnTo>
                <a:lnTo>
                  <a:pt x="1055666" y="6074814"/>
                </a:lnTo>
                <a:lnTo>
                  <a:pt x="1090319" y="6055253"/>
                </a:lnTo>
                <a:lnTo>
                  <a:pt x="1128390" y="6039065"/>
                </a:lnTo>
                <a:lnTo>
                  <a:pt x="1170012" y="6026333"/>
                </a:lnTo>
                <a:lnTo>
                  <a:pt x="1215317" y="6017138"/>
                </a:lnTo>
                <a:lnTo>
                  <a:pt x="1264438" y="6011561"/>
                </a:lnTo>
                <a:close/>
                <a:moveTo>
                  <a:pt x="505166" y="5528915"/>
                </a:moveTo>
                <a:lnTo>
                  <a:pt x="547395" y="5532593"/>
                </a:lnTo>
                <a:lnTo>
                  <a:pt x="580078" y="5545817"/>
                </a:lnTo>
                <a:lnTo>
                  <a:pt x="601179" y="5571874"/>
                </a:lnTo>
                <a:lnTo>
                  <a:pt x="608666" y="5614052"/>
                </a:lnTo>
                <a:lnTo>
                  <a:pt x="601179" y="5658159"/>
                </a:lnTo>
                <a:lnTo>
                  <a:pt x="580078" y="5685208"/>
                </a:lnTo>
                <a:lnTo>
                  <a:pt x="547395" y="5698798"/>
                </a:lnTo>
                <a:lnTo>
                  <a:pt x="505166" y="5702529"/>
                </a:lnTo>
                <a:lnTo>
                  <a:pt x="462936" y="5698798"/>
                </a:lnTo>
                <a:lnTo>
                  <a:pt x="430252" y="5685208"/>
                </a:lnTo>
                <a:lnTo>
                  <a:pt x="409151" y="5658159"/>
                </a:lnTo>
                <a:lnTo>
                  <a:pt x="401665" y="5614052"/>
                </a:lnTo>
                <a:lnTo>
                  <a:pt x="409385" y="5571874"/>
                </a:lnTo>
                <a:lnTo>
                  <a:pt x="430878" y="5545817"/>
                </a:lnTo>
                <a:lnTo>
                  <a:pt x="463640" y="5532593"/>
                </a:lnTo>
                <a:close/>
                <a:moveTo>
                  <a:pt x="2465444" y="5378664"/>
                </a:moveTo>
                <a:lnTo>
                  <a:pt x="3370236" y="5378664"/>
                </a:lnTo>
                <a:lnTo>
                  <a:pt x="3370236" y="5485502"/>
                </a:lnTo>
                <a:lnTo>
                  <a:pt x="2465444" y="5485502"/>
                </a:lnTo>
                <a:close/>
                <a:moveTo>
                  <a:pt x="2465444" y="5029768"/>
                </a:moveTo>
                <a:lnTo>
                  <a:pt x="3370236" y="5029768"/>
                </a:lnTo>
                <a:lnTo>
                  <a:pt x="3370236" y="5136606"/>
                </a:lnTo>
                <a:lnTo>
                  <a:pt x="2465444" y="5136606"/>
                </a:lnTo>
                <a:close/>
                <a:moveTo>
                  <a:pt x="505166" y="4827784"/>
                </a:moveTo>
                <a:lnTo>
                  <a:pt x="547395" y="4831253"/>
                </a:lnTo>
                <a:lnTo>
                  <a:pt x="580078" y="4844268"/>
                </a:lnTo>
                <a:lnTo>
                  <a:pt x="601179" y="4870743"/>
                </a:lnTo>
                <a:lnTo>
                  <a:pt x="608666" y="4914590"/>
                </a:lnTo>
                <a:lnTo>
                  <a:pt x="601179" y="4957028"/>
                </a:lnTo>
                <a:lnTo>
                  <a:pt x="580078" y="4983660"/>
                </a:lnTo>
                <a:lnTo>
                  <a:pt x="547395" y="4997458"/>
                </a:lnTo>
                <a:lnTo>
                  <a:pt x="505166" y="5001397"/>
                </a:lnTo>
                <a:lnTo>
                  <a:pt x="463901" y="4997458"/>
                </a:lnTo>
                <a:lnTo>
                  <a:pt x="431713" y="4983660"/>
                </a:lnTo>
                <a:lnTo>
                  <a:pt x="410794" y="4957028"/>
                </a:lnTo>
                <a:lnTo>
                  <a:pt x="403334" y="4914590"/>
                </a:lnTo>
                <a:lnTo>
                  <a:pt x="410794" y="4870743"/>
                </a:lnTo>
                <a:lnTo>
                  <a:pt x="431713" y="4844268"/>
                </a:lnTo>
                <a:lnTo>
                  <a:pt x="463901" y="4831253"/>
                </a:lnTo>
                <a:close/>
                <a:moveTo>
                  <a:pt x="4111651" y="4507266"/>
                </a:moveTo>
                <a:lnTo>
                  <a:pt x="4164721" y="4509142"/>
                </a:lnTo>
                <a:lnTo>
                  <a:pt x="4213842" y="4514719"/>
                </a:lnTo>
                <a:lnTo>
                  <a:pt x="4259148" y="4523914"/>
                </a:lnTo>
                <a:lnTo>
                  <a:pt x="4300769" y="4536646"/>
                </a:lnTo>
                <a:lnTo>
                  <a:pt x="4338840" y="4552834"/>
                </a:lnTo>
                <a:lnTo>
                  <a:pt x="4373493" y="4572395"/>
                </a:lnTo>
                <a:lnTo>
                  <a:pt x="4404861" y="4595250"/>
                </a:lnTo>
                <a:lnTo>
                  <a:pt x="4433076" y="4621316"/>
                </a:lnTo>
                <a:lnTo>
                  <a:pt x="4458271" y="4650512"/>
                </a:lnTo>
                <a:lnTo>
                  <a:pt x="4480579" y="4682757"/>
                </a:lnTo>
                <a:lnTo>
                  <a:pt x="4500133" y="4717969"/>
                </a:lnTo>
                <a:lnTo>
                  <a:pt x="4517065" y="4756067"/>
                </a:lnTo>
                <a:lnTo>
                  <a:pt x="4531508" y="4796969"/>
                </a:lnTo>
                <a:lnTo>
                  <a:pt x="4543594" y="4840595"/>
                </a:lnTo>
                <a:lnTo>
                  <a:pt x="4553457" y="4886863"/>
                </a:lnTo>
                <a:lnTo>
                  <a:pt x="4561230" y="4935691"/>
                </a:lnTo>
                <a:lnTo>
                  <a:pt x="4567043" y="4986997"/>
                </a:lnTo>
                <a:lnTo>
                  <a:pt x="4571032" y="5040702"/>
                </a:lnTo>
                <a:lnTo>
                  <a:pt x="4573328" y="5096722"/>
                </a:lnTo>
                <a:lnTo>
                  <a:pt x="4574064" y="5154978"/>
                </a:lnTo>
                <a:lnTo>
                  <a:pt x="4573364" y="5213483"/>
                </a:lnTo>
                <a:lnTo>
                  <a:pt x="4571167" y="5269753"/>
                </a:lnTo>
                <a:lnTo>
                  <a:pt x="4567331" y="5323704"/>
                </a:lnTo>
                <a:lnTo>
                  <a:pt x="4561710" y="5375253"/>
                </a:lnTo>
                <a:lnTo>
                  <a:pt x="4554162" y="5424318"/>
                </a:lnTo>
                <a:lnTo>
                  <a:pt x="4544541" y="5470817"/>
                </a:lnTo>
                <a:lnTo>
                  <a:pt x="4532704" y="5514667"/>
                </a:lnTo>
                <a:lnTo>
                  <a:pt x="4518507" y="5555784"/>
                </a:lnTo>
                <a:lnTo>
                  <a:pt x="4501806" y="5594087"/>
                </a:lnTo>
                <a:lnTo>
                  <a:pt x="4482457" y="5629493"/>
                </a:lnTo>
                <a:lnTo>
                  <a:pt x="4460316" y="5661919"/>
                </a:lnTo>
                <a:lnTo>
                  <a:pt x="4435240" y="5691283"/>
                </a:lnTo>
                <a:lnTo>
                  <a:pt x="4407083" y="5717501"/>
                </a:lnTo>
                <a:lnTo>
                  <a:pt x="4375702" y="5740492"/>
                </a:lnTo>
                <a:lnTo>
                  <a:pt x="4340953" y="5760173"/>
                </a:lnTo>
                <a:lnTo>
                  <a:pt x="4302693" y="5776460"/>
                </a:lnTo>
                <a:lnTo>
                  <a:pt x="4260776" y="5789272"/>
                </a:lnTo>
                <a:lnTo>
                  <a:pt x="4215059" y="5798526"/>
                </a:lnTo>
                <a:lnTo>
                  <a:pt x="4165399" y="5804139"/>
                </a:lnTo>
                <a:lnTo>
                  <a:pt x="4111651" y="5806028"/>
                </a:lnTo>
                <a:lnTo>
                  <a:pt x="4111651" y="5709205"/>
                </a:lnTo>
                <a:lnTo>
                  <a:pt x="4161336" y="5706972"/>
                </a:lnTo>
                <a:lnTo>
                  <a:pt x="4206256" y="5700351"/>
                </a:lnTo>
                <a:lnTo>
                  <a:pt x="4246640" y="5689462"/>
                </a:lnTo>
                <a:lnTo>
                  <a:pt x="4282711" y="5674422"/>
                </a:lnTo>
                <a:lnTo>
                  <a:pt x="4342822" y="5632362"/>
                </a:lnTo>
                <a:lnTo>
                  <a:pt x="4388401" y="5575118"/>
                </a:lnTo>
                <a:lnTo>
                  <a:pt x="4406307" y="5541097"/>
                </a:lnTo>
                <a:lnTo>
                  <a:pt x="4421259" y="5503636"/>
                </a:lnTo>
                <a:lnTo>
                  <a:pt x="4433483" y="5462851"/>
                </a:lnTo>
                <a:lnTo>
                  <a:pt x="4443206" y="5418861"/>
                </a:lnTo>
                <a:lnTo>
                  <a:pt x="4450653" y="5371784"/>
                </a:lnTo>
                <a:lnTo>
                  <a:pt x="4456052" y="5321740"/>
                </a:lnTo>
                <a:lnTo>
                  <a:pt x="4459628" y="5268845"/>
                </a:lnTo>
                <a:lnTo>
                  <a:pt x="4461607" y="5213218"/>
                </a:lnTo>
                <a:lnTo>
                  <a:pt x="4462217" y="5154978"/>
                </a:lnTo>
                <a:lnTo>
                  <a:pt x="4461575" y="5097309"/>
                </a:lnTo>
                <a:lnTo>
                  <a:pt x="4459505" y="5042220"/>
                </a:lnTo>
                <a:lnTo>
                  <a:pt x="4455795" y="4989827"/>
                </a:lnTo>
                <a:lnTo>
                  <a:pt x="4450229" y="4940251"/>
                </a:lnTo>
                <a:lnTo>
                  <a:pt x="4442594" y="4893607"/>
                </a:lnTo>
                <a:lnTo>
                  <a:pt x="4432676" y="4850015"/>
                </a:lnTo>
                <a:lnTo>
                  <a:pt x="4420260" y="4809594"/>
                </a:lnTo>
                <a:lnTo>
                  <a:pt x="4405133" y="4772462"/>
                </a:lnTo>
                <a:lnTo>
                  <a:pt x="4387080" y="4738736"/>
                </a:lnTo>
                <a:lnTo>
                  <a:pt x="4341342" y="4681977"/>
                </a:lnTo>
                <a:lnTo>
                  <a:pt x="4281333" y="4640264"/>
                </a:lnTo>
                <a:lnTo>
                  <a:pt x="4245441" y="4625345"/>
                </a:lnTo>
                <a:lnTo>
                  <a:pt x="4205339" y="4614542"/>
                </a:lnTo>
                <a:lnTo>
                  <a:pt x="4160814" y="4607974"/>
                </a:lnTo>
                <a:lnTo>
                  <a:pt x="4111651" y="4605758"/>
                </a:lnTo>
                <a:close/>
                <a:moveTo>
                  <a:pt x="4019781" y="4507266"/>
                </a:moveTo>
                <a:lnTo>
                  <a:pt x="4019781" y="4605758"/>
                </a:lnTo>
                <a:lnTo>
                  <a:pt x="3970895" y="4607974"/>
                </a:lnTo>
                <a:lnTo>
                  <a:pt x="3926615" y="4614542"/>
                </a:lnTo>
                <a:lnTo>
                  <a:pt x="3886728" y="4625345"/>
                </a:lnTo>
                <a:lnTo>
                  <a:pt x="3851022" y="4640264"/>
                </a:lnTo>
                <a:lnTo>
                  <a:pt x="3791307" y="4681977"/>
                </a:lnTo>
                <a:lnTo>
                  <a:pt x="3745774" y="4738736"/>
                </a:lnTo>
                <a:lnTo>
                  <a:pt x="3727795" y="4772462"/>
                </a:lnTo>
                <a:lnTo>
                  <a:pt x="3712725" y="4809594"/>
                </a:lnTo>
                <a:lnTo>
                  <a:pt x="3700353" y="4850015"/>
                </a:lnTo>
                <a:lnTo>
                  <a:pt x="3690465" y="4893607"/>
                </a:lnTo>
                <a:lnTo>
                  <a:pt x="3682853" y="4940251"/>
                </a:lnTo>
                <a:lnTo>
                  <a:pt x="3677301" y="4989827"/>
                </a:lnTo>
                <a:lnTo>
                  <a:pt x="3673597" y="5042220"/>
                </a:lnTo>
                <a:lnTo>
                  <a:pt x="3671530" y="5097309"/>
                </a:lnTo>
                <a:lnTo>
                  <a:pt x="3670887" y="5154978"/>
                </a:lnTo>
                <a:lnTo>
                  <a:pt x="3671513" y="5213218"/>
                </a:lnTo>
                <a:lnTo>
                  <a:pt x="3673535" y="5268845"/>
                </a:lnTo>
                <a:lnTo>
                  <a:pt x="3677173" y="5321740"/>
                </a:lnTo>
                <a:lnTo>
                  <a:pt x="3682642" y="5371784"/>
                </a:lnTo>
                <a:lnTo>
                  <a:pt x="3690160" y="5418861"/>
                </a:lnTo>
                <a:lnTo>
                  <a:pt x="3699949" y="5462851"/>
                </a:lnTo>
                <a:lnTo>
                  <a:pt x="3712226" y="5503636"/>
                </a:lnTo>
                <a:lnTo>
                  <a:pt x="3727208" y="5541097"/>
                </a:lnTo>
                <a:lnTo>
                  <a:pt x="3745113" y="5575118"/>
                </a:lnTo>
                <a:lnTo>
                  <a:pt x="3790567" y="5632362"/>
                </a:lnTo>
                <a:lnTo>
                  <a:pt x="3850333" y="5674422"/>
                </a:lnTo>
                <a:lnTo>
                  <a:pt x="3886128" y="5689462"/>
                </a:lnTo>
                <a:lnTo>
                  <a:pt x="3926156" y="5700351"/>
                </a:lnTo>
                <a:lnTo>
                  <a:pt x="3970634" y="5706972"/>
                </a:lnTo>
                <a:lnTo>
                  <a:pt x="4019781" y="5709205"/>
                </a:lnTo>
                <a:lnTo>
                  <a:pt x="4019781" y="5806028"/>
                </a:lnTo>
                <a:lnTo>
                  <a:pt x="3966259" y="5804139"/>
                </a:lnTo>
                <a:lnTo>
                  <a:pt x="3916778" y="5798526"/>
                </a:lnTo>
                <a:lnTo>
                  <a:pt x="3871199" y="5789272"/>
                </a:lnTo>
                <a:lnTo>
                  <a:pt x="3829380" y="5776460"/>
                </a:lnTo>
                <a:lnTo>
                  <a:pt x="3791183" y="5760173"/>
                </a:lnTo>
                <a:lnTo>
                  <a:pt x="3756466" y="5740492"/>
                </a:lnTo>
                <a:lnTo>
                  <a:pt x="3725090" y="5717501"/>
                </a:lnTo>
                <a:lnTo>
                  <a:pt x="3696914" y="5691283"/>
                </a:lnTo>
                <a:lnTo>
                  <a:pt x="3671799" y="5661919"/>
                </a:lnTo>
                <a:lnTo>
                  <a:pt x="3649604" y="5629493"/>
                </a:lnTo>
                <a:lnTo>
                  <a:pt x="3630186" y="5594087"/>
                </a:lnTo>
                <a:lnTo>
                  <a:pt x="3613408" y="5555784"/>
                </a:lnTo>
                <a:lnTo>
                  <a:pt x="3599129" y="5514667"/>
                </a:lnTo>
                <a:lnTo>
                  <a:pt x="3587210" y="5470817"/>
                </a:lnTo>
                <a:lnTo>
                  <a:pt x="3577507" y="5424318"/>
                </a:lnTo>
                <a:lnTo>
                  <a:pt x="3569884" y="5375253"/>
                </a:lnTo>
                <a:lnTo>
                  <a:pt x="3564199" y="5323704"/>
                </a:lnTo>
                <a:lnTo>
                  <a:pt x="3560312" y="5269753"/>
                </a:lnTo>
                <a:lnTo>
                  <a:pt x="3558082" y="5213483"/>
                </a:lnTo>
                <a:lnTo>
                  <a:pt x="3557372" y="5154978"/>
                </a:lnTo>
                <a:lnTo>
                  <a:pt x="3558107" y="5096722"/>
                </a:lnTo>
                <a:lnTo>
                  <a:pt x="3560402" y="5040702"/>
                </a:lnTo>
                <a:lnTo>
                  <a:pt x="3564391" y="4986997"/>
                </a:lnTo>
                <a:lnTo>
                  <a:pt x="3570205" y="4935691"/>
                </a:lnTo>
                <a:lnTo>
                  <a:pt x="3577977" y="4886863"/>
                </a:lnTo>
                <a:lnTo>
                  <a:pt x="3587840" y="4840595"/>
                </a:lnTo>
                <a:lnTo>
                  <a:pt x="3599926" y="4796969"/>
                </a:lnTo>
                <a:lnTo>
                  <a:pt x="3614369" y="4756067"/>
                </a:lnTo>
                <a:lnTo>
                  <a:pt x="3631302" y="4717969"/>
                </a:lnTo>
                <a:lnTo>
                  <a:pt x="3650855" y="4682757"/>
                </a:lnTo>
                <a:lnTo>
                  <a:pt x="3673163" y="4650512"/>
                </a:lnTo>
                <a:lnTo>
                  <a:pt x="3698356" y="4621316"/>
                </a:lnTo>
                <a:lnTo>
                  <a:pt x="3726571" y="4595250"/>
                </a:lnTo>
                <a:lnTo>
                  <a:pt x="3757938" y="4572395"/>
                </a:lnTo>
                <a:lnTo>
                  <a:pt x="3792591" y="4552834"/>
                </a:lnTo>
                <a:lnTo>
                  <a:pt x="3830662" y="4536646"/>
                </a:lnTo>
                <a:lnTo>
                  <a:pt x="3872284" y="4523914"/>
                </a:lnTo>
                <a:lnTo>
                  <a:pt x="3917589" y="4514719"/>
                </a:lnTo>
                <a:lnTo>
                  <a:pt x="3966710" y="4509142"/>
                </a:lnTo>
                <a:close/>
                <a:moveTo>
                  <a:pt x="0" y="3876244"/>
                </a:moveTo>
                <a:lnTo>
                  <a:pt x="904792" y="3876244"/>
                </a:lnTo>
                <a:lnTo>
                  <a:pt x="904792" y="3983083"/>
                </a:lnTo>
                <a:lnTo>
                  <a:pt x="0" y="3983083"/>
                </a:lnTo>
                <a:close/>
                <a:moveTo>
                  <a:pt x="0" y="3527349"/>
                </a:moveTo>
                <a:lnTo>
                  <a:pt x="904792" y="3527349"/>
                </a:lnTo>
                <a:lnTo>
                  <a:pt x="904792" y="3634187"/>
                </a:lnTo>
                <a:lnTo>
                  <a:pt x="0" y="3634187"/>
                </a:lnTo>
                <a:close/>
                <a:moveTo>
                  <a:pt x="1599039" y="3011203"/>
                </a:moveTo>
                <a:lnTo>
                  <a:pt x="1972978" y="3011203"/>
                </a:lnTo>
                <a:lnTo>
                  <a:pt x="1972978" y="3106453"/>
                </a:lnTo>
                <a:lnTo>
                  <a:pt x="1972978" y="4205003"/>
                </a:lnTo>
                <a:lnTo>
                  <a:pt x="1972978" y="4300253"/>
                </a:lnTo>
                <a:lnTo>
                  <a:pt x="1599039" y="4300253"/>
                </a:lnTo>
                <a:lnTo>
                  <a:pt x="1599039" y="4205003"/>
                </a:lnTo>
                <a:lnTo>
                  <a:pt x="1857788" y="4205003"/>
                </a:lnTo>
                <a:lnTo>
                  <a:pt x="1857788" y="3106453"/>
                </a:lnTo>
                <a:lnTo>
                  <a:pt x="1599039" y="3106453"/>
                </a:lnTo>
                <a:close/>
                <a:moveTo>
                  <a:pt x="1125303" y="3011203"/>
                </a:moveTo>
                <a:lnTo>
                  <a:pt x="1499242" y="3011203"/>
                </a:lnTo>
                <a:lnTo>
                  <a:pt x="1499242" y="3106453"/>
                </a:lnTo>
                <a:lnTo>
                  <a:pt x="1240492" y="3106453"/>
                </a:lnTo>
                <a:lnTo>
                  <a:pt x="1240492" y="4205003"/>
                </a:lnTo>
                <a:lnTo>
                  <a:pt x="1499242" y="4205003"/>
                </a:lnTo>
                <a:lnTo>
                  <a:pt x="1499242" y="4300253"/>
                </a:lnTo>
                <a:lnTo>
                  <a:pt x="1125303" y="4300253"/>
                </a:lnTo>
                <a:lnTo>
                  <a:pt x="1125303" y="4205003"/>
                </a:lnTo>
                <a:lnTo>
                  <a:pt x="1125303" y="3106453"/>
                </a:lnTo>
                <a:close/>
                <a:moveTo>
                  <a:pt x="3600665" y="3004837"/>
                </a:moveTo>
                <a:lnTo>
                  <a:pt x="3653736" y="3006713"/>
                </a:lnTo>
                <a:lnTo>
                  <a:pt x="3702854" y="3012290"/>
                </a:lnTo>
                <a:lnTo>
                  <a:pt x="3748160" y="3021485"/>
                </a:lnTo>
                <a:lnTo>
                  <a:pt x="3789782" y="3034217"/>
                </a:lnTo>
                <a:lnTo>
                  <a:pt x="3827853" y="3050405"/>
                </a:lnTo>
                <a:lnTo>
                  <a:pt x="3862506" y="3069966"/>
                </a:lnTo>
                <a:lnTo>
                  <a:pt x="3893873" y="3092821"/>
                </a:lnTo>
                <a:lnTo>
                  <a:pt x="3922088" y="3118887"/>
                </a:lnTo>
                <a:lnTo>
                  <a:pt x="3947284" y="3148083"/>
                </a:lnTo>
                <a:lnTo>
                  <a:pt x="3969592" y="3180328"/>
                </a:lnTo>
                <a:lnTo>
                  <a:pt x="3989145" y="3215540"/>
                </a:lnTo>
                <a:lnTo>
                  <a:pt x="4006077" y="3253638"/>
                </a:lnTo>
                <a:lnTo>
                  <a:pt x="4020520" y="3294540"/>
                </a:lnTo>
                <a:lnTo>
                  <a:pt x="4032607" y="3338166"/>
                </a:lnTo>
                <a:lnTo>
                  <a:pt x="4042470" y="3384433"/>
                </a:lnTo>
                <a:lnTo>
                  <a:pt x="4050242" y="3433261"/>
                </a:lnTo>
                <a:lnTo>
                  <a:pt x="4056056" y="3484567"/>
                </a:lnTo>
                <a:lnTo>
                  <a:pt x="4060044" y="3538272"/>
                </a:lnTo>
                <a:lnTo>
                  <a:pt x="4062340" y="3594292"/>
                </a:lnTo>
                <a:lnTo>
                  <a:pt x="4063076" y="3652548"/>
                </a:lnTo>
                <a:lnTo>
                  <a:pt x="4062376" y="3711053"/>
                </a:lnTo>
                <a:lnTo>
                  <a:pt x="4060179" y="3767323"/>
                </a:lnTo>
                <a:lnTo>
                  <a:pt x="4056343" y="3821273"/>
                </a:lnTo>
                <a:lnTo>
                  <a:pt x="4050722" y="3872823"/>
                </a:lnTo>
                <a:lnTo>
                  <a:pt x="4043174" y="3921888"/>
                </a:lnTo>
                <a:lnTo>
                  <a:pt x="4033553" y="3968387"/>
                </a:lnTo>
                <a:lnTo>
                  <a:pt x="4021716" y="4012236"/>
                </a:lnTo>
                <a:lnTo>
                  <a:pt x="4007519" y="4053354"/>
                </a:lnTo>
                <a:lnTo>
                  <a:pt x="3990818" y="4091657"/>
                </a:lnTo>
                <a:lnTo>
                  <a:pt x="3971469" y="4127063"/>
                </a:lnTo>
                <a:lnTo>
                  <a:pt x="3949328" y="4159489"/>
                </a:lnTo>
                <a:lnTo>
                  <a:pt x="3924252" y="4188852"/>
                </a:lnTo>
                <a:lnTo>
                  <a:pt x="3896095" y="4215071"/>
                </a:lnTo>
                <a:lnTo>
                  <a:pt x="3864714" y="4238061"/>
                </a:lnTo>
                <a:lnTo>
                  <a:pt x="3829965" y="4257742"/>
                </a:lnTo>
                <a:lnTo>
                  <a:pt x="3791705" y="4274029"/>
                </a:lnTo>
                <a:lnTo>
                  <a:pt x="3749788" y="4286841"/>
                </a:lnTo>
                <a:lnTo>
                  <a:pt x="3704071" y="4296095"/>
                </a:lnTo>
                <a:lnTo>
                  <a:pt x="3654414" y="4301708"/>
                </a:lnTo>
                <a:lnTo>
                  <a:pt x="3600665" y="4303597"/>
                </a:lnTo>
                <a:lnTo>
                  <a:pt x="3600665" y="4206775"/>
                </a:lnTo>
                <a:lnTo>
                  <a:pt x="3650351" y="4204542"/>
                </a:lnTo>
                <a:lnTo>
                  <a:pt x="3695268" y="4197921"/>
                </a:lnTo>
                <a:lnTo>
                  <a:pt x="3735652" y="4187032"/>
                </a:lnTo>
                <a:lnTo>
                  <a:pt x="3771723" y="4171992"/>
                </a:lnTo>
                <a:lnTo>
                  <a:pt x="3831834" y="4129932"/>
                </a:lnTo>
                <a:lnTo>
                  <a:pt x="3877413" y="4072688"/>
                </a:lnTo>
                <a:lnTo>
                  <a:pt x="3895319" y="4038667"/>
                </a:lnTo>
                <a:lnTo>
                  <a:pt x="3910271" y="4001206"/>
                </a:lnTo>
                <a:lnTo>
                  <a:pt x="3922495" y="3960421"/>
                </a:lnTo>
                <a:lnTo>
                  <a:pt x="3932218" y="3916431"/>
                </a:lnTo>
                <a:lnTo>
                  <a:pt x="3939665" y="3869354"/>
                </a:lnTo>
                <a:lnTo>
                  <a:pt x="3945064" y="3819310"/>
                </a:lnTo>
                <a:lnTo>
                  <a:pt x="3948640" y="3766415"/>
                </a:lnTo>
                <a:lnTo>
                  <a:pt x="3950619" y="3710788"/>
                </a:lnTo>
                <a:lnTo>
                  <a:pt x="3951229" y="3652548"/>
                </a:lnTo>
                <a:lnTo>
                  <a:pt x="3950587" y="3594879"/>
                </a:lnTo>
                <a:lnTo>
                  <a:pt x="3948517" y="3539790"/>
                </a:lnTo>
                <a:lnTo>
                  <a:pt x="3944807" y="3487397"/>
                </a:lnTo>
                <a:lnTo>
                  <a:pt x="3939241" y="3437821"/>
                </a:lnTo>
                <a:lnTo>
                  <a:pt x="3931606" y="3391177"/>
                </a:lnTo>
                <a:lnTo>
                  <a:pt x="3921688" y="3347586"/>
                </a:lnTo>
                <a:lnTo>
                  <a:pt x="3909272" y="3307165"/>
                </a:lnTo>
                <a:lnTo>
                  <a:pt x="3894145" y="3270033"/>
                </a:lnTo>
                <a:lnTo>
                  <a:pt x="3876092" y="3236307"/>
                </a:lnTo>
                <a:lnTo>
                  <a:pt x="3830354" y="3179548"/>
                </a:lnTo>
                <a:lnTo>
                  <a:pt x="3770345" y="3137835"/>
                </a:lnTo>
                <a:lnTo>
                  <a:pt x="3734453" y="3122916"/>
                </a:lnTo>
                <a:lnTo>
                  <a:pt x="3694351" y="3112113"/>
                </a:lnTo>
                <a:lnTo>
                  <a:pt x="3649829" y="3105545"/>
                </a:lnTo>
                <a:lnTo>
                  <a:pt x="3600665" y="3103329"/>
                </a:lnTo>
                <a:close/>
                <a:moveTo>
                  <a:pt x="3508797" y="3004837"/>
                </a:moveTo>
                <a:lnTo>
                  <a:pt x="3508797" y="3103329"/>
                </a:lnTo>
                <a:lnTo>
                  <a:pt x="3459910" y="3105545"/>
                </a:lnTo>
                <a:lnTo>
                  <a:pt x="3415630" y="3112113"/>
                </a:lnTo>
                <a:lnTo>
                  <a:pt x="3375743" y="3122916"/>
                </a:lnTo>
                <a:lnTo>
                  <a:pt x="3340039" y="3137835"/>
                </a:lnTo>
                <a:lnTo>
                  <a:pt x="3280323" y="3179548"/>
                </a:lnTo>
                <a:lnTo>
                  <a:pt x="3234789" y="3236307"/>
                </a:lnTo>
                <a:lnTo>
                  <a:pt x="3216810" y="3270033"/>
                </a:lnTo>
                <a:lnTo>
                  <a:pt x="3201740" y="3307165"/>
                </a:lnTo>
                <a:lnTo>
                  <a:pt x="3189368" y="3347586"/>
                </a:lnTo>
                <a:lnTo>
                  <a:pt x="3179480" y="3391177"/>
                </a:lnTo>
                <a:lnTo>
                  <a:pt x="3171865" y="3437821"/>
                </a:lnTo>
                <a:lnTo>
                  <a:pt x="3166313" y="3487397"/>
                </a:lnTo>
                <a:lnTo>
                  <a:pt x="3162609" y="3539790"/>
                </a:lnTo>
                <a:lnTo>
                  <a:pt x="3160541" y="3594879"/>
                </a:lnTo>
                <a:lnTo>
                  <a:pt x="3159899" y="3652548"/>
                </a:lnTo>
                <a:lnTo>
                  <a:pt x="3160527" y="3710788"/>
                </a:lnTo>
                <a:lnTo>
                  <a:pt x="3162547" y="3766415"/>
                </a:lnTo>
                <a:lnTo>
                  <a:pt x="3166185" y="3819310"/>
                </a:lnTo>
                <a:lnTo>
                  <a:pt x="3171653" y="3869354"/>
                </a:lnTo>
                <a:lnTo>
                  <a:pt x="3179175" y="3916431"/>
                </a:lnTo>
                <a:lnTo>
                  <a:pt x="3188965" y="3960421"/>
                </a:lnTo>
                <a:lnTo>
                  <a:pt x="3201241" y="4001206"/>
                </a:lnTo>
                <a:lnTo>
                  <a:pt x="3216223" y="4038667"/>
                </a:lnTo>
                <a:lnTo>
                  <a:pt x="3234129" y="4072688"/>
                </a:lnTo>
                <a:lnTo>
                  <a:pt x="3279582" y="4129932"/>
                </a:lnTo>
                <a:lnTo>
                  <a:pt x="3339348" y="4171992"/>
                </a:lnTo>
                <a:lnTo>
                  <a:pt x="3375143" y="4187032"/>
                </a:lnTo>
                <a:lnTo>
                  <a:pt x="3415171" y="4197921"/>
                </a:lnTo>
                <a:lnTo>
                  <a:pt x="3459650" y="4204542"/>
                </a:lnTo>
                <a:lnTo>
                  <a:pt x="3508797" y="4206775"/>
                </a:lnTo>
                <a:lnTo>
                  <a:pt x="3508797" y="4303597"/>
                </a:lnTo>
                <a:lnTo>
                  <a:pt x="3455275" y="4301708"/>
                </a:lnTo>
                <a:lnTo>
                  <a:pt x="3405793" y="4296095"/>
                </a:lnTo>
                <a:lnTo>
                  <a:pt x="3360214" y="4286841"/>
                </a:lnTo>
                <a:lnTo>
                  <a:pt x="3318395" y="4274029"/>
                </a:lnTo>
                <a:lnTo>
                  <a:pt x="3280198" y="4257742"/>
                </a:lnTo>
                <a:lnTo>
                  <a:pt x="3245481" y="4238061"/>
                </a:lnTo>
                <a:lnTo>
                  <a:pt x="3214105" y="4215071"/>
                </a:lnTo>
                <a:lnTo>
                  <a:pt x="3185929" y="4188852"/>
                </a:lnTo>
                <a:lnTo>
                  <a:pt x="3160812" y="4159489"/>
                </a:lnTo>
                <a:lnTo>
                  <a:pt x="3138616" y="4127063"/>
                </a:lnTo>
                <a:lnTo>
                  <a:pt x="3119198" y="4091657"/>
                </a:lnTo>
                <a:lnTo>
                  <a:pt x="3102421" y="4053354"/>
                </a:lnTo>
                <a:lnTo>
                  <a:pt x="3088141" y="4012236"/>
                </a:lnTo>
                <a:lnTo>
                  <a:pt x="3076222" y="3968387"/>
                </a:lnTo>
                <a:lnTo>
                  <a:pt x="3066519" y="3921888"/>
                </a:lnTo>
                <a:lnTo>
                  <a:pt x="3058896" y="3872823"/>
                </a:lnTo>
                <a:lnTo>
                  <a:pt x="3053212" y="3821273"/>
                </a:lnTo>
                <a:lnTo>
                  <a:pt x="3049324" y="3767323"/>
                </a:lnTo>
                <a:lnTo>
                  <a:pt x="3047094" y="3711053"/>
                </a:lnTo>
                <a:lnTo>
                  <a:pt x="3046384" y="3652548"/>
                </a:lnTo>
                <a:lnTo>
                  <a:pt x="3047118" y="3594292"/>
                </a:lnTo>
                <a:lnTo>
                  <a:pt x="3049414" y="3538272"/>
                </a:lnTo>
                <a:lnTo>
                  <a:pt x="3053403" y="3484567"/>
                </a:lnTo>
                <a:lnTo>
                  <a:pt x="3059217" y="3433261"/>
                </a:lnTo>
                <a:lnTo>
                  <a:pt x="3066990" y="3384433"/>
                </a:lnTo>
                <a:lnTo>
                  <a:pt x="3076852" y="3338166"/>
                </a:lnTo>
                <a:lnTo>
                  <a:pt x="3088939" y="3294540"/>
                </a:lnTo>
                <a:lnTo>
                  <a:pt x="3103381" y="3253638"/>
                </a:lnTo>
                <a:lnTo>
                  <a:pt x="3120314" y="3215540"/>
                </a:lnTo>
                <a:lnTo>
                  <a:pt x="3139867" y="3180328"/>
                </a:lnTo>
                <a:lnTo>
                  <a:pt x="3162174" y="3148083"/>
                </a:lnTo>
                <a:lnTo>
                  <a:pt x="3187372" y="3118887"/>
                </a:lnTo>
                <a:lnTo>
                  <a:pt x="3215586" y="3092821"/>
                </a:lnTo>
                <a:lnTo>
                  <a:pt x="3246953" y="3069966"/>
                </a:lnTo>
                <a:lnTo>
                  <a:pt x="3281606" y="3050405"/>
                </a:lnTo>
                <a:lnTo>
                  <a:pt x="3319678" y="3034217"/>
                </a:lnTo>
                <a:lnTo>
                  <a:pt x="3361299" y="3021485"/>
                </a:lnTo>
                <a:lnTo>
                  <a:pt x="3406605" y="3012290"/>
                </a:lnTo>
                <a:lnTo>
                  <a:pt x="3455726" y="3006713"/>
                </a:lnTo>
                <a:close/>
                <a:moveTo>
                  <a:pt x="3637118" y="2373826"/>
                </a:moveTo>
                <a:lnTo>
                  <a:pt x="4541909" y="2373826"/>
                </a:lnTo>
                <a:lnTo>
                  <a:pt x="4541909" y="2480664"/>
                </a:lnTo>
                <a:lnTo>
                  <a:pt x="3637118" y="2480664"/>
                </a:lnTo>
                <a:close/>
                <a:moveTo>
                  <a:pt x="2550201" y="2373826"/>
                </a:moveTo>
                <a:lnTo>
                  <a:pt x="3454993" y="2373826"/>
                </a:lnTo>
                <a:lnTo>
                  <a:pt x="3454993" y="2480664"/>
                </a:lnTo>
                <a:lnTo>
                  <a:pt x="2550201" y="2480664"/>
                </a:lnTo>
                <a:close/>
                <a:moveTo>
                  <a:pt x="3637119" y="2024930"/>
                </a:moveTo>
                <a:lnTo>
                  <a:pt x="4541909" y="2024930"/>
                </a:lnTo>
                <a:lnTo>
                  <a:pt x="4541909" y="2131769"/>
                </a:lnTo>
                <a:lnTo>
                  <a:pt x="3637119" y="2131769"/>
                </a:lnTo>
                <a:close/>
                <a:moveTo>
                  <a:pt x="2550201" y="2024930"/>
                </a:moveTo>
                <a:lnTo>
                  <a:pt x="3454993" y="2024930"/>
                </a:lnTo>
                <a:lnTo>
                  <a:pt x="3454993" y="2131769"/>
                </a:lnTo>
                <a:lnTo>
                  <a:pt x="2550201" y="2131769"/>
                </a:lnTo>
                <a:close/>
                <a:moveTo>
                  <a:pt x="6133380" y="1502419"/>
                </a:moveTo>
                <a:lnTo>
                  <a:pt x="6186450" y="1504296"/>
                </a:lnTo>
                <a:lnTo>
                  <a:pt x="6235571" y="1509872"/>
                </a:lnTo>
                <a:lnTo>
                  <a:pt x="6280876" y="1519068"/>
                </a:lnTo>
                <a:lnTo>
                  <a:pt x="6322498" y="1531799"/>
                </a:lnTo>
                <a:lnTo>
                  <a:pt x="6360569" y="1547987"/>
                </a:lnTo>
                <a:lnTo>
                  <a:pt x="6395222" y="1567548"/>
                </a:lnTo>
                <a:lnTo>
                  <a:pt x="6426589" y="1590403"/>
                </a:lnTo>
                <a:lnTo>
                  <a:pt x="6454804" y="1616469"/>
                </a:lnTo>
                <a:lnTo>
                  <a:pt x="6480000" y="1645665"/>
                </a:lnTo>
                <a:lnTo>
                  <a:pt x="6502308" y="1677910"/>
                </a:lnTo>
                <a:lnTo>
                  <a:pt x="6521861" y="1713122"/>
                </a:lnTo>
                <a:lnTo>
                  <a:pt x="6538793" y="1751221"/>
                </a:lnTo>
                <a:lnTo>
                  <a:pt x="6553236" y="1792122"/>
                </a:lnTo>
                <a:lnTo>
                  <a:pt x="6565323" y="1835748"/>
                </a:lnTo>
                <a:lnTo>
                  <a:pt x="6575186" y="1882015"/>
                </a:lnTo>
                <a:lnTo>
                  <a:pt x="6582958" y="1930843"/>
                </a:lnTo>
                <a:lnTo>
                  <a:pt x="6588772" y="1982149"/>
                </a:lnTo>
                <a:lnTo>
                  <a:pt x="6592760" y="2035854"/>
                </a:lnTo>
                <a:lnTo>
                  <a:pt x="6595056" y="2091874"/>
                </a:lnTo>
                <a:lnTo>
                  <a:pt x="6595792" y="2150130"/>
                </a:lnTo>
                <a:lnTo>
                  <a:pt x="6595092" y="2208635"/>
                </a:lnTo>
                <a:lnTo>
                  <a:pt x="6592895" y="2264905"/>
                </a:lnTo>
                <a:lnTo>
                  <a:pt x="6589059" y="2318855"/>
                </a:lnTo>
                <a:lnTo>
                  <a:pt x="6583438" y="2370405"/>
                </a:lnTo>
                <a:lnTo>
                  <a:pt x="6575890" y="2419470"/>
                </a:lnTo>
                <a:lnTo>
                  <a:pt x="6566269" y="2465969"/>
                </a:lnTo>
                <a:lnTo>
                  <a:pt x="6554432" y="2509818"/>
                </a:lnTo>
                <a:lnTo>
                  <a:pt x="6540235" y="2550936"/>
                </a:lnTo>
                <a:lnTo>
                  <a:pt x="6523535" y="2589239"/>
                </a:lnTo>
                <a:lnTo>
                  <a:pt x="6504186" y="2624645"/>
                </a:lnTo>
                <a:lnTo>
                  <a:pt x="6482045" y="2657071"/>
                </a:lnTo>
                <a:lnTo>
                  <a:pt x="6456968" y="2686434"/>
                </a:lnTo>
                <a:lnTo>
                  <a:pt x="6428811" y="2712653"/>
                </a:lnTo>
                <a:lnTo>
                  <a:pt x="6397430" y="2735643"/>
                </a:lnTo>
                <a:lnTo>
                  <a:pt x="6362682" y="2755324"/>
                </a:lnTo>
                <a:lnTo>
                  <a:pt x="6324421" y="2771611"/>
                </a:lnTo>
                <a:lnTo>
                  <a:pt x="6282504" y="2784423"/>
                </a:lnTo>
                <a:lnTo>
                  <a:pt x="6236788" y="2793677"/>
                </a:lnTo>
                <a:lnTo>
                  <a:pt x="6187128" y="2799290"/>
                </a:lnTo>
                <a:lnTo>
                  <a:pt x="6133380" y="2801179"/>
                </a:lnTo>
                <a:lnTo>
                  <a:pt x="6133380" y="2704356"/>
                </a:lnTo>
                <a:lnTo>
                  <a:pt x="6183065" y="2702123"/>
                </a:lnTo>
                <a:lnTo>
                  <a:pt x="6227986" y="2695502"/>
                </a:lnTo>
                <a:lnTo>
                  <a:pt x="6268368" y="2684613"/>
                </a:lnTo>
                <a:lnTo>
                  <a:pt x="6304439" y="2669573"/>
                </a:lnTo>
                <a:lnTo>
                  <a:pt x="6364550" y="2627513"/>
                </a:lnTo>
                <a:lnTo>
                  <a:pt x="6410130" y="2570269"/>
                </a:lnTo>
                <a:lnTo>
                  <a:pt x="6428035" y="2536249"/>
                </a:lnTo>
                <a:lnTo>
                  <a:pt x="6442987" y="2498787"/>
                </a:lnTo>
                <a:lnTo>
                  <a:pt x="6455211" y="2458002"/>
                </a:lnTo>
                <a:lnTo>
                  <a:pt x="6464934" y="2414012"/>
                </a:lnTo>
                <a:lnTo>
                  <a:pt x="6472381" y="2366936"/>
                </a:lnTo>
                <a:lnTo>
                  <a:pt x="6477780" y="2316891"/>
                </a:lnTo>
                <a:lnTo>
                  <a:pt x="6481356" y="2263996"/>
                </a:lnTo>
                <a:lnTo>
                  <a:pt x="6483335" y="2208370"/>
                </a:lnTo>
                <a:lnTo>
                  <a:pt x="6483945" y="2150130"/>
                </a:lnTo>
                <a:lnTo>
                  <a:pt x="6483303" y="2092461"/>
                </a:lnTo>
                <a:lnTo>
                  <a:pt x="6481233" y="2037371"/>
                </a:lnTo>
                <a:lnTo>
                  <a:pt x="6477523" y="1984979"/>
                </a:lnTo>
                <a:lnTo>
                  <a:pt x="6471957" y="1935402"/>
                </a:lnTo>
                <a:lnTo>
                  <a:pt x="6464322" y="1888759"/>
                </a:lnTo>
                <a:lnTo>
                  <a:pt x="6454404" y="1845167"/>
                </a:lnTo>
                <a:lnTo>
                  <a:pt x="6441988" y="1804746"/>
                </a:lnTo>
                <a:lnTo>
                  <a:pt x="6426861" y="1767614"/>
                </a:lnTo>
                <a:lnTo>
                  <a:pt x="6408808" y="1733888"/>
                </a:lnTo>
                <a:lnTo>
                  <a:pt x="6363070" y="1677129"/>
                </a:lnTo>
                <a:lnTo>
                  <a:pt x="6303061" y="1635416"/>
                </a:lnTo>
                <a:lnTo>
                  <a:pt x="6267169" y="1620497"/>
                </a:lnTo>
                <a:lnTo>
                  <a:pt x="6227068" y="1609694"/>
                </a:lnTo>
                <a:lnTo>
                  <a:pt x="6182543" y="1603125"/>
                </a:lnTo>
                <a:lnTo>
                  <a:pt x="6133380" y="1600910"/>
                </a:lnTo>
                <a:close/>
                <a:moveTo>
                  <a:pt x="6041530" y="1502419"/>
                </a:moveTo>
                <a:lnTo>
                  <a:pt x="6041530" y="1600910"/>
                </a:lnTo>
                <a:lnTo>
                  <a:pt x="5992644" y="1603125"/>
                </a:lnTo>
                <a:lnTo>
                  <a:pt x="5948363" y="1609694"/>
                </a:lnTo>
                <a:lnTo>
                  <a:pt x="5908477" y="1620497"/>
                </a:lnTo>
                <a:lnTo>
                  <a:pt x="5872771" y="1635416"/>
                </a:lnTo>
                <a:lnTo>
                  <a:pt x="5813056" y="1677129"/>
                </a:lnTo>
                <a:lnTo>
                  <a:pt x="5767522" y="1733888"/>
                </a:lnTo>
                <a:lnTo>
                  <a:pt x="5749543" y="1767614"/>
                </a:lnTo>
                <a:lnTo>
                  <a:pt x="5734473" y="1804746"/>
                </a:lnTo>
                <a:lnTo>
                  <a:pt x="5722101" y="1845167"/>
                </a:lnTo>
                <a:lnTo>
                  <a:pt x="5712213" y="1888759"/>
                </a:lnTo>
                <a:lnTo>
                  <a:pt x="5704599" y="1935402"/>
                </a:lnTo>
                <a:lnTo>
                  <a:pt x="5699046" y="1984979"/>
                </a:lnTo>
                <a:lnTo>
                  <a:pt x="5695342" y="2037371"/>
                </a:lnTo>
                <a:lnTo>
                  <a:pt x="5693275" y="2092461"/>
                </a:lnTo>
                <a:lnTo>
                  <a:pt x="5692633" y="2150130"/>
                </a:lnTo>
                <a:lnTo>
                  <a:pt x="5693259" y="2208370"/>
                </a:lnTo>
                <a:lnTo>
                  <a:pt x="5695281" y="2263996"/>
                </a:lnTo>
                <a:lnTo>
                  <a:pt x="5698918" y="2316891"/>
                </a:lnTo>
                <a:lnTo>
                  <a:pt x="5704387" y="2366936"/>
                </a:lnTo>
                <a:lnTo>
                  <a:pt x="5711908" y="2414012"/>
                </a:lnTo>
                <a:lnTo>
                  <a:pt x="5721697" y="2458002"/>
                </a:lnTo>
                <a:lnTo>
                  <a:pt x="5733974" y="2498787"/>
                </a:lnTo>
                <a:lnTo>
                  <a:pt x="5748956" y="2536249"/>
                </a:lnTo>
                <a:lnTo>
                  <a:pt x="5766862" y="2570269"/>
                </a:lnTo>
                <a:lnTo>
                  <a:pt x="5812316" y="2627513"/>
                </a:lnTo>
                <a:lnTo>
                  <a:pt x="5872082" y="2669573"/>
                </a:lnTo>
                <a:lnTo>
                  <a:pt x="5907877" y="2684613"/>
                </a:lnTo>
                <a:lnTo>
                  <a:pt x="5947905" y="2695502"/>
                </a:lnTo>
                <a:lnTo>
                  <a:pt x="5992383" y="2702123"/>
                </a:lnTo>
                <a:lnTo>
                  <a:pt x="6041530" y="2704356"/>
                </a:lnTo>
                <a:lnTo>
                  <a:pt x="6041530" y="2801179"/>
                </a:lnTo>
                <a:lnTo>
                  <a:pt x="5988008" y="2799290"/>
                </a:lnTo>
                <a:lnTo>
                  <a:pt x="5938527" y="2793677"/>
                </a:lnTo>
                <a:lnTo>
                  <a:pt x="5892948" y="2784423"/>
                </a:lnTo>
                <a:lnTo>
                  <a:pt x="5851129" y="2771611"/>
                </a:lnTo>
                <a:lnTo>
                  <a:pt x="5812932" y="2755324"/>
                </a:lnTo>
                <a:lnTo>
                  <a:pt x="5778215" y="2735643"/>
                </a:lnTo>
                <a:lnTo>
                  <a:pt x="5746839" y="2712653"/>
                </a:lnTo>
                <a:lnTo>
                  <a:pt x="5718663" y="2686434"/>
                </a:lnTo>
                <a:lnTo>
                  <a:pt x="5693546" y="2657071"/>
                </a:lnTo>
                <a:lnTo>
                  <a:pt x="5671350" y="2624645"/>
                </a:lnTo>
                <a:lnTo>
                  <a:pt x="5651932" y="2589239"/>
                </a:lnTo>
                <a:lnTo>
                  <a:pt x="5635155" y="2550936"/>
                </a:lnTo>
                <a:lnTo>
                  <a:pt x="5620876" y="2509818"/>
                </a:lnTo>
                <a:lnTo>
                  <a:pt x="5608956" y="2465969"/>
                </a:lnTo>
                <a:lnTo>
                  <a:pt x="5599254" y="2419470"/>
                </a:lnTo>
                <a:lnTo>
                  <a:pt x="5591631" y="2370405"/>
                </a:lnTo>
                <a:lnTo>
                  <a:pt x="5585946" y="2318855"/>
                </a:lnTo>
                <a:lnTo>
                  <a:pt x="5582059" y="2264905"/>
                </a:lnTo>
                <a:lnTo>
                  <a:pt x="5579829" y="2208635"/>
                </a:lnTo>
                <a:lnTo>
                  <a:pt x="5579118" y="2150130"/>
                </a:lnTo>
                <a:lnTo>
                  <a:pt x="5579853" y="2091874"/>
                </a:lnTo>
                <a:lnTo>
                  <a:pt x="5582149" y="2035854"/>
                </a:lnTo>
                <a:lnTo>
                  <a:pt x="5586138" y="1982149"/>
                </a:lnTo>
                <a:lnTo>
                  <a:pt x="5591951" y="1930843"/>
                </a:lnTo>
                <a:lnTo>
                  <a:pt x="5599724" y="1882015"/>
                </a:lnTo>
                <a:lnTo>
                  <a:pt x="5609587" y="1835748"/>
                </a:lnTo>
                <a:lnTo>
                  <a:pt x="5621673" y="1792122"/>
                </a:lnTo>
                <a:lnTo>
                  <a:pt x="5636116" y="1751221"/>
                </a:lnTo>
                <a:lnTo>
                  <a:pt x="5653048" y="1713122"/>
                </a:lnTo>
                <a:lnTo>
                  <a:pt x="5672601" y="1677910"/>
                </a:lnTo>
                <a:lnTo>
                  <a:pt x="5694909" y="1645665"/>
                </a:lnTo>
                <a:lnTo>
                  <a:pt x="5720105" y="1616469"/>
                </a:lnTo>
                <a:lnTo>
                  <a:pt x="5748320" y="1590403"/>
                </a:lnTo>
                <a:lnTo>
                  <a:pt x="5779687" y="1567548"/>
                </a:lnTo>
                <a:lnTo>
                  <a:pt x="5814340" y="1547987"/>
                </a:lnTo>
                <a:lnTo>
                  <a:pt x="5852411" y="1531799"/>
                </a:lnTo>
                <a:lnTo>
                  <a:pt x="5894033" y="1519068"/>
                </a:lnTo>
                <a:lnTo>
                  <a:pt x="5939338" y="1509872"/>
                </a:lnTo>
                <a:lnTo>
                  <a:pt x="5988459" y="1504296"/>
                </a:lnTo>
                <a:close/>
                <a:moveTo>
                  <a:pt x="4160590" y="1021648"/>
                </a:moveTo>
                <a:lnTo>
                  <a:pt x="4367589" y="1021648"/>
                </a:lnTo>
                <a:lnTo>
                  <a:pt x="4367589" y="1195261"/>
                </a:lnTo>
                <a:lnTo>
                  <a:pt x="4160590" y="1195261"/>
                </a:lnTo>
                <a:close/>
                <a:moveTo>
                  <a:pt x="5799344" y="871408"/>
                </a:moveTo>
                <a:lnTo>
                  <a:pt x="6704136" y="871408"/>
                </a:lnTo>
                <a:lnTo>
                  <a:pt x="6704136" y="978246"/>
                </a:lnTo>
                <a:lnTo>
                  <a:pt x="5799344" y="978246"/>
                </a:lnTo>
                <a:close/>
                <a:moveTo>
                  <a:pt x="5799344" y="522512"/>
                </a:moveTo>
                <a:lnTo>
                  <a:pt x="6704136" y="522512"/>
                </a:lnTo>
                <a:lnTo>
                  <a:pt x="6704136" y="629350"/>
                </a:lnTo>
                <a:lnTo>
                  <a:pt x="5799344" y="629350"/>
                </a:lnTo>
                <a:close/>
                <a:moveTo>
                  <a:pt x="7774691" y="6383"/>
                </a:moveTo>
                <a:lnTo>
                  <a:pt x="8148629" y="6383"/>
                </a:lnTo>
                <a:lnTo>
                  <a:pt x="8148629" y="101632"/>
                </a:lnTo>
                <a:lnTo>
                  <a:pt x="7889880" y="101632"/>
                </a:lnTo>
                <a:lnTo>
                  <a:pt x="7889880" y="1200182"/>
                </a:lnTo>
                <a:lnTo>
                  <a:pt x="8148629" y="1200182"/>
                </a:lnTo>
                <a:lnTo>
                  <a:pt x="8148629" y="1295432"/>
                </a:lnTo>
                <a:lnTo>
                  <a:pt x="7774691" y="1295432"/>
                </a:lnTo>
                <a:lnTo>
                  <a:pt x="7774691" y="1200182"/>
                </a:lnTo>
                <a:lnTo>
                  <a:pt x="7774691" y="101632"/>
                </a:lnTo>
                <a:close/>
                <a:moveTo>
                  <a:pt x="8243417" y="0"/>
                </a:moveTo>
                <a:lnTo>
                  <a:pt x="8296487" y="1877"/>
                </a:lnTo>
                <a:lnTo>
                  <a:pt x="8345608" y="7454"/>
                </a:lnTo>
                <a:lnTo>
                  <a:pt x="8390913" y="16649"/>
                </a:lnTo>
                <a:lnTo>
                  <a:pt x="8432534" y="29381"/>
                </a:lnTo>
                <a:lnTo>
                  <a:pt x="8470605" y="45569"/>
                </a:lnTo>
                <a:lnTo>
                  <a:pt x="8505258" y="65130"/>
                </a:lnTo>
                <a:lnTo>
                  <a:pt x="8536626" y="87984"/>
                </a:lnTo>
                <a:lnTo>
                  <a:pt x="8564841" y="114050"/>
                </a:lnTo>
                <a:lnTo>
                  <a:pt x="8590036" y="143246"/>
                </a:lnTo>
                <a:lnTo>
                  <a:pt x="8612344" y="175491"/>
                </a:lnTo>
                <a:lnTo>
                  <a:pt x="8631898" y="210703"/>
                </a:lnTo>
                <a:lnTo>
                  <a:pt x="8648830" y="248801"/>
                </a:lnTo>
                <a:lnTo>
                  <a:pt x="8663273" y="289703"/>
                </a:lnTo>
                <a:lnTo>
                  <a:pt x="8675359" y="333329"/>
                </a:lnTo>
                <a:lnTo>
                  <a:pt x="8685222" y="379596"/>
                </a:lnTo>
                <a:lnTo>
                  <a:pt x="8692995" y="428424"/>
                </a:lnTo>
                <a:lnTo>
                  <a:pt x="8698808" y="479730"/>
                </a:lnTo>
                <a:lnTo>
                  <a:pt x="8702797" y="533435"/>
                </a:lnTo>
                <a:lnTo>
                  <a:pt x="8705093" y="589455"/>
                </a:lnTo>
                <a:lnTo>
                  <a:pt x="8705829" y="647711"/>
                </a:lnTo>
                <a:lnTo>
                  <a:pt x="8705129" y="706216"/>
                </a:lnTo>
                <a:lnTo>
                  <a:pt x="8702932" y="762486"/>
                </a:lnTo>
                <a:lnTo>
                  <a:pt x="8699096" y="816436"/>
                </a:lnTo>
                <a:lnTo>
                  <a:pt x="8693475" y="867986"/>
                </a:lnTo>
                <a:lnTo>
                  <a:pt x="8685927" y="917051"/>
                </a:lnTo>
                <a:lnTo>
                  <a:pt x="8676306" y="963550"/>
                </a:lnTo>
                <a:lnTo>
                  <a:pt x="8664469" y="1007399"/>
                </a:lnTo>
                <a:lnTo>
                  <a:pt x="8650272" y="1048517"/>
                </a:lnTo>
                <a:lnTo>
                  <a:pt x="8633571" y="1086820"/>
                </a:lnTo>
                <a:lnTo>
                  <a:pt x="8614222" y="1122226"/>
                </a:lnTo>
                <a:lnTo>
                  <a:pt x="8592081" y="1154652"/>
                </a:lnTo>
                <a:lnTo>
                  <a:pt x="8567005" y="1184015"/>
                </a:lnTo>
                <a:lnTo>
                  <a:pt x="8538848" y="1210234"/>
                </a:lnTo>
                <a:lnTo>
                  <a:pt x="8507467" y="1233224"/>
                </a:lnTo>
                <a:lnTo>
                  <a:pt x="8472718" y="1252905"/>
                </a:lnTo>
                <a:lnTo>
                  <a:pt x="8434458" y="1269193"/>
                </a:lnTo>
                <a:lnTo>
                  <a:pt x="8392541" y="1282004"/>
                </a:lnTo>
                <a:lnTo>
                  <a:pt x="8346825" y="1291258"/>
                </a:lnTo>
                <a:lnTo>
                  <a:pt x="8297165" y="1296871"/>
                </a:lnTo>
                <a:lnTo>
                  <a:pt x="8243417" y="1298760"/>
                </a:lnTo>
                <a:lnTo>
                  <a:pt x="8243417" y="1201938"/>
                </a:lnTo>
                <a:lnTo>
                  <a:pt x="8293102" y="1199705"/>
                </a:lnTo>
                <a:lnTo>
                  <a:pt x="8338022" y="1193084"/>
                </a:lnTo>
                <a:lnTo>
                  <a:pt x="8378405" y="1182195"/>
                </a:lnTo>
                <a:lnTo>
                  <a:pt x="8414476" y="1167155"/>
                </a:lnTo>
                <a:lnTo>
                  <a:pt x="8474587" y="1125095"/>
                </a:lnTo>
                <a:lnTo>
                  <a:pt x="8520166" y="1067851"/>
                </a:lnTo>
                <a:lnTo>
                  <a:pt x="8538072" y="1033830"/>
                </a:lnTo>
                <a:lnTo>
                  <a:pt x="8553024" y="996369"/>
                </a:lnTo>
                <a:lnTo>
                  <a:pt x="8565248" y="955584"/>
                </a:lnTo>
                <a:lnTo>
                  <a:pt x="8574971" y="911594"/>
                </a:lnTo>
                <a:lnTo>
                  <a:pt x="8582418" y="864517"/>
                </a:lnTo>
                <a:lnTo>
                  <a:pt x="8587817" y="814473"/>
                </a:lnTo>
                <a:lnTo>
                  <a:pt x="8591393" y="761578"/>
                </a:lnTo>
                <a:lnTo>
                  <a:pt x="8593372" y="705951"/>
                </a:lnTo>
                <a:lnTo>
                  <a:pt x="8593982" y="647711"/>
                </a:lnTo>
                <a:lnTo>
                  <a:pt x="8593340" y="590042"/>
                </a:lnTo>
                <a:lnTo>
                  <a:pt x="8591270" y="534953"/>
                </a:lnTo>
                <a:lnTo>
                  <a:pt x="8587560" y="482561"/>
                </a:lnTo>
                <a:lnTo>
                  <a:pt x="8581994" y="432984"/>
                </a:lnTo>
                <a:lnTo>
                  <a:pt x="8574359" y="386340"/>
                </a:lnTo>
                <a:lnTo>
                  <a:pt x="8564441" y="342749"/>
                </a:lnTo>
                <a:lnTo>
                  <a:pt x="8552025" y="302328"/>
                </a:lnTo>
                <a:lnTo>
                  <a:pt x="8536898" y="265196"/>
                </a:lnTo>
                <a:lnTo>
                  <a:pt x="8518845" y="231470"/>
                </a:lnTo>
                <a:lnTo>
                  <a:pt x="8473107" y="174711"/>
                </a:lnTo>
                <a:lnTo>
                  <a:pt x="8413098" y="132998"/>
                </a:lnTo>
                <a:lnTo>
                  <a:pt x="8377206" y="118079"/>
                </a:lnTo>
                <a:lnTo>
                  <a:pt x="8337105" y="107277"/>
                </a:lnTo>
                <a:lnTo>
                  <a:pt x="8292580" y="100708"/>
                </a:lnTo>
                <a:lnTo>
                  <a:pt x="8243417" y="98492"/>
                </a:lnTo>
                <a:close/>
                <a:moveTo>
                  <a:pt x="3109502" y="0"/>
                </a:moveTo>
                <a:lnTo>
                  <a:pt x="3162572" y="1876"/>
                </a:lnTo>
                <a:lnTo>
                  <a:pt x="3211694" y="7453"/>
                </a:lnTo>
                <a:lnTo>
                  <a:pt x="3256998" y="16648"/>
                </a:lnTo>
                <a:lnTo>
                  <a:pt x="3298621" y="29380"/>
                </a:lnTo>
                <a:lnTo>
                  <a:pt x="3336692" y="45568"/>
                </a:lnTo>
                <a:lnTo>
                  <a:pt x="3371345" y="65129"/>
                </a:lnTo>
                <a:lnTo>
                  <a:pt x="3402713" y="87984"/>
                </a:lnTo>
                <a:lnTo>
                  <a:pt x="3430928" y="114050"/>
                </a:lnTo>
                <a:lnTo>
                  <a:pt x="3456123" y="143246"/>
                </a:lnTo>
                <a:lnTo>
                  <a:pt x="3478431" y="175491"/>
                </a:lnTo>
                <a:lnTo>
                  <a:pt x="3497985" y="210703"/>
                </a:lnTo>
                <a:lnTo>
                  <a:pt x="3514917" y="248801"/>
                </a:lnTo>
                <a:lnTo>
                  <a:pt x="3529360" y="289703"/>
                </a:lnTo>
                <a:lnTo>
                  <a:pt x="3541446" y="333329"/>
                </a:lnTo>
                <a:lnTo>
                  <a:pt x="3551309" y="379596"/>
                </a:lnTo>
                <a:lnTo>
                  <a:pt x="3559082" y="428424"/>
                </a:lnTo>
                <a:lnTo>
                  <a:pt x="3564896" y="479730"/>
                </a:lnTo>
                <a:lnTo>
                  <a:pt x="3568884" y="533435"/>
                </a:lnTo>
                <a:lnTo>
                  <a:pt x="3571180" y="589455"/>
                </a:lnTo>
                <a:lnTo>
                  <a:pt x="3571916" y="647711"/>
                </a:lnTo>
                <a:lnTo>
                  <a:pt x="3571216" y="706216"/>
                </a:lnTo>
                <a:lnTo>
                  <a:pt x="3569019" y="762486"/>
                </a:lnTo>
                <a:lnTo>
                  <a:pt x="3565183" y="816436"/>
                </a:lnTo>
                <a:lnTo>
                  <a:pt x="3559562" y="867986"/>
                </a:lnTo>
                <a:lnTo>
                  <a:pt x="3552014" y="917051"/>
                </a:lnTo>
                <a:lnTo>
                  <a:pt x="3542393" y="963550"/>
                </a:lnTo>
                <a:lnTo>
                  <a:pt x="3530556" y="1007399"/>
                </a:lnTo>
                <a:lnTo>
                  <a:pt x="3516359" y="1048517"/>
                </a:lnTo>
                <a:lnTo>
                  <a:pt x="3499658" y="1086820"/>
                </a:lnTo>
                <a:lnTo>
                  <a:pt x="3480309" y="1122226"/>
                </a:lnTo>
                <a:lnTo>
                  <a:pt x="3458168" y="1154652"/>
                </a:lnTo>
                <a:lnTo>
                  <a:pt x="3433091" y="1184015"/>
                </a:lnTo>
                <a:lnTo>
                  <a:pt x="3404934" y="1210234"/>
                </a:lnTo>
                <a:lnTo>
                  <a:pt x="3373554" y="1233224"/>
                </a:lnTo>
                <a:lnTo>
                  <a:pt x="3338805" y="1252905"/>
                </a:lnTo>
                <a:lnTo>
                  <a:pt x="3300544" y="1269192"/>
                </a:lnTo>
                <a:lnTo>
                  <a:pt x="3258627" y="1282004"/>
                </a:lnTo>
                <a:lnTo>
                  <a:pt x="3212910" y="1291258"/>
                </a:lnTo>
                <a:lnTo>
                  <a:pt x="3163250" y="1296871"/>
                </a:lnTo>
                <a:lnTo>
                  <a:pt x="3109502" y="1298760"/>
                </a:lnTo>
                <a:lnTo>
                  <a:pt x="3109502" y="1201938"/>
                </a:lnTo>
                <a:lnTo>
                  <a:pt x="3159187" y="1199705"/>
                </a:lnTo>
                <a:lnTo>
                  <a:pt x="3204108" y="1193084"/>
                </a:lnTo>
                <a:lnTo>
                  <a:pt x="3244491" y="1182195"/>
                </a:lnTo>
                <a:lnTo>
                  <a:pt x="3280562" y="1167155"/>
                </a:lnTo>
                <a:lnTo>
                  <a:pt x="3340673" y="1125095"/>
                </a:lnTo>
                <a:lnTo>
                  <a:pt x="3386253" y="1067851"/>
                </a:lnTo>
                <a:lnTo>
                  <a:pt x="3404158" y="1033830"/>
                </a:lnTo>
                <a:lnTo>
                  <a:pt x="3419110" y="996369"/>
                </a:lnTo>
                <a:lnTo>
                  <a:pt x="3431334" y="955584"/>
                </a:lnTo>
                <a:lnTo>
                  <a:pt x="3441057" y="911594"/>
                </a:lnTo>
                <a:lnTo>
                  <a:pt x="3448504" y="864517"/>
                </a:lnTo>
                <a:lnTo>
                  <a:pt x="3453903" y="814473"/>
                </a:lnTo>
                <a:lnTo>
                  <a:pt x="3457479" y="761578"/>
                </a:lnTo>
                <a:lnTo>
                  <a:pt x="3459458" y="705951"/>
                </a:lnTo>
                <a:lnTo>
                  <a:pt x="3460068" y="647711"/>
                </a:lnTo>
                <a:lnTo>
                  <a:pt x="3459426" y="590042"/>
                </a:lnTo>
                <a:lnTo>
                  <a:pt x="3457356" y="534953"/>
                </a:lnTo>
                <a:lnTo>
                  <a:pt x="3453646" y="482560"/>
                </a:lnTo>
                <a:lnTo>
                  <a:pt x="3448080" y="432984"/>
                </a:lnTo>
                <a:lnTo>
                  <a:pt x="3440445" y="386340"/>
                </a:lnTo>
                <a:lnTo>
                  <a:pt x="3430527" y="342749"/>
                </a:lnTo>
                <a:lnTo>
                  <a:pt x="3418111" y="302328"/>
                </a:lnTo>
                <a:lnTo>
                  <a:pt x="3402984" y="265196"/>
                </a:lnTo>
                <a:lnTo>
                  <a:pt x="3384931" y="231470"/>
                </a:lnTo>
                <a:lnTo>
                  <a:pt x="3339193" y="174711"/>
                </a:lnTo>
                <a:lnTo>
                  <a:pt x="3279183" y="132998"/>
                </a:lnTo>
                <a:lnTo>
                  <a:pt x="3243291" y="118079"/>
                </a:lnTo>
                <a:lnTo>
                  <a:pt x="3203191" y="107276"/>
                </a:lnTo>
                <a:lnTo>
                  <a:pt x="3158665" y="100708"/>
                </a:lnTo>
                <a:lnTo>
                  <a:pt x="3109502" y="98492"/>
                </a:lnTo>
                <a:close/>
                <a:moveTo>
                  <a:pt x="3017637" y="0"/>
                </a:moveTo>
                <a:lnTo>
                  <a:pt x="3017637" y="98492"/>
                </a:lnTo>
                <a:lnTo>
                  <a:pt x="2968752" y="100708"/>
                </a:lnTo>
                <a:lnTo>
                  <a:pt x="2924471" y="107277"/>
                </a:lnTo>
                <a:lnTo>
                  <a:pt x="2884585" y="118079"/>
                </a:lnTo>
                <a:lnTo>
                  <a:pt x="2848878" y="132998"/>
                </a:lnTo>
                <a:lnTo>
                  <a:pt x="2789164" y="174711"/>
                </a:lnTo>
                <a:lnTo>
                  <a:pt x="2743630" y="231470"/>
                </a:lnTo>
                <a:lnTo>
                  <a:pt x="2725650" y="265196"/>
                </a:lnTo>
                <a:lnTo>
                  <a:pt x="2710579" y="302328"/>
                </a:lnTo>
                <a:lnTo>
                  <a:pt x="2698207" y="342749"/>
                </a:lnTo>
                <a:lnTo>
                  <a:pt x="2688320" y="386340"/>
                </a:lnTo>
                <a:lnTo>
                  <a:pt x="2680706" y="432984"/>
                </a:lnTo>
                <a:lnTo>
                  <a:pt x="2675153" y="482561"/>
                </a:lnTo>
                <a:lnTo>
                  <a:pt x="2671448" y="534953"/>
                </a:lnTo>
                <a:lnTo>
                  <a:pt x="2669382" y="590042"/>
                </a:lnTo>
                <a:lnTo>
                  <a:pt x="2668740" y="647711"/>
                </a:lnTo>
                <a:lnTo>
                  <a:pt x="2669365" y="705951"/>
                </a:lnTo>
                <a:lnTo>
                  <a:pt x="2671388" y="761578"/>
                </a:lnTo>
                <a:lnTo>
                  <a:pt x="2675025" y="814473"/>
                </a:lnTo>
                <a:lnTo>
                  <a:pt x="2680494" y="864517"/>
                </a:lnTo>
                <a:lnTo>
                  <a:pt x="2688015" y="911594"/>
                </a:lnTo>
                <a:lnTo>
                  <a:pt x="2697803" y="955584"/>
                </a:lnTo>
                <a:lnTo>
                  <a:pt x="2710081" y="996369"/>
                </a:lnTo>
                <a:lnTo>
                  <a:pt x="2725063" y="1033830"/>
                </a:lnTo>
                <a:lnTo>
                  <a:pt x="2742969" y="1067851"/>
                </a:lnTo>
                <a:lnTo>
                  <a:pt x="2788423" y="1125095"/>
                </a:lnTo>
                <a:lnTo>
                  <a:pt x="2848189" y="1167155"/>
                </a:lnTo>
                <a:lnTo>
                  <a:pt x="2883984" y="1182195"/>
                </a:lnTo>
                <a:lnTo>
                  <a:pt x="2924012" y="1193084"/>
                </a:lnTo>
                <a:lnTo>
                  <a:pt x="2968491" y="1199705"/>
                </a:lnTo>
                <a:lnTo>
                  <a:pt x="3017637" y="1201938"/>
                </a:lnTo>
                <a:lnTo>
                  <a:pt x="3017637" y="1298760"/>
                </a:lnTo>
                <a:lnTo>
                  <a:pt x="2964115" y="1296871"/>
                </a:lnTo>
                <a:lnTo>
                  <a:pt x="2914634" y="1291258"/>
                </a:lnTo>
                <a:lnTo>
                  <a:pt x="2869056" y="1282004"/>
                </a:lnTo>
                <a:lnTo>
                  <a:pt x="2827236" y="1269193"/>
                </a:lnTo>
                <a:lnTo>
                  <a:pt x="2789039" y="1252905"/>
                </a:lnTo>
                <a:lnTo>
                  <a:pt x="2754322" y="1233224"/>
                </a:lnTo>
                <a:lnTo>
                  <a:pt x="2722946" y="1210234"/>
                </a:lnTo>
                <a:lnTo>
                  <a:pt x="2694770" y="1184015"/>
                </a:lnTo>
                <a:lnTo>
                  <a:pt x="2669653" y="1154652"/>
                </a:lnTo>
                <a:lnTo>
                  <a:pt x="2647457" y="1122226"/>
                </a:lnTo>
                <a:lnTo>
                  <a:pt x="2628039" y="1086820"/>
                </a:lnTo>
                <a:lnTo>
                  <a:pt x="2611262" y="1048517"/>
                </a:lnTo>
                <a:lnTo>
                  <a:pt x="2596982" y="1007399"/>
                </a:lnTo>
                <a:lnTo>
                  <a:pt x="2585062" y="963550"/>
                </a:lnTo>
                <a:lnTo>
                  <a:pt x="2575361" y="917051"/>
                </a:lnTo>
                <a:lnTo>
                  <a:pt x="2567737" y="867986"/>
                </a:lnTo>
                <a:lnTo>
                  <a:pt x="2562052" y="816436"/>
                </a:lnTo>
                <a:lnTo>
                  <a:pt x="2558166" y="762486"/>
                </a:lnTo>
                <a:lnTo>
                  <a:pt x="2555936" y="706216"/>
                </a:lnTo>
                <a:lnTo>
                  <a:pt x="2555225" y="647711"/>
                </a:lnTo>
                <a:lnTo>
                  <a:pt x="2555961" y="589455"/>
                </a:lnTo>
                <a:lnTo>
                  <a:pt x="2558256" y="533435"/>
                </a:lnTo>
                <a:lnTo>
                  <a:pt x="2562245" y="479730"/>
                </a:lnTo>
                <a:lnTo>
                  <a:pt x="2568057" y="428424"/>
                </a:lnTo>
                <a:lnTo>
                  <a:pt x="2575830" y="379596"/>
                </a:lnTo>
                <a:lnTo>
                  <a:pt x="2585694" y="333329"/>
                </a:lnTo>
                <a:lnTo>
                  <a:pt x="2597780" y="289703"/>
                </a:lnTo>
                <a:lnTo>
                  <a:pt x="2612222" y="248801"/>
                </a:lnTo>
                <a:lnTo>
                  <a:pt x="2629156" y="210703"/>
                </a:lnTo>
                <a:lnTo>
                  <a:pt x="2648708" y="175491"/>
                </a:lnTo>
                <a:lnTo>
                  <a:pt x="2671016" y="143246"/>
                </a:lnTo>
                <a:lnTo>
                  <a:pt x="2696212" y="114050"/>
                </a:lnTo>
                <a:lnTo>
                  <a:pt x="2724427" y="87984"/>
                </a:lnTo>
                <a:lnTo>
                  <a:pt x="2755794" y="65130"/>
                </a:lnTo>
                <a:lnTo>
                  <a:pt x="2790448" y="45569"/>
                </a:lnTo>
                <a:lnTo>
                  <a:pt x="2828518" y="29382"/>
                </a:lnTo>
                <a:lnTo>
                  <a:pt x="2870141" y="16649"/>
                </a:lnTo>
                <a:lnTo>
                  <a:pt x="2915445" y="7455"/>
                </a:lnTo>
                <a:lnTo>
                  <a:pt x="2964567" y="1877"/>
                </a:lnTo>
                <a:close/>
              </a:path>
            </a:pathLst>
          </a:custGeom>
          <a:solidFill>
            <a:srgbClr val="88C66D"/>
          </a:solidFill>
        </p:spPr>
        <p:txBody>
          <a:bodyPr wrap="square" lIns="0" tIns="0" rIns="0" bIns="0" rtlCol="0">
            <a:noAutofit/>
          </a:bodyPr>
          <a:lstStyle/>
          <a:p>
            <a:endParaRPr lang="da-DK" sz="1350"/>
          </a:p>
        </p:txBody>
      </p:sp>
    </p:spTree>
    <p:extLst>
      <p:ext uri="{BB962C8B-B14F-4D97-AF65-F5344CB8AC3E}">
        <p14:creationId xmlns:p14="http://schemas.microsoft.com/office/powerpoint/2010/main" val="13393339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reaker E">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accent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accent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accent1"/>
                </a:solidFill>
              </a:defRPr>
            </a:lvl1pPr>
          </a:lstStyle>
          <a:p>
            <a:fld id="{87C710D9-C93F-423E-B535-622B5249ACB1}" type="datetime2">
              <a:rPr lang="da-DK" smtClean="0"/>
              <a:pPr/>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accent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accent1"/>
                </a:solidFill>
              </a:defRPr>
            </a:lvl1pPr>
          </a:lstStyle>
          <a:p>
            <a:fld id="{24C8C45C-947F-4981-8B3F-4F32E973C901}" type="slidenum">
              <a:rPr lang="da-DK" smtClean="0"/>
              <a:pPr/>
              <a:t>‹nr.›</a:t>
            </a:fld>
            <a:endParaRPr lang="da-DK"/>
          </a:p>
        </p:txBody>
      </p:sp>
      <p:sp>
        <p:nvSpPr>
          <p:cNvPr id="29" name="Mikro grafik 1">
            <a:extLst>
              <a:ext uri="{FF2B5EF4-FFF2-40B4-BE49-F238E27FC236}">
                <a16:creationId xmlns:a16="http://schemas.microsoft.com/office/drawing/2014/main" id="{64436394-C531-6AC2-FF2F-12CAAB37CDDC}"/>
              </a:ext>
            </a:extLst>
          </p:cNvPr>
          <p:cNvSpPr/>
          <p:nvPr/>
        </p:nvSpPr>
        <p:spPr>
          <a:xfrm>
            <a:off x="367396" y="1045688"/>
            <a:ext cx="3833093" cy="3051877"/>
          </a:xfrm>
          <a:custGeom>
            <a:avLst/>
            <a:gdLst>
              <a:gd name="connsiteX0" fmla="*/ 1358848 w 5110790"/>
              <a:gd name="connsiteY0" fmla="*/ 3644032 h 4069169"/>
              <a:gd name="connsiteX1" fmla="*/ 1439827 w 5110790"/>
              <a:gd name="connsiteY1" fmla="*/ 3644032 h 4069169"/>
              <a:gd name="connsiteX2" fmla="*/ 1554208 w 5110790"/>
              <a:gd name="connsiteY2" fmla="*/ 3853564 h 4069169"/>
              <a:gd name="connsiteX3" fmla="*/ 1437802 w 5110790"/>
              <a:gd name="connsiteY3" fmla="*/ 4069169 h 4069169"/>
              <a:gd name="connsiteX4" fmla="*/ 1358848 w 5110790"/>
              <a:gd name="connsiteY4" fmla="*/ 4069169 h 4069169"/>
              <a:gd name="connsiteX5" fmla="*/ 1458046 w 5110790"/>
              <a:gd name="connsiteY5" fmla="*/ 3883931 h 4069169"/>
              <a:gd name="connsiteX6" fmla="*/ 1068338 w 5110790"/>
              <a:gd name="connsiteY6" fmla="*/ 3883931 h 4069169"/>
              <a:gd name="connsiteX7" fmla="*/ 1068338 w 5110790"/>
              <a:gd name="connsiteY7" fmla="*/ 3819148 h 4069169"/>
              <a:gd name="connsiteX8" fmla="*/ 1456022 w 5110790"/>
              <a:gd name="connsiteY8" fmla="*/ 3819148 h 4069169"/>
              <a:gd name="connsiteX9" fmla="*/ 3579243 w 5110790"/>
              <a:gd name="connsiteY9" fmla="*/ 3101476 h 4069169"/>
              <a:gd name="connsiteX10" fmla="*/ 3604850 w 5110790"/>
              <a:gd name="connsiteY10" fmla="*/ 3103707 h 4069169"/>
              <a:gd name="connsiteX11" fmla="*/ 3624668 w 5110790"/>
              <a:gd name="connsiteY11" fmla="*/ 3111725 h 4069169"/>
              <a:gd name="connsiteX12" fmla="*/ 3637463 w 5110790"/>
              <a:gd name="connsiteY12" fmla="*/ 3127526 h 4069169"/>
              <a:gd name="connsiteX13" fmla="*/ 3642002 w 5110790"/>
              <a:gd name="connsiteY13" fmla="*/ 3153100 h 4069169"/>
              <a:gd name="connsiteX14" fmla="*/ 3637463 w 5110790"/>
              <a:gd name="connsiteY14" fmla="*/ 3179845 h 4069169"/>
              <a:gd name="connsiteX15" fmla="*/ 3624668 w 5110790"/>
              <a:gd name="connsiteY15" fmla="*/ 3196247 h 4069169"/>
              <a:gd name="connsiteX16" fmla="*/ 3604850 w 5110790"/>
              <a:gd name="connsiteY16" fmla="*/ 3204487 h 4069169"/>
              <a:gd name="connsiteX17" fmla="*/ 3579243 w 5110790"/>
              <a:gd name="connsiteY17" fmla="*/ 3206749 h 4069169"/>
              <a:gd name="connsiteX18" fmla="*/ 3553637 w 5110790"/>
              <a:gd name="connsiteY18" fmla="*/ 3204487 h 4069169"/>
              <a:gd name="connsiteX19" fmla="*/ 3533820 w 5110790"/>
              <a:gd name="connsiteY19" fmla="*/ 3196247 h 4069169"/>
              <a:gd name="connsiteX20" fmla="*/ 3521024 w 5110790"/>
              <a:gd name="connsiteY20" fmla="*/ 3179845 h 4069169"/>
              <a:gd name="connsiteX21" fmla="*/ 3516485 w 5110790"/>
              <a:gd name="connsiteY21" fmla="*/ 3153100 h 4069169"/>
              <a:gd name="connsiteX22" fmla="*/ 3521166 w 5110790"/>
              <a:gd name="connsiteY22" fmla="*/ 3127526 h 4069169"/>
              <a:gd name="connsiteX23" fmla="*/ 3534199 w 5110790"/>
              <a:gd name="connsiteY23" fmla="*/ 3111725 h 4069169"/>
              <a:gd name="connsiteX24" fmla="*/ 3554064 w 5110790"/>
              <a:gd name="connsiteY24" fmla="*/ 3103707 h 4069169"/>
              <a:gd name="connsiteX25" fmla="*/ 1609095 w 5110790"/>
              <a:gd name="connsiteY25" fmla="*/ 3101476 h 4069169"/>
              <a:gd name="connsiteX26" fmla="*/ 1634701 w 5110790"/>
              <a:gd name="connsiteY26" fmla="*/ 3103707 h 4069169"/>
              <a:gd name="connsiteX27" fmla="*/ 1654519 w 5110790"/>
              <a:gd name="connsiteY27" fmla="*/ 3111725 h 4069169"/>
              <a:gd name="connsiteX28" fmla="*/ 1667313 w 5110790"/>
              <a:gd name="connsiteY28" fmla="*/ 3127526 h 4069169"/>
              <a:gd name="connsiteX29" fmla="*/ 1671852 w 5110790"/>
              <a:gd name="connsiteY29" fmla="*/ 3153100 h 4069169"/>
              <a:gd name="connsiteX30" fmla="*/ 1667313 w 5110790"/>
              <a:gd name="connsiteY30" fmla="*/ 3179845 h 4069169"/>
              <a:gd name="connsiteX31" fmla="*/ 1654519 w 5110790"/>
              <a:gd name="connsiteY31" fmla="*/ 3196247 h 4069169"/>
              <a:gd name="connsiteX32" fmla="*/ 1634701 w 5110790"/>
              <a:gd name="connsiteY32" fmla="*/ 3204487 h 4069169"/>
              <a:gd name="connsiteX33" fmla="*/ 1609095 w 5110790"/>
              <a:gd name="connsiteY33" fmla="*/ 3206749 h 4069169"/>
              <a:gd name="connsiteX34" fmla="*/ 1583490 w 5110790"/>
              <a:gd name="connsiteY34" fmla="*/ 3204487 h 4069169"/>
              <a:gd name="connsiteX35" fmla="*/ 1563672 w 5110790"/>
              <a:gd name="connsiteY35" fmla="*/ 3196247 h 4069169"/>
              <a:gd name="connsiteX36" fmla="*/ 1550877 w 5110790"/>
              <a:gd name="connsiteY36" fmla="*/ 3179845 h 4069169"/>
              <a:gd name="connsiteX37" fmla="*/ 1546338 w 5110790"/>
              <a:gd name="connsiteY37" fmla="*/ 3153100 h 4069169"/>
              <a:gd name="connsiteX38" fmla="*/ 1551019 w 5110790"/>
              <a:gd name="connsiteY38" fmla="*/ 3127526 h 4069169"/>
              <a:gd name="connsiteX39" fmla="*/ 1564051 w 5110790"/>
              <a:gd name="connsiteY39" fmla="*/ 3111725 h 4069169"/>
              <a:gd name="connsiteX40" fmla="*/ 1583917 w 5110790"/>
              <a:gd name="connsiteY40" fmla="*/ 3103707 h 4069169"/>
              <a:gd name="connsiteX41" fmla="*/ 3579243 w 5110790"/>
              <a:gd name="connsiteY41" fmla="*/ 2676340 h 4069169"/>
              <a:gd name="connsiteX42" fmla="*/ 3604850 w 5110790"/>
              <a:gd name="connsiteY42" fmla="*/ 2678443 h 4069169"/>
              <a:gd name="connsiteX43" fmla="*/ 3624668 w 5110790"/>
              <a:gd name="connsiteY43" fmla="*/ 2686335 h 4069169"/>
              <a:gd name="connsiteX44" fmla="*/ 3637463 w 5110790"/>
              <a:gd name="connsiteY44" fmla="*/ 2702388 h 4069169"/>
              <a:gd name="connsiteX45" fmla="*/ 3642002 w 5110790"/>
              <a:gd name="connsiteY45" fmla="*/ 2728976 h 4069169"/>
              <a:gd name="connsiteX46" fmla="*/ 3637463 w 5110790"/>
              <a:gd name="connsiteY46" fmla="*/ 2754708 h 4069169"/>
              <a:gd name="connsiteX47" fmla="*/ 3624668 w 5110790"/>
              <a:gd name="connsiteY47" fmla="*/ 2770857 h 4069169"/>
              <a:gd name="connsiteX48" fmla="*/ 3604850 w 5110790"/>
              <a:gd name="connsiteY48" fmla="*/ 2779223 h 4069169"/>
              <a:gd name="connsiteX49" fmla="*/ 3579243 w 5110790"/>
              <a:gd name="connsiteY49" fmla="*/ 2781612 h 4069169"/>
              <a:gd name="connsiteX50" fmla="*/ 3554223 w 5110790"/>
              <a:gd name="connsiteY50" fmla="*/ 2779223 h 4069169"/>
              <a:gd name="connsiteX51" fmla="*/ 3534706 w 5110790"/>
              <a:gd name="connsiteY51" fmla="*/ 2770857 h 4069169"/>
              <a:gd name="connsiteX52" fmla="*/ 3522021 w 5110790"/>
              <a:gd name="connsiteY52" fmla="*/ 2754708 h 4069169"/>
              <a:gd name="connsiteX53" fmla="*/ 3517498 w 5110790"/>
              <a:gd name="connsiteY53" fmla="*/ 2728976 h 4069169"/>
              <a:gd name="connsiteX54" fmla="*/ 3522021 w 5110790"/>
              <a:gd name="connsiteY54" fmla="*/ 2702388 h 4069169"/>
              <a:gd name="connsiteX55" fmla="*/ 3534706 w 5110790"/>
              <a:gd name="connsiteY55" fmla="*/ 2686335 h 4069169"/>
              <a:gd name="connsiteX56" fmla="*/ 3554223 w 5110790"/>
              <a:gd name="connsiteY56" fmla="*/ 2678443 h 4069169"/>
              <a:gd name="connsiteX57" fmla="*/ 1609095 w 5110790"/>
              <a:gd name="connsiteY57" fmla="*/ 2676340 h 4069169"/>
              <a:gd name="connsiteX58" fmla="*/ 1634701 w 5110790"/>
              <a:gd name="connsiteY58" fmla="*/ 2678443 h 4069169"/>
              <a:gd name="connsiteX59" fmla="*/ 1654519 w 5110790"/>
              <a:gd name="connsiteY59" fmla="*/ 2686335 h 4069169"/>
              <a:gd name="connsiteX60" fmla="*/ 1667313 w 5110790"/>
              <a:gd name="connsiteY60" fmla="*/ 2702388 h 4069169"/>
              <a:gd name="connsiteX61" fmla="*/ 1671852 w 5110790"/>
              <a:gd name="connsiteY61" fmla="*/ 2728976 h 4069169"/>
              <a:gd name="connsiteX62" fmla="*/ 1667313 w 5110790"/>
              <a:gd name="connsiteY62" fmla="*/ 2754708 h 4069169"/>
              <a:gd name="connsiteX63" fmla="*/ 1654519 w 5110790"/>
              <a:gd name="connsiteY63" fmla="*/ 2770857 h 4069169"/>
              <a:gd name="connsiteX64" fmla="*/ 1634701 w 5110790"/>
              <a:gd name="connsiteY64" fmla="*/ 2779223 h 4069169"/>
              <a:gd name="connsiteX65" fmla="*/ 1609095 w 5110790"/>
              <a:gd name="connsiteY65" fmla="*/ 2781612 h 4069169"/>
              <a:gd name="connsiteX66" fmla="*/ 1584075 w 5110790"/>
              <a:gd name="connsiteY66" fmla="*/ 2779223 h 4069169"/>
              <a:gd name="connsiteX67" fmla="*/ 1564558 w 5110790"/>
              <a:gd name="connsiteY67" fmla="*/ 2770857 h 4069169"/>
              <a:gd name="connsiteX68" fmla="*/ 1551873 w 5110790"/>
              <a:gd name="connsiteY68" fmla="*/ 2754708 h 4069169"/>
              <a:gd name="connsiteX69" fmla="*/ 1547350 w 5110790"/>
              <a:gd name="connsiteY69" fmla="*/ 2728976 h 4069169"/>
              <a:gd name="connsiteX70" fmla="*/ 1551873 w 5110790"/>
              <a:gd name="connsiteY70" fmla="*/ 2702388 h 4069169"/>
              <a:gd name="connsiteX71" fmla="*/ 1564558 w 5110790"/>
              <a:gd name="connsiteY71" fmla="*/ 2686335 h 4069169"/>
              <a:gd name="connsiteX72" fmla="*/ 1584075 w 5110790"/>
              <a:gd name="connsiteY72" fmla="*/ 2678443 h 4069169"/>
              <a:gd name="connsiteX73" fmla="*/ 2879125 w 5110790"/>
              <a:gd name="connsiteY73" fmla="*/ 2481992 h 4069169"/>
              <a:gd name="connsiteX74" fmla="*/ 2911305 w 5110790"/>
              <a:gd name="connsiteY74" fmla="*/ 2483129 h 4069169"/>
              <a:gd name="connsiteX75" fmla="*/ 2941090 w 5110790"/>
              <a:gd name="connsiteY75" fmla="*/ 2486511 h 4069169"/>
              <a:gd name="connsiteX76" fmla="*/ 2968561 w 5110790"/>
              <a:gd name="connsiteY76" fmla="*/ 2492087 h 4069169"/>
              <a:gd name="connsiteX77" fmla="*/ 2993799 w 5110790"/>
              <a:gd name="connsiteY77" fmla="*/ 2499807 h 4069169"/>
              <a:gd name="connsiteX78" fmla="*/ 3016884 w 5110790"/>
              <a:gd name="connsiteY78" fmla="*/ 2509622 h 4069169"/>
              <a:gd name="connsiteX79" fmla="*/ 3037896 w 5110790"/>
              <a:gd name="connsiteY79" fmla="*/ 2521483 h 4069169"/>
              <a:gd name="connsiteX80" fmla="*/ 3056916 w 5110790"/>
              <a:gd name="connsiteY80" fmla="*/ 2535342 h 4069169"/>
              <a:gd name="connsiteX81" fmla="*/ 3074024 w 5110790"/>
              <a:gd name="connsiteY81" fmla="*/ 2551147 h 4069169"/>
              <a:gd name="connsiteX82" fmla="*/ 3089302 w 5110790"/>
              <a:gd name="connsiteY82" fmla="*/ 2568850 h 4069169"/>
              <a:gd name="connsiteX83" fmla="*/ 3102829 w 5110790"/>
              <a:gd name="connsiteY83" fmla="*/ 2588403 h 4069169"/>
              <a:gd name="connsiteX84" fmla="*/ 3114685 w 5110790"/>
              <a:gd name="connsiteY84" fmla="*/ 2609754 h 4069169"/>
              <a:gd name="connsiteX85" fmla="*/ 3124952 w 5110790"/>
              <a:gd name="connsiteY85" fmla="*/ 2632854 h 4069169"/>
              <a:gd name="connsiteX86" fmla="*/ 3133709 w 5110790"/>
              <a:gd name="connsiteY86" fmla="*/ 2657656 h 4069169"/>
              <a:gd name="connsiteX87" fmla="*/ 3141039 w 5110790"/>
              <a:gd name="connsiteY87" fmla="*/ 2684109 h 4069169"/>
              <a:gd name="connsiteX88" fmla="*/ 3147019 w 5110790"/>
              <a:gd name="connsiteY88" fmla="*/ 2712163 h 4069169"/>
              <a:gd name="connsiteX89" fmla="*/ 3151732 w 5110790"/>
              <a:gd name="connsiteY89" fmla="*/ 2741770 h 4069169"/>
              <a:gd name="connsiteX90" fmla="*/ 3155257 w 5110790"/>
              <a:gd name="connsiteY90" fmla="*/ 2772881 h 4069169"/>
              <a:gd name="connsiteX91" fmla="*/ 3157675 w 5110790"/>
              <a:gd name="connsiteY91" fmla="*/ 2805445 h 4069169"/>
              <a:gd name="connsiteX92" fmla="*/ 3159067 w 5110790"/>
              <a:gd name="connsiteY92" fmla="*/ 2839413 h 4069169"/>
              <a:gd name="connsiteX93" fmla="*/ 3159514 w 5110790"/>
              <a:gd name="connsiteY93" fmla="*/ 2874737 h 4069169"/>
              <a:gd name="connsiteX94" fmla="*/ 3159089 w 5110790"/>
              <a:gd name="connsiteY94" fmla="*/ 2910212 h 4069169"/>
              <a:gd name="connsiteX95" fmla="*/ 3157757 w 5110790"/>
              <a:gd name="connsiteY95" fmla="*/ 2944332 h 4069169"/>
              <a:gd name="connsiteX96" fmla="*/ 3155431 w 5110790"/>
              <a:gd name="connsiteY96" fmla="*/ 2977045 h 4069169"/>
              <a:gd name="connsiteX97" fmla="*/ 3152023 w 5110790"/>
              <a:gd name="connsiteY97" fmla="*/ 3008303 h 4069169"/>
              <a:gd name="connsiteX98" fmla="*/ 3147446 w 5110790"/>
              <a:gd name="connsiteY98" fmla="*/ 3038054 h 4069169"/>
              <a:gd name="connsiteX99" fmla="*/ 3141612 w 5110790"/>
              <a:gd name="connsiteY99" fmla="*/ 3066249 h 4069169"/>
              <a:gd name="connsiteX100" fmla="*/ 3134435 w 5110790"/>
              <a:gd name="connsiteY100" fmla="*/ 3092837 h 4069169"/>
              <a:gd name="connsiteX101" fmla="*/ 3125826 w 5110790"/>
              <a:gd name="connsiteY101" fmla="*/ 3117770 h 4069169"/>
              <a:gd name="connsiteX102" fmla="*/ 3115700 w 5110790"/>
              <a:gd name="connsiteY102" fmla="*/ 3140995 h 4069169"/>
              <a:gd name="connsiteX103" fmla="*/ 3103967 w 5110790"/>
              <a:gd name="connsiteY103" fmla="*/ 3162464 h 4069169"/>
              <a:gd name="connsiteX104" fmla="*/ 3090542 w 5110790"/>
              <a:gd name="connsiteY104" fmla="*/ 3182126 h 4069169"/>
              <a:gd name="connsiteX105" fmla="*/ 3075336 w 5110790"/>
              <a:gd name="connsiteY105" fmla="*/ 3199931 h 4069169"/>
              <a:gd name="connsiteX106" fmla="*/ 3058263 w 5110790"/>
              <a:gd name="connsiteY106" fmla="*/ 3215828 h 4069169"/>
              <a:gd name="connsiteX107" fmla="*/ 3039235 w 5110790"/>
              <a:gd name="connsiteY107" fmla="*/ 3229769 h 4069169"/>
              <a:gd name="connsiteX108" fmla="*/ 3018165 w 5110790"/>
              <a:gd name="connsiteY108" fmla="*/ 3241703 h 4069169"/>
              <a:gd name="connsiteX109" fmla="*/ 2994965 w 5110790"/>
              <a:gd name="connsiteY109" fmla="*/ 3251579 h 4069169"/>
              <a:gd name="connsiteX110" fmla="*/ 2969548 w 5110790"/>
              <a:gd name="connsiteY110" fmla="*/ 3259347 h 4069169"/>
              <a:gd name="connsiteX111" fmla="*/ 2941828 w 5110790"/>
              <a:gd name="connsiteY111" fmla="*/ 3264959 h 4069169"/>
              <a:gd name="connsiteX112" fmla="*/ 2911716 w 5110790"/>
              <a:gd name="connsiteY112" fmla="*/ 3268362 h 4069169"/>
              <a:gd name="connsiteX113" fmla="*/ 2879125 w 5110790"/>
              <a:gd name="connsiteY113" fmla="*/ 3269508 h 4069169"/>
              <a:gd name="connsiteX114" fmla="*/ 2879125 w 5110790"/>
              <a:gd name="connsiteY114" fmla="*/ 3210798 h 4069169"/>
              <a:gd name="connsiteX115" fmla="*/ 2909252 w 5110790"/>
              <a:gd name="connsiteY115" fmla="*/ 3209444 h 4069169"/>
              <a:gd name="connsiteX116" fmla="*/ 2936490 w 5110790"/>
              <a:gd name="connsiteY116" fmla="*/ 3205429 h 4069169"/>
              <a:gd name="connsiteX117" fmla="*/ 2960977 w 5110790"/>
              <a:gd name="connsiteY117" fmla="*/ 3198827 h 4069169"/>
              <a:gd name="connsiteX118" fmla="*/ 2982849 w 5110790"/>
              <a:gd name="connsiteY118" fmla="*/ 3189707 h 4069169"/>
              <a:gd name="connsiteX119" fmla="*/ 3019298 w 5110790"/>
              <a:gd name="connsiteY119" fmla="*/ 3164203 h 4069169"/>
              <a:gd name="connsiteX120" fmla="*/ 3046935 w 5110790"/>
              <a:gd name="connsiteY120" fmla="*/ 3129493 h 4069169"/>
              <a:gd name="connsiteX121" fmla="*/ 3057792 w 5110790"/>
              <a:gd name="connsiteY121" fmla="*/ 3108864 h 4069169"/>
              <a:gd name="connsiteX122" fmla="*/ 3066859 w 5110790"/>
              <a:gd name="connsiteY122" fmla="*/ 3086149 h 4069169"/>
              <a:gd name="connsiteX123" fmla="*/ 3074271 w 5110790"/>
              <a:gd name="connsiteY123" fmla="*/ 3061419 h 4069169"/>
              <a:gd name="connsiteX124" fmla="*/ 3080167 w 5110790"/>
              <a:gd name="connsiteY124" fmla="*/ 3034745 h 4069169"/>
              <a:gd name="connsiteX125" fmla="*/ 3084682 w 5110790"/>
              <a:gd name="connsiteY125" fmla="*/ 3006199 h 4069169"/>
              <a:gd name="connsiteX126" fmla="*/ 3087956 w 5110790"/>
              <a:gd name="connsiteY126" fmla="*/ 2975855 h 4069169"/>
              <a:gd name="connsiteX127" fmla="*/ 3090124 w 5110790"/>
              <a:gd name="connsiteY127" fmla="*/ 2943781 h 4069169"/>
              <a:gd name="connsiteX128" fmla="*/ 3091324 w 5110790"/>
              <a:gd name="connsiteY128" fmla="*/ 2910051 h 4069169"/>
              <a:gd name="connsiteX129" fmla="*/ 3091694 w 5110790"/>
              <a:gd name="connsiteY129" fmla="*/ 2874737 h 4069169"/>
              <a:gd name="connsiteX130" fmla="*/ 3091305 w 5110790"/>
              <a:gd name="connsiteY130" fmla="*/ 2839769 h 4069169"/>
              <a:gd name="connsiteX131" fmla="*/ 3090050 w 5110790"/>
              <a:gd name="connsiteY131" fmla="*/ 2806365 h 4069169"/>
              <a:gd name="connsiteX132" fmla="*/ 3087800 w 5110790"/>
              <a:gd name="connsiteY132" fmla="*/ 2774596 h 4069169"/>
              <a:gd name="connsiteX133" fmla="*/ 3084425 w 5110790"/>
              <a:gd name="connsiteY133" fmla="*/ 2744535 h 4069169"/>
              <a:gd name="connsiteX134" fmla="*/ 3079795 w 5110790"/>
              <a:gd name="connsiteY134" fmla="*/ 2716252 h 4069169"/>
              <a:gd name="connsiteX135" fmla="*/ 3073782 w 5110790"/>
              <a:gd name="connsiteY135" fmla="*/ 2689820 h 4069169"/>
              <a:gd name="connsiteX136" fmla="*/ 3066253 w 5110790"/>
              <a:gd name="connsiteY136" fmla="*/ 2665311 h 4069169"/>
              <a:gd name="connsiteX137" fmla="*/ 3057081 w 5110790"/>
              <a:gd name="connsiteY137" fmla="*/ 2642795 h 4069169"/>
              <a:gd name="connsiteX138" fmla="*/ 3046134 w 5110790"/>
              <a:gd name="connsiteY138" fmla="*/ 2622345 h 4069169"/>
              <a:gd name="connsiteX139" fmla="*/ 3018400 w 5110790"/>
              <a:gd name="connsiteY139" fmla="*/ 2587929 h 4069169"/>
              <a:gd name="connsiteX140" fmla="*/ 2982013 w 5110790"/>
              <a:gd name="connsiteY140" fmla="*/ 2562635 h 4069169"/>
              <a:gd name="connsiteX141" fmla="*/ 2960250 w 5110790"/>
              <a:gd name="connsiteY141" fmla="*/ 2553590 h 4069169"/>
              <a:gd name="connsiteX142" fmla="*/ 2935934 w 5110790"/>
              <a:gd name="connsiteY142" fmla="*/ 2547039 h 4069169"/>
              <a:gd name="connsiteX143" fmla="*/ 2908936 w 5110790"/>
              <a:gd name="connsiteY143" fmla="*/ 2543056 h 4069169"/>
              <a:gd name="connsiteX144" fmla="*/ 2879125 w 5110790"/>
              <a:gd name="connsiteY144" fmla="*/ 2541713 h 4069169"/>
              <a:gd name="connsiteX145" fmla="*/ 2565698 w 5110790"/>
              <a:gd name="connsiteY145" fmla="*/ 2481992 h 4069169"/>
              <a:gd name="connsiteX146" fmla="*/ 2565698 w 5110790"/>
              <a:gd name="connsiteY146" fmla="*/ 2541713 h 4069169"/>
              <a:gd name="connsiteX147" fmla="*/ 2536056 w 5110790"/>
              <a:gd name="connsiteY147" fmla="*/ 2543056 h 4069169"/>
              <a:gd name="connsiteX148" fmla="*/ 2509206 w 5110790"/>
              <a:gd name="connsiteY148" fmla="*/ 2547039 h 4069169"/>
              <a:gd name="connsiteX149" fmla="*/ 2485020 w 5110790"/>
              <a:gd name="connsiteY149" fmla="*/ 2553590 h 4069169"/>
              <a:gd name="connsiteX150" fmla="*/ 2463369 w 5110790"/>
              <a:gd name="connsiteY150" fmla="*/ 2562635 h 4069169"/>
              <a:gd name="connsiteX151" fmla="*/ 2427161 w 5110790"/>
              <a:gd name="connsiteY151" fmla="*/ 2587929 h 4069169"/>
              <a:gd name="connsiteX152" fmla="*/ 2399551 w 5110790"/>
              <a:gd name="connsiteY152" fmla="*/ 2622345 h 4069169"/>
              <a:gd name="connsiteX153" fmla="*/ 2388649 w 5110790"/>
              <a:gd name="connsiteY153" fmla="*/ 2642795 h 4069169"/>
              <a:gd name="connsiteX154" fmla="*/ 2379511 w 5110790"/>
              <a:gd name="connsiteY154" fmla="*/ 2665311 h 4069169"/>
              <a:gd name="connsiteX155" fmla="*/ 2372009 w 5110790"/>
              <a:gd name="connsiteY155" fmla="*/ 2689820 h 4069169"/>
              <a:gd name="connsiteX156" fmla="*/ 2366014 w 5110790"/>
              <a:gd name="connsiteY156" fmla="*/ 2716252 h 4069169"/>
              <a:gd name="connsiteX157" fmla="*/ 2361397 w 5110790"/>
              <a:gd name="connsiteY157" fmla="*/ 2744535 h 4069169"/>
              <a:gd name="connsiteX158" fmla="*/ 2358029 w 5110790"/>
              <a:gd name="connsiteY158" fmla="*/ 2774596 h 4069169"/>
              <a:gd name="connsiteX159" fmla="*/ 2355783 w 5110790"/>
              <a:gd name="connsiteY159" fmla="*/ 2806365 h 4069169"/>
              <a:gd name="connsiteX160" fmla="*/ 2354530 w 5110790"/>
              <a:gd name="connsiteY160" fmla="*/ 2839769 h 4069169"/>
              <a:gd name="connsiteX161" fmla="*/ 2354141 w 5110790"/>
              <a:gd name="connsiteY161" fmla="*/ 2874737 h 4069169"/>
              <a:gd name="connsiteX162" fmla="*/ 2354520 w 5110790"/>
              <a:gd name="connsiteY162" fmla="*/ 2910051 h 4069169"/>
              <a:gd name="connsiteX163" fmla="*/ 2355746 w 5110790"/>
              <a:gd name="connsiteY163" fmla="*/ 2943781 h 4069169"/>
              <a:gd name="connsiteX164" fmla="*/ 2357952 w 5110790"/>
              <a:gd name="connsiteY164" fmla="*/ 2975855 h 4069169"/>
              <a:gd name="connsiteX165" fmla="*/ 2361268 w 5110790"/>
              <a:gd name="connsiteY165" fmla="*/ 3006199 h 4069169"/>
              <a:gd name="connsiteX166" fmla="*/ 2365828 w 5110790"/>
              <a:gd name="connsiteY166" fmla="*/ 3034745 h 4069169"/>
              <a:gd name="connsiteX167" fmla="*/ 2371764 w 5110790"/>
              <a:gd name="connsiteY167" fmla="*/ 3061419 h 4069169"/>
              <a:gd name="connsiteX168" fmla="*/ 2379208 w 5110790"/>
              <a:gd name="connsiteY168" fmla="*/ 3086149 h 4069169"/>
              <a:gd name="connsiteX169" fmla="*/ 2388293 w 5110790"/>
              <a:gd name="connsiteY169" fmla="*/ 3108864 h 4069169"/>
              <a:gd name="connsiteX170" fmla="*/ 2399150 w 5110790"/>
              <a:gd name="connsiteY170" fmla="*/ 3129493 h 4069169"/>
              <a:gd name="connsiteX171" fmla="*/ 2426712 w 5110790"/>
              <a:gd name="connsiteY171" fmla="*/ 3164203 h 4069169"/>
              <a:gd name="connsiteX172" fmla="*/ 2462952 w 5110790"/>
              <a:gd name="connsiteY172" fmla="*/ 3189707 h 4069169"/>
              <a:gd name="connsiteX173" fmla="*/ 2484656 w 5110790"/>
              <a:gd name="connsiteY173" fmla="*/ 3198827 h 4069169"/>
              <a:gd name="connsiteX174" fmla="*/ 2508928 w 5110790"/>
              <a:gd name="connsiteY174" fmla="*/ 3205429 h 4069169"/>
              <a:gd name="connsiteX175" fmla="*/ 2535898 w 5110790"/>
              <a:gd name="connsiteY175" fmla="*/ 3209444 h 4069169"/>
              <a:gd name="connsiteX176" fmla="*/ 2565698 w 5110790"/>
              <a:gd name="connsiteY176" fmla="*/ 3210798 h 4069169"/>
              <a:gd name="connsiteX177" fmla="*/ 2565698 w 5110790"/>
              <a:gd name="connsiteY177" fmla="*/ 3269508 h 4069169"/>
              <a:gd name="connsiteX178" fmla="*/ 2533244 w 5110790"/>
              <a:gd name="connsiteY178" fmla="*/ 3268362 h 4069169"/>
              <a:gd name="connsiteX179" fmla="*/ 2503241 w 5110790"/>
              <a:gd name="connsiteY179" fmla="*/ 3264959 h 4069169"/>
              <a:gd name="connsiteX180" fmla="*/ 2475603 w 5110790"/>
              <a:gd name="connsiteY180" fmla="*/ 3259347 h 4069169"/>
              <a:gd name="connsiteX181" fmla="*/ 2450247 w 5110790"/>
              <a:gd name="connsiteY181" fmla="*/ 3251579 h 4069169"/>
              <a:gd name="connsiteX182" fmla="*/ 2427085 w 5110790"/>
              <a:gd name="connsiteY182" fmla="*/ 3241703 h 4069169"/>
              <a:gd name="connsiteX183" fmla="*/ 2406034 w 5110790"/>
              <a:gd name="connsiteY183" fmla="*/ 3229769 h 4069169"/>
              <a:gd name="connsiteX184" fmla="*/ 2387009 w 5110790"/>
              <a:gd name="connsiteY184" fmla="*/ 3215828 h 4069169"/>
              <a:gd name="connsiteX185" fmla="*/ 2369924 w 5110790"/>
              <a:gd name="connsiteY185" fmla="*/ 3199931 h 4069169"/>
              <a:gd name="connsiteX186" fmla="*/ 2354694 w 5110790"/>
              <a:gd name="connsiteY186" fmla="*/ 3182126 h 4069169"/>
              <a:gd name="connsiteX187" fmla="*/ 2341235 w 5110790"/>
              <a:gd name="connsiteY187" fmla="*/ 3162464 h 4069169"/>
              <a:gd name="connsiteX188" fmla="*/ 2329461 w 5110790"/>
              <a:gd name="connsiteY188" fmla="*/ 3140995 h 4069169"/>
              <a:gd name="connsiteX189" fmla="*/ 2319288 w 5110790"/>
              <a:gd name="connsiteY189" fmla="*/ 3117770 h 4069169"/>
              <a:gd name="connsiteX190" fmla="*/ 2310630 w 5110790"/>
              <a:gd name="connsiteY190" fmla="*/ 3092837 h 4069169"/>
              <a:gd name="connsiteX191" fmla="*/ 2303402 w 5110790"/>
              <a:gd name="connsiteY191" fmla="*/ 3066249 h 4069169"/>
              <a:gd name="connsiteX192" fmla="*/ 2297519 w 5110790"/>
              <a:gd name="connsiteY192" fmla="*/ 3038054 h 4069169"/>
              <a:gd name="connsiteX193" fmla="*/ 2292897 w 5110790"/>
              <a:gd name="connsiteY193" fmla="*/ 3008303 h 4069169"/>
              <a:gd name="connsiteX194" fmla="*/ 2289449 w 5110790"/>
              <a:gd name="connsiteY194" fmla="*/ 2977045 h 4069169"/>
              <a:gd name="connsiteX195" fmla="*/ 2287092 w 5110790"/>
              <a:gd name="connsiteY195" fmla="*/ 2944332 h 4069169"/>
              <a:gd name="connsiteX196" fmla="*/ 2285740 w 5110790"/>
              <a:gd name="connsiteY196" fmla="*/ 2910212 h 4069169"/>
              <a:gd name="connsiteX197" fmla="*/ 2285309 w 5110790"/>
              <a:gd name="connsiteY197" fmla="*/ 2874737 h 4069169"/>
              <a:gd name="connsiteX198" fmla="*/ 2285755 w 5110790"/>
              <a:gd name="connsiteY198" fmla="*/ 2839413 h 4069169"/>
              <a:gd name="connsiteX199" fmla="*/ 2287147 w 5110790"/>
              <a:gd name="connsiteY199" fmla="*/ 2805445 h 4069169"/>
              <a:gd name="connsiteX200" fmla="*/ 2289566 w 5110790"/>
              <a:gd name="connsiteY200" fmla="*/ 2772881 h 4069169"/>
              <a:gd name="connsiteX201" fmla="*/ 2293091 w 5110790"/>
              <a:gd name="connsiteY201" fmla="*/ 2741770 h 4069169"/>
              <a:gd name="connsiteX202" fmla="*/ 2297804 w 5110790"/>
              <a:gd name="connsiteY202" fmla="*/ 2712163 h 4069169"/>
              <a:gd name="connsiteX203" fmla="*/ 2303784 w 5110790"/>
              <a:gd name="connsiteY203" fmla="*/ 2684109 h 4069169"/>
              <a:gd name="connsiteX204" fmla="*/ 2311113 w 5110790"/>
              <a:gd name="connsiteY204" fmla="*/ 2657656 h 4069169"/>
              <a:gd name="connsiteX205" fmla="*/ 2319870 w 5110790"/>
              <a:gd name="connsiteY205" fmla="*/ 2632854 h 4069169"/>
              <a:gd name="connsiteX206" fmla="*/ 2330137 w 5110790"/>
              <a:gd name="connsiteY206" fmla="*/ 2609754 h 4069169"/>
              <a:gd name="connsiteX207" fmla="*/ 2341994 w 5110790"/>
              <a:gd name="connsiteY207" fmla="*/ 2588403 h 4069169"/>
              <a:gd name="connsiteX208" fmla="*/ 2355521 w 5110790"/>
              <a:gd name="connsiteY208" fmla="*/ 2568850 h 4069169"/>
              <a:gd name="connsiteX209" fmla="*/ 2370798 w 5110790"/>
              <a:gd name="connsiteY209" fmla="*/ 2551147 h 4069169"/>
              <a:gd name="connsiteX210" fmla="*/ 2387907 w 5110790"/>
              <a:gd name="connsiteY210" fmla="*/ 2535342 h 4069169"/>
              <a:gd name="connsiteX211" fmla="*/ 2406927 w 5110790"/>
              <a:gd name="connsiteY211" fmla="*/ 2521483 h 4069169"/>
              <a:gd name="connsiteX212" fmla="*/ 2427939 w 5110790"/>
              <a:gd name="connsiteY212" fmla="*/ 2509622 h 4069169"/>
              <a:gd name="connsiteX213" fmla="*/ 2451024 w 5110790"/>
              <a:gd name="connsiteY213" fmla="*/ 2499807 h 4069169"/>
              <a:gd name="connsiteX214" fmla="*/ 2476262 w 5110790"/>
              <a:gd name="connsiteY214" fmla="*/ 2492087 h 4069169"/>
              <a:gd name="connsiteX215" fmla="*/ 2503733 w 5110790"/>
              <a:gd name="connsiteY215" fmla="*/ 2486511 h 4069169"/>
              <a:gd name="connsiteX216" fmla="*/ 2533518 w 5110790"/>
              <a:gd name="connsiteY216" fmla="*/ 2483129 h 4069169"/>
              <a:gd name="connsiteX217" fmla="*/ 4308476 w 5110790"/>
              <a:gd name="connsiteY217" fmla="*/ 2413668 h 4069169"/>
              <a:gd name="connsiteX218" fmla="*/ 4389455 w 5110790"/>
              <a:gd name="connsiteY218" fmla="*/ 2413668 h 4069169"/>
              <a:gd name="connsiteX219" fmla="*/ 4503836 w 5110790"/>
              <a:gd name="connsiteY219" fmla="*/ 2623200 h 4069169"/>
              <a:gd name="connsiteX220" fmla="*/ 4387430 w 5110790"/>
              <a:gd name="connsiteY220" fmla="*/ 2838804 h 4069169"/>
              <a:gd name="connsiteX221" fmla="*/ 4308476 w 5110790"/>
              <a:gd name="connsiteY221" fmla="*/ 2838804 h 4069169"/>
              <a:gd name="connsiteX222" fmla="*/ 4407674 w 5110790"/>
              <a:gd name="connsiteY222" fmla="*/ 2653567 h 4069169"/>
              <a:gd name="connsiteX223" fmla="*/ 4017966 w 5110790"/>
              <a:gd name="connsiteY223" fmla="*/ 2653567 h 4069169"/>
              <a:gd name="connsiteX224" fmla="*/ 4017966 w 5110790"/>
              <a:gd name="connsiteY224" fmla="*/ 2588784 h 4069169"/>
              <a:gd name="connsiteX225" fmla="*/ 4405650 w 5110790"/>
              <a:gd name="connsiteY225" fmla="*/ 2588784 h 4069169"/>
              <a:gd name="connsiteX226" fmla="*/ 2147951 w 5110790"/>
              <a:gd name="connsiteY226" fmla="*/ 2190467 h 4069169"/>
              <a:gd name="connsiteX227" fmla="*/ 2173557 w 5110790"/>
              <a:gd name="connsiteY227" fmla="*/ 2192697 h 4069169"/>
              <a:gd name="connsiteX228" fmla="*/ 2193375 w 5110790"/>
              <a:gd name="connsiteY228" fmla="*/ 2200715 h 4069169"/>
              <a:gd name="connsiteX229" fmla="*/ 2206169 w 5110790"/>
              <a:gd name="connsiteY229" fmla="*/ 2216516 h 4069169"/>
              <a:gd name="connsiteX230" fmla="*/ 2210708 w 5110790"/>
              <a:gd name="connsiteY230" fmla="*/ 2242090 h 4069169"/>
              <a:gd name="connsiteX231" fmla="*/ 2206169 w 5110790"/>
              <a:gd name="connsiteY231" fmla="*/ 2268835 h 4069169"/>
              <a:gd name="connsiteX232" fmla="*/ 2193375 w 5110790"/>
              <a:gd name="connsiteY232" fmla="*/ 2285237 h 4069169"/>
              <a:gd name="connsiteX233" fmla="*/ 2173557 w 5110790"/>
              <a:gd name="connsiteY233" fmla="*/ 2293477 h 4069169"/>
              <a:gd name="connsiteX234" fmla="*/ 2147951 w 5110790"/>
              <a:gd name="connsiteY234" fmla="*/ 2295739 h 4069169"/>
              <a:gd name="connsiteX235" fmla="*/ 2122345 w 5110790"/>
              <a:gd name="connsiteY235" fmla="*/ 2293477 h 4069169"/>
              <a:gd name="connsiteX236" fmla="*/ 2102527 w 5110790"/>
              <a:gd name="connsiteY236" fmla="*/ 2285237 h 4069169"/>
              <a:gd name="connsiteX237" fmla="*/ 2089732 w 5110790"/>
              <a:gd name="connsiteY237" fmla="*/ 2268835 h 4069169"/>
              <a:gd name="connsiteX238" fmla="*/ 2085193 w 5110790"/>
              <a:gd name="connsiteY238" fmla="*/ 2242090 h 4069169"/>
              <a:gd name="connsiteX239" fmla="*/ 2089874 w 5110790"/>
              <a:gd name="connsiteY239" fmla="*/ 2216516 h 4069169"/>
              <a:gd name="connsiteX240" fmla="*/ 2102907 w 5110790"/>
              <a:gd name="connsiteY240" fmla="*/ 2200715 h 4069169"/>
              <a:gd name="connsiteX241" fmla="*/ 2122772 w 5110790"/>
              <a:gd name="connsiteY241" fmla="*/ 2192697 h 4069169"/>
              <a:gd name="connsiteX242" fmla="*/ 784523 w 5110790"/>
              <a:gd name="connsiteY242" fmla="*/ 2190467 h 4069169"/>
              <a:gd name="connsiteX243" fmla="*/ 810129 w 5110790"/>
              <a:gd name="connsiteY243" fmla="*/ 2192697 h 4069169"/>
              <a:gd name="connsiteX244" fmla="*/ 829946 w 5110790"/>
              <a:gd name="connsiteY244" fmla="*/ 2200715 h 4069169"/>
              <a:gd name="connsiteX245" fmla="*/ 842741 w 5110790"/>
              <a:gd name="connsiteY245" fmla="*/ 2216516 h 4069169"/>
              <a:gd name="connsiteX246" fmla="*/ 847281 w 5110790"/>
              <a:gd name="connsiteY246" fmla="*/ 2242090 h 4069169"/>
              <a:gd name="connsiteX247" fmla="*/ 842741 w 5110790"/>
              <a:gd name="connsiteY247" fmla="*/ 2268835 h 4069169"/>
              <a:gd name="connsiteX248" fmla="*/ 829946 w 5110790"/>
              <a:gd name="connsiteY248" fmla="*/ 2285237 h 4069169"/>
              <a:gd name="connsiteX249" fmla="*/ 810129 w 5110790"/>
              <a:gd name="connsiteY249" fmla="*/ 2293477 h 4069169"/>
              <a:gd name="connsiteX250" fmla="*/ 784523 w 5110790"/>
              <a:gd name="connsiteY250" fmla="*/ 2295739 h 4069169"/>
              <a:gd name="connsiteX251" fmla="*/ 758916 w 5110790"/>
              <a:gd name="connsiteY251" fmla="*/ 2293477 h 4069169"/>
              <a:gd name="connsiteX252" fmla="*/ 739099 w 5110790"/>
              <a:gd name="connsiteY252" fmla="*/ 2285237 h 4069169"/>
              <a:gd name="connsiteX253" fmla="*/ 726304 w 5110790"/>
              <a:gd name="connsiteY253" fmla="*/ 2268835 h 4069169"/>
              <a:gd name="connsiteX254" fmla="*/ 721765 w 5110790"/>
              <a:gd name="connsiteY254" fmla="*/ 2242090 h 4069169"/>
              <a:gd name="connsiteX255" fmla="*/ 726446 w 5110790"/>
              <a:gd name="connsiteY255" fmla="*/ 2216516 h 4069169"/>
              <a:gd name="connsiteX256" fmla="*/ 739479 w 5110790"/>
              <a:gd name="connsiteY256" fmla="*/ 2200715 h 4069169"/>
              <a:gd name="connsiteX257" fmla="*/ 759344 w 5110790"/>
              <a:gd name="connsiteY257" fmla="*/ 2192697 h 4069169"/>
              <a:gd name="connsiteX258" fmla="*/ 62758 w 5110790"/>
              <a:gd name="connsiteY258" fmla="*/ 2190467 h 4069169"/>
              <a:gd name="connsiteX259" fmla="*/ 88364 w 5110790"/>
              <a:gd name="connsiteY259" fmla="*/ 2192697 h 4069169"/>
              <a:gd name="connsiteX260" fmla="*/ 108181 w 5110790"/>
              <a:gd name="connsiteY260" fmla="*/ 2200715 h 4069169"/>
              <a:gd name="connsiteX261" fmla="*/ 120977 w 5110790"/>
              <a:gd name="connsiteY261" fmla="*/ 2216516 h 4069169"/>
              <a:gd name="connsiteX262" fmla="*/ 125516 w 5110790"/>
              <a:gd name="connsiteY262" fmla="*/ 2242090 h 4069169"/>
              <a:gd name="connsiteX263" fmla="*/ 120977 w 5110790"/>
              <a:gd name="connsiteY263" fmla="*/ 2268835 h 4069169"/>
              <a:gd name="connsiteX264" fmla="*/ 108181 w 5110790"/>
              <a:gd name="connsiteY264" fmla="*/ 2285237 h 4069169"/>
              <a:gd name="connsiteX265" fmla="*/ 88364 w 5110790"/>
              <a:gd name="connsiteY265" fmla="*/ 2293477 h 4069169"/>
              <a:gd name="connsiteX266" fmla="*/ 62758 w 5110790"/>
              <a:gd name="connsiteY266" fmla="*/ 2295739 h 4069169"/>
              <a:gd name="connsiteX267" fmla="*/ 37151 w 5110790"/>
              <a:gd name="connsiteY267" fmla="*/ 2293477 h 4069169"/>
              <a:gd name="connsiteX268" fmla="*/ 17334 w 5110790"/>
              <a:gd name="connsiteY268" fmla="*/ 2285237 h 4069169"/>
              <a:gd name="connsiteX269" fmla="*/ 4539 w 5110790"/>
              <a:gd name="connsiteY269" fmla="*/ 2268835 h 4069169"/>
              <a:gd name="connsiteX270" fmla="*/ 0 w 5110790"/>
              <a:gd name="connsiteY270" fmla="*/ 2242090 h 4069169"/>
              <a:gd name="connsiteX271" fmla="*/ 4681 w 5110790"/>
              <a:gd name="connsiteY271" fmla="*/ 2216516 h 4069169"/>
              <a:gd name="connsiteX272" fmla="*/ 17713 w 5110790"/>
              <a:gd name="connsiteY272" fmla="*/ 2200715 h 4069169"/>
              <a:gd name="connsiteX273" fmla="*/ 37578 w 5110790"/>
              <a:gd name="connsiteY273" fmla="*/ 2192697 h 4069169"/>
              <a:gd name="connsiteX274" fmla="*/ 4915430 w 5110790"/>
              <a:gd name="connsiteY274" fmla="*/ 1822022 h 4069169"/>
              <a:gd name="connsiteX275" fmla="*/ 4996408 w 5110790"/>
              <a:gd name="connsiteY275" fmla="*/ 1822022 h 4069169"/>
              <a:gd name="connsiteX276" fmla="*/ 5110790 w 5110790"/>
              <a:gd name="connsiteY276" fmla="*/ 2031553 h 4069169"/>
              <a:gd name="connsiteX277" fmla="*/ 4994384 w 5110790"/>
              <a:gd name="connsiteY277" fmla="*/ 2247158 h 4069169"/>
              <a:gd name="connsiteX278" fmla="*/ 4915430 w 5110790"/>
              <a:gd name="connsiteY278" fmla="*/ 2247158 h 4069169"/>
              <a:gd name="connsiteX279" fmla="*/ 5014628 w 5110790"/>
              <a:gd name="connsiteY279" fmla="*/ 2061920 h 4069169"/>
              <a:gd name="connsiteX280" fmla="*/ 4624920 w 5110790"/>
              <a:gd name="connsiteY280" fmla="*/ 2061920 h 4069169"/>
              <a:gd name="connsiteX281" fmla="*/ 4624920 w 5110790"/>
              <a:gd name="connsiteY281" fmla="*/ 1997137 h 4069169"/>
              <a:gd name="connsiteX282" fmla="*/ 5012604 w 5110790"/>
              <a:gd name="connsiteY282" fmla="*/ 1997137 h 4069169"/>
              <a:gd name="connsiteX283" fmla="*/ 2876800 w 5110790"/>
              <a:gd name="connsiteY283" fmla="*/ 1822016 h 4069169"/>
              <a:gd name="connsiteX284" fmla="*/ 2957778 w 5110790"/>
              <a:gd name="connsiteY284" fmla="*/ 1822016 h 4069169"/>
              <a:gd name="connsiteX285" fmla="*/ 3072160 w 5110790"/>
              <a:gd name="connsiteY285" fmla="*/ 2031547 h 4069169"/>
              <a:gd name="connsiteX286" fmla="*/ 2955754 w 5110790"/>
              <a:gd name="connsiteY286" fmla="*/ 2247152 h 4069169"/>
              <a:gd name="connsiteX287" fmla="*/ 2876800 w 5110790"/>
              <a:gd name="connsiteY287" fmla="*/ 2247152 h 4069169"/>
              <a:gd name="connsiteX288" fmla="*/ 2975998 w 5110790"/>
              <a:gd name="connsiteY288" fmla="*/ 2061915 h 4069169"/>
              <a:gd name="connsiteX289" fmla="*/ 2586290 w 5110790"/>
              <a:gd name="connsiteY289" fmla="*/ 2061915 h 4069169"/>
              <a:gd name="connsiteX290" fmla="*/ 2586290 w 5110790"/>
              <a:gd name="connsiteY290" fmla="*/ 1997132 h 4069169"/>
              <a:gd name="connsiteX291" fmla="*/ 2973974 w 5110790"/>
              <a:gd name="connsiteY291" fmla="*/ 1997132 h 4069169"/>
              <a:gd name="connsiteX292" fmla="*/ 1513768 w 5110790"/>
              <a:gd name="connsiteY292" fmla="*/ 1822016 h 4069169"/>
              <a:gd name="connsiteX293" fmla="*/ 1594748 w 5110790"/>
              <a:gd name="connsiteY293" fmla="*/ 1822016 h 4069169"/>
              <a:gd name="connsiteX294" fmla="*/ 1709128 w 5110790"/>
              <a:gd name="connsiteY294" fmla="*/ 2031547 h 4069169"/>
              <a:gd name="connsiteX295" fmla="*/ 1592723 w 5110790"/>
              <a:gd name="connsiteY295" fmla="*/ 2247152 h 4069169"/>
              <a:gd name="connsiteX296" fmla="*/ 1513768 w 5110790"/>
              <a:gd name="connsiteY296" fmla="*/ 2247152 h 4069169"/>
              <a:gd name="connsiteX297" fmla="*/ 1612966 w 5110790"/>
              <a:gd name="connsiteY297" fmla="*/ 2061915 h 4069169"/>
              <a:gd name="connsiteX298" fmla="*/ 1223259 w 5110790"/>
              <a:gd name="connsiteY298" fmla="*/ 2061915 h 4069169"/>
              <a:gd name="connsiteX299" fmla="*/ 1223259 w 5110790"/>
              <a:gd name="connsiteY299" fmla="*/ 1997132 h 4069169"/>
              <a:gd name="connsiteX300" fmla="*/ 1610942 w 5110790"/>
              <a:gd name="connsiteY300" fmla="*/ 1997132 h 4069169"/>
              <a:gd name="connsiteX301" fmla="*/ 2147951 w 5110790"/>
              <a:gd name="connsiteY301" fmla="*/ 1765330 h 4069169"/>
              <a:gd name="connsiteX302" fmla="*/ 2173557 w 5110790"/>
              <a:gd name="connsiteY302" fmla="*/ 1767433 h 4069169"/>
              <a:gd name="connsiteX303" fmla="*/ 2193375 w 5110790"/>
              <a:gd name="connsiteY303" fmla="*/ 1775325 h 4069169"/>
              <a:gd name="connsiteX304" fmla="*/ 2206169 w 5110790"/>
              <a:gd name="connsiteY304" fmla="*/ 1791378 h 4069169"/>
              <a:gd name="connsiteX305" fmla="*/ 2210708 w 5110790"/>
              <a:gd name="connsiteY305" fmla="*/ 1817966 h 4069169"/>
              <a:gd name="connsiteX306" fmla="*/ 2206169 w 5110790"/>
              <a:gd name="connsiteY306" fmla="*/ 1843698 h 4069169"/>
              <a:gd name="connsiteX307" fmla="*/ 2193375 w 5110790"/>
              <a:gd name="connsiteY307" fmla="*/ 1859846 h 4069169"/>
              <a:gd name="connsiteX308" fmla="*/ 2173557 w 5110790"/>
              <a:gd name="connsiteY308" fmla="*/ 1868213 h 4069169"/>
              <a:gd name="connsiteX309" fmla="*/ 2147951 w 5110790"/>
              <a:gd name="connsiteY309" fmla="*/ 1870601 h 4069169"/>
              <a:gd name="connsiteX310" fmla="*/ 2122930 w 5110790"/>
              <a:gd name="connsiteY310" fmla="*/ 1868213 h 4069169"/>
              <a:gd name="connsiteX311" fmla="*/ 2103413 w 5110790"/>
              <a:gd name="connsiteY311" fmla="*/ 1859846 h 4069169"/>
              <a:gd name="connsiteX312" fmla="*/ 2090728 w 5110790"/>
              <a:gd name="connsiteY312" fmla="*/ 1843698 h 4069169"/>
              <a:gd name="connsiteX313" fmla="*/ 2086205 w 5110790"/>
              <a:gd name="connsiteY313" fmla="*/ 1817966 h 4069169"/>
              <a:gd name="connsiteX314" fmla="*/ 2090728 w 5110790"/>
              <a:gd name="connsiteY314" fmla="*/ 1791378 h 4069169"/>
              <a:gd name="connsiteX315" fmla="*/ 2103413 w 5110790"/>
              <a:gd name="connsiteY315" fmla="*/ 1775325 h 4069169"/>
              <a:gd name="connsiteX316" fmla="*/ 2122930 w 5110790"/>
              <a:gd name="connsiteY316" fmla="*/ 1767433 h 4069169"/>
              <a:gd name="connsiteX317" fmla="*/ 784523 w 5110790"/>
              <a:gd name="connsiteY317" fmla="*/ 1765330 h 4069169"/>
              <a:gd name="connsiteX318" fmla="*/ 810129 w 5110790"/>
              <a:gd name="connsiteY318" fmla="*/ 1767433 h 4069169"/>
              <a:gd name="connsiteX319" fmla="*/ 829946 w 5110790"/>
              <a:gd name="connsiteY319" fmla="*/ 1775325 h 4069169"/>
              <a:gd name="connsiteX320" fmla="*/ 842741 w 5110790"/>
              <a:gd name="connsiteY320" fmla="*/ 1791378 h 4069169"/>
              <a:gd name="connsiteX321" fmla="*/ 847281 w 5110790"/>
              <a:gd name="connsiteY321" fmla="*/ 1817966 h 4069169"/>
              <a:gd name="connsiteX322" fmla="*/ 842741 w 5110790"/>
              <a:gd name="connsiteY322" fmla="*/ 1843698 h 4069169"/>
              <a:gd name="connsiteX323" fmla="*/ 829946 w 5110790"/>
              <a:gd name="connsiteY323" fmla="*/ 1859846 h 4069169"/>
              <a:gd name="connsiteX324" fmla="*/ 810129 w 5110790"/>
              <a:gd name="connsiteY324" fmla="*/ 1868213 h 4069169"/>
              <a:gd name="connsiteX325" fmla="*/ 784523 w 5110790"/>
              <a:gd name="connsiteY325" fmla="*/ 1870601 h 4069169"/>
              <a:gd name="connsiteX326" fmla="*/ 759502 w 5110790"/>
              <a:gd name="connsiteY326" fmla="*/ 1868213 h 4069169"/>
              <a:gd name="connsiteX327" fmla="*/ 739984 w 5110790"/>
              <a:gd name="connsiteY327" fmla="*/ 1859846 h 4069169"/>
              <a:gd name="connsiteX328" fmla="*/ 727300 w 5110790"/>
              <a:gd name="connsiteY328" fmla="*/ 1843698 h 4069169"/>
              <a:gd name="connsiteX329" fmla="*/ 722776 w 5110790"/>
              <a:gd name="connsiteY329" fmla="*/ 1817966 h 4069169"/>
              <a:gd name="connsiteX330" fmla="*/ 727300 w 5110790"/>
              <a:gd name="connsiteY330" fmla="*/ 1791378 h 4069169"/>
              <a:gd name="connsiteX331" fmla="*/ 739984 w 5110790"/>
              <a:gd name="connsiteY331" fmla="*/ 1775325 h 4069169"/>
              <a:gd name="connsiteX332" fmla="*/ 759502 w 5110790"/>
              <a:gd name="connsiteY332" fmla="*/ 1767433 h 4069169"/>
              <a:gd name="connsiteX333" fmla="*/ 62758 w 5110790"/>
              <a:gd name="connsiteY333" fmla="*/ 1765330 h 4069169"/>
              <a:gd name="connsiteX334" fmla="*/ 88364 w 5110790"/>
              <a:gd name="connsiteY334" fmla="*/ 1767433 h 4069169"/>
              <a:gd name="connsiteX335" fmla="*/ 108181 w 5110790"/>
              <a:gd name="connsiteY335" fmla="*/ 1775325 h 4069169"/>
              <a:gd name="connsiteX336" fmla="*/ 120977 w 5110790"/>
              <a:gd name="connsiteY336" fmla="*/ 1791378 h 4069169"/>
              <a:gd name="connsiteX337" fmla="*/ 125516 w 5110790"/>
              <a:gd name="connsiteY337" fmla="*/ 1817966 h 4069169"/>
              <a:gd name="connsiteX338" fmla="*/ 120977 w 5110790"/>
              <a:gd name="connsiteY338" fmla="*/ 1843698 h 4069169"/>
              <a:gd name="connsiteX339" fmla="*/ 108181 w 5110790"/>
              <a:gd name="connsiteY339" fmla="*/ 1859846 h 4069169"/>
              <a:gd name="connsiteX340" fmla="*/ 88364 w 5110790"/>
              <a:gd name="connsiteY340" fmla="*/ 1868213 h 4069169"/>
              <a:gd name="connsiteX341" fmla="*/ 62758 w 5110790"/>
              <a:gd name="connsiteY341" fmla="*/ 1870601 h 4069169"/>
              <a:gd name="connsiteX342" fmla="*/ 37736 w 5110790"/>
              <a:gd name="connsiteY342" fmla="*/ 1868213 h 4069169"/>
              <a:gd name="connsiteX343" fmla="*/ 18219 w 5110790"/>
              <a:gd name="connsiteY343" fmla="*/ 1859846 h 4069169"/>
              <a:gd name="connsiteX344" fmla="*/ 5535 w 5110790"/>
              <a:gd name="connsiteY344" fmla="*/ 1843698 h 4069169"/>
              <a:gd name="connsiteX345" fmla="*/ 1012 w 5110790"/>
              <a:gd name="connsiteY345" fmla="*/ 1817966 h 4069169"/>
              <a:gd name="connsiteX346" fmla="*/ 5535 w 5110790"/>
              <a:gd name="connsiteY346" fmla="*/ 1791378 h 4069169"/>
              <a:gd name="connsiteX347" fmla="*/ 18219 w 5110790"/>
              <a:gd name="connsiteY347" fmla="*/ 1775325 h 4069169"/>
              <a:gd name="connsiteX348" fmla="*/ 37736 w 5110790"/>
              <a:gd name="connsiteY348" fmla="*/ 1767433 h 4069169"/>
              <a:gd name="connsiteX349" fmla="*/ 3434660 w 5110790"/>
              <a:gd name="connsiteY349" fmla="*/ 1570981 h 4069169"/>
              <a:gd name="connsiteX350" fmla="*/ 3466840 w 5110790"/>
              <a:gd name="connsiteY350" fmla="*/ 1572118 h 4069169"/>
              <a:gd name="connsiteX351" fmla="*/ 3496625 w 5110790"/>
              <a:gd name="connsiteY351" fmla="*/ 1575500 h 4069169"/>
              <a:gd name="connsiteX352" fmla="*/ 3524096 w 5110790"/>
              <a:gd name="connsiteY352" fmla="*/ 1581076 h 4069169"/>
              <a:gd name="connsiteX353" fmla="*/ 3549334 w 5110790"/>
              <a:gd name="connsiteY353" fmla="*/ 1588796 h 4069169"/>
              <a:gd name="connsiteX354" fmla="*/ 3572418 w 5110790"/>
              <a:gd name="connsiteY354" fmla="*/ 1598611 h 4069169"/>
              <a:gd name="connsiteX355" fmla="*/ 3593431 w 5110790"/>
              <a:gd name="connsiteY355" fmla="*/ 1610473 h 4069169"/>
              <a:gd name="connsiteX356" fmla="*/ 3612450 w 5110790"/>
              <a:gd name="connsiteY356" fmla="*/ 1624331 h 4069169"/>
              <a:gd name="connsiteX357" fmla="*/ 3629559 w 5110790"/>
              <a:gd name="connsiteY357" fmla="*/ 1640136 h 4069169"/>
              <a:gd name="connsiteX358" fmla="*/ 3644837 w 5110790"/>
              <a:gd name="connsiteY358" fmla="*/ 1657839 h 4069169"/>
              <a:gd name="connsiteX359" fmla="*/ 3658363 w 5110790"/>
              <a:gd name="connsiteY359" fmla="*/ 1677391 h 4069169"/>
              <a:gd name="connsiteX360" fmla="*/ 3670219 w 5110790"/>
              <a:gd name="connsiteY360" fmla="*/ 1698743 h 4069169"/>
              <a:gd name="connsiteX361" fmla="*/ 3680486 w 5110790"/>
              <a:gd name="connsiteY361" fmla="*/ 1721844 h 4069169"/>
              <a:gd name="connsiteX362" fmla="*/ 3689244 w 5110790"/>
              <a:gd name="connsiteY362" fmla="*/ 1746646 h 4069169"/>
              <a:gd name="connsiteX363" fmla="*/ 3696573 w 5110790"/>
              <a:gd name="connsiteY363" fmla="*/ 1773098 h 4069169"/>
              <a:gd name="connsiteX364" fmla="*/ 3702553 w 5110790"/>
              <a:gd name="connsiteY364" fmla="*/ 1801152 h 4069169"/>
              <a:gd name="connsiteX365" fmla="*/ 3707266 w 5110790"/>
              <a:gd name="connsiteY365" fmla="*/ 1830760 h 4069169"/>
              <a:gd name="connsiteX366" fmla="*/ 3710792 w 5110790"/>
              <a:gd name="connsiteY366" fmla="*/ 1861870 h 4069169"/>
              <a:gd name="connsiteX367" fmla="*/ 3713210 w 5110790"/>
              <a:gd name="connsiteY367" fmla="*/ 1894434 h 4069169"/>
              <a:gd name="connsiteX368" fmla="*/ 3714602 w 5110790"/>
              <a:gd name="connsiteY368" fmla="*/ 1928402 h 4069169"/>
              <a:gd name="connsiteX369" fmla="*/ 3715048 w 5110790"/>
              <a:gd name="connsiteY369" fmla="*/ 1963726 h 4069169"/>
              <a:gd name="connsiteX370" fmla="*/ 3714624 w 5110790"/>
              <a:gd name="connsiteY370" fmla="*/ 1999201 h 4069169"/>
              <a:gd name="connsiteX371" fmla="*/ 3713292 w 5110790"/>
              <a:gd name="connsiteY371" fmla="*/ 2033321 h 4069169"/>
              <a:gd name="connsiteX372" fmla="*/ 3710966 w 5110790"/>
              <a:gd name="connsiteY372" fmla="*/ 2066034 h 4069169"/>
              <a:gd name="connsiteX373" fmla="*/ 3707557 w 5110790"/>
              <a:gd name="connsiteY373" fmla="*/ 2097292 h 4069169"/>
              <a:gd name="connsiteX374" fmla="*/ 3702980 w 5110790"/>
              <a:gd name="connsiteY374" fmla="*/ 2127043 h 4069169"/>
              <a:gd name="connsiteX375" fmla="*/ 3697147 w 5110790"/>
              <a:gd name="connsiteY375" fmla="*/ 2155238 h 4069169"/>
              <a:gd name="connsiteX376" fmla="*/ 3689969 w 5110790"/>
              <a:gd name="connsiteY376" fmla="*/ 2181827 h 4069169"/>
              <a:gd name="connsiteX377" fmla="*/ 3681361 w 5110790"/>
              <a:gd name="connsiteY377" fmla="*/ 2206759 h 4069169"/>
              <a:gd name="connsiteX378" fmla="*/ 3671234 w 5110790"/>
              <a:gd name="connsiteY378" fmla="*/ 2229984 h 4069169"/>
              <a:gd name="connsiteX379" fmla="*/ 3659502 w 5110790"/>
              <a:gd name="connsiteY379" fmla="*/ 2251453 h 4069169"/>
              <a:gd name="connsiteX380" fmla="*/ 3646077 w 5110790"/>
              <a:gd name="connsiteY380" fmla="*/ 2271115 h 4069169"/>
              <a:gd name="connsiteX381" fmla="*/ 3630871 w 5110790"/>
              <a:gd name="connsiteY381" fmla="*/ 2288919 h 4069169"/>
              <a:gd name="connsiteX382" fmla="*/ 3613798 w 5110790"/>
              <a:gd name="connsiteY382" fmla="*/ 2304817 h 4069169"/>
              <a:gd name="connsiteX383" fmla="*/ 3594769 w 5110790"/>
              <a:gd name="connsiteY383" fmla="*/ 2318758 h 4069169"/>
              <a:gd name="connsiteX384" fmla="*/ 3573700 w 5110790"/>
              <a:gd name="connsiteY384" fmla="*/ 2330691 h 4069169"/>
              <a:gd name="connsiteX385" fmla="*/ 3550500 w 5110790"/>
              <a:gd name="connsiteY385" fmla="*/ 2340567 h 4069169"/>
              <a:gd name="connsiteX386" fmla="*/ 3525083 w 5110790"/>
              <a:gd name="connsiteY386" fmla="*/ 2348336 h 4069169"/>
              <a:gd name="connsiteX387" fmla="*/ 3497363 w 5110790"/>
              <a:gd name="connsiteY387" fmla="*/ 2353947 h 4069169"/>
              <a:gd name="connsiteX388" fmla="*/ 3467251 w 5110790"/>
              <a:gd name="connsiteY388" fmla="*/ 2357351 h 4069169"/>
              <a:gd name="connsiteX389" fmla="*/ 3434660 w 5110790"/>
              <a:gd name="connsiteY389" fmla="*/ 2358496 h 4069169"/>
              <a:gd name="connsiteX390" fmla="*/ 3434660 w 5110790"/>
              <a:gd name="connsiteY390" fmla="*/ 2299787 h 4069169"/>
              <a:gd name="connsiteX391" fmla="*/ 3464787 w 5110790"/>
              <a:gd name="connsiteY391" fmla="*/ 2298433 h 4069169"/>
              <a:gd name="connsiteX392" fmla="*/ 3492025 w 5110790"/>
              <a:gd name="connsiteY392" fmla="*/ 2294418 h 4069169"/>
              <a:gd name="connsiteX393" fmla="*/ 3516511 w 5110790"/>
              <a:gd name="connsiteY393" fmla="*/ 2287816 h 4069169"/>
              <a:gd name="connsiteX394" fmla="*/ 3538383 w 5110790"/>
              <a:gd name="connsiteY394" fmla="*/ 2278696 h 4069169"/>
              <a:gd name="connsiteX395" fmla="*/ 3574832 w 5110790"/>
              <a:gd name="connsiteY395" fmla="*/ 2253193 h 4069169"/>
              <a:gd name="connsiteX396" fmla="*/ 3602470 w 5110790"/>
              <a:gd name="connsiteY396" fmla="*/ 2218482 h 4069169"/>
              <a:gd name="connsiteX397" fmla="*/ 3613327 w 5110790"/>
              <a:gd name="connsiteY397" fmla="*/ 2197853 h 4069169"/>
              <a:gd name="connsiteX398" fmla="*/ 3622393 w 5110790"/>
              <a:gd name="connsiteY398" fmla="*/ 2175138 h 4069169"/>
              <a:gd name="connsiteX399" fmla="*/ 3629805 w 5110790"/>
              <a:gd name="connsiteY399" fmla="*/ 2150408 h 4069169"/>
              <a:gd name="connsiteX400" fmla="*/ 3635701 w 5110790"/>
              <a:gd name="connsiteY400" fmla="*/ 2123734 h 4069169"/>
              <a:gd name="connsiteX401" fmla="*/ 3640217 w 5110790"/>
              <a:gd name="connsiteY401" fmla="*/ 2095189 h 4069169"/>
              <a:gd name="connsiteX402" fmla="*/ 3643490 w 5110790"/>
              <a:gd name="connsiteY402" fmla="*/ 2064844 h 4069169"/>
              <a:gd name="connsiteX403" fmla="*/ 3645659 w 5110790"/>
              <a:gd name="connsiteY403" fmla="*/ 2032771 h 4069169"/>
              <a:gd name="connsiteX404" fmla="*/ 3646859 w 5110790"/>
              <a:gd name="connsiteY404" fmla="*/ 1999041 h 4069169"/>
              <a:gd name="connsiteX405" fmla="*/ 3647229 w 5110790"/>
              <a:gd name="connsiteY405" fmla="*/ 1963726 h 4069169"/>
              <a:gd name="connsiteX406" fmla="*/ 3646839 w 5110790"/>
              <a:gd name="connsiteY406" fmla="*/ 1928758 h 4069169"/>
              <a:gd name="connsiteX407" fmla="*/ 3645584 w 5110790"/>
              <a:gd name="connsiteY407" fmla="*/ 1895355 h 4069169"/>
              <a:gd name="connsiteX408" fmla="*/ 3643335 w 5110790"/>
              <a:gd name="connsiteY408" fmla="*/ 1863586 h 4069169"/>
              <a:gd name="connsiteX409" fmla="*/ 3639960 w 5110790"/>
              <a:gd name="connsiteY409" fmla="*/ 1833525 h 4069169"/>
              <a:gd name="connsiteX410" fmla="*/ 3635330 w 5110790"/>
              <a:gd name="connsiteY410" fmla="*/ 1805242 h 4069169"/>
              <a:gd name="connsiteX411" fmla="*/ 3629316 w 5110790"/>
              <a:gd name="connsiteY411" fmla="*/ 1778810 h 4069169"/>
              <a:gd name="connsiteX412" fmla="*/ 3621788 w 5110790"/>
              <a:gd name="connsiteY412" fmla="*/ 1754300 h 4069169"/>
              <a:gd name="connsiteX413" fmla="*/ 3612615 w 5110790"/>
              <a:gd name="connsiteY413" fmla="*/ 1731785 h 4069169"/>
              <a:gd name="connsiteX414" fmla="*/ 3601669 w 5110790"/>
              <a:gd name="connsiteY414" fmla="*/ 1711335 h 4069169"/>
              <a:gd name="connsiteX415" fmla="*/ 3573935 w 5110790"/>
              <a:gd name="connsiteY415" fmla="*/ 1676919 h 4069169"/>
              <a:gd name="connsiteX416" fmla="*/ 3537548 w 5110790"/>
              <a:gd name="connsiteY416" fmla="*/ 1651625 h 4069169"/>
              <a:gd name="connsiteX417" fmla="*/ 3515784 w 5110790"/>
              <a:gd name="connsiteY417" fmla="*/ 1642579 h 4069169"/>
              <a:gd name="connsiteX418" fmla="*/ 3491469 w 5110790"/>
              <a:gd name="connsiteY418" fmla="*/ 1636029 h 4069169"/>
              <a:gd name="connsiteX419" fmla="*/ 3464471 w 5110790"/>
              <a:gd name="connsiteY419" fmla="*/ 1632046 h 4069169"/>
              <a:gd name="connsiteX420" fmla="*/ 3434660 w 5110790"/>
              <a:gd name="connsiteY420" fmla="*/ 1630702 h 4069169"/>
              <a:gd name="connsiteX421" fmla="*/ 3579243 w 5110790"/>
              <a:gd name="connsiteY421" fmla="*/ 1279461 h 4069169"/>
              <a:gd name="connsiteX422" fmla="*/ 3604850 w 5110790"/>
              <a:gd name="connsiteY422" fmla="*/ 1281691 h 4069169"/>
              <a:gd name="connsiteX423" fmla="*/ 3624668 w 5110790"/>
              <a:gd name="connsiteY423" fmla="*/ 1289709 h 4069169"/>
              <a:gd name="connsiteX424" fmla="*/ 3637463 w 5110790"/>
              <a:gd name="connsiteY424" fmla="*/ 1305510 h 4069169"/>
              <a:gd name="connsiteX425" fmla="*/ 3642002 w 5110790"/>
              <a:gd name="connsiteY425" fmla="*/ 1331085 h 4069169"/>
              <a:gd name="connsiteX426" fmla="*/ 3637463 w 5110790"/>
              <a:gd name="connsiteY426" fmla="*/ 1357829 h 4069169"/>
              <a:gd name="connsiteX427" fmla="*/ 3624668 w 5110790"/>
              <a:gd name="connsiteY427" fmla="*/ 1374231 h 4069169"/>
              <a:gd name="connsiteX428" fmla="*/ 3604850 w 5110790"/>
              <a:gd name="connsiteY428" fmla="*/ 1382471 h 4069169"/>
              <a:gd name="connsiteX429" fmla="*/ 3579243 w 5110790"/>
              <a:gd name="connsiteY429" fmla="*/ 1384733 h 4069169"/>
              <a:gd name="connsiteX430" fmla="*/ 3553637 w 5110790"/>
              <a:gd name="connsiteY430" fmla="*/ 1382471 h 4069169"/>
              <a:gd name="connsiteX431" fmla="*/ 3533820 w 5110790"/>
              <a:gd name="connsiteY431" fmla="*/ 1374231 h 4069169"/>
              <a:gd name="connsiteX432" fmla="*/ 3521024 w 5110790"/>
              <a:gd name="connsiteY432" fmla="*/ 1357829 h 4069169"/>
              <a:gd name="connsiteX433" fmla="*/ 3516485 w 5110790"/>
              <a:gd name="connsiteY433" fmla="*/ 1331085 h 4069169"/>
              <a:gd name="connsiteX434" fmla="*/ 3521166 w 5110790"/>
              <a:gd name="connsiteY434" fmla="*/ 1305510 h 4069169"/>
              <a:gd name="connsiteX435" fmla="*/ 3534199 w 5110790"/>
              <a:gd name="connsiteY435" fmla="*/ 1289709 h 4069169"/>
              <a:gd name="connsiteX436" fmla="*/ 3554064 w 5110790"/>
              <a:gd name="connsiteY436" fmla="*/ 1281691 h 4069169"/>
              <a:gd name="connsiteX437" fmla="*/ 1609095 w 5110790"/>
              <a:gd name="connsiteY437" fmla="*/ 1279455 h 4069169"/>
              <a:gd name="connsiteX438" fmla="*/ 1634701 w 5110790"/>
              <a:gd name="connsiteY438" fmla="*/ 1281685 h 4069169"/>
              <a:gd name="connsiteX439" fmla="*/ 1654519 w 5110790"/>
              <a:gd name="connsiteY439" fmla="*/ 1289703 h 4069169"/>
              <a:gd name="connsiteX440" fmla="*/ 1667313 w 5110790"/>
              <a:gd name="connsiteY440" fmla="*/ 1305504 h 4069169"/>
              <a:gd name="connsiteX441" fmla="*/ 1671852 w 5110790"/>
              <a:gd name="connsiteY441" fmla="*/ 1331078 h 4069169"/>
              <a:gd name="connsiteX442" fmla="*/ 1667313 w 5110790"/>
              <a:gd name="connsiteY442" fmla="*/ 1357823 h 4069169"/>
              <a:gd name="connsiteX443" fmla="*/ 1654519 w 5110790"/>
              <a:gd name="connsiteY443" fmla="*/ 1374224 h 4069169"/>
              <a:gd name="connsiteX444" fmla="*/ 1634701 w 5110790"/>
              <a:gd name="connsiteY444" fmla="*/ 1382465 h 4069169"/>
              <a:gd name="connsiteX445" fmla="*/ 1609095 w 5110790"/>
              <a:gd name="connsiteY445" fmla="*/ 1384726 h 4069169"/>
              <a:gd name="connsiteX446" fmla="*/ 1583489 w 5110790"/>
              <a:gd name="connsiteY446" fmla="*/ 1382465 h 4069169"/>
              <a:gd name="connsiteX447" fmla="*/ 1563671 w 5110790"/>
              <a:gd name="connsiteY447" fmla="*/ 1374224 h 4069169"/>
              <a:gd name="connsiteX448" fmla="*/ 1550877 w 5110790"/>
              <a:gd name="connsiteY448" fmla="*/ 1357823 h 4069169"/>
              <a:gd name="connsiteX449" fmla="*/ 1546337 w 5110790"/>
              <a:gd name="connsiteY449" fmla="*/ 1331078 h 4069169"/>
              <a:gd name="connsiteX450" fmla="*/ 1551018 w 5110790"/>
              <a:gd name="connsiteY450" fmla="*/ 1305504 h 4069169"/>
              <a:gd name="connsiteX451" fmla="*/ 1564051 w 5110790"/>
              <a:gd name="connsiteY451" fmla="*/ 1289703 h 4069169"/>
              <a:gd name="connsiteX452" fmla="*/ 1583916 w 5110790"/>
              <a:gd name="connsiteY452" fmla="*/ 1281685 h 4069169"/>
              <a:gd name="connsiteX453" fmla="*/ 4308476 w 5110790"/>
              <a:gd name="connsiteY453" fmla="*/ 1229360 h 4069169"/>
              <a:gd name="connsiteX454" fmla="*/ 4389455 w 5110790"/>
              <a:gd name="connsiteY454" fmla="*/ 1229360 h 4069169"/>
              <a:gd name="connsiteX455" fmla="*/ 4503836 w 5110790"/>
              <a:gd name="connsiteY455" fmla="*/ 1438891 h 4069169"/>
              <a:gd name="connsiteX456" fmla="*/ 4387430 w 5110790"/>
              <a:gd name="connsiteY456" fmla="*/ 1654496 h 4069169"/>
              <a:gd name="connsiteX457" fmla="*/ 4308476 w 5110790"/>
              <a:gd name="connsiteY457" fmla="*/ 1654496 h 4069169"/>
              <a:gd name="connsiteX458" fmla="*/ 4407674 w 5110790"/>
              <a:gd name="connsiteY458" fmla="*/ 1469259 h 4069169"/>
              <a:gd name="connsiteX459" fmla="*/ 4017966 w 5110790"/>
              <a:gd name="connsiteY459" fmla="*/ 1469259 h 4069169"/>
              <a:gd name="connsiteX460" fmla="*/ 4017966 w 5110790"/>
              <a:gd name="connsiteY460" fmla="*/ 1404475 h 4069169"/>
              <a:gd name="connsiteX461" fmla="*/ 4405650 w 5110790"/>
              <a:gd name="connsiteY461" fmla="*/ 1404475 h 4069169"/>
              <a:gd name="connsiteX462" fmla="*/ 3579243 w 5110790"/>
              <a:gd name="connsiteY462" fmla="*/ 854324 h 4069169"/>
              <a:gd name="connsiteX463" fmla="*/ 3604850 w 5110790"/>
              <a:gd name="connsiteY463" fmla="*/ 856427 h 4069169"/>
              <a:gd name="connsiteX464" fmla="*/ 3624668 w 5110790"/>
              <a:gd name="connsiteY464" fmla="*/ 864320 h 4069169"/>
              <a:gd name="connsiteX465" fmla="*/ 3637463 w 5110790"/>
              <a:gd name="connsiteY465" fmla="*/ 880373 h 4069169"/>
              <a:gd name="connsiteX466" fmla="*/ 3642002 w 5110790"/>
              <a:gd name="connsiteY466" fmla="*/ 906960 h 4069169"/>
              <a:gd name="connsiteX467" fmla="*/ 3637463 w 5110790"/>
              <a:gd name="connsiteY467" fmla="*/ 932693 h 4069169"/>
              <a:gd name="connsiteX468" fmla="*/ 3624668 w 5110790"/>
              <a:gd name="connsiteY468" fmla="*/ 948841 h 4069169"/>
              <a:gd name="connsiteX469" fmla="*/ 3604850 w 5110790"/>
              <a:gd name="connsiteY469" fmla="*/ 957207 h 4069169"/>
              <a:gd name="connsiteX470" fmla="*/ 3579243 w 5110790"/>
              <a:gd name="connsiteY470" fmla="*/ 959596 h 4069169"/>
              <a:gd name="connsiteX471" fmla="*/ 3554223 w 5110790"/>
              <a:gd name="connsiteY471" fmla="*/ 957207 h 4069169"/>
              <a:gd name="connsiteX472" fmla="*/ 3534706 w 5110790"/>
              <a:gd name="connsiteY472" fmla="*/ 948841 h 4069169"/>
              <a:gd name="connsiteX473" fmla="*/ 3522021 w 5110790"/>
              <a:gd name="connsiteY473" fmla="*/ 932693 h 4069169"/>
              <a:gd name="connsiteX474" fmla="*/ 3517498 w 5110790"/>
              <a:gd name="connsiteY474" fmla="*/ 906960 h 4069169"/>
              <a:gd name="connsiteX475" fmla="*/ 3522021 w 5110790"/>
              <a:gd name="connsiteY475" fmla="*/ 880373 h 4069169"/>
              <a:gd name="connsiteX476" fmla="*/ 3534706 w 5110790"/>
              <a:gd name="connsiteY476" fmla="*/ 864320 h 4069169"/>
              <a:gd name="connsiteX477" fmla="*/ 3554223 w 5110790"/>
              <a:gd name="connsiteY477" fmla="*/ 856427 h 4069169"/>
              <a:gd name="connsiteX478" fmla="*/ 1609095 w 5110790"/>
              <a:gd name="connsiteY478" fmla="*/ 854318 h 4069169"/>
              <a:gd name="connsiteX479" fmla="*/ 1634701 w 5110790"/>
              <a:gd name="connsiteY479" fmla="*/ 856421 h 4069169"/>
              <a:gd name="connsiteX480" fmla="*/ 1654519 w 5110790"/>
              <a:gd name="connsiteY480" fmla="*/ 864313 h 4069169"/>
              <a:gd name="connsiteX481" fmla="*/ 1667313 w 5110790"/>
              <a:gd name="connsiteY481" fmla="*/ 880366 h 4069169"/>
              <a:gd name="connsiteX482" fmla="*/ 1671852 w 5110790"/>
              <a:gd name="connsiteY482" fmla="*/ 906953 h 4069169"/>
              <a:gd name="connsiteX483" fmla="*/ 1667313 w 5110790"/>
              <a:gd name="connsiteY483" fmla="*/ 932686 h 4069169"/>
              <a:gd name="connsiteX484" fmla="*/ 1654519 w 5110790"/>
              <a:gd name="connsiteY484" fmla="*/ 948834 h 4069169"/>
              <a:gd name="connsiteX485" fmla="*/ 1634701 w 5110790"/>
              <a:gd name="connsiteY485" fmla="*/ 957201 h 4069169"/>
              <a:gd name="connsiteX486" fmla="*/ 1609095 w 5110790"/>
              <a:gd name="connsiteY486" fmla="*/ 959589 h 4069169"/>
              <a:gd name="connsiteX487" fmla="*/ 1584074 w 5110790"/>
              <a:gd name="connsiteY487" fmla="*/ 957201 h 4069169"/>
              <a:gd name="connsiteX488" fmla="*/ 1564557 w 5110790"/>
              <a:gd name="connsiteY488" fmla="*/ 948834 h 4069169"/>
              <a:gd name="connsiteX489" fmla="*/ 1551872 w 5110790"/>
              <a:gd name="connsiteY489" fmla="*/ 932686 h 4069169"/>
              <a:gd name="connsiteX490" fmla="*/ 1547349 w 5110790"/>
              <a:gd name="connsiteY490" fmla="*/ 906953 h 4069169"/>
              <a:gd name="connsiteX491" fmla="*/ 1551872 w 5110790"/>
              <a:gd name="connsiteY491" fmla="*/ 880366 h 4069169"/>
              <a:gd name="connsiteX492" fmla="*/ 1564557 w 5110790"/>
              <a:gd name="connsiteY492" fmla="*/ 864313 h 4069169"/>
              <a:gd name="connsiteX493" fmla="*/ 1584074 w 5110790"/>
              <a:gd name="connsiteY493" fmla="*/ 856421 h 4069169"/>
              <a:gd name="connsiteX494" fmla="*/ 2879125 w 5110790"/>
              <a:gd name="connsiteY494" fmla="*/ 659976 h 4069169"/>
              <a:gd name="connsiteX495" fmla="*/ 2911305 w 5110790"/>
              <a:gd name="connsiteY495" fmla="*/ 661113 h 4069169"/>
              <a:gd name="connsiteX496" fmla="*/ 2941090 w 5110790"/>
              <a:gd name="connsiteY496" fmla="*/ 664495 h 4069169"/>
              <a:gd name="connsiteX497" fmla="*/ 2968561 w 5110790"/>
              <a:gd name="connsiteY497" fmla="*/ 670071 h 4069169"/>
              <a:gd name="connsiteX498" fmla="*/ 2993799 w 5110790"/>
              <a:gd name="connsiteY498" fmla="*/ 677791 h 4069169"/>
              <a:gd name="connsiteX499" fmla="*/ 3016884 w 5110790"/>
              <a:gd name="connsiteY499" fmla="*/ 687607 h 4069169"/>
              <a:gd name="connsiteX500" fmla="*/ 3037896 w 5110790"/>
              <a:gd name="connsiteY500" fmla="*/ 699468 h 4069169"/>
              <a:gd name="connsiteX501" fmla="*/ 3056916 w 5110790"/>
              <a:gd name="connsiteY501" fmla="*/ 713326 h 4069169"/>
              <a:gd name="connsiteX502" fmla="*/ 3074024 w 5110790"/>
              <a:gd name="connsiteY502" fmla="*/ 729131 h 4069169"/>
              <a:gd name="connsiteX503" fmla="*/ 3089302 w 5110790"/>
              <a:gd name="connsiteY503" fmla="*/ 746834 h 4069169"/>
              <a:gd name="connsiteX504" fmla="*/ 3102829 w 5110790"/>
              <a:gd name="connsiteY504" fmla="*/ 766386 h 4069169"/>
              <a:gd name="connsiteX505" fmla="*/ 3114685 w 5110790"/>
              <a:gd name="connsiteY505" fmla="*/ 787738 h 4069169"/>
              <a:gd name="connsiteX506" fmla="*/ 3124952 w 5110790"/>
              <a:gd name="connsiteY506" fmla="*/ 810839 h 4069169"/>
              <a:gd name="connsiteX507" fmla="*/ 3133709 w 5110790"/>
              <a:gd name="connsiteY507" fmla="*/ 835640 h 4069169"/>
              <a:gd name="connsiteX508" fmla="*/ 3141039 w 5110790"/>
              <a:gd name="connsiteY508" fmla="*/ 862093 h 4069169"/>
              <a:gd name="connsiteX509" fmla="*/ 3147019 w 5110790"/>
              <a:gd name="connsiteY509" fmla="*/ 890147 h 4069169"/>
              <a:gd name="connsiteX510" fmla="*/ 3151732 w 5110790"/>
              <a:gd name="connsiteY510" fmla="*/ 919755 h 4069169"/>
              <a:gd name="connsiteX511" fmla="*/ 3155257 w 5110790"/>
              <a:gd name="connsiteY511" fmla="*/ 950865 h 4069169"/>
              <a:gd name="connsiteX512" fmla="*/ 3157675 w 5110790"/>
              <a:gd name="connsiteY512" fmla="*/ 983429 h 4069169"/>
              <a:gd name="connsiteX513" fmla="*/ 3159067 w 5110790"/>
              <a:gd name="connsiteY513" fmla="*/ 1017397 h 4069169"/>
              <a:gd name="connsiteX514" fmla="*/ 3159514 w 5110790"/>
              <a:gd name="connsiteY514" fmla="*/ 1052721 h 4069169"/>
              <a:gd name="connsiteX515" fmla="*/ 3159089 w 5110790"/>
              <a:gd name="connsiteY515" fmla="*/ 1088196 h 4069169"/>
              <a:gd name="connsiteX516" fmla="*/ 3157757 w 5110790"/>
              <a:gd name="connsiteY516" fmla="*/ 1122316 h 4069169"/>
              <a:gd name="connsiteX517" fmla="*/ 3155431 w 5110790"/>
              <a:gd name="connsiteY517" fmla="*/ 1155029 h 4069169"/>
              <a:gd name="connsiteX518" fmla="*/ 3152023 w 5110790"/>
              <a:gd name="connsiteY518" fmla="*/ 1186287 h 4069169"/>
              <a:gd name="connsiteX519" fmla="*/ 3147446 w 5110790"/>
              <a:gd name="connsiteY519" fmla="*/ 1216038 h 4069169"/>
              <a:gd name="connsiteX520" fmla="*/ 3141612 w 5110790"/>
              <a:gd name="connsiteY520" fmla="*/ 1244233 h 4069169"/>
              <a:gd name="connsiteX521" fmla="*/ 3134435 w 5110790"/>
              <a:gd name="connsiteY521" fmla="*/ 1270822 h 4069169"/>
              <a:gd name="connsiteX522" fmla="*/ 3125826 w 5110790"/>
              <a:gd name="connsiteY522" fmla="*/ 1295754 h 4069169"/>
              <a:gd name="connsiteX523" fmla="*/ 3115700 w 5110790"/>
              <a:gd name="connsiteY523" fmla="*/ 1318979 h 4069169"/>
              <a:gd name="connsiteX524" fmla="*/ 3103967 w 5110790"/>
              <a:gd name="connsiteY524" fmla="*/ 1340448 h 4069169"/>
              <a:gd name="connsiteX525" fmla="*/ 3090542 w 5110790"/>
              <a:gd name="connsiteY525" fmla="*/ 1360110 h 4069169"/>
              <a:gd name="connsiteX526" fmla="*/ 3075336 w 5110790"/>
              <a:gd name="connsiteY526" fmla="*/ 1377914 h 4069169"/>
              <a:gd name="connsiteX527" fmla="*/ 3058263 w 5110790"/>
              <a:gd name="connsiteY527" fmla="*/ 1393812 h 4069169"/>
              <a:gd name="connsiteX528" fmla="*/ 3039235 w 5110790"/>
              <a:gd name="connsiteY528" fmla="*/ 1407753 h 4069169"/>
              <a:gd name="connsiteX529" fmla="*/ 3018165 w 5110790"/>
              <a:gd name="connsiteY529" fmla="*/ 1419686 h 4069169"/>
              <a:gd name="connsiteX530" fmla="*/ 2994965 w 5110790"/>
              <a:gd name="connsiteY530" fmla="*/ 1429562 h 4069169"/>
              <a:gd name="connsiteX531" fmla="*/ 2969548 w 5110790"/>
              <a:gd name="connsiteY531" fmla="*/ 1437331 h 4069169"/>
              <a:gd name="connsiteX532" fmla="*/ 2941828 w 5110790"/>
              <a:gd name="connsiteY532" fmla="*/ 1442942 h 4069169"/>
              <a:gd name="connsiteX533" fmla="*/ 2911716 w 5110790"/>
              <a:gd name="connsiteY533" fmla="*/ 1446346 h 4069169"/>
              <a:gd name="connsiteX534" fmla="*/ 2879125 w 5110790"/>
              <a:gd name="connsiteY534" fmla="*/ 1447491 h 4069169"/>
              <a:gd name="connsiteX535" fmla="*/ 2879125 w 5110790"/>
              <a:gd name="connsiteY535" fmla="*/ 1388782 h 4069169"/>
              <a:gd name="connsiteX536" fmla="*/ 2909252 w 5110790"/>
              <a:gd name="connsiteY536" fmla="*/ 1387428 h 4069169"/>
              <a:gd name="connsiteX537" fmla="*/ 2936490 w 5110790"/>
              <a:gd name="connsiteY537" fmla="*/ 1383413 h 4069169"/>
              <a:gd name="connsiteX538" fmla="*/ 2960977 w 5110790"/>
              <a:gd name="connsiteY538" fmla="*/ 1376811 h 4069169"/>
              <a:gd name="connsiteX539" fmla="*/ 2982849 w 5110790"/>
              <a:gd name="connsiteY539" fmla="*/ 1367691 h 4069169"/>
              <a:gd name="connsiteX540" fmla="*/ 3019298 w 5110790"/>
              <a:gd name="connsiteY540" fmla="*/ 1342188 h 4069169"/>
              <a:gd name="connsiteX541" fmla="*/ 3046935 w 5110790"/>
              <a:gd name="connsiteY541" fmla="*/ 1307477 h 4069169"/>
              <a:gd name="connsiteX542" fmla="*/ 3057792 w 5110790"/>
              <a:gd name="connsiteY542" fmla="*/ 1286848 h 4069169"/>
              <a:gd name="connsiteX543" fmla="*/ 3066859 w 5110790"/>
              <a:gd name="connsiteY543" fmla="*/ 1264133 h 4069169"/>
              <a:gd name="connsiteX544" fmla="*/ 3074271 w 5110790"/>
              <a:gd name="connsiteY544" fmla="*/ 1239402 h 4069169"/>
              <a:gd name="connsiteX545" fmla="*/ 3080167 w 5110790"/>
              <a:gd name="connsiteY545" fmla="*/ 1212729 h 4069169"/>
              <a:gd name="connsiteX546" fmla="*/ 3084682 w 5110790"/>
              <a:gd name="connsiteY546" fmla="*/ 1184184 h 4069169"/>
              <a:gd name="connsiteX547" fmla="*/ 3087956 w 5110790"/>
              <a:gd name="connsiteY547" fmla="*/ 1153838 h 4069169"/>
              <a:gd name="connsiteX548" fmla="*/ 3090124 w 5110790"/>
              <a:gd name="connsiteY548" fmla="*/ 1121765 h 4069169"/>
              <a:gd name="connsiteX549" fmla="*/ 3091324 w 5110790"/>
              <a:gd name="connsiteY549" fmla="*/ 1088036 h 4069169"/>
              <a:gd name="connsiteX550" fmla="*/ 3091694 w 5110790"/>
              <a:gd name="connsiteY550" fmla="*/ 1052721 h 4069169"/>
              <a:gd name="connsiteX551" fmla="*/ 3091305 w 5110790"/>
              <a:gd name="connsiteY551" fmla="*/ 1017753 h 4069169"/>
              <a:gd name="connsiteX552" fmla="*/ 3090050 w 5110790"/>
              <a:gd name="connsiteY552" fmla="*/ 984350 h 4069169"/>
              <a:gd name="connsiteX553" fmla="*/ 3087800 w 5110790"/>
              <a:gd name="connsiteY553" fmla="*/ 952581 h 4069169"/>
              <a:gd name="connsiteX554" fmla="*/ 3084425 w 5110790"/>
              <a:gd name="connsiteY554" fmla="*/ 922520 h 4069169"/>
              <a:gd name="connsiteX555" fmla="*/ 3079795 w 5110790"/>
              <a:gd name="connsiteY555" fmla="*/ 894237 h 4069169"/>
              <a:gd name="connsiteX556" fmla="*/ 3073782 w 5110790"/>
              <a:gd name="connsiteY556" fmla="*/ 867805 h 4069169"/>
              <a:gd name="connsiteX557" fmla="*/ 3066253 w 5110790"/>
              <a:gd name="connsiteY557" fmla="*/ 843295 h 4069169"/>
              <a:gd name="connsiteX558" fmla="*/ 3057081 w 5110790"/>
              <a:gd name="connsiteY558" fmla="*/ 820780 h 4069169"/>
              <a:gd name="connsiteX559" fmla="*/ 3046134 w 5110790"/>
              <a:gd name="connsiteY559" fmla="*/ 800330 h 4069169"/>
              <a:gd name="connsiteX560" fmla="*/ 3018400 w 5110790"/>
              <a:gd name="connsiteY560" fmla="*/ 765914 h 4069169"/>
              <a:gd name="connsiteX561" fmla="*/ 2982013 w 5110790"/>
              <a:gd name="connsiteY561" fmla="*/ 740620 h 4069169"/>
              <a:gd name="connsiteX562" fmla="*/ 2960250 w 5110790"/>
              <a:gd name="connsiteY562" fmla="*/ 731574 h 4069169"/>
              <a:gd name="connsiteX563" fmla="*/ 2935934 w 5110790"/>
              <a:gd name="connsiteY563" fmla="*/ 725024 h 4069169"/>
              <a:gd name="connsiteX564" fmla="*/ 2908936 w 5110790"/>
              <a:gd name="connsiteY564" fmla="*/ 721041 h 4069169"/>
              <a:gd name="connsiteX565" fmla="*/ 2879125 w 5110790"/>
              <a:gd name="connsiteY565" fmla="*/ 719697 h 4069169"/>
              <a:gd name="connsiteX566" fmla="*/ 2565698 w 5110790"/>
              <a:gd name="connsiteY566" fmla="*/ 659976 h 4069169"/>
              <a:gd name="connsiteX567" fmla="*/ 2565698 w 5110790"/>
              <a:gd name="connsiteY567" fmla="*/ 719697 h 4069169"/>
              <a:gd name="connsiteX568" fmla="*/ 2536056 w 5110790"/>
              <a:gd name="connsiteY568" fmla="*/ 721041 h 4069169"/>
              <a:gd name="connsiteX569" fmla="*/ 2509206 w 5110790"/>
              <a:gd name="connsiteY569" fmla="*/ 725024 h 4069169"/>
              <a:gd name="connsiteX570" fmla="*/ 2485020 w 5110790"/>
              <a:gd name="connsiteY570" fmla="*/ 731574 h 4069169"/>
              <a:gd name="connsiteX571" fmla="*/ 2463369 w 5110790"/>
              <a:gd name="connsiteY571" fmla="*/ 740620 h 4069169"/>
              <a:gd name="connsiteX572" fmla="*/ 2427161 w 5110790"/>
              <a:gd name="connsiteY572" fmla="*/ 765914 h 4069169"/>
              <a:gd name="connsiteX573" fmla="*/ 2399551 w 5110790"/>
              <a:gd name="connsiteY573" fmla="*/ 800330 h 4069169"/>
              <a:gd name="connsiteX574" fmla="*/ 2388649 w 5110790"/>
              <a:gd name="connsiteY574" fmla="*/ 820780 h 4069169"/>
              <a:gd name="connsiteX575" fmla="*/ 2379511 w 5110790"/>
              <a:gd name="connsiteY575" fmla="*/ 843295 h 4069169"/>
              <a:gd name="connsiteX576" fmla="*/ 2372009 w 5110790"/>
              <a:gd name="connsiteY576" fmla="*/ 867805 h 4069169"/>
              <a:gd name="connsiteX577" fmla="*/ 2366014 w 5110790"/>
              <a:gd name="connsiteY577" fmla="*/ 894237 h 4069169"/>
              <a:gd name="connsiteX578" fmla="*/ 2361397 w 5110790"/>
              <a:gd name="connsiteY578" fmla="*/ 922520 h 4069169"/>
              <a:gd name="connsiteX579" fmla="*/ 2358029 w 5110790"/>
              <a:gd name="connsiteY579" fmla="*/ 952581 h 4069169"/>
              <a:gd name="connsiteX580" fmla="*/ 2355783 w 5110790"/>
              <a:gd name="connsiteY580" fmla="*/ 984350 h 4069169"/>
              <a:gd name="connsiteX581" fmla="*/ 2354530 w 5110790"/>
              <a:gd name="connsiteY581" fmla="*/ 1017753 h 4069169"/>
              <a:gd name="connsiteX582" fmla="*/ 2354141 w 5110790"/>
              <a:gd name="connsiteY582" fmla="*/ 1052721 h 4069169"/>
              <a:gd name="connsiteX583" fmla="*/ 2354520 w 5110790"/>
              <a:gd name="connsiteY583" fmla="*/ 1088036 h 4069169"/>
              <a:gd name="connsiteX584" fmla="*/ 2355746 w 5110790"/>
              <a:gd name="connsiteY584" fmla="*/ 1121765 h 4069169"/>
              <a:gd name="connsiteX585" fmla="*/ 2357952 w 5110790"/>
              <a:gd name="connsiteY585" fmla="*/ 1153838 h 4069169"/>
              <a:gd name="connsiteX586" fmla="*/ 2361268 w 5110790"/>
              <a:gd name="connsiteY586" fmla="*/ 1184184 h 4069169"/>
              <a:gd name="connsiteX587" fmla="*/ 2365828 w 5110790"/>
              <a:gd name="connsiteY587" fmla="*/ 1212729 h 4069169"/>
              <a:gd name="connsiteX588" fmla="*/ 2371764 w 5110790"/>
              <a:gd name="connsiteY588" fmla="*/ 1239402 h 4069169"/>
              <a:gd name="connsiteX589" fmla="*/ 2379208 w 5110790"/>
              <a:gd name="connsiteY589" fmla="*/ 1264133 h 4069169"/>
              <a:gd name="connsiteX590" fmla="*/ 2388293 w 5110790"/>
              <a:gd name="connsiteY590" fmla="*/ 1286848 h 4069169"/>
              <a:gd name="connsiteX591" fmla="*/ 2399150 w 5110790"/>
              <a:gd name="connsiteY591" fmla="*/ 1307477 h 4069169"/>
              <a:gd name="connsiteX592" fmla="*/ 2426712 w 5110790"/>
              <a:gd name="connsiteY592" fmla="*/ 1342188 h 4069169"/>
              <a:gd name="connsiteX593" fmla="*/ 2462952 w 5110790"/>
              <a:gd name="connsiteY593" fmla="*/ 1367691 h 4069169"/>
              <a:gd name="connsiteX594" fmla="*/ 2484656 w 5110790"/>
              <a:gd name="connsiteY594" fmla="*/ 1376811 h 4069169"/>
              <a:gd name="connsiteX595" fmla="*/ 2508928 w 5110790"/>
              <a:gd name="connsiteY595" fmla="*/ 1383413 h 4069169"/>
              <a:gd name="connsiteX596" fmla="*/ 2535898 w 5110790"/>
              <a:gd name="connsiteY596" fmla="*/ 1387428 h 4069169"/>
              <a:gd name="connsiteX597" fmla="*/ 2565698 w 5110790"/>
              <a:gd name="connsiteY597" fmla="*/ 1388782 h 4069169"/>
              <a:gd name="connsiteX598" fmla="*/ 2565698 w 5110790"/>
              <a:gd name="connsiteY598" fmla="*/ 1447491 h 4069169"/>
              <a:gd name="connsiteX599" fmla="*/ 2533244 w 5110790"/>
              <a:gd name="connsiteY599" fmla="*/ 1446346 h 4069169"/>
              <a:gd name="connsiteX600" fmla="*/ 2503241 w 5110790"/>
              <a:gd name="connsiteY600" fmla="*/ 1442942 h 4069169"/>
              <a:gd name="connsiteX601" fmla="*/ 2475603 w 5110790"/>
              <a:gd name="connsiteY601" fmla="*/ 1437331 h 4069169"/>
              <a:gd name="connsiteX602" fmla="*/ 2450247 w 5110790"/>
              <a:gd name="connsiteY602" fmla="*/ 1429562 h 4069169"/>
              <a:gd name="connsiteX603" fmla="*/ 2427085 w 5110790"/>
              <a:gd name="connsiteY603" fmla="*/ 1419686 h 4069169"/>
              <a:gd name="connsiteX604" fmla="*/ 2406034 w 5110790"/>
              <a:gd name="connsiteY604" fmla="*/ 1407753 h 4069169"/>
              <a:gd name="connsiteX605" fmla="*/ 2387009 w 5110790"/>
              <a:gd name="connsiteY605" fmla="*/ 1393812 h 4069169"/>
              <a:gd name="connsiteX606" fmla="*/ 2369924 w 5110790"/>
              <a:gd name="connsiteY606" fmla="*/ 1377914 h 4069169"/>
              <a:gd name="connsiteX607" fmla="*/ 2354694 w 5110790"/>
              <a:gd name="connsiteY607" fmla="*/ 1360110 h 4069169"/>
              <a:gd name="connsiteX608" fmla="*/ 2341235 w 5110790"/>
              <a:gd name="connsiteY608" fmla="*/ 1340448 h 4069169"/>
              <a:gd name="connsiteX609" fmla="*/ 2329461 w 5110790"/>
              <a:gd name="connsiteY609" fmla="*/ 1318979 h 4069169"/>
              <a:gd name="connsiteX610" fmla="*/ 2319288 w 5110790"/>
              <a:gd name="connsiteY610" fmla="*/ 1295754 h 4069169"/>
              <a:gd name="connsiteX611" fmla="*/ 2310630 w 5110790"/>
              <a:gd name="connsiteY611" fmla="*/ 1270822 h 4069169"/>
              <a:gd name="connsiteX612" fmla="*/ 2303402 w 5110790"/>
              <a:gd name="connsiteY612" fmla="*/ 1244233 h 4069169"/>
              <a:gd name="connsiteX613" fmla="*/ 2297519 w 5110790"/>
              <a:gd name="connsiteY613" fmla="*/ 1216038 h 4069169"/>
              <a:gd name="connsiteX614" fmla="*/ 2292897 w 5110790"/>
              <a:gd name="connsiteY614" fmla="*/ 1186287 h 4069169"/>
              <a:gd name="connsiteX615" fmla="*/ 2289449 w 5110790"/>
              <a:gd name="connsiteY615" fmla="*/ 1155029 h 4069169"/>
              <a:gd name="connsiteX616" fmla="*/ 2287092 w 5110790"/>
              <a:gd name="connsiteY616" fmla="*/ 1122316 h 4069169"/>
              <a:gd name="connsiteX617" fmla="*/ 2285740 w 5110790"/>
              <a:gd name="connsiteY617" fmla="*/ 1088196 h 4069169"/>
              <a:gd name="connsiteX618" fmla="*/ 2285309 w 5110790"/>
              <a:gd name="connsiteY618" fmla="*/ 1052721 h 4069169"/>
              <a:gd name="connsiteX619" fmla="*/ 2285755 w 5110790"/>
              <a:gd name="connsiteY619" fmla="*/ 1017397 h 4069169"/>
              <a:gd name="connsiteX620" fmla="*/ 2287147 w 5110790"/>
              <a:gd name="connsiteY620" fmla="*/ 983429 h 4069169"/>
              <a:gd name="connsiteX621" fmla="*/ 2289566 w 5110790"/>
              <a:gd name="connsiteY621" fmla="*/ 950865 h 4069169"/>
              <a:gd name="connsiteX622" fmla="*/ 2293091 w 5110790"/>
              <a:gd name="connsiteY622" fmla="*/ 919755 h 4069169"/>
              <a:gd name="connsiteX623" fmla="*/ 2297804 w 5110790"/>
              <a:gd name="connsiteY623" fmla="*/ 890147 h 4069169"/>
              <a:gd name="connsiteX624" fmla="*/ 2303784 w 5110790"/>
              <a:gd name="connsiteY624" fmla="*/ 862093 h 4069169"/>
              <a:gd name="connsiteX625" fmla="*/ 2311113 w 5110790"/>
              <a:gd name="connsiteY625" fmla="*/ 835640 h 4069169"/>
              <a:gd name="connsiteX626" fmla="*/ 2319870 w 5110790"/>
              <a:gd name="connsiteY626" fmla="*/ 810839 h 4069169"/>
              <a:gd name="connsiteX627" fmla="*/ 2330137 w 5110790"/>
              <a:gd name="connsiteY627" fmla="*/ 787738 h 4069169"/>
              <a:gd name="connsiteX628" fmla="*/ 2341994 w 5110790"/>
              <a:gd name="connsiteY628" fmla="*/ 766386 h 4069169"/>
              <a:gd name="connsiteX629" fmla="*/ 2355521 w 5110790"/>
              <a:gd name="connsiteY629" fmla="*/ 746834 h 4069169"/>
              <a:gd name="connsiteX630" fmla="*/ 2370798 w 5110790"/>
              <a:gd name="connsiteY630" fmla="*/ 729131 h 4069169"/>
              <a:gd name="connsiteX631" fmla="*/ 2387907 w 5110790"/>
              <a:gd name="connsiteY631" fmla="*/ 713326 h 4069169"/>
              <a:gd name="connsiteX632" fmla="*/ 2406927 w 5110790"/>
              <a:gd name="connsiteY632" fmla="*/ 699468 h 4069169"/>
              <a:gd name="connsiteX633" fmla="*/ 2427939 w 5110790"/>
              <a:gd name="connsiteY633" fmla="*/ 687607 h 4069169"/>
              <a:gd name="connsiteX634" fmla="*/ 2451024 w 5110790"/>
              <a:gd name="connsiteY634" fmla="*/ 677791 h 4069169"/>
              <a:gd name="connsiteX635" fmla="*/ 2476262 w 5110790"/>
              <a:gd name="connsiteY635" fmla="*/ 670071 h 4069169"/>
              <a:gd name="connsiteX636" fmla="*/ 2503733 w 5110790"/>
              <a:gd name="connsiteY636" fmla="*/ 664495 h 4069169"/>
              <a:gd name="connsiteX637" fmla="*/ 2533518 w 5110790"/>
              <a:gd name="connsiteY637" fmla="*/ 661113 h 4069169"/>
              <a:gd name="connsiteX638" fmla="*/ 1358847 w 5110790"/>
              <a:gd name="connsiteY638" fmla="*/ 0 h 4069169"/>
              <a:gd name="connsiteX639" fmla="*/ 1439826 w 5110790"/>
              <a:gd name="connsiteY639" fmla="*/ 0 h 4069169"/>
              <a:gd name="connsiteX640" fmla="*/ 1554207 w 5110790"/>
              <a:gd name="connsiteY640" fmla="*/ 209532 h 4069169"/>
              <a:gd name="connsiteX641" fmla="*/ 1437801 w 5110790"/>
              <a:gd name="connsiteY641" fmla="*/ 425136 h 4069169"/>
              <a:gd name="connsiteX642" fmla="*/ 1358847 w 5110790"/>
              <a:gd name="connsiteY642" fmla="*/ 425136 h 4069169"/>
              <a:gd name="connsiteX643" fmla="*/ 1458045 w 5110790"/>
              <a:gd name="connsiteY643" fmla="*/ 239899 h 4069169"/>
              <a:gd name="connsiteX644" fmla="*/ 1068337 w 5110790"/>
              <a:gd name="connsiteY644" fmla="*/ 239899 h 4069169"/>
              <a:gd name="connsiteX645" fmla="*/ 1068337 w 5110790"/>
              <a:gd name="connsiteY645" fmla="*/ 175116 h 4069169"/>
              <a:gd name="connsiteX646" fmla="*/ 1456021 w 5110790"/>
              <a:gd name="connsiteY646" fmla="*/ 175116 h 4069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Lst>
            <a:rect l="l" t="t" r="r" b="b"/>
            <a:pathLst>
              <a:path w="5110790" h="4069169">
                <a:moveTo>
                  <a:pt x="1358848" y="3644032"/>
                </a:moveTo>
                <a:lnTo>
                  <a:pt x="1439827" y="3644032"/>
                </a:lnTo>
                <a:lnTo>
                  <a:pt x="1554208" y="3853564"/>
                </a:lnTo>
                <a:lnTo>
                  <a:pt x="1437802" y="4069169"/>
                </a:lnTo>
                <a:lnTo>
                  <a:pt x="1358848" y="4069169"/>
                </a:lnTo>
                <a:lnTo>
                  <a:pt x="1458046" y="3883931"/>
                </a:lnTo>
                <a:lnTo>
                  <a:pt x="1068338" y="3883931"/>
                </a:lnTo>
                <a:lnTo>
                  <a:pt x="1068338" y="3819148"/>
                </a:lnTo>
                <a:lnTo>
                  <a:pt x="1456022" y="3819148"/>
                </a:lnTo>
                <a:close/>
                <a:moveTo>
                  <a:pt x="3579243" y="3101476"/>
                </a:moveTo>
                <a:lnTo>
                  <a:pt x="3604850" y="3103707"/>
                </a:lnTo>
                <a:lnTo>
                  <a:pt x="3624668" y="3111725"/>
                </a:lnTo>
                <a:lnTo>
                  <a:pt x="3637463" y="3127526"/>
                </a:lnTo>
                <a:lnTo>
                  <a:pt x="3642002" y="3153100"/>
                </a:lnTo>
                <a:lnTo>
                  <a:pt x="3637463" y="3179845"/>
                </a:lnTo>
                <a:lnTo>
                  <a:pt x="3624668" y="3196247"/>
                </a:lnTo>
                <a:lnTo>
                  <a:pt x="3604850" y="3204487"/>
                </a:lnTo>
                <a:lnTo>
                  <a:pt x="3579243" y="3206749"/>
                </a:lnTo>
                <a:lnTo>
                  <a:pt x="3553637" y="3204487"/>
                </a:lnTo>
                <a:lnTo>
                  <a:pt x="3533820" y="3196247"/>
                </a:lnTo>
                <a:lnTo>
                  <a:pt x="3521024" y="3179845"/>
                </a:lnTo>
                <a:lnTo>
                  <a:pt x="3516485" y="3153100"/>
                </a:lnTo>
                <a:lnTo>
                  <a:pt x="3521166" y="3127526"/>
                </a:lnTo>
                <a:lnTo>
                  <a:pt x="3534199" y="3111725"/>
                </a:lnTo>
                <a:lnTo>
                  <a:pt x="3554064" y="3103707"/>
                </a:lnTo>
                <a:close/>
                <a:moveTo>
                  <a:pt x="1609095" y="3101476"/>
                </a:moveTo>
                <a:lnTo>
                  <a:pt x="1634701" y="3103707"/>
                </a:lnTo>
                <a:lnTo>
                  <a:pt x="1654519" y="3111725"/>
                </a:lnTo>
                <a:lnTo>
                  <a:pt x="1667313" y="3127526"/>
                </a:lnTo>
                <a:lnTo>
                  <a:pt x="1671852" y="3153100"/>
                </a:lnTo>
                <a:lnTo>
                  <a:pt x="1667313" y="3179845"/>
                </a:lnTo>
                <a:lnTo>
                  <a:pt x="1654519" y="3196247"/>
                </a:lnTo>
                <a:lnTo>
                  <a:pt x="1634701" y="3204487"/>
                </a:lnTo>
                <a:lnTo>
                  <a:pt x="1609095" y="3206749"/>
                </a:lnTo>
                <a:lnTo>
                  <a:pt x="1583490" y="3204487"/>
                </a:lnTo>
                <a:lnTo>
                  <a:pt x="1563672" y="3196247"/>
                </a:lnTo>
                <a:lnTo>
                  <a:pt x="1550877" y="3179845"/>
                </a:lnTo>
                <a:lnTo>
                  <a:pt x="1546338" y="3153100"/>
                </a:lnTo>
                <a:lnTo>
                  <a:pt x="1551019" y="3127526"/>
                </a:lnTo>
                <a:lnTo>
                  <a:pt x="1564051" y="3111725"/>
                </a:lnTo>
                <a:lnTo>
                  <a:pt x="1583917" y="3103707"/>
                </a:lnTo>
                <a:close/>
                <a:moveTo>
                  <a:pt x="3579243" y="2676340"/>
                </a:moveTo>
                <a:lnTo>
                  <a:pt x="3604850" y="2678443"/>
                </a:lnTo>
                <a:lnTo>
                  <a:pt x="3624668" y="2686335"/>
                </a:lnTo>
                <a:lnTo>
                  <a:pt x="3637463" y="2702388"/>
                </a:lnTo>
                <a:lnTo>
                  <a:pt x="3642002" y="2728976"/>
                </a:lnTo>
                <a:lnTo>
                  <a:pt x="3637463" y="2754708"/>
                </a:lnTo>
                <a:lnTo>
                  <a:pt x="3624668" y="2770857"/>
                </a:lnTo>
                <a:lnTo>
                  <a:pt x="3604850" y="2779223"/>
                </a:lnTo>
                <a:lnTo>
                  <a:pt x="3579243" y="2781612"/>
                </a:lnTo>
                <a:lnTo>
                  <a:pt x="3554223" y="2779223"/>
                </a:lnTo>
                <a:lnTo>
                  <a:pt x="3534706" y="2770857"/>
                </a:lnTo>
                <a:lnTo>
                  <a:pt x="3522021" y="2754708"/>
                </a:lnTo>
                <a:lnTo>
                  <a:pt x="3517498" y="2728976"/>
                </a:lnTo>
                <a:lnTo>
                  <a:pt x="3522021" y="2702388"/>
                </a:lnTo>
                <a:lnTo>
                  <a:pt x="3534706" y="2686335"/>
                </a:lnTo>
                <a:lnTo>
                  <a:pt x="3554223" y="2678443"/>
                </a:lnTo>
                <a:close/>
                <a:moveTo>
                  <a:pt x="1609095" y="2676340"/>
                </a:moveTo>
                <a:lnTo>
                  <a:pt x="1634701" y="2678443"/>
                </a:lnTo>
                <a:lnTo>
                  <a:pt x="1654519" y="2686335"/>
                </a:lnTo>
                <a:lnTo>
                  <a:pt x="1667313" y="2702388"/>
                </a:lnTo>
                <a:lnTo>
                  <a:pt x="1671852" y="2728976"/>
                </a:lnTo>
                <a:lnTo>
                  <a:pt x="1667313" y="2754708"/>
                </a:lnTo>
                <a:lnTo>
                  <a:pt x="1654519" y="2770857"/>
                </a:lnTo>
                <a:lnTo>
                  <a:pt x="1634701" y="2779223"/>
                </a:lnTo>
                <a:lnTo>
                  <a:pt x="1609095" y="2781612"/>
                </a:lnTo>
                <a:lnTo>
                  <a:pt x="1584075" y="2779223"/>
                </a:lnTo>
                <a:lnTo>
                  <a:pt x="1564558" y="2770857"/>
                </a:lnTo>
                <a:lnTo>
                  <a:pt x="1551873" y="2754708"/>
                </a:lnTo>
                <a:lnTo>
                  <a:pt x="1547350" y="2728976"/>
                </a:lnTo>
                <a:lnTo>
                  <a:pt x="1551873" y="2702388"/>
                </a:lnTo>
                <a:lnTo>
                  <a:pt x="1564558" y="2686335"/>
                </a:lnTo>
                <a:lnTo>
                  <a:pt x="1584075" y="2678443"/>
                </a:lnTo>
                <a:close/>
                <a:moveTo>
                  <a:pt x="2879125" y="2481992"/>
                </a:moveTo>
                <a:lnTo>
                  <a:pt x="2911305" y="2483129"/>
                </a:lnTo>
                <a:lnTo>
                  <a:pt x="2941090" y="2486511"/>
                </a:lnTo>
                <a:lnTo>
                  <a:pt x="2968561" y="2492087"/>
                </a:lnTo>
                <a:lnTo>
                  <a:pt x="2993799" y="2499807"/>
                </a:lnTo>
                <a:lnTo>
                  <a:pt x="3016884" y="2509622"/>
                </a:lnTo>
                <a:lnTo>
                  <a:pt x="3037896" y="2521483"/>
                </a:lnTo>
                <a:lnTo>
                  <a:pt x="3056916" y="2535342"/>
                </a:lnTo>
                <a:lnTo>
                  <a:pt x="3074024" y="2551147"/>
                </a:lnTo>
                <a:lnTo>
                  <a:pt x="3089302" y="2568850"/>
                </a:lnTo>
                <a:lnTo>
                  <a:pt x="3102829" y="2588403"/>
                </a:lnTo>
                <a:lnTo>
                  <a:pt x="3114685" y="2609754"/>
                </a:lnTo>
                <a:lnTo>
                  <a:pt x="3124952" y="2632854"/>
                </a:lnTo>
                <a:lnTo>
                  <a:pt x="3133709" y="2657656"/>
                </a:lnTo>
                <a:lnTo>
                  <a:pt x="3141039" y="2684109"/>
                </a:lnTo>
                <a:lnTo>
                  <a:pt x="3147019" y="2712163"/>
                </a:lnTo>
                <a:lnTo>
                  <a:pt x="3151732" y="2741770"/>
                </a:lnTo>
                <a:lnTo>
                  <a:pt x="3155257" y="2772881"/>
                </a:lnTo>
                <a:lnTo>
                  <a:pt x="3157675" y="2805445"/>
                </a:lnTo>
                <a:lnTo>
                  <a:pt x="3159067" y="2839413"/>
                </a:lnTo>
                <a:lnTo>
                  <a:pt x="3159514" y="2874737"/>
                </a:lnTo>
                <a:lnTo>
                  <a:pt x="3159089" y="2910212"/>
                </a:lnTo>
                <a:lnTo>
                  <a:pt x="3157757" y="2944332"/>
                </a:lnTo>
                <a:lnTo>
                  <a:pt x="3155431" y="2977045"/>
                </a:lnTo>
                <a:lnTo>
                  <a:pt x="3152023" y="3008303"/>
                </a:lnTo>
                <a:lnTo>
                  <a:pt x="3147446" y="3038054"/>
                </a:lnTo>
                <a:lnTo>
                  <a:pt x="3141612" y="3066249"/>
                </a:lnTo>
                <a:lnTo>
                  <a:pt x="3134435" y="3092837"/>
                </a:lnTo>
                <a:lnTo>
                  <a:pt x="3125826" y="3117770"/>
                </a:lnTo>
                <a:lnTo>
                  <a:pt x="3115700" y="3140995"/>
                </a:lnTo>
                <a:lnTo>
                  <a:pt x="3103967" y="3162464"/>
                </a:lnTo>
                <a:lnTo>
                  <a:pt x="3090542" y="3182126"/>
                </a:lnTo>
                <a:lnTo>
                  <a:pt x="3075336" y="3199931"/>
                </a:lnTo>
                <a:lnTo>
                  <a:pt x="3058263" y="3215828"/>
                </a:lnTo>
                <a:lnTo>
                  <a:pt x="3039235" y="3229769"/>
                </a:lnTo>
                <a:lnTo>
                  <a:pt x="3018165" y="3241703"/>
                </a:lnTo>
                <a:lnTo>
                  <a:pt x="2994965" y="3251579"/>
                </a:lnTo>
                <a:lnTo>
                  <a:pt x="2969548" y="3259347"/>
                </a:lnTo>
                <a:lnTo>
                  <a:pt x="2941828" y="3264959"/>
                </a:lnTo>
                <a:lnTo>
                  <a:pt x="2911716" y="3268362"/>
                </a:lnTo>
                <a:lnTo>
                  <a:pt x="2879125" y="3269508"/>
                </a:lnTo>
                <a:lnTo>
                  <a:pt x="2879125" y="3210798"/>
                </a:lnTo>
                <a:lnTo>
                  <a:pt x="2909252" y="3209444"/>
                </a:lnTo>
                <a:lnTo>
                  <a:pt x="2936490" y="3205429"/>
                </a:lnTo>
                <a:lnTo>
                  <a:pt x="2960977" y="3198827"/>
                </a:lnTo>
                <a:lnTo>
                  <a:pt x="2982849" y="3189707"/>
                </a:lnTo>
                <a:lnTo>
                  <a:pt x="3019298" y="3164203"/>
                </a:lnTo>
                <a:lnTo>
                  <a:pt x="3046935" y="3129493"/>
                </a:lnTo>
                <a:lnTo>
                  <a:pt x="3057792" y="3108864"/>
                </a:lnTo>
                <a:lnTo>
                  <a:pt x="3066859" y="3086149"/>
                </a:lnTo>
                <a:lnTo>
                  <a:pt x="3074271" y="3061419"/>
                </a:lnTo>
                <a:lnTo>
                  <a:pt x="3080167" y="3034745"/>
                </a:lnTo>
                <a:lnTo>
                  <a:pt x="3084682" y="3006199"/>
                </a:lnTo>
                <a:lnTo>
                  <a:pt x="3087956" y="2975855"/>
                </a:lnTo>
                <a:lnTo>
                  <a:pt x="3090124" y="2943781"/>
                </a:lnTo>
                <a:lnTo>
                  <a:pt x="3091324" y="2910051"/>
                </a:lnTo>
                <a:lnTo>
                  <a:pt x="3091694" y="2874737"/>
                </a:lnTo>
                <a:lnTo>
                  <a:pt x="3091305" y="2839769"/>
                </a:lnTo>
                <a:lnTo>
                  <a:pt x="3090050" y="2806365"/>
                </a:lnTo>
                <a:lnTo>
                  <a:pt x="3087800" y="2774596"/>
                </a:lnTo>
                <a:lnTo>
                  <a:pt x="3084425" y="2744535"/>
                </a:lnTo>
                <a:lnTo>
                  <a:pt x="3079795" y="2716252"/>
                </a:lnTo>
                <a:lnTo>
                  <a:pt x="3073782" y="2689820"/>
                </a:lnTo>
                <a:lnTo>
                  <a:pt x="3066253" y="2665311"/>
                </a:lnTo>
                <a:lnTo>
                  <a:pt x="3057081" y="2642795"/>
                </a:lnTo>
                <a:lnTo>
                  <a:pt x="3046134" y="2622345"/>
                </a:lnTo>
                <a:lnTo>
                  <a:pt x="3018400" y="2587929"/>
                </a:lnTo>
                <a:lnTo>
                  <a:pt x="2982013" y="2562635"/>
                </a:lnTo>
                <a:lnTo>
                  <a:pt x="2960250" y="2553590"/>
                </a:lnTo>
                <a:lnTo>
                  <a:pt x="2935934" y="2547039"/>
                </a:lnTo>
                <a:lnTo>
                  <a:pt x="2908936" y="2543056"/>
                </a:lnTo>
                <a:lnTo>
                  <a:pt x="2879125" y="2541713"/>
                </a:lnTo>
                <a:close/>
                <a:moveTo>
                  <a:pt x="2565698" y="2481992"/>
                </a:moveTo>
                <a:lnTo>
                  <a:pt x="2565698" y="2541713"/>
                </a:lnTo>
                <a:lnTo>
                  <a:pt x="2536056" y="2543056"/>
                </a:lnTo>
                <a:lnTo>
                  <a:pt x="2509206" y="2547039"/>
                </a:lnTo>
                <a:lnTo>
                  <a:pt x="2485020" y="2553590"/>
                </a:lnTo>
                <a:lnTo>
                  <a:pt x="2463369" y="2562635"/>
                </a:lnTo>
                <a:lnTo>
                  <a:pt x="2427161" y="2587929"/>
                </a:lnTo>
                <a:lnTo>
                  <a:pt x="2399551" y="2622345"/>
                </a:lnTo>
                <a:lnTo>
                  <a:pt x="2388649" y="2642795"/>
                </a:lnTo>
                <a:lnTo>
                  <a:pt x="2379511" y="2665311"/>
                </a:lnTo>
                <a:lnTo>
                  <a:pt x="2372009" y="2689820"/>
                </a:lnTo>
                <a:lnTo>
                  <a:pt x="2366014" y="2716252"/>
                </a:lnTo>
                <a:lnTo>
                  <a:pt x="2361397" y="2744535"/>
                </a:lnTo>
                <a:lnTo>
                  <a:pt x="2358029" y="2774596"/>
                </a:lnTo>
                <a:lnTo>
                  <a:pt x="2355783" y="2806365"/>
                </a:lnTo>
                <a:lnTo>
                  <a:pt x="2354530" y="2839769"/>
                </a:lnTo>
                <a:lnTo>
                  <a:pt x="2354141" y="2874737"/>
                </a:lnTo>
                <a:lnTo>
                  <a:pt x="2354520" y="2910051"/>
                </a:lnTo>
                <a:lnTo>
                  <a:pt x="2355746" y="2943781"/>
                </a:lnTo>
                <a:lnTo>
                  <a:pt x="2357952" y="2975855"/>
                </a:lnTo>
                <a:lnTo>
                  <a:pt x="2361268" y="3006199"/>
                </a:lnTo>
                <a:lnTo>
                  <a:pt x="2365828" y="3034745"/>
                </a:lnTo>
                <a:lnTo>
                  <a:pt x="2371764" y="3061419"/>
                </a:lnTo>
                <a:lnTo>
                  <a:pt x="2379208" y="3086149"/>
                </a:lnTo>
                <a:lnTo>
                  <a:pt x="2388293" y="3108864"/>
                </a:lnTo>
                <a:lnTo>
                  <a:pt x="2399150" y="3129493"/>
                </a:lnTo>
                <a:lnTo>
                  <a:pt x="2426712" y="3164203"/>
                </a:lnTo>
                <a:lnTo>
                  <a:pt x="2462952" y="3189707"/>
                </a:lnTo>
                <a:lnTo>
                  <a:pt x="2484656" y="3198827"/>
                </a:lnTo>
                <a:lnTo>
                  <a:pt x="2508928" y="3205429"/>
                </a:lnTo>
                <a:lnTo>
                  <a:pt x="2535898" y="3209444"/>
                </a:lnTo>
                <a:lnTo>
                  <a:pt x="2565698" y="3210798"/>
                </a:lnTo>
                <a:lnTo>
                  <a:pt x="2565698" y="3269508"/>
                </a:lnTo>
                <a:lnTo>
                  <a:pt x="2533244" y="3268362"/>
                </a:lnTo>
                <a:lnTo>
                  <a:pt x="2503241" y="3264959"/>
                </a:lnTo>
                <a:lnTo>
                  <a:pt x="2475603" y="3259347"/>
                </a:lnTo>
                <a:lnTo>
                  <a:pt x="2450247" y="3251579"/>
                </a:lnTo>
                <a:lnTo>
                  <a:pt x="2427085" y="3241703"/>
                </a:lnTo>
                <a:lnTo>
                  <a:pt x="2406034" y="3229769"/>
                </a:lnTo>
                <a:lnTo>
                  <a:pt x="2387009" y="3215828"/>
                </a:lnTo>
                <a:lnTo>
                  <a:pt x="2369924" y="3199931"/>
                </a:lnTo>
                <a:lnTo>
                  <a:pt x="2354694" y="3182126"/>
                </a:lnTo>
                <a:lnTo>
                  <a:pt x="2341235" y="3162464"/>
                </a:lnTo>
                <a:lnTo>
                  <a:pt x="2329461" y="3140995"/>
                </a:lnTo>
                <a:lnTo>
                  <a:pt x="2319288" y="3117770"/>
                </a:lnTo>
                <a:lnTo>
                  <a:pt x="2310630" y="3092837"/>
                </a:lnTo>
                <a:lnTo>
                  <a:pt x="2303402" y="3066249"/>
                </a:lnTo>
                <a:lnTo>
                  <a:pt x="2297519" y="3038054"/>
                </a:lnTo>
                <a:lnTo>
                  <a:pt x="2292897" y="3008303"/>
                </a:lnTo>
                <a:lnTo>
                  <a:pt x="2289449" y="2977045"/>
                </a:lnTo>
                <a:lnTo>
                  <a:pt x="2287092" y="2944332"/>
                </a:lnTo>
                <a:lnTo>
                  <a:pt x="2285740" y="2910212"/>
                </a:lnTo>
                <a:lnTo>
                  <a:pt x="2285309" y="2874737"/>
                </a:lnTo>
                <a:lnTo>
                  <a:pt x="2285755" y="2839413"/>
                </a:lnTo>
                <a:lnTo>
                  <a:pt x="2287147" y="2805445"/>
                </a:lnTo>
                <a:lnTo>
                  <a:pt x="2289566" y="2772881"/>
                </a:lnTo>
                <a:lnTo>
                  <a:pt x="2293091" y="2741770"/>
                </a:lnTo>
                <a:lnTo>
                  <a:pt x="2297804" y="2712163"/>
                </a:lnTo>
                <a:lnTo>
                  <a:pt x="2303784" y="2684109"/>
                </a:lnTo>
                <a:lnTo>
                  <a:pt x="2311113" y="2657656"/>
                </a:lnTo>
                <a:lnTo>
                  <a:pt x="2319870" y="2632854"/>
                </a:lnTo>
                <a:lnTo>
                  <a:pt x="2330137" y="2609754"/>
                </a:lnTo>
                <a:lnTo>
                  <a:pt x="2341994" y="2588403"/>
                </a:lnTo>
                <a:lnTo>
                  <a:pt x="2355521" y="2568850"/>
                </a:lnTo>
                <a:lnTo>
                  <a:pt x="2370798" y="2551147"/>
                </a:lnTo>
                <a:lnTo>
                  <a:pt x="2387907" y="2535342"/>
                </a:lnTo>
                <a:lnTo>
                  <a:pt x="2406927" y="2521483"/>
                </a:lnTo>
                <a:lnTo>
                  <a:pt x="2427939" y="2509622"/>
                </a:lnTo>
                <a:lnTo>
                  <a:pt x="2451024" y="2499807"/>
                </a:lnTo>
                <a:lnTo>
                  <a:pt x="2476262" y="2492087"/>
                </a:lnTo>
                <a:lnTo>
                  <a:pt x="2503733" y="2486511"/>
                </a:lnTo>
                <a:lnTo>
                  <a:pt x="2533518" y="2483129"/>
                </a:lnTo>
                <a:close/>
                <a:moveTo>
                  <a:pt x="4308476" y="2413668"/>
                </a:moveTo>
                <a:lnTo>
                  <a:pt x="4389455" y="2413668"/>
                </a:lnTo>
                <a:lnTo>
                  <a:pt x="4503836" y="2623200"/>
                </a:lnTo>
                <a:lnTo>
                  <a:pt x="4387430" y="2838804"/>
                </a:lnTo>
                <a:lnTo>
                  <a:pt x="4308476" y="2838804"/>
                </a:lnTo>
                <a:lnTo>
                  <a:pt x="4407674" y="2653567"/>
                </a:lnTo>
                <a:lnTo>
                  <a:pt x="4017966" y="2653567"/>
                </a:lnTo>
                <a:lnTo>
                  <a:pt x="4017966" y="2588784"/>
                </a:lnTo>
                <a:lnTo>
                  <a:pt x="4405650" y="2588784"/>
                </a:lnTo>
                <a:close/>
                <a:moveTo>
                  <a:pt x="2147951" y="2190467"/>
                </a:moveTo>
                <a:lnTo>
                  <a:pt x="2173557" y="2192697"/>
                </a:lnTo>
                <a:lnTo>
                  <a:pt x="2193375" y="2200715"/>
                </a:lnTo>
                <a:lnTo>
                  <a:pt x="2206169" y="2216516"/>
                </a:lnTo>
                <a:lnTo>
                  <a:pt x="2210708" y="2242090"/>
                </a:lnTo>
                <a:lnTo>
                  <a:pt x="2206169" y="2268835"/>
                </a:lnTo>
                <a:lnTo>
                  <a:pt x="2193375" y="2285237"/>
                </a:lnTo>
                <a:lnTo>
                  <a:pt x="2173557" y="2293477"/>
                </a:lnTo>
                <a:lnTo>
                  <a:pt x="2147951" y="2295739"/>
                </a:lnTo>
                <a:lnTo>
                  <a:pt x="2122345" y="2293477"/>
                </a:lnTo>
                <a:lnTo>
                  <a:pt x="2102527" y="2285237"/>
                </a:lnTo>
                <a:lnTo>
                  <a:pt x="2089732" y="2268835"/>
                </a:lnTo>
                <a:lnTo>
                  <a:pt x="2085193" y="2242090"/>
                </a:lnTo>
                <a:lnTo>
                  <a:pt x="2089874" y="2216516"/>
                </a:lnTo>
                <a:lnTo>
                  <a:pt x="2102907" y="2200715"/>
                </a:lnTo>
                <a:lnTo>
                  <a:pt x="2122772" y="2192697"/>
                </a:lnTo>
                <a:close/>
                <a:moveTo>
                  <a:pt x="784523" y="2190467"/>
                </a:moveTo>
                <a:lnTo>
                  <a:pt x="810129" y="2192697"/>
                </a:lnTo>
                <a:lnTo>
                  <a:pt x="829946" y="2200715"/>
                </a:lnTo>
                <a:lnTo>
                  <a:pt x="842741" y="2216516"/>
                </a:lnTo>
                <a:lnTo>
                  <a:pt x="847281" y="2242090"/>
                </a:lnTo>
                <a:lnTo>
                  <a:pt x="842741" y="2268835"/>
                </a:lnTo>
                <a:lnTo>
                  <a:pt x="829946" y="2285237"/>
                </a:lnTo>
                <a:lnTo>
                  <a:pt x="810129" y="2293477"/>
                </a:lnTo>
                <a:lnTo>
                  <a:pt x="784523" y="2295739"/>
                </a:lnTo>
                <a:lnTo>
                  <a:pt x="758916" y="2293477"/>
                </a:lnTo>
                <a:lnTo>
                  <a:pt x="739099" y="2285237"/>
                </a:lnTo>
                <a:lnTo>
                  <a:pt x="726304" y="2268835"/>
                </a:lnTo>
                <a:lnTo>
                  <a:pt x="721765" y="2242090"/>
                </a:lnTo>
                <a:lnTo>
                  <a:pt x="726446" y="2216516"/>
                </a:lnTo>
                <a:lnTo>
                  <a:pt x="739479" y="2200715"/>
                </a:lnTo>
                <a:lnTo>
                  <a:pt x="759344" y="2192697"/>
                </a:lnTo>
                <a:close/>
                <a:moveTo>
                  <a:pt x="62758" y="2190467"/>
                </a:moveTo>
                <a:lnTo>
                  <a:pt x="88364" y="2192697"/>
                </a:lnTo>
                <a:lnTo>
                  <a:pt x="108181" y="2200715"/>
                </a:lnTo>
                <a:lnTo>
                  <a:pt x="120977" y="2216516"/>
                </a:lnTo>
                <a:lnTo>
                  <a:pt x="125516" y="2242090"/>
                </a:lnTo>
                <a:lnTo>
                  <a:pt x="120977" y="2268835"/>
                </a:lnTo>
                <a:lnTo>
                  <a:pt x="108181" y="2285237"/>
                </a:lnTo>
                <a:lnTo>
                  <a:pt x="88364" y="2293477"/>
                </a:lnTo>
                <a:lnTo>
                  <a:pt x="62758" y="2295739"/>
                </a:lnTo>
                <a:lnTo>
                  <a:pt x="37151" y="2293477"/>
                </a:lnTo>
                <a:lnTo>
                  <a:pt x="17334" y="2285237"/>
                </a:lnTo>
                <a:lnTo>
                  <a:pt x="4539" y="2268835"/>
                </a:lnTo>
                <a:lnTo>
                  <a:pt x="0" y="2242090"/>
                </a:lnTo>
                <a:lnTo>
                  <a:pt x="4681" y="2216516"/>
                </a:lnTo>
                <a:lnTo>
                  <a:pt x="17713" y="2200715"/>
                </a:lnTo>
                <a:lnTo>
                  <a:pt x="37578" y="2192697"/>
                </a:lnTo>
                <a:close/>
                <a:moveTo>
                  <a:pt x="4915430" y="1822022"/>
                </a:moveTo>
                <a:lnTo>
                  <a:pt x="4996408" y="1822022"/>
                </a:lnTo>
                <a:lnTo>
                  <a:pt x="5110790" y="2031553"/>
                </a:lnTo>
                <a:lnTo>
                  <a:pt x="4994384" y="2247158"/>
                </a:lnTo>
                <a:lnTo>
                  <a:pt x="4915430" y="2247158"/>
                </a:lnTo>
                <a:lnTo>
                  <a:pt x="5014628" y="2061920"/>
                </a:lnTo>
                <a:lnTo>
                  <a:pt x="4624920" y="2061920"/>
                </a:lnTo>
                <a:lnTo>
                  <a:pt x="4624920" y="1997137"/>
                </a:lnTo>
                <a:lnTo>
                  <a:pt x="5012604" y="1997137"/>
                </a:lnTo>
                <a:close/>
                <a:moveTo>
                  <a:pt x="2876800" y="1822016"/>
                </a:moveTo>
                <a:lnTo>
                  <a:pt x="2957778" y="1822016"/>
                </a:lnTo>
                <a:lnTo>
                  <a:pt x="3072160" y="2031547"/>
                </a:lnTo>
                <a:lnTo>
                  <a:pt x="2955754" y="2247152"/>
                </a:lnTo>
                <a:lnTo>
                  <a:pt x="2876800" y="2247152"/>
                </a:lnTo>
                <a:lnTo>
                  <a:pt x="2975998" y="2061915"/>
                </a:lnTo>
                <a:lnTo>
                  <a:pt x="2586290" y="2061915"/>
                </a:lnTo>
                <a:lnTo>
                  <a:pt x="2586290" y="1997132"/>
                </a:lnTo>
                <a:lnTo>
                  <a:pt x="2973974" y="1997132"/>
                </a:lnTo>
                <a:close/>
                <a:moveTo>
                  <a:pt x="1513768" y="1822016"/>
                </a:moveTo>
                <a:lnTo>
                  <a:pt x="1594748" y="1822016"/>
                </a:lnTo>
                <a:lnTo>
                  <a:pt x="1709128" y="2031547"/>
                </a:lnTo>
                <a:lnTo>
                  <a:pt x="1592723" y="2247152"/>
                </a:lnTo>
                <a:lnTo>
                  <a:pt x="1513768" y="2247152"/>
                </a:lnTo>
                <a:lnTo>
                  <a:pt x="1612966" y="2061915"/>
                </a:lnTo>
                <a:lnTo>
                  <a:pt x="1223259" y="2061915"/>
                </a:lnTo>
                <a:lnTo>
                  <a:pt x="1223259" y="1997132"/>
                </a:lnTo>
                <a:lnTo>
                  <a:pt x="1610942" y="1997132"/>
                </a:lnTo>
                <a:close/>
                <a:moveTo>
                  <a:pt x="2147951" y="1765330"/>
                </a:moveTo>
                <a:lnTo>
                  <a:pt x="2173557" y="1767433"/>
                </a:lnTo>
                <a:lnTo>
                  <a:pt x="2193375" y="1775325"/>
                </a:lnTo>
                <a:lnTo>
                  <a:pt x="2206169" y="1791378"/>
                </a:lnTo>
                <a:lnTo>
                  <a:pt x="2210708" y="1817966"/>
                </a:lnTo>
                <a:lnTo>
                  <a:pt x="2206169" y="1843698"/>
                </a:lnTo>
                <a:lnTo>
                  <a:pt x="2193375" y="1859846"/>
                </a:lnTo>
                <a:lnTo>
                  <a:pt x="2173557" y="1868213"/>
                </a:lnTo>
                <a:lnTo>
                  <a:pt x="2147951" y="1870601"/>
                </a:lnTo>
                <a:lnTo>
                  <a:pt x="2122930" y="1868213"/>
                </a:lnTo>
                <a:lnTo>
                  <a:pt x="2103413" y="1859846"/>
                </a:lnTo>
                <a:lnTo>
                  <a:pt x="2090728" y="1843698"/>
                </a:lnTo>
                <a:lnTo>
                  <a:pt x="2086205" y="1817966"/>
                </a:lnTo>
                <a:lnTo>
                  <a:pt x="2090728" y="1791378"/>
                </a:lnTo>
                <a:lnTo>
                  <a:pt x="2103413" y="1775325"/>
                </a:lnTo>
                <a:lnTo>
                  <a:pt x="2122930" y="1767433"/>
                </a:lnTo>
                <a:close/>
                <a:moveTo>
                  <a:pt x="784523" y="1765330"/>
                </a:moveTo>
                <a:lnTo>
                  <a:pt x="810129" y="1767433"/>
                </a:lnTo>
                <a:lnTo>
                  <a:pt x="829946" y="1775325"/>
                </a:lnTo>
                <a:lnTo>
                  <a:pt x="842741" y="1791378"/>
                </a:lnTo>
                <a:lnTo>
                  <a:pt x="847281" y="1817966"/>
                </a:lnTo>
                <a:lnTo>
                  <a:pt x="842741" y="1843698"/>
                </a:lnTo>
                <a:lnTo>
                  <a:pt x="829946" y="1859846"/>
                </a:lnTo>
                <a:lnTo>
                  <a:pt x="810129" y="1868213"/>
                </a:lnTo>
                <a:lnTo>
                  <a:pt x="784523" y="1870601"/>
                </a:lnTo>
                <a:lnTo>
                  <a:pt x="759502" y="1868213"/>
                </a:lnTo>
                <a:lnTo>
                  <a:pt x="739984" y="1859846"/>
                </a:lnTo>
                <a:lnTo>
                  <a:pt x="727300" y="1843698"/>
                </a:lnTo>
                <a:lnTo>
                  <a:pt x="722776" y="1817966"/>
                </a:lnTo>
                <a:lnTo>
                  <a:pt x="727300" y="1791378"/>
                </a:lnTo>
                <a:lnTo>
                  <a:pt x="739984" y="1775325"/>
                </a:lnTo>
                <a:lnTo>
                  <a:pt x="759502" y="1767433"/>
                </a:lnTo>
                <a:close/>
                <a:moveTo>
                  <a:pt x="62758" y="1765330"/>
                </a:moveTo>
                <a:lnTo>
                  <a:pt x="88364" y="1767433"/>
                </a:lnTo>
                <a:lnTo>
                  <a:pt x="108181" y="1775325"/>
                </a:lnTo>
                <a:lnTo>
                  <a:pt x="120977" y="1791378"/>
                </a:lnTo>
                <a:lnTo>
                  <a:pt x="125516" y="1817966"/>
                </a:lnTo>
                <a:lnTo>
                  <a:pt x="120977" y="1843698"/>
                </a:lnTo>
                <a:lnTo>
                  <a:pt x="108181" y="1859846"/>
                </a:lnTo>
                <a:lnTo>
                  <a:pt x="88364" y="1868213"/>
                </a:lnTo>
                <a:lnTo>
                  <a:pt x="62758" y="1870601"/>
                </a:lnTo>
                <a:lnTo>
                  <a:pt x="37736" y="1868213"/>
                </a:lnTo>
                <a:lnTo>
                  <a:pt x="18219" y="1859846"/>
                </a:lnTo>
                <a:lnTo>
                  <a:pt x="5535" y="1843698"/>
                </a:lnTo>
                <a:lnTo>
                  <a:pt x="1012" y="1817966"/>
                </a:lnTo>
                <a:lnTo>
                  <a:pt x="5535" y="1791378"/>
                </a:lnTo>
                <a:lnTo>
                  <a:pt x="18219" y="1775325"/>
                </a:lnTo>
                <a:lnTo>
                  <a:pt x="37736" y="1767433"/>
                </a:lnTo>
                <a:close/>
                <a:moveTo>
                  <a:pt x="3434660" y="1570981"/>
                </a:moveTo>
                <a:lnTo>
                  <a:pt x="3466840" y="1572118"/>
                </a:lnTo>
                <a:lnTo>
                  <a:pt x="3496625" y="1575500"/>
                </a:lnTo>
                <a:lnTo>
                  <a:pt x="3524096" y="1581076"/>
                </a:lnTo>
                <a:lnTo>
                  <a:pt x="3549334" y="1588796"/>
                </a:lnTo>
                <a:lnTo>
                  <a:pt x="3572418" y="1598611"/>
                </a:lnTo>
                <a:lnTo>
                  <a:pt x="3593431" y="1610473"/>
                </a:lnTo>
                <a:lnTo>
                  <a:pt x="3612450" y="1624331"/>
                </a:lnTo>
                <a:lnTo>
                  <a:pt x="3629559" y="1640136"/>
                </a:lnTo>
                <a:lnTo>
                  <a:pt x="3644837" y="1657839"/>
                </a:lnTo>
                <a:lnTo>
                  <a:pt x="3658363" y="1677391"/>
                </a:lnTo>
                <a:lnTo>
                  <a:pt x="3670219" y="1698743"/>
                </a:lnTo>
                <a:lnTo>
                  <a:pt x="3680486" y="1721844"/>
                </a:lnTo>
                <a:lnTo>
                  <a:pt x="3689244" y="1746646"/>
                </a:lnTo>
                <a:lnTo>
                  <a:pt x="3696573" y="1773098"/>
                </a:lnTo>
                <a:lnTo>
                  <a:pt x="3702553" y="1801152"/>
                </a:lnTo>
                <a:lnTo>
                  <a:pt x="3707266" y="1830760"/>
                </a:lnTo>
                <a:lnTo>
                  <a:pt x="3710792" y="1861870"/>
                </a:lnTo>
                <a:lnTo>
                  <a:pt x="3713210" y="1894434"/>
                </a:lnTo>
                <a:lnTo>
                  <a:pt x="3714602" y="1928402"/>
                </a:lnTo>
                <a:lnTo>
                  <a:pt x="3715048" y="1963726"/>
                </a:lnTo>
                <a:lnTo>
                  <a:pt x="3714624" y="1999201"/>
                </a:lnTo>
                <a:lnTo>
                  <a:pt x="3713292" y="2033321"/>
                </a:lnTo>
                <a:lnTo>
                  <a:pt x="3710966" y="2066034"/>
                </a:lnTo>
                <a:lnTo>
                  <a:pt x="3707557" y="2097292"/>
                </a:lnTo>
                <a:lnTo>
                  <a:pt x="3702980" y="2127043"/>
                </a:lnTo>
                <a:lnTo>
                  <a:pt x="3697147" y="2155238"/>
                </a:lnTo>
                <a:lnTo>
                  <a:pt x="3689969" y="2181827"/>
                </a:lnTo>
                <a:lnTo>
                  <a:pt x="3681361" y="2206759"/>
                </a:lnTo>
                <a:lnTo>
                  <a:pt x="3671234" y="2229984"/>
                </a:lnTo>
                <a:lnTo>
                  <a:pt x="3659502" y="2251453"/>
                </a:lnTo>
                <a:lnTo>
                  <a:pt x="3646077" y="2271115"/>
                </a:lnTo>
                <a:lnTo>
                  <a:pt x="3630871" y="2288919"/>
                </a:lnTo>
                <a:lnTo>
                  <a:pt x="3613798" y="2304817"/>
                </a:lnTo>
                <a:lnTo>
                  <a:pt x="3594769" y="2318758"/>
                </a:lnTo>
                <a:lnTo>
                  <a:pt x="3573700" y="2330691"/>
                </a:lnTo>
                <a:lnTo>
                  <a:pt x="3550500" y="2340567"/>
                </a:lnTo>
                <a:lnTo>
                  <a:pt x="3525083" y="2348336"/>
                </a:lnTo>
                <a:lnTo>
                  <a:pt x="3497363" y="2353947"/>
                </a:lnTo>
                <a:lnTo>
                  <a:pt x="3467251" y="2357351"/>
                </a:lnTo>
                <a:lnTo>
                  <a:pt x="3434660" y="2358496"/>
                </a:lnTo>
                <a:lnTo>
                  <a:pt x="3434660" y="2299787"/>
                </a:lnTo>
                <a:lnTo>
                  <a:pt x="3464787" y="2298433"/>
                </a:lnTo>
                <a:lnTo>
                  <a:pt x="3492025" y="2294418"/>
                </a:lnTo>
                <a:lnTo>
                  <a:pt x="3516511" y="2287816"/>
                </a:lnTo>
                <a:lnTo>
                  <a:pt x="3538383" y="2278696"/>
                </a:lnTo>
                <a:lnTo>
                  <a:pt x="3574832" y="2253193"/>
                </a:lnTo>
                <a:lnTo>
                  <a:pt x="3602470" y="2218482"/>
                </a:lnTo>
                <a:lnTo>
                  <a:pt x="3613327" y="2197853"/>
                </a:lnTo>
                <a:lnTo>
                  <a:pt x="3622393" y="2175138"/>
                </a:lnTo>
                <a:lnTo>
                  <a:pt x="3629805" y="2150408"/>
                </a:lnTo>
                <a:lnTo>
                  <a:pt x="3635701" y="2123734"/>
                </a:lnTo>
                <a:lnTo>
                  <a:pt x="3640217" y="2095189"/>
                </a:lnTo>
                <a:lnTo>
                  <a:pt x="3643490" y="2064844"/>
                </a:lnTo>
                <a:lnTo>
                  <a:pt x="3645659" y="2032771"/>
                </a:lnTo>
                <a:lnTo>
                  <a:pt x="3646859" y="1999041"/>
                </a:lnTo>
                <a:lnTo>
                  <a:pt x="3647229" y="1963726"/>
                </a:lnTo>
                <a:lnTo>
                  <a:pt x="3646839" y="1928758"/>
                </a:lnTo>
                <a:lnTo>
                  <a:pt x="3645584" y="1895355"/>
                </a:lnTo>
                <a:lnTo>
                  <a:pt x="3643335" y="1863586"/>
                </a:lnTo>
                <a:lnTo>
                  <a:pt x="3639960" y="1833525"/>
                </a:lnTo>
                <a:lnTo>
                  <a:pt x="3635330" y="1805242"/>
                </a:lnTo>
                <a:lnTo>
                  <a:pt x="3629316" y="1778810"/>
                </a:lnTo>
                <a:lnTo>
                  <a:pt x="3621788" y="1754300"/>
                </a:lnTo>
                <a:lnTo>
                  <a:pt x="3612615" y="1731785"/>
                </a:lnTo>
                <a:lnTo>
                  <a:pt x="3601669" y="1711335"/>
                </a:lnTo>
                <a:lnTo>
                  <a:pt x="3573935" y="1676919"/>
                </a:lnTo>
                <a:lnTo>
                  <a:pt x="3537548" y="1651625"/>
                </a:lnTo>
                <a:lnTo>
                  <a:pt x="3515784" y="1642579"/>
                </a:lnTo>
                <a:lnTo>
                  <a:pt x="3491469" y="1636029"/>
                </a:lnTo>
                <a:lnTo>
                  <a:pt x="3464471" y="1632046"/>
                </a:lnTo>
                <a:lnTo>
                  <a:pt x="3434660" y="1630702"/>
                </a:lnTo>
                <a:close/>
                <a:moveTo>
                  <a:pt x="3579243" y="1279461"/>
                </a:moveTo>
                <a:lnTo>
                  <a:pt x="3604850" y="1281691"/>
                </a:lnTo>
                <a:lnTo>
                  <a:pt x="3624668" y="1289709"/>
                </a:lnTo>
                <a:lnTo>
                  <a:pt x="3637463" y="1305510"/>
                </a:lnTo>
                <a:lnTo>
                  <a:pt x="3642002" y="1331085"/>
                </a:lnTo>
                <a:lnTo>
                  <a:pt x="3637463" y="1357829"/>
                </a:lnTo>
                <a:lnTo>
                  <a:pt x="3624668" y="1374231"/>
                </a:lnTo>
                <a:lnTo>
                  <a:pt x="3604850" y="1382471"/>
                </a:lnTo>
                <a:lnTo>
                  <a:pt x="3579243" y="1384733"/>
                </a:lnTo>
                <a:lnTo>
                  <a:pt x="3553637" y="1382471"/>
                </a:lnTo>
                <a:lnTo>
                  <a:pt x="3533820" y="1374231"/>
                </a:lnTo>
                <a:lnTo>
                  <a:pt x="3521024" y="1357829"/>
                </a:lnTo>
                <a:lnTo>
                  <a:pt x="3516485" y="1331085"/>
                </a:lnTo>
                <a:lnTo>
                  <a:pt x="3521166" y="1305510"/>
                </a:lnTo>
                <a:lnTo>
                  <a:pt x="3534199" y="1289709"/>
                </a:lnTo>
                <a:lnTo>
                  <a:pt x="3554064" y="1281691"/>
                </a:lnTo>
                <a:close/>
                <a:moveTo>
                  <a:pt x="1609095" y="1279455"/>
                </a:moveTo>
                <a:lnTo>
                  <a:pt x="1634701" y="1281685"/>
                </a:lnTo>
                <a:lnTo>
                  <a:pt x="1654519" y="1289703"/>
                </a:lnTo>
                <a:lnTo>
                  <a:pt x="1667313" y="1305504"/>
                </a:lnTo>
                <a:lnTo>
                  <a:pt x="1671852" y="1331078"/>
                </a:lnTo>
                <a:lnTo>
                  <a:pt x="1667313" y="1357823"/>
                </a:lnTo>
                <a:lnTo>
                  <a:pt x="1654519" y="1374224"/>
                </a:lnTo>
                <a:lnTo>
                  <a:pt x="1634701" y="1382465"/>
                </a:lnTo>
                <a:lnTo>
                  <a:pt x="1609095" y="1384726"/>
                </a:lnTo>
                <a:lnTo>
                  <a:pt x="1583489" y="1382465"/>
                </a:lnTo>
                <a:lnTo>
                  <a:pt x="1563671" y="1374224"/>
                </a:lnTo>
                <a:lnTo>
                  <a:pt x="1550877" y="1357823"/>
                </a:lnTo>
                <a:lnTo>
                  <a:pt x="1546337" y="1331078"/>
                </a:lnTo>
                <a:lnTo>
                  <a:pt x="1551018" y="1305504"/>
                </a:lnTo>
                <a:lnTo>
                  <a:pt x="1564051" y="1289703"/>
                </a:lnTo>
                <a:lnTo>
                  <a:pt x="1583916" y="1281685"/>
                </a:lnTo>
                <a:close/>
                <a:moveTo>
                  <a:pt x="4308476" y="1229360"/>
                </a:moveTo>
                <a:lnTo>
                  <a:pt x="4389455" y="1229360"/>
                </a:lnTo>
                <a:lnTo>
                  <a:pt x="4503836" y="1438891"/>
                </a:lnTo>
                <a:lnTo>
                  <a:pt x="4387430" y="1654496"/>
                </a:lnTo>
                <a:lnTo>
                  <a:pt x="4308476" y="1654496"/>
                </a:lnTo>
                <a:lnTo>
                  <a:pt x="4407674" y="1469259"/>
                </a:lnTo>
                <a:lnTo>
                  <a:pt x="4017966" y="1469259"/>
                </a:lnTo>
                <a:lnTo>
                  <a:pt x="4017966" y="1404475"/>
                </a:lnTo>
                <a:lnTo>
                  <a:pt x="4405650" y="1404475"/>
                </a:lnTo>
                <a:close/>
                <a:moveTo>
                  <a:pt x="3579243" y="854324"/>
                </a:moveTo>
                <a:lnTo>
                  <a:pt x="3604850" y="856427"/>
                </a:lnTo>
                <a:lnTo>
                  <a:pt x="3624668" y="864320"/>
                </a:lnTo>
                <a:lnTo>
                  <a:pt x="3637463" y="880373"/>
                </a:lnTo>
                <a:lnTo>
                  <a:pt x="3642002" y="906960"/>
                </a:lnTo>
                <a:lnTo>
                  <a:pt x="3637463" y="932693"/>
                </a:lnTo>
                <a:lnTo>
                  <a:pt x="3624668" y="948841"/>
                </a:lnTo>
                <a:lnTo>
                  <a:pt x="3604850" y="957207"/>
                </a:lnTo>
                <a:lnTo>
                  <a:pt x="3579243" y="959596"/>
                </a:lnTo>
                <a:lnTo>
                  <a:pt x="3554223" y="957207"/>
                </a:lnTo>
                <a:lnTo>
                  <a:pt x="3534706" y="948841"/>
                </a:lnTo>
                <a:lnTo>
                  <a:pt x="3522021" y="932693"/>
                </a:lnTo>
                <a:lnTo>
                  <a:pt x="3517498" y="906960"/>
                </a:lnTo>
                <a:lnTo>
                  <a:pt x="3522021" y="880373"/>
                </a:lnTo>
                <a:lnTo>
                  <a:pt x="3534706" y="864320"/>
                </a:lnTo>
                <a:lnTo>
                  <a:pt x="3554223" y="856427"/>
                </a:lnTo>
                <a:close/>
                <a:moveTo>
                  <a:pt x="1609095" y="854318"/>
                </a:moveTo>
                <a:lnTo>
                  <a:pt x="1634701" y="856421"/>
                </a:lnTo>
                <a:lnTo>
                  <a:pt x="1654519" y="864313"/>
                </a:lnTo>
                <a:lnTo>
                  <a:pt x="1667313" y="880366"/>
                </a:lnTo>
                <a:lnTo>
                  <a:pt x="1671852" y="906953"/>
                </a:lnTo>
                <a:lnTo>
                  <a:pt x="1667313" y="932686"/>
                </a:lnTo>
                <a:lnTo>
                  <a:pt x="1654519" y="948834"/>
                </a:lnTo>
                <a:lnTo>
                  <a:pt x="1634701" y="957201"/>
                </a:lnTo>
                <a:lnTo>
                  <a:pt x="1609095" y="959589"/>
                </a:lnTo>
                <a:lnTo>
                  <a:pt x="1584074" y="957201"/>
                </a:lnTo>
                <a:lnTo>
                  <a:pt x="1564557" y="948834"/>
                </a:lnTo>
                <a:lnTo>
                  <a:pt x="1551872" y="932686"/>
                </a:lnTo>
                <a:lnTo>
                  <a:pt x="1547349" y="906953"/>
                </a:lnTo>
                <a:lnTo>
                  <a:pt x="1551872" y="880366"/>
                </a:lnTo>
                <a:lnTo>
                  <a:pt x="1564557" y="864313"/>
                </a:lnTo>
                <a:lnTo>
                  <a:pt x="1584074" y="856421"/>
                </a:lnTo>
                <a:close/>
                <a:moveTo>
                  <a:pt x="2879125" y="659976"/>
                </a:moveTo>
                <a:lnTo>
                  <a:pt x="2911305" y="661113"/>
                </a:lnTo>
                <a:lnTo>
                  <a:pt x="2941090" y="664495"/>
                </a:lnTo>
                <a:lnTo>
                  <a:pt x="2968561" y="670071"/>
                </a:lnTo>
                <a:lnTo>
                  <a:pt x="2993799" y="677791"/>
                </a:lnTo>
                <a:lnTo>
                  <a:pt x="3016884" y="687607"/>
                </a:lnTo>
                <a:lnTo>
                  <a:pt x="3037896" y="699468"/>
                </a:lnTo>
                <a:lnTo>
                  <a:pt x="3056916" y="713326"/>
                </a:lnTo>
                <a:lnTo>
                  <a:pt x="3074024" y="729131"/>
                </a:lnTo>
                <a:lnTo>
                  <a:pt x="3089302" y="746834"/>
                </a:lnTo>
                <a:lnTo>
                  <a:pt x="3102829" y="766386"/>
                </a:lnTo>
                <a:lnTo>
                  <a:pt x="3114685" y="787738"/>
                </a:lnTo>
                <a:lnTo>
                  <a:pt x="3124952" y="810839"/>
                </a:lnTo>
                <a:lnTo>
                  <a:pt x="3133709" y="835640"/>
                </a:lnTo>
                <a:lnTo>
                  <a:pt x="3141039" y="862093"/>
                </a:lnTo>
                <a:lnTo>
                  <a:pt x="3147019" y="890147"/>
                </a:lnTo>
                <a:lnTo>
                  <a:pt x="3151732" y="919755"/>
                </a:lnTo>
                <a:lnTo>
                  <a:pt x="3155257" y="950865"/>
                </a:lnTo>
                <a:lnTo>
                  <a:pt x="3157675" y="983429"/>
                </a:lnTo>
                <a:lnTo>
                  <a:pt x="3159067" y="1017397"/>
                </a:lnTo>
                <a:lnTo>
                  <a:pt x="3159514" y="1052721"/>
                </a:lnTo>
                <a:lnTo>
                  <a:pt x="3159089" y="1088196"/>
                </a:lnTo>
                <a:lnTo>
                  <a:pt x="3157757" y="1122316"/>
                </a:lnTo>
                <a:lnTo>
                  <a:pt x="3155431" y="1155029"/>
                </a:lnTo>
                <a:lnTo>
                  <a:pt x="3152023" y="1186287"/>
                </a:lnTo>
                <a:lnTo>
                  <a:pt x="3147446" y="1216038"/>
                </a:lnTo>
                <a:lnTo>
                  <a:pt x="3141612" y="1244233"/>
                </a:lnTo>
                <a:lnTo>
                  <a:pt x="3134435" y="1270822"/>
                </a:lnTo>
                <a:lnTo>
                  <a:pt x="3125826" y="1295754"/>
                </a:lnTo>
                <a:lnTo>
                  <a:pt x="3115700" y="1318979"/>
                </a:lnTo>
                <a:lnTo>
                  <a:pt x="3103967" y="1340448"/>
                </a:lnTo>
                <a:lnTo>
                  <a:pt x="3090542" y="1360110"/>
                </a:lnTo>
                <a:lnTo>
                  <a:pt x="3075336" y="1377914"/>
                </a:lnTo>
                <a:lnTo>
                  <a:pt x="3058263" y="1393812"/>
                </a:lnTo>
                <a:lnTo>
                  <a:pt x="3039235" y="1407753"/>
                </a:lnTo>
                <a:lnTo>
                  <a:pt x="3018165" y="1419686"/>
                </a:lnTo>
                <a:lnTo>
                  <a:pt x="2994965" y="1429562"/>
                </a:lnTo>
                <a:lnTo>
                  <a:pt x="2969548" y="1437331"/>
                </a:lnTo>
                <a:lnTo>
                  <a:pt x="2941828" y="1442942"/>
                </a:lnTo>
                <a:lnTo>
                  <a:pt x="2911716" y="1446346"/>
                </a:lnTo>
                <a:lnTo>
                  <a:pt x="2879125" y="1447491"/>
                </a:lnTo>
                <a:lnTo>
                  <a:pt x="2879125" y="1388782"/>
                </a:lnTo>
                <a:lnTo>
                  <a:pt x="2909252" y="1387428"/>
                </a:lnTo>
                <a:lnTo>
                  <a:pt x="2936490" y="1383413"/>
                </a:lnTo>
                <a:lnTo>
                  <a:pt x="2960977" y="1376811"/>
                </a:lnTo>
                <a:lnTo>
                  <a:pt x="2982849" y="1367691"/>
                </a:lnTo>
                <a:lnTo>
                  <a:pt x="3019298" y="1342188"/>
                </a:lnTo>
                <a:lnTo>
                  <a:pt x="3046935" y="1307477"/>
                </a:lnTo>
                <a:lnTo>
                  <a:pt x="3057792" y="1286848"/>
                </a:lnTo>
                <a:lnTo>
                  <a:pt x="3066859" y="1264133"/>
                </a:lnTo>
                <a:lnTo>
                  <a:pt x="3074271" y="1239402"/>
                </a:lnTo>
                <a:lnTo>
                  <a:pt x="3080167" y="1212729"/>
                </a:lnTo>
                <a:lnTo>
                  <a:pt x="3084682" y="1184184"/>
                </a:lnTo>
                <a:lnTo>
                  <a:pt x="3087956" y="1153838"/>
                </a:lnTo>
                <a:lnTo>
                  <a:pt x="3090124" y="1121765"/>
                </a:lnTo>
                <a:lnTo>
                  <a:pt x="3091324" y="1088036"/>
                </a:lnTo>
                <a:lnTo>
                  <a:pt x="3091694" y="1052721"/>
                </a:lnTo>
                <a:lnTo>
                  <a:pt x="3091305" y="1017753"/>
                </a:lnTo>
                <a:lnTo>
                  <a:pt x="3090050" y="984350"/>
                </a:lnTo>
                <a:lnTo>
                  <a:pt x="3087800" y="952581"/>
                </a:lnTo>
                <a:lnTo>
                  <a:pt x="3084425" y="922520"/>
                </a:lnTo>
                <a:lnTo>
                  <a:pt x="3079795" y="894237"/>
                </a:lnTo>
                <a:lnTo>
                  <a:pt x="3073782" y="867805"/>
                </a:lnTo>
                <a:lnTo>
                  <a:pt x="3066253" y="843295"/>
                </a:lnTo>
                <a:lnTo>
                  <a:pt x="3057081" y="820780"/>
                </a:lnTo>
                <a:lnTo>
                  <a:pt x="3046134" y="800330"/>
                </a:lnTo>
                <a:lnTo>
                  <a:pt x="3018400" y="765914"/>
                </a:lnTo>
                <a:lnTo>
                  <a:pt x="2982013" y="740620"/>
                </a:lnTo>
                <a:lnTo>
                  <a:pt x="2960250" y="731574"/>
                </a:lnTo>
                <a:lnTo>
                  <a:pt x="2935934" y="725024"/>
                </a:lnTo>
                <a:lnTo>
                  <a:pt x="2908936" y="721041"/>
                </a:lnTo>
                <a:lnTo>
                  <a:pt x="2879125" y="719697"/>
                </a:lnTo>
                <a:close/>
                <a:moveTo>
                  <a:pt x="2565698" y="659976"/>
                </a:moveTo>
                <a:lnTo>
                  <a:pt x="2565698" y="719697"/>
                </a:lnTo>
                <a:lnTo>
                  <a:pt x="2536056" y="721041"/>
                </a:lnTo>
                <a:lnTo>
                  <a:pt x="2509206" y="725024"/>
                </a:lnTo>
                <a:lnTo>
                  <a:pt x="2485020" y="731574"/>
                </a:lnTo>
                <a:lnTo>
                  <a:pt x="2463369" y="740620"/>
                </a:lnTo>
                <a:lnTo>
                  <a:pt x="2427161" y="765914"/>
                </a:lnTo>
                <a:lnTo>
                  <a:pt x="2399551" y="800330"/>
                </a:lnTo>
                <a:lnTo>
                  <a:pt x="2388649" y="820780"/>
                </a:lnTo>
                <a:lnTo>
                  <a:pt x="2379511" y="843295"/>
                </a:lnTo>
                <a:lnTo>
                  <a:pt x="2372009" y="867805"/>
                </a:lnTo>
                <a:lnTo>
                  <a:pt x="2366014" y="894237"/>
                </a:lnTo>
                <a:lnTo>
                  <a:pt x="2361397" y="922520"/>
                </a:lnTo>
                <a:lnTo>
                  <a:pt x="2358029" y="952581"/>
                </a:lnTo>
                <a:lnTo>
                  <a:pt x="2355783" y="984350"/>
                </a:lnTo>
                <a:lnTo>
                  <a:pt x="2354530" y="1017753"/>
                </a:lnTo>
                <a:lnTo>
                  <a:pt x="2354141" y="1052721"/>
                </a:lnTo>
                <a:lnTo>
                  <a:pt x="2354520" y="1088036"/>
                </a:lnTo>
                <a:lnTo>
                  <a:pt x="2355746" y="1121765"/>
                </a:lnTo>
                <a:lnTo>
                  <a:pt x="2357952" y="1153838"/>
                </a:lnTo>
                <a:lnTo>
                  <a:pt x="2361268" y="1184184"/>
                </a:lnTo>
                <a:lnTo>
                  <a:pt x="2365828" y="1212729"/>
                </a:lnTo>
                <a:lnTo>
                  <a:pt x="2371764" y="1239402"/>
                </a:lnTo>
                <a:lnTo>
                  <a:pt x="2379208" y="1264133"/>
                </a:lnTo>
                <a:lnTo>
                  <a:pt x="2388293" y="1286848"/>
                </a:lnTo>
                <a:lnTo>
                  <a:pt x="2399150" y="1307477"/>
                </a:lnTo>
                <a:lnTo>
                  <a:pt x="2426712" y="1342188"/>
                </a:lnTo>
                <a:lnTo>
                  <a:pt x="2462952" y="1367691"/>
                </a:lnTo>
                <a:lnTo>
                  <a:pt x="2484656" y="1376811"/>
                </a:lnTo>
                <a:lnTo>
                  <a:pt x="2508928" y="1383413"/>
                </a:lnTo>
                <a:lnTo>
                  <a:pt x="2535898" y="1387428"/>
                </a:lnTo>
                <a:lnTo>
                  <a:pt x="2565698" y="1388782"/>
                </a:lnTo>
                <a:lnTo>
                  <a:pt x="2565698" y="1447491"/>
                </a:lnTo>
                <a:lnTo>
                  <a:pt x="2533244" y="1446346"/>
                </a:lnTo>
                <a:lnTo>
                  <a:pt x="2503241" y="1442942"/>
                </a:lnTo>
                <a:lnTo>
                  <a:pt x="2475603" y="1437331"/>
                </a:lnTo>
                <a:lnTo>
                  <a:pt x="2450247" y="1429562"/>
                </a:lnTo>
                <a:lnTo>
                  <a:pt x="2427085" y="1419686"/>
                </a:lnTo>
                <a:lnTo>
                  <a:pt x="2406034" y="1407753"/>
                </a:lnTo>
                <a:lnTo>
                  <a:pt x="2387009" y="1393812"/>
                </a:lnTo>
                <a:lnTo>
                  <a:pt x="2369924" y="1377914"/>
                </a:lnTo>
                <a:lnTo>
                  <a:pt x="2354694" y="1360110"/>
                </a:lnTo>
                <a:lnTo>
                  <a:pt x="2341235" y="1340448"/>
                </a:lnTo>
                <a:lnTo>
                  <a:pt x="2329461" y="1318979"/>
                </a:lnTo>
                <a:lnTo>
                  <a:pt x="2319288" y="1295754"/>
                </a:lnTo>
                <a:lnTo>
                  <a:pt x="2310630" y="1270822"/>
                </a:lnTo>
                <a:lnTo>
                  <a:pt x="2303402" y="1244233"/>
                </a:lnTo>
                <a:lnTo>
                  <a:pt x="2297519" y="1216038"/>
                </a:lnTo>
                <a:lnTo>
                  <a:pt x="2292897" y="1186287"/>
                </a:lnTo>
                <a:lnTo>
                  <a:pt x="2289449" y="1155029"/>
                </a:lnTo>
                <a:lnTo>
                  <a:pt x="2287092" y="1122316"/>
                </a:lnTo>
                <a:lnTo>
                  <a:pt x="2285740" y="1088196"/>
                </a:lnTo>
                <a:lnTo>
                  <a:pt x="2285309" y="1052721"/>
                </a:lnTo>
                <a:lnTo>
                  <a:pt x="2285755" y="1017397"/>
                </a:lnTo>
                <a:lnTo>
                  <a:pt x="2287147" y="983429"/>
                </a:lnTo>
                <a:lnTo>
                  <a:pt x="2289566" y="950865"/>
                </a:lnTo>
                <a:lnTo>
                  <a:pt x="2293091" y="919755"/>
                </a:lnTo>
                <a:lnTo>
                  <a:pt x="2297804" y="890147"/>
                </a:lnTo>
                <a:lnTo>
                  <a:pt x="2303784" y="862093"/>
                </a:lnTo>
                <a:lnTo>
                  <a:pt x="2311113" y="835640"/>
                </a:lnTo>
                <a:lnTo>
                  <a:pt x="2319870" y="810839"/>
                </a:lnTo>
                <a:lnTo>
                  <a:pt x="2330137" y="787738"/>
                </a:lnTo>
                <a:lnTo>
                  <a:pt x="2341994" y="766386"/>
                </a:lnTo>
                <a:lnTo>
                  <a:pt x="2355521" y="746834"/>
                </a:lnTo>
                <a:lnTo>
                  <a:pt x="2370798" y="729131"/>
                </a:lnTo>
                <a:lnTo>
                  <a:pt x="2387907" y="713326"/>
                </a:lnTo>
                <a:lnTo>
                  <a:pt x="2406927" y="699468"/>
                </a:lnTo>
                <a:lnTo>
                  <a:pt x="2427939" y="687607"/>
                </a:lnTo>
                <a:lnTo>
                  <a:pt x="2451024" y="677791"/>
                </a:lnTo>
                <a:lnTo>
                  <a:pt x="2476262" y="670071"/>
                </a:lnTo>
                <a:lnTo>
                  <a:pt x="2503733" y="664495"/>
                </a:lnTo>
                <a:lnTo>
                  <a:pt x="2533518" y="661113"/>
                </a:lnTo>
                <a:close/>
                <a:moveTo>
                  <a:pt x="1358847" y="0"/>
                </a:moveTo>
                <a:lnTo>
                  <a:pt x="1439826" y="0"/>
                </a:lnTo>
                <a:lnTo>
                  <a:pt x="1554207" y="209532"/>
                </a:lnTo>
                <a:lnTo>
                  <a:pt x="1437801" y="425136"/>
                </a:lnTo>
                <a:lnTo>
                  <a:pt x="1358847" y="425136"/>
                </a:lnTo>
                <a:lnTo>
                  <a:pt x="1458045" y="239899"/>
                </a:lnTo>
                <a:lnTo>
                  <a:pt x="1068337" y="239899"/>
                </a:lnTo>
                <a:lnTo>
                  <a:pt x="1068337" y="175116"/>
                </a:lnTo>
                <a:lnTo>
                  <a:pt x="1456021" y="175116"/>
                </a:lnTo>
                <a:close/>
              </a:path>
            </a:pathLst>
          </a:custGeom>
          <a:solidFill>
            <a:srgbClr val="4D7836"/>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336111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reaker F">
    <p:bg>
      <p:bgRef idx="1001">
        <a:schemeClr val="bg1"/>
      </p:bgRef>
    </p:bg>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87C710D9-C93F-423E-B535-622B5249ACB1}" type="datetime2">
              <a:rPr lang="da-DK" smtClean="0"/>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29" name="Mikro grafik 1">
            <a:extLst>
              <a:ext uri="{FF2B5EF4-FFF2-40B4-BE49-F238E27FC236}">
                <a16:creationId xmlns:a16="http://schemas.microsoft.com/office/drawing/2014/main" id="{64436394-C531-6AC2-FF2F-12CAAB37CDDC}"/>
              </a:ext>
            </a:extLst>
          </p:cNvPr>
          <p:cNvSpPr/>
          <p:nvPr/>
        </p:nvSpPr>
        <p:spPr>
          <a:xfrm>
            <a:off x="367396" y="1045688"/>
            <a:ext cx="3833093" cy="3051877"/>
          </a:xfrm>
          <a:custGeom>
            <a:avLst/>
            <a:gdLst>
              <a:gd name="connsiteX0" fmla="*/ 1358848 w 5110790"/>
              <a:gd name="connsiteY0" fmla="*/ 3644032 h 4069169"/>
              <a:gd name="connsiteX1" fmla="*/ 1439827 w 5110790"/>
              <a:gd name="connsiteY1" fmla="*/ 3644032 h 4069169"/>
              <a:gd name="connsiteX2" fmla="*/ 1554208 w 5110790"/>
              <a:gd name="connsiteY2" fmla="*/ 3853564 h 4069169"/>
              <a:gd name="connsiteX3" fmla="*/ 1437802 w 5110790"/>
              <a:gd name="connsiteY3" fmla="*/ 4069169 h 4069169"/>
              <a:gd name="connsiteX4" fmla="*/ 1358848 w 5110790"/>
              <a:gd name="connsiteY4" fmla="*/ 4069169 h 4069169"/>
              <a:gd name="connsiteX5" fmla="*/ 1458046 w 5110790"/>
              <a:gd name="connsiteY5" fmla="*/ 3883931 h 4069169"/>
              <a:gd name="connsiteX6" fmla="*/ 1068338 w 5110790"/>
              <a:gd name="connsiteY6" fmla="*/ 3883931 h 4069169"/>
              <a:gd name="connsiteX7" fmla="*/ 1068338 w 5110790"/>
              <a:gd name="connsiteY7" fmla="*/ 3819148 h 4069169"/>
              <a:gd name="connsiteX8" fmla="*/ 1456022 w 5110790"/>
              <a:gd name="connsiteY8" fmla="*/ 3819148 h 4069169"/>
              <a:gd name="connsiteX9" fmla="*/ 3579243 w 5110790"/>
              <a:gd name="connsiteY9" fmla="*/ 3101476 h 4069169"/>
              <a:gd name="connsiteX10" fmla="*/ 3604850 w 5110790"/>
              <a:gd name="connsiteY10" fmla="*/ 3103707 h 4069169"/>
              <a:gd name="connsiteX11" fmla="*/ 3624668 w 5110790"/>
              <a:gd name="connsiteY11" fmla="*/ 3111725 h 4069169"/>
              <a:gd name="connsiteX12" fmla="*/ 3637463 w 5110790"/>
              <a:gd name="connsiteY12" fmla="*/ 3127526 h 4069169"/>
              <a:gd name="connsiteX13" fmla="*/ 3642002 w 5110790"/>
              <a:gd name="connsiteY13" fmla="*/ 3153100 h 4069169"/>
              <a:gd name="connsiteX14" fmla="*/ 3637463 w 5110790"/>
              <a:gd name="connsiteY14" fmla="*/ 3179845 h 4069169"/>
              <a:gd name="connsiteX15" fmla="*/ 3624668 w 5110790"/>
              <a:gd name="connsiteY15" fmla="*/ 3196247 h 4069169"/>
              <a:gd name="connsiteX16" fmla="*/ 3604850 w 5110790"/>
              <a:gd name="connsiteY16" fmla="*/ 3204487 h 4069169"/>
              <a:gd name="connsiteX17" fmla="*/ 3579243 w 5110790"/>
              <a:gd name="connsiteY17" fmla="*/ 3206749 h 4069169"/>
              <a:gd name="connsiteX18" fmla="*/ 3553637 w 5110790"/>
              <a:gd name="connsiteY18" fmla="*/ 3204487 h 4069169"/>
              <a:gd name="connsiteX19" fmla="*/ 3533820 w 5110790"/>
              <a:gd name="connsiteY19" fmla="*/ 3196247 h 4069169"/>
              <a:gd name="connsiteX20" fmla="*/ 3521024 w 5110790"/>
              <a:gd name="connsiteY20" fmla="*/ 3179845 h 4069169"/>
              <a:gd name="connsiteX21" fmla="*/ 3516485 w 5110790"/>
              <a:gd name="connsiteY21" fmla="*/ 3153100 h 4069169"/>
              <a:gd name="connsiteX22" fmla="*/ 3521166 w 5110790"/>
              <a:gd name="connsiteY22" fmla="*/ 3127526 h 4069169"/>
              <a:gd name="connsiteX23" fmla="*/ 3534199 w 5110790"/>
              <a:gd name="connsiteY23" fmla="*/ 3111725 h 4069169"/>
              <a:gd name="connsiteX24" fmla="*/ 3554064 w 5110790"/>
              <a:gd name="connsiteY24" fmla="*/ 3103707 h 4069169"/>
              <a:gd name="connsiteX25" fmla="*/ 1609095 w 5110790"/>
              <a:gd name="connsiteY25" fmla="*/ 3101476 h 4069169"/>
              <a:gd name="connsiteX26" fmla="*/ 1634701 w 5110790"/>
              <a:gd name="connsiteY26" fmla="*/ 3103707 h 4069169"/>
              <a:gd name="connsiteX27" fmla="*/ 1654519 w 5110790"/>
              <a:gd name="connsiteY27" fmla="*/ 3111725 h 4069169"/>
              <a:gd name="connsiteX28" fmla="*/ 1667313 w 5110790"/>
              <a:gd name="connsiteY28" fmla="*/ 3127526 h 4069169"/>
              <a:gd name="connsiteX29" fmla="*/ 1671852 w 5110790"/>
              <a:gd name="connsiteY29" fmla="*/ 3153100 h 4069169"/>
              <a:gd name="connsiteX30" fmla="*/ 1667313 w 5110790"/>
              <a:gd name="connsiteY30" fmla="*/ 3179845 h 4069169"/>
              <a:gd name="connsiteX31" fmla="*/ 1654519 w 5110790"/>
              <a:gd name="connsiteY31" fmla="*/ 3196247 h 4069169"/>
              <a:gd name="connsiteX32" fmla="*/ 1634701 w 5110790"/>
              <a:gd name="connsiteY32" fmla="*/ 3204487 h 4069169"/>
              <a:gd name="connsiteX33" fmla="*/ 1609095 w 5110790"/>
              <a:gd name="connsiteY33" fmla="*/ 3206749 h 4069169"/>
              <a:gd name="connsiteX34" fmla="*/ 1583490 w 5110790"/>
              <a:gd name="connsiteY34" fmla="*/ 3204487 h 4069169"/>
              <a:gd name="connsiteX35" fmla="*/ 1563672 w 5110790"/>
              <a:gd name="connsiteY35" fmla="*/ 3196247 h 4069169"/>
              <a:gd name="connsiteX36" fmla="*/ 1550877 w 5110790"/>
              <a:gd name="connsiteY36" fmla="*/ 3179845 h 4069169"/>
              <a:gd name="connsiteX37" fmla="*/ 1546338 w 5110790"/>
              <a:gd name="connsiteY37" fmla="*/ 3153100 h 4069169"/>
              <a:gd name="connsiteX38" fmla="*/ 1551019 w 5110790"/>
              <a:gd name="connsiteY38" fmla="*/ 3127526 h 4069169"/>
              <a:gd name="connsiteX39" fmla="*/ 1564051 w 5110790"/>
              <a:gd name="connsiteY39" fmla="*/ 3111725 h 4069169"/>
              <a:gd name="connsiteX40" fmla="*/ 1583917 w 5110790"/>
              <a:gd name="connsiteY40" fmla="*/ 3103707 h 4069169"/>
              <a:gd name="connsiteX41" fmla="*/ 3579243 w 5110790"/>
              <a:gd name="connsiteY41" fmla="*/ 2676340 h 4069169"/>
              <a:gd name="connsiteX42" fmla="*/ 3604850 w 5110790"/>
              <a:gd name="connsiteY42" fmla="*/ 2678443 h 4069169"/>
              <a:gd name="connsiteX43" fmla="*/ 3624668 w 5110790"/>
              <a:gd name="connsiteY43" fmla="*/ 2686335 h 4069169"/>
              <a:gd name="connsiteX44" fmla="*/ 3637463 w 5110790"/>
              <a:gd name="connsiteY44" fmla="*/ 2702388 h 4069169"/>
              <a:gd name="connsiteX45" fmla="*/ 3642002 w 5110790"/>
              <a:gd name="connsiteY45" fmla="*/ 2728976 h 4069169"/>
              <a:gd name="connsiteX46" fmla="*/ 3637463 w 5110790"/>
              <a:gd name="connsiteY46" fmla="*/ 2754708 h 4069169"/>
              <a:gd name="connsiteX47" fmla="*/ 3624668 w 5110790"/>
              <a:gd name="connsiteY47" fmla="*/ 2770857 h 4069169"/>
              <a:gd name="connsiteX48" fmla="*/ 3604850 w 5110790"/>
              <a:gd name="connsiteY48" fmla="*/ 2779223 h 4069169"/>
              <a:gd name="connsiteX49" fmla="*/ 3579243 w 5110790"/>
              <a:gd name="connsiteY49" fmla="*/ 2781612 h 4069169"/>
              <a:gd name="connsiteX50" fmla="*/ 3554223 w 5110790"/>
              <a:gd name="connsiteY50" fmla="*/ 2779223 h 4069169"/>
              <a:gd name="connsiteX51" fmla="*/ 3534706 w 5110790"/>
              <a:gd name="connsiteY51" fmla="*/ 2770857 h 4069169"/>
              <a:gd name="connsiteX52" fmla="*/ 3522021 w 5110790"/>
              <a:gd name="connsiteY52" fmla="*/ 2754708 h 4069169"/>
              <a:gd name="connsiteX53" fmla="*/ 3517498 w 5110790"/>
              <a:gd name="connsiteY53" fmla="*/ 2728976 h 4069169"/>
              <a:gd name="connsiteX54" fmla="*/ 3522021 w 5110790"/>
              <a:gd name="connsiteY54" fmla="*/ 2702388 h 4069169"/>
              <a:gd name="connsiteX55" fmla="*/ 3534706 w 5110790"/>
              <a:gd name="connsiteY55" fmla="*/ 2686335 h 4069169"/>
              <a:gd name="connsiteX56" fmla="*/ 3554223 w 5110790"/>
              <a:gd name="connsiteY56" fmla="*/ 2678443 h 4069169"/>
              <a:gd name="connsiteX57" fmla="*/ 1609095 w 5110790"/>
              <a:gd name="connsiteY57" fmla="*/ 2676340 h 4069169"/>
              <a:gd name="connsiteX58" fmla="*/ 1634701 w 5110790"/>
              <a:gd name="connsiteY58" fmla="*/ 2678443 h 4069169"/>
              <a:gd name="connsiteX59" fmla="*/ 1654519 w 5110790"/>
              <a:gd name="connsiteY59" fmla="*/ 2686335 h 4069169"/>
              <a:gd name="connsiteX60" fmla="*/ 1667313 w 5110790"/>
              <a:gd name="connsiteY60" fmla="*/ 2702388 h 4069169"/>
              <a:gd name="connsiteX61" fmla="*/ 1671852 w 5110790"/>
              <a:gd name="connsiteY61" fmla="*/ 2728976 h 4069169"/>
              <a:gd name="connsiteX62" fmla="*/ 1667313 w 5110790"/>
              <a:gd name="connsiteY62" fmla="*/ 2754708 h 4069169"/>
              <a:gd name="connsiteX63" fmla="*/ 1654519 w 5110790"/>
              <a:gd name="connsiteY63" fmla="*/ 2770857 h 4069169"/>
              <a:gd name="connsiteX64" fmla="*/ 1634701 w 5110790"/>
              <a:gd name="connsiteY64" fmla="*/ 2779223 h 4069169"/>
              <a:gd name="connsiteX65" fmla="*/ 1609095 w 5110790"/>
              <a:gd name="connsiteY65" fmla="*/ 2781612 h 4069169"/>
              <a:gd name="connsiteX66" fmla="*/ 1584075 w 5110790"/>
              <a:gd name="connsiteY66" fmla="*/ 2779223 h 4069169"/>
              <a:gd name="connsiteX67" fmla="*/ 1564558 w 5110790"/>
              <a:gd name="connsiteY67" fmla="*/ 2770857 h 4069169"/>
              <a:gd name="connsiteX68" fmla="*/ 1551873 w 5110790"/>
              <a:gd name="connsiteY68" fmla="*/ 2754708 h 4069169"/>
              <a:gd name="connsiteX69" fmla="*/ 1547350 w 5110790"/>
              <a:gd name="connsiteY69" fmla="*/ 2728976 h 4069169"/>
              <a:gd name="connsiteX70" fmla="*/ 1551873 w 5110790"/>
              <a:gd name="connsiteY70" fmla="*/ 2702388 h 4069169"/>
              <a:gd name="connsiteX71" fmla="*/ 1564558 w 5110790"/>
              <a:gd name="connsiteY71" fmla="*/ 2686335 h 4069169"/>
              <a:gd name="connsiteX72" fmla="*/ 1584075 w 5110790"/>
              <a:gd name="connsiteY72" fmla="*/ 2678443 h 4069169"/>
              <a:gd name="connsiteX73" fmla="*/ 2879125 w 5110790"/>
              <a:gd name="connsiteY73" fmla="*/ 2481992 h 4069169"/>
              <a:gd name="connsiteX74" fmla="*/ 2911305 w 5110790"/>
              <a:gd name="connsiteY74" fmla="*/ 2483129 h 4069169"/>
              <a:gd name="connsiteX75" fmla="*/ 2941090 w 5110790"/>
              <a:gd name="connsiteY75" fmla="*/ 2486511 h 4069169"/>
              <a:gd name="connsiteX76" fmla="*/ 2968561 w 5110790"/>
              <a:gd name="connsiteY76" fmla="*/ 2492087 h 4069169"/>
              <a:gd name="connsiteX77" fmla="*/ 2993799 w 5110790"/>
              <a:gd name="connsiteY77" fmla="*/ 2499807 h 4069169"/>
              <a:gd name="connsiteX78" fmla="*/ 3016884 w 5110790"/>
              <a:gd name="connsiteY78" fmla="*/ 2509622 h 4069169"/>
              <a:gd name="connsiteX79" fmla="*/ 3037896 w 5110790"/>
              <a:gd name="connsiteY79" fmla="*/ 2521483 h 4069169"/>
              <a:gd name="connsiteX80" fmla="*/ 3056916 w 5110790"/>
              <a:gd name="connsiteY80" fmla="*/ 2535342 h 4069169"/>
              <a:gd name="connsiteX81" fmla="*/ 3074024 w 5110790"/>
              <a:gd name="connsiteY81" fmla="*/ 2551147 h 4069169"/>
              <a:gd name="connsiteX82" fmla="*/ 3089302 w 5110790"/>
              <a:gd name="connsiteY82" fmla="*/ 2568850 h 4069169"/>
              <a:gd name="connsiteX83" fmla="*/ 3102829 w 5110790"/>
              <a:gd name="connsiteY83" fmla="*/ 2588403 h 4069169"/>
              <a:gd name="connsiteX84" fmla="*/ 3114685 w 5110790"/>
              <a:gd name="connsiteY84" fmla="*/ 2609754 h 4069169"/>
              <a:gd name="connsiteX85" fmla="*/ 3124952 w 5110790"/>
              <a:gd name="connsiteY85" fmla="*/ 2632854 h 4069169"/>
              <a:gd name="connsiteX86" fmla="*/ 3133709 w 5110790"/>
              <a:gd name="connsiteY86" fmla="*/ 2657656 h 4069169"/>
              <a:gd name="connsiteX87" fmla="*/ 3141039 w 5110790"/>
              <a:gd name="connsiteY87" fmla="*/ 2684109 h 4069169"/>
              <a:gd name="connsiteX88" fmla="*/ 3147019 w 5110790"/>
              <a:gd name="connsiteY88" fmla="*/ 2712163 h 4069169"/>
              <a:gd name="connsiteX89" fmla="*/ 3151732 w 5110790"/>
              <a:gd name="connsiteY89" fmla="*/ 2741770 h 4069169"/>
              <a:gd name="connsiteX90" fmla="*/ 3155257 w 5110790"/>
              <a:gd name="connsiteY90" fmla="*/ 2772881 h 4069169"/>
              <a:gd name="connsiteX91" fmla="*/ 3157675 w 5110790"/>
              <a:gd name="connsiteY91" fmla="*/ 2805445 h 4069169"/>
              <a:gd name="connsiteX92" fmla="*/ 3159067 w 5110790"/>
              <a:gd name="connsiteY92" fmla="*/ 2839413 h 4069169"/>
              <a:gd name="connsiteX93" fmla="*/ 3159514 w 5110790"/>
              <a:gd name="connsiteY93" fmla="*/ 2874737 h 4069169"/>
              <a:gd name="connsiteX94" fmla="*/ 3159089 w 5110790"/>
              <a:gd name="connsiteY94" fmla="*/ 2910212 h 4069169"/>
              <a:gd name="connsiteX95" fmla="*/ 3157757 w 5110790"/>
              <a:gd name="connsiteY95" fmla="*/ 2944332 h 4069169"/>
              <a:gd name="connsiteX96" fmla="*/ 3155431 w 5110790"/>
              <a:gd name="connsiteY96" fmla="*/ 2977045 h 4069169"/>
              <a:gd name="connsiteX97" fmla="*/ 3152023 w 5110790"/>
              <a:gd name="connsiteY97" fmla="*/ 3008303 h 4069169"/>
              <a:gd name="connsiteX98" fmla="*/ 3147446 w 5110790"/>
              <a:gd name="connsiteY98" fmla="*/ 3038054 h 4069169"/>
              <a:gd name="connsiteX99" fmla="*/ 3141612 w 5110790"/>
              <a:gd name="connsiteY99" fmla="*/ 3066249 h 4069169"/>
              <a:gd name="connsiteX100" fmla="*/ 3134435 w 5110790"/>
              <a:gd name="connsiteY100" fmla="*/ 3092837 h 4069169"/>
              <a:gd name="connsiteX101" fmla="*/ 3125826 w 5110790"/>
              <a:gd name="connsiteY101" fmla="*/ 3117770 h 4069169"/>
              <a:gd name="connsiteX102" fmla="*/ 3115700 w 5110790"/>
              <a:gd name="connsiteY102" fmla="*/ 3140995 h 4069169"/>
              <a:gd name="connsiteX103" fmla="*/ 3103967 w 5110790"/>
              <a:gd name="connsiteY103" fmla="*/ 3162464 h 4069169"/>
              <a:gd name="connsiteX104" fmla="*/ 3090542 w 5110790"/>
              <a:gd name="connsiteY104" fmla="*/ 3182126 h 4069169"/>
              <a:gd name="connsiteX105" fmla="*/ 3075336 w 5110790"/>
              <a:gd name="connsiteY105" fmla="*/ 3199931 h 4069169"/>
              <a:gd name="connsiteX106" fmla="*/ 3058263 w 5110790"/>
              <a:gd name="connsiteY106" fmla="*/ 3215828 h 4069169"/>
              <a:gd name="connsiteX107" fmla="*/ 3039235 w 5110790"/>
              <a:gd name="connsiteY107" fmla="*/ 3229769 h 4069169"/>
              <a:gd name="connsiteX108" fmla="*/ 3018165 w 5110790"/>
              <a:gd name="connsiteY108" fmla="*/ 3241703 h 4069169"/>
              <a:gd name="connsiteX109" fmla="*/ 2994965 w 5110790"/>
              <a:gd name="connsiteY109" fmla="*/ 3251579 h 4069169"/>
              <a:gd name="connsiteX110" fmla="*/ 2969548 w 5110790"/>
              <a:gd name="connsiteY110" fmla="*/ 3259347 h 4069169"/>
              <a:gd name="connsiteX111" fmla="*/ 2941828 w 5110790"/>
              <a:gd name="connsiteY111" fmla="*/ 3264959 h 4069169"/>
              <a:gd name="connsiteX112" fmla="*/ 2911716 w 5110790"/>
              <a:gd name="connsiteY112" fmla="*/ 3268362 h 4069169"/>
              <a:gd name="connsiteX113" fmla="*/ 2879125 w 5110790"/>
              <a:gd name="connsiteY113" fmla="*/ 3269508 h 4069169"/>
              <a:gd name="connsiteX114" fmla="*/ 2879125 w 5110790"/>
              <a:gd name="connsiteY114" fmla="*/ 3210798 h 4069169"/>
              <a:gd name="connsiteX115" fmla="*/ 2909252 w 5110790"/>
              <a:gd name="connsiteY115" fmla="*/ 3209444 h 4069169"/>
              <a:gd name="connsiteX116" fmla="*/ 2936490 w 5110790"/>
              <a:gd name="connsiteY116" fmla="*/ 3205429 h 4069169"/>
              <a:gd name="connsiteX117" fmla="*/ 2960977 w 5110790"/>
              <a:gd name="connsiteY117" fmla="*/ 3198827 h 4069169"/>
              <a:gd name="connsiteX118" fmla="*/ 2982849 w 5110790"/>
              <a:gd name="connsiteY118" fmla="*/ 3189707 h 4069169"/>
              <a:gd name="connsiteX119" fmla="*/ 3019298 w 5110790"/>
              <a:gd name="connsiteY119" fmla="*/ 3164203 h 4069169"/>
              <a:gd name="connsiteX120" fmla="*/ 3046935 w 5110790"/>
              <a:gd name="connsiteY120" fmla="*/ 3129493 h 4069169"/>
              <a:gd name="connsiteX121" fmla="*/ 3057792 w 5110790"/>
              <a:gd name="connsiteY121" fmla="*/ 3108864 h 4069169"/>
              <a:gd name="connsiteX122" fmla="*/ 3066859 w 5110790"/>
              <a:gd name="connsiteY122" fmla="*/ 3086149 h 4069169"/>
              <a:gd name="connsiteX123" fmla="*/ 3074271 w 5110790"/>
              <a:gd name="connsiteY123" fmla="*/ 3061419 h 4069169"/>
              <a:gd name="connsiteX124" fmla="*/ 3080167 w 5110790"/>
              <a:gd name="connsiteY124" fmla="*/ 3034745 h 4069169"/>
              <a:gd name="connsiteX125" fmla="*/ 3084682 w 5110790"/>
              <a:gd name="connsiteY125" fmla="*/ 3006199 h 4069169"/>
              <a:gd name="connsiteX126" fmla="*/ 3087956 w 5110790"/>
              <a:gd name="connsiteY126" fmla="*/ 2975855 h 4069169"/>
              <a:gd name="connsiteX127" fmla="*/ 3090124 w 5110790"/>
              <a:gd name="connsiteY127" fmla="*/ 2943781 h 4069169"/>
              <a:gd name="connsiteX128" fmla="*/ 3091324 w 5110790"/>
              <a:gd name="connsiteY128" fmla="*/ 2910051 h 4069169"/>
              <a:gd name="connsiteX129" fmla="*/ 3091694 w 5110790"/>
              <a:gd name="connsiteY129" fmla="*/ 2874737 h 4069169"/>
              <a:gd name="connsiteX130" fmla="*/ 3091305 w 5110790"/>
              <a:gd name="connsiteY130" fmla="*/ 2839769 h 4069169"/>
              <a:gd name="connsiteX131" fmla="*/ 3090050 w 5110790"/>
              <a:gd name="connsiteY131" fmla="*/ 2806365 h 4069169"/>
              <a:gd name="connsiteX132" fmla="*/ 3087800 w 5110790"/>
              <a:gd name="connsiteY132" fmla="*/ 2774596 h 4069169"/>
              <a:gd name="connsiteX133" fmla="*/ 3084425 w 5110790"/>
              <a:gd name="connsiteY133" fmla="*/ 2744535 h 4069169"/>
              <a:gd name="connsiteX134" fmla="*/ 3079795 w 5110790"/>
              <a:gd name="connsiteY134" fmla="*/ 2716252 h 4069169"/>
              <a:gd name="connsiteX135" fmla="*/ 3073782 w 5110790"/>
              <a:gd name="connsiteY135" fmla="*/ 2689820 h 4069169"/>
              <a:gd name="connsiteX136" fmla="*/ 3066253 w 5110790"/>
              <a:gd name="connsiteY136" fmla="*/ 2665311 h 4069169"/>
              <a:gd name="connsiteX137" fmla="*/ 3057081 w 5110790"/>
              <a:gd name="connsiteY137" fmla="*/ 2642795 h 4069169"/>
              <a:gd name="connsiteX138" fmla="*/ 3046134 w 5110790"/>
              <a:gd name="connsiteY138" fmla="*/ 2622345 h 4069169"/>
              <a:gd name="connsiteX139" fmla="*/ 3018400 w 5110790"/>
              <a:gd name="connsiteY139" fmla="*/ 2587929 h 4069169"/>
              <a:gd name="connsiteX140" fmla="*/ 2982013 w 5110790"/>
              <a:gd name="connsiteY140" fmla="*/ 2562635 h 4069169"/>
              <a:gd name="connsiteX141" fmla="*/ 2960250 w 5110790"/>
              <a:gd name="connsiteY141" fmla="*/ 2553590 h 4069169"/>
              <a:gd name="connsiteX142" fmla="*/ 2935934 w 5110790"/>
              <a:gd name="connsiteY142" fmla="*/ 2547039 h 4069169"/>
              <a:gd name="connsiteX143" fmla="*/ 2908936 w 5110790"/>
              <a:gd name="connsiteY143" fmla="*/ 2543056 h 4069169"/>
              <a:gd name="connsiteX144" fmla="*/ 2879125 w 5110790"/>
              <a:gd name="connsiteY144" fmla="*/ 2541713 h 4069169"/>
              <a:gd name="connsiteX145" fmla="*/ 2565698 w 5110790"/>
              <a:gd name="connsiteY145" fmla="*/ 2481992 h 4069169"/>
              <a:gd name="connsiteX146" fmla="*/ 2565698 w 5110790"/>
              <a:gd name="connsiteY146" fmla="*/ 2541713 h 4069169"/>
              <a:gd name="connsiteX147" fmla="*/ 2536056 w 5110790"/>
              <a:gd name="connsiteY147" fmla="*/ 2543056 h 4069169"/>
              <a:gd name="connsiteX148" fmla="*/ 2509206 w 5110790"/>
              <a:gd name="connsiteY148" fmla="*/ 2547039 h 4069169"/>
              <a:gd name="connsiteX149" fmla="*/ 2485020 w 5110790"/>
              <a:gd name="connsiteY149" fmla="*/ 2553590 h 4069169"/>
              <a:gd name="connsiteX150" fmla="*/ 2463369 w 5110790"/>
              <a:gd name="connsiteY150" fmla="*/ 2562635 h 4069169"/>
              <a:gd name="connsiteX151" fmla="*/ 2427161 w 5110790"/>
              <a:gd name="connsiteY151" fmla="*/ 2587929 h 4069169"/>
              <a:gd name="connsiteX152" fmla="*/ 2399551 w 5110790"/>
              <a:gd name="connsiteY152" fmla="*/ 2622345 h 4069169"/>
              <a:gd name="connsiteX153" fmla="*/ 2388649 w 5110790"/>
              <a:gd name="connsiteY153" fmla="*/ 2642795 h 4069169"/>
              <a:gd name="connsiteX154" fmla="*/ 2379511 w 5110790"/>
              <a:gd name="connsiteY154" fmla="*/ 2665311 h 4069169"/>
              <a:gd name="connsiteX155" fmla="*/ 2372009 w 5110790"/>
              <a:gd name="connsiteY155" fmla="*/ 2689820 h 4069169"/>
              <a:gd name="connsiteX156" fmla="*/ 2366014 w 5110790"/>
              <a:gd name="connsiteY156" fmla="*/ 2716252 h 4069169"/>
              <a:gd name="connsiteX157" fmla="*/ 2361397 w 5110790"/>
              <a:gd name="connsiteY157" fmla="*/ 2744535 h 4069169"/>
              <a:gd name="connsiteX158" fmla="*/ 2358029 w 5110790"/>
              <a:gd name="connsiteY158" fmla="*/ 2774596 h 4069169"/>
              <a:gd name="connsiteX159" fmla="*/ 2355783 w 5110790"/>
              <a:gd name="connsiteY159" fmla="*/ 2806365 h 4069169"/>
              <a:gd name="connsiteX160" fmla="*/ 2354530 w 5110790"/>
              <a:gd name="connsiteY160" fmla="*/ 2839769 h 4069169"/>
              <a:gd name="connsiteX161" fmla="*/ 2354141 w 5110790"/>
              <a:gd name="connsiteY161" fmla="*/ 2874737 h 4069169"/>
              <a:gd name="connsiteX162" fmla="*/ 2354520 w 5110790"/>
              <a:gd name="connsiteY162" fmla="*/ 2910051 h 4069169"/>
              <a:gd name="connsiteX163" fmla="*/ 2355746 w 5110790"/>
              <a:gd name="connsiteY163" fmla="*/ 2943781 h 4069169"/>
              <a:gd name="connsiteX164" fmla="*/ 2357952 w 5110790"/>
              <a:gd name="connsiteY164" fmla="*/ 2975855 h 4069169"/>
              <a:gd name="connsiteX165" fmla="*/ 2361268 w 5110790"/>
              <a:gd name="connsiteY165" fmla="*/ 3006199 h 4069169"/>
              <a:gd name="connsiteX166" fmla="*/ 2365828 w 5110790"/>
              <a:gd name="connsiteY166" fmla="*/ 3034745 h 4069169"/>
              <a:gd name="connsiteX167" fmla="*/ 2371764 w 5110790"/>
              <a:gd name="connsiteY167" fmla="*/ 3061419 h 4069169"/>
              <a:gd name="connsiteX168" fmla="*/ 2379208 w 5110790"/>
              <a:gd name="connsiteY168" fmla="*/ 3086149 h 4069169"/>
              <a:gd name="connsiteX169" fmla="*/ 2388293 w 5110790"/>
              <a:gd name="connsiteY169" fmla="*/ 3108864 h 4069169"/>
              <a:gd name="connsiteX170" fmla="*/ 2399150 w 5110790"/>
              <a:gd name="connsiteY170" fmla="*/ 3129493 h 4069169"/>
              <a:gd name="connsiteX171" fmla="*/ 2426712 w 5110790"/>
              <a:gd name="connsiteY171" fmla="*/ 3164203 h 4069169"/>
              <a:gd name="connsiteX172" fmla="*/ 2462952 w 5110790"/>
              <a:gd name="connsiteY172" fmla="*/ 3189707 h 4069169"/>
              <a:gd name="connsiteX173" fmla="*/ 2484656 w 5110790"/>
              <a:gd name="connsiteY173" fmla="*/ 3198827 h 4069169"/>
              <a:gd name="connsiteX174" fmla="*/ 2508928 w 5110790"/>
              <a:gd name="connsiteY174" fmla="*/ 3205429 h 4069169"/>
              <a:gd name="connsiteX175" fmla="*/ 2535898 w 5110790"/>
              <a:gd name="connsiteY175" fmla="*/ 3209444 h 4069169"/>
              <a:gd name="connsiteX176" fmla="*/ 2565698 w 5110790"/>
              <a:gd name="connsiteY176" fmla="*/ 3210798 h 4069169"/>
              <a:gd name="connsiteX177" fmla="*/ 2565698 w 5110790"/>
              <a:gd name="connsiteY177" fmla="*/ 3269508 h 4069169"/>
              <a:gd name="connsiteX178" fmla="*/ 2533244 w 5110790"/>
              <a:gd name="connsiteY178" fmla="*/ 3268362 h 4069169"/>
              <a:gd name="connsiteX179" fmla="*/ 2503241 w 5110790"/>
              <a:gd name="connsiteY179" fmla="*/ 3264959 h 4069169"/>
              <a:gd name="connsiteX180" fmla="*/ 2475603 w 5110790"/>
              <a:gd name="connsiteY180" fmla="*/ 3259347 h 4069169"/>
              <a:gd name="connsiteX181" fmla="*/ 2450247 w 5110790"/>
              <a:gd name="connsiteY181" fmla="*/ 3251579 h 4069169"/>
              <a:gd name="connsiteX182" fmla="*/ 2427085 w 5110790"/>
              <a:gd name="connsiteY182" fmla="*/ 3241703 h 4069169"/>
              <a:gd name="connsiteX183" fmla="*/ 2406034 w 5110790"/>
              <a:gd name="connsiteY183" fmla="*/ 3229769 h 4069169"/>
              <a:gd name="connsiteX184" fmla="*/ 2387009 w 5110790"/>
              <a:gd name="connsiteY184" fmla="*/ 3215828 h 4069169"/>
              <a:gd name="connsiteX185" fmla="*/ 2369924 w 5110790"/>
              <a:gd name="connsiteY185" fmla="*/ 3199931 h 4069169"/>
              <a:gd name="connsiteX186" fmla="*/ 2354694 w 5110790"/>
              <a:gd name="connsiteY186" fmla="*/ 3182126 h 4069169"/>
              <a:gd name="connsiteX187" fmla="*/ 2341235 w 5110790"/>
              <a:gd name="connsiteY187" fmla="*/ 3162464 h 4069169"/>
              <a:gd name="connsiteX188" fmla="*/ 2329461 w 5110790"/>
              <a:gd name="connsiteY188" fmla="*/ 3140995 h 4069169"/>
              <a:gd name="connsiteX189" fmla="*/ 2319288 w 5110790"/>
              <a:gd name="connsiteY189" fmla="*/ 3117770 h 4069169"/>
              <a:gd name="connsiteX190" fmla="*/ 2310630 w 5110790"/>
              <a:gd name="connsiteY190" fmla="*/ 3092837 h 4069169"/>
              <a:gd name="connsiteX191" fmla="*/ 2303402 w 5110790"/>
              <a:gd name="connsiteY191" fmla="*/ 3066249 h 4069169"/>
              <a:gd name="connsiteX192" fmla="*/ 2297519 w 5110790"/>
              <a:gd name="connsiteY192" fmla="*/ 3038054 h 4069169"/>
              <a:gd name="connsiteX193" fmla="*/ 2292897 w 5110790"/>
              <a:gd name="connsiteY193" fmla="*/ 3008303 h 4069169"/>
              <a:gd name="connsiteX194" fmla="*/ 2289449 w 5110790"/>
              <a:gd name="connsiteY194" fmla="*/ 2977045 h 4069169"/>
              <a:gd name="connsiteX195" fmla="*/ 2287092 w 5110790"/>
              <a:gd name="connsiteY195" fmla="*/ 2944332 h 4069169"/>
              <a:gd name="connsiteX196" fmla="*/ 2285740 w 5110790"/>
              <a:gd name="connsiteY196" fmla="*/ 2910212 h 4069169"/>
              <a:gd name="connsiteX197" fmla="*/ 2285309 w 5110790"/>
              <a:gd name="connsiteY197" fmla="*/ 2874737 h 4069169"/>
              <a:gd name="connsiteX198" fmla="*/ 2285755 w 5110790"/>
              <a:gd name="connsiteY198" fmla="*/ 2839413 h 4069169"/>
              <a:gd name="connsiteX199" fmla="*/ 2287147 w 5110790"/>
              <a:gd name="connsiteY199" fmla="*/ 2805445 h 4069169"/>
              <a:gd name="connsiteX200" fmla="*/ 2289566 w 5110790"/>
              <a:gd name="connsiteY200" fmla="*/ 2772881 h 4069169"/>
              <a:gd name="connsiteX201" fmla="*/ 2293091 w 5110790"/>
              <a:gd name="connsiteY201" fmla="*/ 2741770 h 4069169"/>
              <a:gd name="connsiteX202" fmla="*/ 2297804 w 5110790"/>
              <a:gd name="connsiteY202" fmla="*/ 2712163 h 4069169"/>
              <a:gd name="connsiteX203" fmla="*/ 2303784 w 5110790"/>
              <a:gd name="connsiteY203" fmla="*/ 2684109 h 4069169"/>
              <a:gd name="connsiteX204" fmla="*/ 2311113 w 5110790"/>
              <a:gd name="connsiteY204" fmla="*/ 2657656 h 4069169"/>
              <a:gd name="connsiteX205" fmla="*/ 2319870 w 5110790"/>
              <a:gd name="connsiteY205" fmla="*/ 2632854 h 4069169"/>
              <a:gd name="connsiteX206" fmla="*/ 2330137 w 5110790"/>
              <a:gd name="connsiteY206" fmla="*/ 2609754 h 4069169"/>
              <a:gd name="connsiteX207" fmla="*/ 2341994 w 5110790"/>
              <a:gd name="connsiteY207" fmla="*/ 2588403 h 4069169"/>
              <a:gd name="connsiteX208" fmla="*/ 2355521 w 5110790"/>
              <a:gd name="connsiteY208" fmla="*/ 2568850 h 4069169"/>
              <a:gd name="connsiteX209" fmla="*/ 2370798 w 5110790"/>
              <a:gd name="connsiteY209" fmla="*/ 2551147 h 4069169"/>
              <a:gd name="connsiteX210" fmla="*/ 2387907 w 5110790"/>
              <a:gd name="connsiteY210" fmla="*/ 2535342 h 4069169"/>
              <a:gd name="connsiteX211" fmla="*/ 2406927 w 5110790"/>
              <a:gd name="connsiteY211" fmla="*/ 2521483 h 4069169"/>
              <a:gd name="connsiteX212" fmla="*/ 2427939 w 5110790"/>
              <a:gd name="connsiteY212" fmla="*/ 2509622 h 4069169"/>
              <a:gd name="connsiteX213" fmla="*/ 2451024 w 5110790"/>
              <a:gd name="connsiteY213" fmla="*/ 2499807 h 4069169"/>
              <a:gd name="connsiteX214" fmla="*/ 2476262 w 5110790"/>
              <a:gd name="connsiteY214" fmla="*/ 2492087 h 4069169"/>
              <a:gd name="connsiteX215" fmla="*/ 2503733 w 5110790"/>
              <a:gd name="connsiteY215" fmla="*/ 2486511 h 4069169"/>
              <a:gd name="connsiteX216" fmla="*/ 2533518 w 5110790"/>
              <a:gd name="connsiteY216" fmla="*/ 2483129 h 4069169"/>
              <a:gd name="connsiteX217" fmla="*/ 4308476 w 5110790"/>
              <a:gd name="connsiteY217" fmla="*/ 2413668 h 4069169"/>
              <a:gd name="connsiteX218" fmla="*/ 4389455 w 5110790"/>
              <a:gd name="connsiteY218" fmla="*/ 2413668 h 4069169"/>
              <a:gd name="connsiteX219" fmla="*/ 4503836 w 5110790"/>
              <a:gd name="connsiteY219" fmla="*/ 2623200 h 4069169"/>
              <a:gd name="connsiteX220" fmla="*/ 4387430 w 5110790"/>
              <a:gd name="connsiteY220" fmla="*/ 2838804 h 4069169"/>
              <a:gd name="connsiteX221" fmla="*/ 4308476 w 5110790"/>
              <a:gd name="connsiteY221" fmla="*/ 2838804 h 4069169"/>
              <a:gd name="connsiteX222" fmla="*/ 4407674 w 5110790"/>
              <a:gd name="connsiteY222" fmla="*/ 2653567 h 4069169"/>
              <a:gd name="connsiteX223" fmla="*/ 4017966 w 5110790"/>
              <a:gd name="connsiteY223" fmla="*/ 2653567 h 4069169"/>
              <a:gd name="connsiteX224" fmla="*/ 4017966 w 5110790"/>
              <a:gd name="connsiteY224" fmla="*/ 2588784 h 4069169"/>
              <a:gd name="connsiteX225" fmla="*/ 4405650 w 5110790"/>
              <a:gd name="connsiteY225" fmla="*/ 2588784 h 4069169"/>
              <a:gd name="connsiteX226" fmla="*/ 2147951 w 5110790"/>
              <a:gd name="connsiteY226" fmla="*/ 2190467 h 4069169"/>
              <a:gd name="connsiteX227" fmla="*/ 2173557 w 5110790"/>
              <a:gd name="connsiteY227" fmla="*/ 2192697 h 4069169"/>
              <a:gd name="connsiteX228" fmla="*/ 2193375 w 5110790"/>
              <a:gd name="connsiteY228" fmla="*/ 2200715 h 4069169"/>
              <a:gd name="connsiteX229" fmla="*/ 2206169 w 5110790"/>
              <a:gd name="connsiteY229" fmla="*/ 2216516 h 4069169"/>
              <a:gd name="connsiteX230" fmla="*/ 2210708 w 5110790"/>
              <a:gd name="connsiteY230" fmla="*/ 2242090 h 4069169"/>
              <a:gd name="connsiteX231" fmla="*/ 2206169 w 5110790"/>
              <a:gd name="connsiteY231" fmla="*/ 2268835 h 4069169"/>
              <a:gd name="connsiteX232" fmla="*/ 2193375 w 5110790"/>
              <a:gd name="connsiteY232" fmla="*/ 2285237 h 4069169"/>
              <a:gd name="connsiteX233" fmla="*/ 2173557 w 5110790"/>
              <a:gd name="connsiteY233" fmla="*/ 2293477 h 4069169"/>
              <a:gd name="connsiteX234" fmla="*/ 2147951 w 5110790"/>
              <a:gd name="connsiteY234" fmla="*/ 2295739 h 4069169"/>
              <a:gd name="connsiteX235" fmla="*/ 2122345 w 5110790"/>
              <a:gd name="connsiteY235" fmla="*/ 2293477 h 4069169"/>
              <a:gd name="connsiteX236" fmla="*/ 2102527 w 5110790"/>
              <a:gd name="connsiteY236" fmla="*/ 2285237 h 4069169"/>
              <a:gd name="connsiteX237" fmla="*/ 2089732 w 5110790"/>
              <a:gd name="connsiteY237" fmla="*/ 2268835 h 4069169"/>
              <a:gd name="connsiteX238" fmla="*/ 2085193 w 5110790"/>
              <a:gd name="connsiteY238" fmla="*/ 2242090 h 4069169"/>
              <a:gd name="connsiteX239" fmla="*/ 2089874 w 5110790"/>
              <a:gd name="connsiteY239" fmla="*/ 2216516 h 4069169"/>
              <a:gd name="connsiteX240" fmla="*/ 2102907 w 5110790"/>
              <a:gd name="connsiteY240" fmla="*/ 2200715 h 4069169"/>
              <a:gd name="connsiteX241" fmla="*/ 2122772 w 5110790"/>
              <a:gd name="connsiteY241" fmla="*/ 2192697 h 4069169"/>
              <a:gd name="connsiteX242" fmla="*/ 784523 w 5110790"/>
              <a:gd name="connsiteY242" fmla="*/ 2190467 h 4069169"/>
              <a:gd name="connsiteX243" fmla="*/ 810129 w 5110790"/>
              <a:gd name="connsiteY243" fmla="*/ 2192697 h 4069169"/>
              <a:gd name="connsiteX244" fmla="*/ 829946 w 5110790"/>
              <a:gd name="connsiteY244" fmla="*/ 2200715 h 4069169"/>
              <a:gd name="connsiteX245" fmla="*/ 842741 w 5110790"/>
              <a:gd name="connsiteY245" fmla="*/ 2216516 h 4069169"/>
              <a:gd name="connsiteX246" fmla="*/ 847281 w 5110790"/>
              <a:gd name="connsiteY246" fmla="*/ 2242090 h 4069169"/>
              <a:gd name="connsiteX247" fmla="*/ 842741 w 5110790"/>
              <a:gd name="connsiteY247" fmla="*/ 2268835 h 4069169"/>
              <a:gd name="connsiteX248" fmla="*/ 829946 w 5110790"/>
              <a:gd name="connsiteY248" fmla="*/ 2285237 h 4069169"/>
              <a:gd name="connsiteX249" fmla="*/ 810129 w 5110790"/>
              <a:gd name="connsiteY249" fmla="*/ 2293477 h 4069169"/>
              <a:gd name="connsiteX250" fmla="*/ 784523 w 5110790"/>
              <a:gd name="connsiteY250" fmla="*/ 2295739 h 4069169"/>
              <a:gd name="connsiteX251" fmla="*/ 758916 w 5110790"/>
              <a:gd name="connsiteY251" fmla="*/ 2293477 h 4069169"/>
              <a:gd name="connsiteX252" fmla="*/ 739099 w 5110790"/>
              <a:gd name="connsiteY252" fmla="*/ 2285237 h 4069169"/>
              <a:gd name="connsiteX253" fmla="*/ 726304 w 5110790"/>
              <a:gd name="connsiteY253" fmla="*/ 2268835 h 4069169"/>
              <a:gd name="connsiteX254" fmla="*/ 721765 w 5110790"/>
              <a:gd name="connsiteY254" fmla="*/ 2242090 h 4069169"/>
              <a:gd name="connsiteX255" fmla="*/ 726446 w 5110790"/>
              <a:gd name="connsiteY255" fmla="*/ 2216516 h 4069169"/>
              <a:gd name="connsiteX256" fmla="*/ 739479 w 5110790"/>
              <a:gd name="connsiteY256" fmla="*/ 2200715 h 4069169"/>
              <a:gd name="connsiteX257" fmla="*/ 759344 w 5110790"/>
              <a:gd name="connsiteY257" fmla="*/ 2192697 h 4069169"/>
              <a:gd name="connsiteX258" fmla="*/ 62758 w 5110790"/>
              <a:gd name="connsiteY258" fmla="*/ 2190467 h 4069169"/>
              <a:gd name="connsiteX259" fmla="*/ 88364 w 5110790"/>
              <a:gd name="connsiteY259" fmla="*/ 2192697 h 4069169"/>
              <a:gd name="connsiteX260" fmla="*/ 108181 w 5110790"/>
              <a:gd name="connsiteY260" fmla="*/ 2200715 h 4069169"/>
              <a:gd name="connsiteX261" fmla="*/ 120977 w 5110790"/>
              <a:gd name="connsiteY261" fmla="*/ 2216516 h 4069169"/>
              <a:gd name="connsiteX262" fmla="*/ 125516 w 5110790"/>
              <a:gd name="connsiteY262" fmla="*/ 2242090 h 4069169"/>
              <a:gd name="connsiteX263" fmla="*/ 120977 w 5110790"/>
              <a:gd name="connsiteY263" fmla="*/ 2268835 h 4069169"/>
              <a:gd name="connsiteX264" fmla="*/ 108181 w 5110790"/>
              <a:gd name="connsiteY264" fmla="*/ 2285237 h 4069169"/>
              <a:gd name="connsiteX265" fmla="*/ 88364 w 5110790"/>
              <a:gd name="connsiteY265" fmla="*/ 2293477 h 4069169"/>
              <a:gd name="connsiteX266" fmla="*/ 62758 w 5110790"/>
              <a:gd name="connsiteY266" fmla="*/ 2295739 h 4069169"/>
              <a:gd name="connsiteX267" fmla="*/ 37151 w 5110790"/>
              <a:gd name="connsiteY267" fmla="*/ 2293477 h 4069169"/>
              <a:gd name="connsiteX268" fmla="*/ 17334 w 5110790"/>
              <a:gd name="connsiteY268" fmla="*/ 2285237 h 4069169"/>
              <a:gd name="connsiteX269" fmla="*/ 4539 w 5110790"/>
              <a:gd name="connsiteY269" fmla="*/ 2268835 h 4069169"/>
              <a:gd name="connsiteX270" fmla="*/ 0 w 5110790"/>
              <a:gd name="connsiteY270" fmla="*/ 2242090 h 4069169"/>
              <a:gd name="connsiteX271" fmla="*/ 4681 w 5110790"/>
              <a:gd name="connsiteY271" fmla="*/ 2216516 h 4069169"/>
              <a:gd name="connsiteX272" fmla="*/ 17713 w 5110790"/>
              <a:gd name="connsiteY272" fmla="*/ 2200715 h 4069169"/>
              <a:gd name="connsiteX273" fmla="*/ 37578 w 5110790"/>
              <a:gd name="connsiteY273" fmla="*/ 2192697 h 4069169"/>
              <a:gd name="connsiteX274" fmla="*/ 4915430 w 5110790"/>
              <a:gd name="connsiteY274" fmla="*/ 1822022 h 4069169"/>
              <a:gd name="connsiteX275" fmla="*/ 4996408 w 5110790"/>
              <a:gd name="connsiteY275" fmla="*/ 1822022 h 4069169"/>
              <a:gd name="connsiteX276" fmla="*/ 5110790 w 5110790"/>
              <a:gd name="connsiteY276" fmla="*/ 2031553 h 4069169"/>
              <a:gd name="connsiteX277" fmla="*/ 4994384 w 5110790"/>
              <a:gd name="connsiteY277" fmla="*/ 2247158 h 4069169"/>
              <a:gd name="connsiteX278" fmla="*/ 4915430 w 5110790"/>
              <a:gd name="connsiteY278" fmla="*/ 2247158 h 4069169"/>
              <a:gd name="connsiteX279" fmla="*/ 5014628 w 5110790"/>
              <a:gd name="connsiteY279" fmla="*/ 2061920 h 4069169"/>
              <a:gd name="connsiteX280" fmla="*/ 4624920 w 5110790"/>
              <a:gd name="connsiteY280" fmla="*/ 2061920 h 4069169"/>
              <a:gd name="connsiteX281" fmla="*/ 4624920 w 5110790"/>
              <a:gd name="connsiteY281" fmla="*/ 1997137 h 4069169"/>
              <a:gd name="connsiteX282" fmla="*/ 5012604 w 5110790"/>
              <a:gd name="connsiteY282" fmla="*/ 1997137 h 4069169"/>
              <a:gd name="connsiteX283" fmla="*/ 2876800 w 5110790"/>
              <a:gd name="connsiteY283" fmla="*/ 1822016 h 4069169"/>
              <a:gd name="connsiteX284" fmla="*/ 2957778 w 5110790"/>
              <a:gd name="connsiteY284" fmla="*/ 1822016 h 4069169"/>
              <a:gd name="connsiteX285" fmla="*/ 3072160 w 5110790"/>
              <a:gd name="connsiteY285" fmla="*/ 2031547 h 4069169"/>
              <a:gd name="connsiteX286" fmla="*/ 2955754 w 5110790"/>
              <a:gd name="connsiteY286" fmla="*/ 2247152 h 4069169"/>
              <a:gd name="connsiteX287" fmla="*/ 2876800 w 5110790"/>
              <a:gd name="connsiteY287" fmla="*/ 2247152 h 4069169"/>
              <a:gd name="connsiteX288" fmla="*/ 2975998 w 5110790"/>
              <a:gd name="connsiteY288" fmla="*/ 2061915 h 4069169"/>
              <a:gd name="connsiteX289" fmla="*/ 2586290 w 5110790"/>
              <a:gd name="connsiteY289" fmla="*/ 2061915 h 4069169"/>
              <a:gd name="connsiteX290" fmla="*/ 2586290 w 5110790"/>
              <a:gd name="connsiteY290" fmla="*/ 1997132 h 4069169"/>
              <a:gd name="connsiteX291" fmla="*/ 2973974 w 5110790"/>
              <a:gd name="connsiteY291" fmla="*/ 1997132 h 4069169"/>
              <a:gd name="connsiteX292" fmla="*/ 1513768 w 5110790"/>
              <a:gd name="connsiteY292" fmla="*/ 1822016 h 4069169"/>
              <a:gd name="connsiteX293" fmla="*/ 1594748 w 5110790"/>
              <a:gd name="connsiteY293" fmla="*/ 1822016 h 4069169"/>
              <a:gd name="connsiteX294" fmla="*/ 1709128 w 5110790"/>
              <a:gd name="connsiteY294" fmla="*/ 2031547 h 4069169"/>
              <a:gd name="connsiteX295" fmla="*/ 1592723 w 5110790"/>
              <a:gd name="connsiteY295" fmla="*/ 2247152 h 4069169"/>
              <a:gd name="connsiteX296" fmla="*/ 1513768 w 5110790"/>
              <a:gd name="connsiteY296" fmla="*/ 2247152 h 4069169"/>
              <a:gd name="connsiteX297" fmla="*/ 1612966 w 5110790"/>
              <a:gd name="connsiteY297" fmla="*/ 2061915 h 4069169"/>
              <a:gd name="connsiteX298" fmla="*/ 1223259 w 5110790"/>
              <a:gd name="connsiteY298" fmla="*/ 2061915 h 4069169"/>
              <a:gd name="connsiteX299" fmla="*/ 1223259 w 5110790"/>
              <a:gd name="connsiteY299" fmla="*/ 1997132 h 4069169"/>
              <a:gd name="connsiteX300" fmla="*/ 1610942 w 5110790"/>
              <a:gd name="connsiteY300" fmla="*/ 1997132 h 4069169"/>
              <a:gd name="connsiteX301" fmla="*/ 2147951 w 5110790"/>
              <a:gd name="connsiteY301" fmla="*/ 1765330 h 4069169"/>
              <a:gd name="connsiteX302" fmla="*/ 2173557 w 5110790"/>
              <a:gd name="connsiteY302" fmla="*/ 1767433 h 4069169"/>
              <a:gd name="connsiteX303" fmla="*/ 2193375 w 5110790"/>
              <a:gd name="connsiteY303" fmla="*/ 1775325 h 4069169"/>
              <a:gd name="connsiteX304" fmla="*/ 2206169 w 5110790"/>
              <a:gd name="connsiteY304" fmla="*/ 1791378 h 4069169"/>
              <a:gd name="connsiteX305" fmla="*/ 2210708 w 5110790"/>
              <a:gd name="connsiteY305" fmla="*/ 1817966 h 4069169"/>
              <a:gd name="connsiteX306" fmla="*/ 2206169 w 5110790"/>
              <a:gd name="connsiteY306" fmla="*/ 1843698 h 4069169"/>
              <a:gd name="connsiteX307" fmla="*/ 2193375 w 5110790"/>
              <a:gd name="connsiteY307" fmla="*/ 1859846 h 4069169"/>
              <a:gd name="connsiteX308" fmla="*/ 2173557 w 5110790"/>
              <a:gd name="connsiteY308" fmla="*/ 1868213 h 4069169"/>
              <a:gd name="connsiteX309" fmla="*/ 2147951 w 5110790"/>
              <a:gd name="connsiteY309" fmla="*/ 1870601 h 4069169"/>
              <a:gd name="connsiteX310" fmla="*/ 2122930 w 5110790"/>
              <a:gd name="connsiteY310" fmla="*/ 1868213 h 4069169"/>
              <a:gd name="connsiteX311" fmla="*/ 2103413 w 5110790"/>
              <a:gd name="connsiteY311" fmla="*/ 1859846 h 4069169"/>
              <a:gd name="connsiteX312" fmla="*/ 2090728 w 5110790"/>
              <a:gd name="connsiteY312" fmla="*/ 1843698 h 4069169"/>
              <a:gd name="connsiteX313" fmla="*/ 2086205 w 5110790"/>
              <a:gd name="connsiteY313" fmla="*/ 1817966 h 4069169"/>
              <a:gd name="connsiteX314" fmla="*/ 2090728 w 5110790"/>
              <a:gd name="connsiteY314" fmla="*/ 1791378 h 4069169"/>
              <a:gd name="connsiteX315" fmla="*/ 2103413 w 5110790"/>
              <a:gd name="connsiteY315" fmla="*/ 1775325 h 4069169"/>
              <a:gd name="connsiteX316" fmla="*/ 2122930 w 5110790"/>
              <a:gd name="connsiteY316" fmla="*/ 1767433 h 4069169"/>
              <a:gd name="connsiteX317" fmla="*/ 784523 w 5110790"/>
              <a:gd name="connsiteY317" fmla="*/ 1765330 h 4069169"/>
              <a:gd name="connsiteX318" fmla="*/ 810129 w 5110790"/>
              <a:gd name="connsiteY318" fmla="*/ 1767433 h 4069169"/>
              <a:gd name="connsiteX319" fmla="*/ 829946 w 5110790"/>
              <a:gd name="connsiteY319" fmla="*/ 1775325 h 4069169"/>
              <a:gd name="connsiteX320" fmla="*/ 842741 w 5110790"/>
              <a:gd name="connsiteY320" fmla="*/ 1791378 h 4069169"/>
              <a:gd name="connsiteX321" fmla="*/ 847281 w 5110790"/>
              <a:gd name="connsiteY321" fmla="*/ 1817966 h 4069169"/>
              <a:gd name="connsiteX322" fmla="*/ 842741 w 5110790"/>
              <a:gd name="connsiteY322" fmla="*/ 1843698 h 4069169"/>
              <a:gd name="connsiteX323" fmla="*/ 829946 w 5110790"/>
              <a:gd name="connsiteY323" fmla="*/ 1859846 h 4069169"/>
              <a:gd name="connsiteX324" fmla="*/ 810129 w 5110790"/>
              <a:gd name="connsiteY324" fmla="*/ 1868213 h 4069169"/>
              <a:gd name="connsiteX325" fmla="*/ 784523 w 5110790"/>
              <a:gd name="connsiteY325" fmla="*/ 1870601 h 4069169"/>
              <a:gd name="connsiteX326" fmla="*/ 759502 w 5110790"/>
              <a:gd name="connsiteY326" fmla="*/ 1868213 h 4069169"/>
              <a:gd name="connsiteX327" fmla="*/ 739984 w 5110790"/>
              <a:gd name="connsiteY327" fmla="*/ 1859846 h 4069169"/>
              <a:gd name="connsiteX328" fmla="*/ 727300 w 5110790"/>
              <a:gd name="connsiteY328" fmla="*/ 1843698 h 4069169"/>
              <a:gd name="connsiteX329" fmla="*/ 722776 w 5110790"/>
              <a:gd name="connsiteY329" fmla="*/ 1817966 h 4069169"/>
              <a:gd name="connsiteX330" fmla="*/ 727300 w 5110790"/>
              <a:gd name="connsiteY330" fmla="*/ 1791378 h 4069169"/>
              <a:gd name="connsiteX331" fmla="*/ 739984 w 5110790"/>
              <a:gd name="connsiteY331" fmla="*/ 1775325 h 4069169"/>
              <a:gd name="connsiteX332" fmla="*/ 759502 w 5110790"/>
              <a:gd name="connsiteY332" fmla="*/ 1767433 h 4069169"/>
              <a:gd name="connsiteX333" fmla="*/ 62758 w 5110790"/>
              <a:gd name="connsiteY333" fmla="*/ 1765330 h 4069169"/>
              <a:gd name="connsiteX334" fmla="*/ 88364 w 5110790"/>
              <a:gd name="connsiteY334" fmla="*/ 1767433 h 4069169"/>
              <a:gd name="connsiteX335" fmla="*/ 108181 w 5110790"/>
              <a:gd name="connsiteY335" fmla="*/ 1775325 h 4069169"/>
              <a:gd name="connsiteX336" fmla="*/ 120977 w 5110790"/>
              <a:gd name="connsiteY336" fmla="*/ 1791378 h 4069169"/>
              <a:gd name="connsiteX337" fmla="*/ 125516 w 5110790"/>
              <a:gd name="connsiteY337" fmla="*/ 1817966 h 4069169"/>
              <a:gd name="connsiteX338" fmla="*/ 120977 w 5110790"/>
              <a:gd name="connsiteY338" fmla="*/ 1843698 h 4069169"/>
              <a:gd name="connsiteX339" fmla="*/ 108181 w 5110790"/>
              <a:gd name="connsiteY339" fmla="*/ 1859846 h 4069169"/>
              <a:gd name="connsiteX340" fmla="*/ 88364 w 5110790"/>
              <a:gd name="connsiteY340" fmla="*/ 1868213 h 4069169"/>
              <a:gd name="connsiteX341" fmla="*/ 62758 w 5110790"/>
              <a:gd name="connsiteY341" fmla="*/ 1870601 h 4069169"/>
              <a:gd name="connsiteX342" fmla="*/ 37736 w 5110790"/>
              <a:gd name="connsiteY342" fmla="*/ 1868213 h 4069169"/>
              <a:gd name="connsiteX343" fmla="*/ 18219 w 5110790"/>
              <a:gd name="connsiteY343" fmla="*/ 1859846 h 4069169"/>
              <a:gd name="connsiteX344" fmla="*/ 5535 w 5110790"/>
              <a:gd name="connsiteY344" fmla="*/ 1843698 h 4069169"/>
              <a:gd name="connsiteX345" fmla="*/ 1012 w 5110790"/>
              <a:gd name="connsiteY345" fmla="*/ 1817966 h 4069169"/>
              <a:gd name="connsiteX346" fmla="*/ 5535 w 5110790"/>
              <a:gd name="connsiteY346" fmla="*/ 1791378 h 4069169"/>
              <a:gd name="connsiteX347" fmla="*/ 18219 w 5110790"/>
              <a:gd name="connsiteY347" fmla="*/ 1775325 h 4069169"/>
              <a:gd name="connsiteX348" fmla="*/ 37736 w 5110790"/>
              <a:gd name="connsiteY348" fmla="*/ 1767433 h 4069169"/>
              <a:gd name="connsiteX349" fmla="*/ 3434660 w 5110790"/>
              <a:gd name="connsiteY349" fmla="*/ 1570981 h 4069169"/>
              <a:gd name="connsiteX350" fmla="*/ 3466840 w 5110790"/>
              <a:gd name="connsiteY350" fmla="*/ 1572118 h 4069169"/>
              <a:gd name="connsiteX351" fmla="*/ 3496625 w 5110790"/>
              <a:gd name="connsiteY351" fmla="*/ 1575500 h 4069169"/>
              <a:gd name="connsiteX352" fmla="*/ 3524096 w 5110790"/>
              <a:gd name="connsiteY352" fmla="*/ 1581076 h 4069169"/>
              <a:gd name="connsiteX353" fmla="*/ 3549334 w 5110790"/>
              <a:gd name="connsiteY353" fmla="*/ 1588796 h 4069169"/>
              <a:gd name="connsiteX354" fmla="*/ 3572418 w 5110790"/>
              <a:gd name="connsiteY354" fmla="*/ 1598611 h 4069169"/>
              <a:gd name="connsiteX355" fmla="*/ 3593431 w 5110790"/>
              <a:gd name="connsiteY355" fmla="*/ 1610473 h 4069169"/>
              <a:gd name="connsiteX356" fmla="*/ 3612450 w 5110790"/>
              <a:gd name="connsiteY356" fmla="*/ 1624331 h 4069169"/>
              <a:gd name="connsiteX357" fmla="*/ 3629559 w 5110790"/>
              <a:gd name="connsiteY357" fmla="*/ 1640136 h 4069169"/>
              <a:gd name="connsiteX358" fmla="*/ 3644837 w 5110790"/>
              <a:gd name="connsiteY358" fmla="*/ 1657839 h 4069169"/>
              <a:gd name="connsiteX359" fmla="*/ 3658363 w 5110790"/>
              <a:gd name="connsiteY359" fmla="*/ 1677391 h 4069169"/>
              <a:gd name="connsiteX360" fmla="*/ 3670219 w 5110790"/>
              <a:gd name="connsiteY360" fmla="*/ 1698743 h 4069169"/>
              <a:gd name="connsiteX361" fmla="*/ 3680486 w 5110790"/>
              <a:gd name="connsiteY361" fmla="*/ 1721844 h 4069169"/>
              <a:gd name="connsiteX362" fmla="*/ 3689244 w 5110790"/>
              <a:gd name="connsiteY362" fmla="*/ 1746646 h 4069169"/>
              <a:gd name="connsiteX363" fmla="*/ 3696573 w 5110790"/>
              <a:gd name="connsiteY363" fmla="*/ 1773098 h 4069169"/>
              <a:gd name="connsiteX364" fmla="*/ 3702553 w 5110790"/>
              <a:gd name="connsiteY364" fmla="*/ 1801152 h 4069169"/>
              <a:gd name="connsiteX365" fmla="*/ 3707266 w 5110790"/>
              <a:gd name="connsiteY365" fmla="*/ 1830760 h 4069169"/>
              <a:gd name="connsiteX366" fmla="*/ 3710792 w 5110790"/>
              <a:gd name="connsiteY366" fmla="*/ 1861870 h 4069169"/>
              <a:gd name="connsiteX367" fmla="*/ 3713210 w 5110790"/>
              <a:gd name="connsiteY367" fmla="*/ 1894434 h 4069169"/>
              <a:gd name="connsiteX368" fmla="*/ 3714602 w 5110790"/>
              <a:gd name="connsiteY368" fmla="*/ 1928402 h 4069169"/>
              <a:gd name="connsiteX369" fmla="*/ 3715048 w 5110790"/>
              <a:gd name="connsiteY369" fmla="*/ 1963726 h 4069169"/>
              <a:gd name="connsiteX370" fmla="*/ 3714624 w 5110790"/>
              <a:gd name="connsiteY370" fmla="*/ 1999201 h 4069169"/>
              <a:gd name="connsiteX371" fmla="*/ 3713292 w 5110790"/>
              <a:gd name="connsiteY371" fmla="*/ 2033321 h 4069169"/>
              <a:gd name="connsiteX372" fmla="*/ 3710966 w 5110790"/>
              <a:gd name="connsiteY372" fmla="*/ 2066034 h 4069169"/>
              <a:gd name="connsiteX373" fmla="*/ 3707557 w 5110790"/>
              <a:gd name="connsiteY373" fmla="*/ 2097292 h 4069169"/>
              <a:gd name="connsiteX374" fmla="*/ 3702980 w 5110790"/>
              <a:gd name="connsiteY374" fmla="*/ 2127043 h 4069169"/>
              <a:gd name="connsiteX375" fmla="*/ 3697147 w 5110790"/>
              <a:gd name="connsiteY375" fmla="*/ 2155238 h 4069169"/>
              <a:gd name="connsiteX376" fmla="*/ 3689969 w 5110790"/>
              <a:gd name="connsiteY376" fmla="*/ 2181827 h 4069169"/>
              <a:gd name="connsiteX377" fmla="*/ 3681361 w 5110790"/>
              <a:gd name="connsiteY377" fmla="*/ 2206759 h 4069169"/>
              <a:gd name="connsiteX378" fmla="*/ 3671234 w 5110790"/>
              <a:gd name="connsiteY378" fmla="*/ 2229984 h 4069169"/>
              <a:gd name="connsiteX379" fmla="*/ 3659502 w 5110790"/>
              <a:gd name="connsiteY379" fmla="*/ 2251453 h 4069169"/>
              <a:gd name="connsiteX380" fmla="*/ 3646077 w 5110790"/>
              <a:gd name="connsiteY380" fmla="*/ 2271115 h 4069169"/>
              <a:gd name="connsiteX381" fmla="*/ 3630871 w 5110790"/>
              <a:gd name="connsiteY381" fmla="*/ 2288919 h 4069169"/>
              <a:gd name="connsiteX382" fmla="*/ 3613798 w 5110790"/>
              <a:gd name="connsiteY382" fmla="*/ 2304817 h 4069169"/>
              <a:gd name="connsiteX383" fmla="*/ 3594769 w 5110790"/>
              <a:gd name="connsiteY383" fmla="*/ 2318758 h 4069169"/>
              <a:gd name="connsiteX384" fmla="*/ 3573700 w 5110790"/>
              <a:gd name="connsiteY384" fmla="*/ 2330691 h 4069169"/>
              <a:gd name="connsiteX385" fmla="*/ 3550500 w 5110790"/>
              <a:gd name="connsiteY385" fmla="*/ 2340567 h 4069169"/>
              <a:gd name="connsiteX386" fmla="*/ 3525083 w 5110790"/>
              <a:gd name="connsiteY386" fmla="*/ 2348336 h 4069169"/>
              <a:gd name="connsiteX387" fmla="*/ 3497363 w 5110790"/>
              <a:gd name="connsiteY387" fmla="*/ 2353947 h 4069169"/>
              <a:gd name="connsiteX388" fmla="*/ 3467251 w 5110790"/>
              <a:gd name="connsiteY388" fmla="*/ 2357351 h 4069169"/>
              <a:gd name="connsiteX389" fmla="*/ 3434660 w 5110790"/>
              <a:gd name="connsiteY389" fmla="*/ 2358496 h 4069169"/>
              <a:gd name="connsiteX390" fmla="*/ 3434660 w 5110790"/>
              <a:gd name="connsiteY390" fmla="*/ 2299787 h 4069169"/>
              <a:gd name="connsiteX391" fmla="*/ 3464787 w 5110790"/>
              <a:gd name="connsiteY391" fmla="*/ 2298433 h 4069169"/>
              <a:gd name="connsiteX392" fmla="*/ 3492025 w 5110790"/>
              <a:gd name="connsiteY392" fmla="*/ 2294418 h 4069169"/>
              <a:gd name="connsiteX393" fmla="*/ 3516511 w 5110790"/>
              <a:gd name="connsiteY393" fmla="*/ 2287816 h 4069169"/>
              <a:gd name="connsiteX394" fmla="*/ 3538383 w 5110790"/>
              <a:gd name="connsiteY394" fmla="*/ 2278696 h 4069169"/>
              <a:gd name="connsiteX395" fmla="*/ 3574832 w 5110790"/>
              <a:gd name="connsiteY395" fmla="*/ 2253193 h 4069169"/>
              <a:gd name="connsiteX396" fmla="*/ 3602470 w 5110790"/>
              <a:gd name="connsiteY396" fmla="*/ 2218482 h 4069169"/>
              <a:gd name="connsiteX397" fmla="*/ 3613327 w 5110790"/>
              <a:gd name="connsiteY397" fmla="*/ 2197853 h 4069169"/>
              <a:gd name="connsiteX398" fmla="*/ 3622393 w 5110790"/>
              <a:gd name="connsiteY398" fmla="*/ 2175138 h 4069169"/>
              <a:gd name="connsiteX399" fmla="*/ 3629805 w 5110790"/>
              <a:gd name="connsiteY399" fmla="*/ 2150408 h 4069169"/>
              <a:gd name="connsiteX400" fmla="*/ 3635701 w 5110790"/>
              <a:gd name="connsiteY400" fmla="*/ 2123734 h 4069169"/>
              <a:gd name="connsiteX401" fmla="*/ 3640217 w 5110790"/>
              <a:gd name="connsiteY401" fmla="*/ 2095189 h 4069169"/>
              <a:gd name="connsiteX402" fmla="*/ 3643490 w 5110790"/>
              <a:gd name="connsiteY402" fmla="*/ 2064844 h 4069169"/>
              <a:gd name="connsiteX403" fmla="*/ 3645659 w 5110790"/>
              <a:gd name="connsiteY403" fmla="*/ 2032771 h 4069169"/>
              <a:gd name="connsiteX404" fmla="*/ 3646859 w 5110790"/>
              <a:gd name="connsiteY404" fmla="*/ 1999041 h 4069169"/>
              <a:gd name="connsiteX405" fmla="*/ 3647229 w 5110790"/>
              <a:gd name="connsiteY405" fmla="*/ 1963726 h 4069169"/>
              <a:gd name="connsiteX406" fmla="*/ 3646839 w 5110790"/>
              <a:gd name="connsiteY406" fmla="*/ 1928758 h 4069169"/>
              <a:gd name="connsiteX407" fmla="*/ 3645584 w 5110790"/>
              <a:gd name="connsiteY407" fmla="*/ 1895355 h 4069169"/>
              <a:gd name="connsiteX408" fmla="*/ 3643335 w 5110790"/>
              <a:gd name="connsiteY408" fmla="*/ 1863586 h 4069169"/>
              <a:gd name="connsiteX409" fmla="*/ 3639960 w 5110790"/>
              <a:gd name="connsiteY409" fmla="*/ 1833525 h 4069169"/>
              <a:gd name="connsiteX410" fmla="*/ 3635330 w 5110790"/>
              <a:gd name="connsiteY410" fmla="*/ 1805242 h 4069169"/>
              <a:gd name="connsiteX411" fmla="*/ 3629316 w 5110790"/>
              <a:gd name="connsiteY411" fmla="*/ 1778810 h 4069169"/>
              <a:gd name="connsiteX412" fmla="*/ 3621788 w 5110790"/>
              <a:gd name="connsiteY412" fmla="*/ 1754300 h 4069169"/>
              <a:gd name="connsiteX413" fmla="*/ 3612615 w 5110790"/>
              <a:gd name="connsiteY413" fmla="*/ 1731785 h 4069169"/>
              <a:gd name="connsiteX414" fmla="*/ 3601669 w 5110790"/>
              <a:gd name="connsiteY414" fmla="*/ 1711335 h 4069169"/>
              <a:gd name="connsiteX415" fmla="*/ 3573935 w 5110790"/>
              <a:gd name="connsiteY415" fmla="*/ 1676919 h 4069169"/>
              <a:gd name="connsiteX416" fmla="*/ 3537548 w 5110790"/>
              <a:gd name="connsiteY416" fmla="*/ 1651625 h 4069169"/>
              <a:gd name="connsiteX417" fmla="*/ 3515784 w 5110790"/>
              <a:gd name="connsiteY417" fmla="*/ 1642579 h 4069169"/>
              <a:gd name="connsiteX418" fmla="*/ 3491469 w 5110790"/>
              <a:gd name="connsiteY418" fmla="*/ 1636029 h 4069169"/>
              <a:gd name="connsiteX419" fmla="*/ 3464471 w 5110790"/>
              <a:gd name="connsiteY419" fmla="*/ 1632046 h 4069169"/>
              <a:gd name="connsiteX420" fmla="*/ 3434660 w 5110790"/>
              <a:gd name="connsiteY420" fmla="*/ 1630702 h 4069169"/>
              <a:gd name="connsiteX421" fmla="*/ 3579243 w 5110790"/>
              <a:gd name="connsiteY421" fmla="*/ 1279461 h 4069169"/>
              <a:gd name="connsiteX422" fmla="*/ 3604850 w 5110790"/>
              <a:gd name="connsiteY422" fmla="*/ 1281691 h 4069169"/>
              <a:gd name="connsiteX423" fmla="*/ 3624668 w 5110790"/>
              <a:gd name="connsiteY423" fmla="*/ 1289709 h 4069169"/>
              <a:gd name="connsiteX424" fmla="*/ 3637463 w 5110790"/>
              <a:gd name="connsiteY424" fmla="*/ 1305510 h 4069169"/>
              <a:gd name="connsiteX425" fmla="*/ 3642002 w 5110790"/>
              <a:gd name="connsiteY425" fmla="*/ 1331085 h 4069169"/>
              <a:gd name="connsiteX426" fmla="*/ 3637463 w 5110790"/>
              <a:gd name="connsiteY426" fmla="*/ 1357829 h 4069169"/>
              <a:gd name="connsiteX427" fmla="*/ 3624668 w 5110790"/>
              <a:gd name="connsiteY427" fmla="*/ 1374231 h 4069169"/>
              <a:gd name="connsiteX428" fmla="*/ 3604850 w 5110790"/>
              <a:gd name="connsiteY428" fmla="*/ 1382471 h 4069169"/>
              <a:gd name="connsiteX429" fmla="*/ 3579243 w 5110790"/>
              <a:gd name="connsiteY429" fmla="*/ 1384733 h 4069169"/>
              <a:gd name="connsiteX430" fmla="*/ 3553637 w 5110790"/>
              <a:gd name="connsiteY430" fmla="*/ 1382471 h 4069169"/>
              <a:gd name="connsiteX431" fmla="*/ 3533820 w 5110790"/>
              <a:gd name="connsiteY431" fmla="*/ 1374231 h 4069169"/>
              <a:gd name="connsiteX432" fmla="*/ 3521024 w 5110790"/>
              <a:gd name="connsiteY432" fmla="*/ 1357829 h 4069169"/>
              <a:gd name="connsiteX433" fmla="*/ 3516485 w 5110790"/>
              <a:gd name="connsiteY433" fmla="*/ 1331085 h 4069169"/>
              <a:gd name="connsiteX434" fmla="*/ 3521166 w 5110790"/>
              <a:gd name="connsiteY434" fmla="*/ 1305510 h 4069169"/>
              <a:gd name="connsiteX435" fmla="*/ 3534199 w 5110790"/>
              <a:gd name="connsiteY435" fmla="*/ 1289709 h 4069169"/>
              <a:gd name="connsiteX436" fmla="*/ 3554064 w 5110790"/>
              <a:gd name="connsiteY436" fmla="*/ 1281691 h 4069169"/>
              <a:gd name="connsiteX437" fmla="*/ 1609095 w 5110790"/>
              <a:gd name="connsiteY437" fmla="*/ 1279455 h 4069169"/>
              <a:gd name="connsiteX438" fmla="*/ 1634701 w 5110790"/>
              <a:gd name="connsiteY438" fmla="*/ 1281685 h 4069169"/>
              <a:gd name="connsiteX439" fmla="*/ 1654519 w 5110790"/>
              <a:gd name="connsiteY439" fmla="*/ 1289703 h 4069169"/>
              <a:gd name="connsiteX440" fmla="*/ 1667313 w 5110790"/>
              <a:gd name="connsiteY440" fmla="*/ 1305504 h 4069169"/>
              <a:gd name="connsiteX441" fmla="*/ 1671852 w 5110790"/>
              <a:gd name="connsiteY441" fmla="*/ 1331078 h 4069169"/>
              <a:gd name="connsiteX442" fmla="*/ 1667313 w 5110790"/>
              <a:gd name="connsiteY442" fmla="*/ 1357823 h 4069169"/>
              <a:gd name="connsiteX443" fmla="*/ 1654519 w 5110790"/>
              <a:gd name="connsiteY443" fmla="*/ 1374224 h 4069169"/>
              <a:gd name="connsiteX444" fmla="*/ 1634701 w 5110790"/>
              <a:gd name="connsiteY444" fmla="*/ 1382465 h 4069169"/>
              <a:gd name="connsiteX445" fmla="*/ 1609095 w 5110790"/>
              <a:gd name="connsiteY445" fmla="*/ 1384726 h 4069169"/>
              <a:gd name="connsiteX446" fmla="*/ 1583489 w 5110790"/>
              <a:gd name="connsiteY446" fmla="*/ 1382465 h 4069169"/>
              <a:gd name="connsiteX447" fmla="*/ 1563671 w 5110790"/>
              <a:gd name="connsiteY447" fmla="*/ 1374224 h 4069169"/>
              <a:gd name="connsiteX448" fmla="*/ 1550877 w 5110790"/>
              <a:gd name="connsiteY448" fmla="*/ 1357823 h 4069169"/>
              <a:gd name="connsiteX449" fmla="*/ 1546337 w 5110790"/>
              <a:gd name="connsiteY449" fmla="*/ 1331078 h 4069169"/>
              <a:gd name="connsiteX450" fmla="*/ 1551018 w 5110790"/>
              <a:gd name="connsiteY450" fmla="*/ 1305504 h 4069169"/>
              <a:gd name="connsiteX451" fmla="*/ 1564051 w 5110790"/>
              <a:gd name="connsiteY451" fmla="*/ 1289703 h 4069169"/>
              <a:gd name="connsiteX452" fmla="*/ 1583916 w 5110790"/>
              <a:gd name="connsiteY452" fmla="*/ 1281685 h 4069169"/>
              <a:gd name="connsiteX453" fmla="*/ 4308476 w 5110790"/>
              <a:gd name="connsiteY453" fmla="*/ 1229360 h 4069169"/>
              <a:gd name="connsiteX454" fmla="*/ 4389455 w 5110790"/>
              <a:gd name="connsiteY454" fmla="*/ 1229360 h 4069169"/>
              <a:gd name="connsiteX455" fmla="*/ 4503836 w 5110790"/>
              <a:gd name="connsiteY455" fmla="*/ 1438891 h 4069169"/>
              <a:gd name="connsiteX456" fmla="*/ 4387430 w 5110790"/>
              <a:gd name="connsiteY456" fmla="*/ 1654496 h 4069169"/>
              <a:gd name="connsiteX457" fmla="*/ 4308476 w 5110790"/>
              <a:gd name="connsiteY457" fmla="*/ 1654496 h 4069169"/>
              <a:gd name="connsiteX458" fmla="*/ 4407674 w 5110790"/>
              <a:gd name="connsiteY458" fmla="*/ 1469259 h 4069169"/>
              <a:gd name="connsiteX459" fmla="*/ 4017966 w 5110790"/>
              <a:gd name="connsiteY459" fmla="*/ 1469259 h 4069169"/>
              <a:gd name="connsiteX460" fmla="*/ 4017966 w 5110790"/>
              <a:gd name="connsiteY460" fmla="*/ 1404475 h 4069169"/>
              <a:gd name="connsiteX461" fmla="*/ 4405650 w 5110790"/>
              <a:gd name="connsiteY461" fmla="*/ 1404475 h 4069169"/>
              <a:gd name="connsiteX462" fmla="*/ 3579243 w 5110790"/>
              <a:gd name="connsiteY462" fmla="*/ 854324 h 4069169"/>
              <a:gd name="connsiteX463" fmla="*/ 3604850 w 5110790"/>
              <a:gd name="connsiteY463" fmla="*/ 856427 h 4069169"/>
              <a:gd name="connsiteX464" fmla="*/ 3624668 w 5110790"/>
              <a:gd name="connsiteY464" fmla="*/ 864320 h 4069169"/>
              <a:gd name="connsiteX465" fmla="*/ 3637463 w 5110790"/>
              <a:gd name="connsiteY465" fmla="*/ 880373 h 4069169"/>
              <a:gd name="connsiteX466" fmla="*/ 3642002 w 5110790"/>
              <a:gd name="connsiteY466" fmla="*/ 906960 h 4069169"/>
              <a:gd name="connsiteX467" fmla="*/ 3637463 w 5110790"/>
              <a:gd name="connsiteY467" fmla="*/ 932693 h 4069169"/>
              <a:gd name="connsiteX468" fmla="*/ 3624668 w 5110790"/>
              <a:gd name="connsiteY468" fmla="*/ 948841 h 4069169"/>
              <a:gd name="connsiteX469" fmla="*/ 3604850 w 5110790"/>
              <a:gd name="connsiteY469" fmla="*/ 957207 h 4069169"/>
              <a:gd name="connsiteX470" fmla="*/ 3579243 w 5110790"/>
              <a:gd name="connsiteY470" fmla="*/ 959596 h 4069169"/>
              <a:gd name="connsiteX471" fmla="*/ 3554223 w 5110790"/>
              <a:gd name="connsiteY471" fmla="*/ 957207 h 4069169"/>
              <a:gd name="connsiteX472" fmla="*/ 3534706 w 5110790"/>
              <a:gd name="connsiteY472" fmla="*/ 948841 h 4069169"/>
              <a:gd name="connsiteX473" fmla="*/ 3522021 w 5110790"/>
              <a:gd name="connsiteY473" fmla="*/ 932693 h 4069169"/>
              <a:gd name="connsiteX474" fmla="*/ 3517498 w 5110790"/>
              <a:gd name="connsiteY474" fmla="*/ 906960 h 4069169"/>
              <a:gd name="connsiteX475" fmla="*/ 3522021 w 5110790"/>
              <a:gd name="connsiteY475" fmla="*/ 880373 h 4069169"/>
              <a:gd name="connsiteX476" fmla="*/ 3534706 w 5110790"/>
              <a:gd name="connsiteY476" fmla="*/ 864320 h 4069169"/>
              <a:gd name="connsiteX477" fmla="*/ 3554223 w 5110790"/>
              <a:gd name="connsiteY477" fmla="*/ 856427 h 4069169"/>
              <a:gd name="connsiteX478" fmla="*/ 1609095 w 5110790"/>
              <a:gd name="connsiteY478" fmla="*/ 854318 h 4069169"/>
              <a:gd name="connsiteX479" fmla="*/ 1634701 w 5110790"/>
              <a:gd name="connsiteY479" fmla="*/ 856421 h 4069169"/>
              <a:gd name="connsiteX480" fmla="*/ 1654519 w 5110790"/>
              <a:gd name="connsiteY480" fmla="*/ 864313 h 4069169"/>
              <a:gd name="connsiteX481" fmla="*/ 1667313 w 5110790"/>
              <a:gd name="connsiteY481" fmla="*/ 880366 h 4069169"/>
              <a:gd name="connsiteX482" fmla="*/ 1671852 w 5110790"/>
              <a:gd name="connsiteY482" fmla="*/ 906953 h 4069169"/>
              <a:gd name="connsiteX483" fmla="*/ 1667313 w 5110790"/>
              <a:gd name="connsiteY483" fmla="*/ 932686 h 4069169"/>
              <a:gd name="connsiteX484" fmla="*/ 1654519 w 5110790"/>
              <a:gd name="connsiteY484" fmla="*/ 948834 h 4069169"/>
              <a:gd name="connsiteX485" fmla="*/ 1634701 w 5110790"/>
              <a:gd name="connsiteY485" fmla="*/ 957201 h 4069169"/>
              <a:gd name="connsiteX486" fmla="*/ 1609095 w 5110790"/>
              <a:gd name="connsiteY486" fmla="*/ 959589 h 4069169"/>
              <a:gd name="connsiteX487" fmla="*/ 1584074 w 5110790"/>
              <a:gd name="connsiteY487" fmla="*/ 957201 h 4069169"/>
              <a:gd name="connsiteX488" fmla="*/ 1564557 w 5110790"/>
              <a:gd name="connsiteY488" fmla="*/ 948834 h 4069169"/>
              <a:gd name="connsiteX489" fmla="*/ 1551872 w 5110790"/>
              <a:gd name="connsiteY489" fmla="*/ 932686 h 4069169"/>
              <a:gd name="connsiteX490" fmla="*/ 1547349 w 5110790"/>
              <a:gd name="connsiteY490" fmla="*/ 906953 h 4069169"/>
              <a:gd name="connsiteX491" fmla="*/ 1551872 w 5110790"/>
              <a:gd name="connsiteY491" fmla="*/ 880366 h 4069169"/>
              <a:gd name="connsiteX492" fmla="*/ 1564557 w 5110790"/>
              <a:gd name="connsiteY492" fmla="*/ 864313 h 4069169"/>
              <a:gd name="connsiteX493" fmla="*/ 1584074 w 5110790"/>
              <a:gd name="connsiteY493" fmla="*/ 856421 h 4069169"/>
              <a:gd name="connsiteX494" fmla="*/ 2879125 w 5110790"/>
              <a:gd name="connsiteY494" fmla="*/ 659976 h 4069169"/>
              <a:gd name="connsiteX495" fmla="*/ 2911305 w 5110790"/>
              <a:gd name="connsiteY495" fmla="*/ 661113 h 4069169"/>
              <a:gd name="connsiteX496" fmla="*/ 2941090 w 5110790"/>
              <a:gd name="connsiteY496" fmla="*/ 664495 h 4069169"/>
              <a:gd name="connsiteX497" fmla="*/ 2968561 w 5110790"/>
              <a:gd name="connsiteY497" fmla="*/ 670071 h 4069169"/>
              <a:gd name="connsiteX498" fmla="*/ 2993799 w 5110790"/>
              <a:gd name="connsiteY498" fmla="*/ 677791 h 4069169"/>
              <a:gd name="connsiteX499" fmla="*/ 3016884 w 5110790"/>
              <a:gd name="connsiteY499" fmla="*/ 687607 h 4069169"/>
              <a:gd name="connsiteX500" fmla="*/ 3037896 w 5110790"/>
              <a:gd name="connsiteY500" fmla="*/ 699468 h 4069169"/>
              <a:gd name="connsiteX501" fmla="*/ 3056916 w 5110790"/>
              <a:gd name="connsiteY501" fmla="*/ 713326 h 4069169"/>
              <a:gd name="connsiteX502" fmla="*/ 3074024 w 5110790"/>
              <a:gd name="connsiteY502" fmla="*/ 729131 h 4069169"/>
              <a:gd name="connsiteX503" fmla="*/ 3089302 w 5110790"/>
              <a:gd name="connsiteY503" fmla="*/ 746834 h 4069169"/>
              <a:gd name="connsiteX504" fmla="*/ 3102829 w 5110790"/>
              <a:gd name="connsiteY504" fmla="*/ 766386 h 4069169"/>
              <a:gd name="connsiteX505" fmla="*/ 3114685 w 5110790"/>
              <a:gd name="connsiteY505" fmla="*/ 787738 h 4069169"/>
              <a:gd name="connsiteX506" fmla="*/ 3124952 w 5110790"/>
              <a:gd name="connsiteY506" fmla="*/ 810839 h 4069169"/>
              <a:gd name="connsiteX507" fmla="*/ 3133709 w 5110790"/>
              <a:gd name="connsiteY507" fmla="*/ 835640 h 4069169"/>
              <a:gd name="connsiteX508" fmla="*/ 3141039 w 5110790"/>
              <a:gd name="connsiteY508" fmla="*/ 862093 h 4069169"/>
              <a:gd name="connsiteX509" fmla="*/ 3147019 w 5110790"/>
              <a:gd name="connsiteY509" fmla="*/ 890147 h 4069169"/>
              <a:gd name="connsiteX510" fmla="*/ 3151732 w 5110790"/>
              <a:gd name="connsiteY510" fmla="*/ 919755 h 4069169"/>
              <a:gd name="connsiteX511" fmla="*/ 3155257 w 5110790"/>
              <a:gd name="connsiteY511" fmla="*/ 950865 h 4069169"/>
              <a:gd name="connsiteX512" fmla="*/ 3157675 w 5110790"/>
              <a:gd name="connsiteY512" fmla="*/ 983429 h 4069169"/>
              <a:gd name="connsiteX513" fmla="*/ 3159067 w 5110790"/>
              <a:gd name="connsiteY513" fmla="*/ 1017397 h 4069169"/>
              <a:gd name="connsiteX514" fmla="*/ 3159514 w 5110790"/>
              <a:gd name="connsiteY514" fmla="*/ 1052721 h 4069169"/>
              <a:gd name="connsiteX515" fmla="*/ 3159089 w 5110790"/>
              <a:gd name="connsiteY515" fmla="*/ 1088196 h 4069169"/>
              <a:gd name="connsiteX516" fmla="*/ 3157757 w 5110790"/>
              <a:gd name="connsiteY516" fmla="*/ 1122316 h 4069169"/>
              <a:gd name="connsiteX517" fmla="*/ 3155431 w 5110790"/>
              <a:gd name="connsiteY517" fmla="*/ 1155029 h 4069169"/>
              <a:gd name="connsiteX518" fmla="*/ 3152023 w 5110790"/>
              <a:gd name="connsiteY518" fmla="*/ 1186287 h 4069169"/>
              <a:gd name="connsiteX519" fmla="*/ 3147446 w 5110790"/>
              <a:gd name="connsiteY519" fmla="*/ 1216038 h 4069169"/>
              <a:gd name="connsiteX520" fmla="*/ 3141612 w 5110790"/>
              <a:gd name="connsiteY520" fmla="*/ 1244233 h 4069169"/>
              <a:gd name="connsiteX521" fmla="*/ 3134435 w 5110790"/>
              <a:gd name="connsiteY521" fmla="*/ 1270822 h 4069169"/>
              <a:gd name="connsiteX522" fmla="*/ 3125826 w 5110790"/>
              <a:gd name="connsiteY522" fmla="*/ 1295754 h 4069169"/>
              <a:gd name="connsiteX523" fmla="*/ 3115700 w 5110790"/>
              <a:gd name="connsiteY523" fmla="*/ 1318979 h 4069169"/>
              <a:gd name="connsiteX524" fmla="*/ 3103967 w 5110790"/>
              <a:gd name="connsiteY524" fmla="*/ 1340448 h 4069169"/>
              <a:gd name="connsiteX525" fmla="*/ 3090542 w 5110790"/>
              <a:gd name="connsiteY525" fmla="*/ 1360110 h 4069169"/>
              <a:gd name="connsiteX526" fmla="*/ 3075336 w 5110790"/>
              <a:gd name="connsiteY526" fmla="*/ 1377914 h 4069169"/>
              <a:gd name="connsiteX527" fmla="*/ 3058263 w 5110790"/>
              <a:gd name="connsiteY527" fmla="*/ 1393812 h 4069169"/>
              <a:gd name="connsiteX528" fmla="*/ 3039235 w 5110790"/>
              <a:gd name="connsiteY528" fmla="*/ 1407753 h 4069169"/>
              <a:gd name="connsiteX529" fmla="*/ 3018165 w 5110790"/>
              <a:gd name="connsiteY529" fmla="*/ 1419686 h 4069169"/>
              <a:gd name="connsiteX530" fmla="*/ 2994965 w 5110790"/>
              <a:gd name="connsiteY530" fmla="*/ 1429562 h 4069169"/>
              <a:gd name="connsiteX531" fmla="*/ 2969548 w 5110790"/>
              <a:gd name="connsiteY531" fmla="*/ 1437331 h 4069169"/>
              <a:gd name="connsiteX532" fmla="*/ 2941828 w 5110790"/>
              <a:gd name="connsiteY532" fmla="*/ 1442942 h 4069169"/>
              <a:gd name="connsiteX533" fmla="*/ 2911716 w 5110790"/>
              <a:gd name="connsiteY533" fmla="*/ 1446346 h 4069169"/>
              <a:gd name="connsiteX534" fmla="*/ 2879125 w 5110790"/>
              <a:gd name="connsiteY534" fmla="*/ 1447491 h 4069169"/>
              <a:gd name="connsiteX535" fmla="*/ 2879125 w 5110790"/>
              <a:gd name="connsiteY535" fmla="*/ 1388782 h 4069169"/>
              <a:gd name="connsiteX536" fmla="*/ 2909252 w 5110790"/>
              <a:gd name="connsiteY536" fmla="*/ 1387428 h 4069169"/>
              <a:gd name="connsiteX537" fmla="*/ 2936490 w 5110790"/>
              <a:gd name="connsiteY537" fmla="*/ 1383413 h 4069169"/>
              <a:gd name="connsiteX538" fmla="*/ 2960977 w 5110790"/>
              <a:gd name="connsiteY538" fmla="*/ 1376811 h 4069169"/>
              <a:gd name="connsiteX539" fmla="*/ 2982849 w 5110790"/>
              <a:gd name="connsiteY539" fmla="*/ 1367691 h 4069169"/>
              <a:gd name="connsiteX540" fmla="*/ 3019298 w 5110790"/>
              <a:gd name="connsiteY540" fmla="*/ 1342188 h 4069169"/>
              <a:gd name="connsiteX541" fmla="*/ 3046935 w 5110790"/>
              <a:gd name="connsiteY541" fmla="*/ 1307477 h 4069169"/>
              <a:gd name="connsiteX542" fmla="*/ 3057792 w 5110790"/>
              <a:gd name="connsiteY542" fmla="*/ 1286848 h 4069169"/>
              <a:gd name="connsiteX543" fmla="*/ 3066859 w 5110790"/>
              <a:gd name="connsiteY543" fmla="*/ 1264133 h 4069169"/>
              <a:gd name="connsiteX544" fmla="*/ 3074271 w 5110790"/>
              <a:gd name="connsiteY544" fmla="*/ 1239402 h 4069169"/>
              <a:gd name="connsiteX545" fmla="*/ 3080167 w 5110790"/>
              <a:gd name="connsiteY545" fmla="*/ 1212729 h 4069169"/>
              <a:gd name="connsiteX546" fmla="*/ 3084682 w 5110790"/>
              <a:gd name="connsiteY546" fmla="*/ 1184184 h 4069169"/>
              <a:gd name="connsiteX547" fmla="*/ 3087956 w 5110790"/>
              <a:gd name="connsiteY547" fmla="*/ 1153838 h 4069169"/>
              <a:gd name="connsiteX548" fmla="*/ 3090124 w 5110790"/>
              <a:gd name="connsiteY548" fmla="*/ 1121765 h 4069169"/>
              <a:gd name="connsiteX549" fmla="*/ 3091324 w 5110790"/>
              <a:gd name="connsiteY549" fmla="*/ 1088036 h 4069169"/>
              <a:gd name="connsiteX550" fmla="*/ 3091694 w 5110790"/>
              <a:gd name="connsiteY550" fmla="*/ 1052721 h 4069169"/>
              <a:gd name="connsiteX551" fmla="*/ 3091305 w 5110790"/>
              <a:gd name="connsiteY551" fmla="*/ 1017753 h 4069169"/>
              <a:gd name="connsiteX552" fmla="*/ 3090050 w 5110790"/>
              <a:gd name="connsiteY552" fmla="*/ 984350 h 4069169"/>
              <a:gd name="connsiteX553" fmla="*/ 3087800 w 5110790"/>
              <a:gd name="connsiteY553" fmla="*/ 952581 h 4069169"/>
              <a:gd name="connsiteX554" fmla="*/ 3084425 w 5110790"/>
              <a:gd name="connsiteY554" fmla="*/ 922520 h 4069169"/>
              <a:gd name="connsiteX555" fmla="*/ 3079795 w 5110790"/>
              <a:gd name="connsiteY555" fmla="*/ 894237 h 4069169"/>
              <a:gd name="connsiteX556" fmla="*/ 3073782 w 5110790"/>
              <a:gd name="connsiteY556" fmla="*/ 867805 h 4069169"/>
              <a:gd name="connsiteX557" fmla="*/ 3066253 w 5110790"/>
              <a:gd name="connsiteY557" fmla="*/ 843295 h 4069169"/>
              <a:gd name="connsiteX558" fmla="*/ 3057081 w 5110790"/>
              <a:gd name="connsiteY558" fmla="*/ 820780 h 4069169"/>
              <a:gd name="connsiteX559" fmla="*/ 3046134 w 5110790"/>
              <a:gd name="connsiteY559" fmla="*/ 800330 h 4069169"/>
              <a:gd name="connsiteX560" fmla="*/ 3018400 w 5110790"/>
              <a:gd name="connsiteY560" fmla="*/ 765914 h 4069169"/>
              <a:gd name="connsiteX561" fmla="*/ 2982013 w 5110790"/>
              <a:gd name="connsiteY561" fmla="*/ 740620 h 4069169"/>
              <a:gd name="connsiteX562" fmla="*/ 2960250 w 5110790"/>
              <a:gd name="connsiteY562" fmla="*/ 731574 h 4069169"/>
              <a:gd name="connsiteX563" fmla="*/ 2935934 w 5110790"/>
              <a:gd name="connsiteY563" fmla="*/ 725024 h 4069169"/>
              <a:gd name="connsiteX564" fmla="*/ 2908936 w 5110790"/>
              <a:gd name="connsiteY564" fmla="*/ 721041 h 4069169"/>
              <a:gd name="connsiteX565" fmla="*/ 2879125 w 5110790"/>
              <a:gd name="connsiteY565" fmla="*/ 719697 h 4069169"/>
              <a:gd name="connsiteX566" fmla="*/ 2565698 w 5110790"/>
              <a:gd name="connsiteY566" fmla="*/ 659976 h 4069169"/>
              <a:gd name="connsiteX567" fmla="*/ 2565698 w 5110790"/>
              <a:gd name="connsiteY567" fmla="*/ 719697 h 4069169"/>
              <a:gd name="connsiteX568" fmla="*/ 2536056 w 5110790"/>
              <a:gd name="connsiteY568" fmla="*/ 721041 h 4069169"/>
              <a:gd name="connsiteX569" fmla="*/ 2509206 w 5110790"/>
              <a:gd name="connsiteY569" fmla="*/ 725024 h 4069169"/>
              <a:gd name="connsiteX570" fmla="*/ 2485020 w 5110790"/>
              <a:gd name="connsiteY570" fmla="*/ 731574 h 4069169"/>
              <a:gd name="connsiteX571" fmla="*/ 2463369 w 5110790"/>
              <a:gd name="connsiteY571" fmla="*/ 740620 h 4069169"/>
              <a:gd name="connsiteX572" fmla="*/ 2427161 w 5110790"/>
              <a:gd name="connsiteY572" fmla="*/ 765914 h 4069169"/>
              <a:gd name="connsiteX573" fmla="*/ 2399551 w 5110790"/>
              <a:gd name="connsiteY573" fmla="*/ 800330 h 4069169"/>
              <a:gd name="connsiteX574" fmla="*/ 2388649 w 5110790"/>
              <a:gd name="connsiteY574" fmla="*/ 820780 h 4069169"/>
              <a:gd name="connsiteX575" fmla="*/ 2379511 w 5110790"/>
              <a:gd name="connsiteY575" fmla="*/ 843295 h 4069169"/>
              <a:gd name="connsiteX576" fmla="*/ 2372009 w 5110790"/>
              <a:gd name="connsiteY576" fmla="*/ 867805 h 4069169"/>
              <a:gd name="connsiteX577" fmla="*/ 2366014 w 5110790"/>
              <a:gd name="connsiteY577" fmla="*/ 894237 h 4069169"/>
              <a:gd name="connsiteX578" fmla="*/ 2361397 w 5110790"/>
              <a:gd name="connsiteY578" fmla="*/ 922520 h 4069169"/>
              <a:gd name="connsiteX579" fmla="*/ 2358029 w 5110790"/>
              <a:gd name="connsiteY579" fmla="*/ 952581 h 4069169"/>
              <a:gd name="connsiteX580" fmla="*/ 2355783 w 5110790"/>
              <a:gd name="connsiteY580" fmla="*/ 984350 h 4069169"/>
              <a:gd name="connsiteX581" fmla="*/ 2354530 w 5110790"/>
              <a:gd name="connsiteY581" fmla="*/ 1017753 h 4069169"/>
              <a:gd name="connsiteX582" fmla="*/ 2354141 w 5110790"/>
              <a:gd name="connsiteY582" fmla="*/ 1052721 h 4069169"/>
              <a:gd name="connsiteX583" fmla="*/ 2354520 w 5110790"/>
              <a:gd name="connsiteY583" fmla="*/ 1088036 h 4069169"/>
              <a:gd name="connsiteX584" fmla="*/ 2355746 w 5110790"/>
              <a:gd name="connsiteY584" fmla="*/ 1121765 h 4069169"/>
              <a:gd name="connsiteX585" fmla="*/ 2357952 w 5110790"/>
              <a:gd name="connsiteY585" fmla="*/ 1153838 h 4069169"/>
              <a:gd name="connsiteX586" fmla="*/ 2361268 w 5110790"/>
              <a:gd name="connsiteY586" fmla="*/ 1184184 h 4069169"/>
              <a:gd name="connsiteX587" fmla="*/ 2365828 w 5110790"/>
              <a:gd name="connsiteY587" fmla="*/ 1212729 h 4069169"/>
              <a:gd name="connsiteX588" fmla="*/ 2371764 w 5110790"/>
              <a:gd name="connsiteY588" fmla="*/ 1239402 h 4069169"/>
              <a:gd name="connsiteX589" fmla="*/ 2379208 w 5110790"/>
              <a:gd name="connsiteY589" fmla="*/ 1264133 h 4069169"/>
              <a:gd name="connsiteX590" fmla="*/ 2388293 w 5110790"/>
              <a:gd name="connsiteY590" fmla="*/ 1286848 h 4069169"/>
              <a:gd name="connsiteX591" fmla="*/ 2399150 w 5110790"/>
              <a:gd name="connsiteY591" fmla="*/ 1307477 h 4069169"/>
              <a:gd name="connsiteX592" fmla="*/ 2426712 w 5110790"/>
              <a:gd name="connsiteY592" fmla="*/ 1342188 h 4069169"/>
              <a:gd name="connsiteX593" fmla="*/ 2462952 w 5110790"/>
              <a:gd name="connsiteY593" fmla="*/ 1367691 h 4069169"/>
              <a:gd name="connsiteX594" fmla="*/ 2484656 w 5110790"/>
              <a:gd name="connsiteY594" fmla="*/ 1376811 h 4069169"/>
              <a:gd name="connsiteX595" fmla="*/ 2508928 w 5110790"/>
              <a:gd name="connsiteY595" fmla="*/ 1383413 h 4069169"/>
              <a:gd name="connsiteX596" fmla="*/ 2535898 w 5110790"/>
              <a:gd name="connsiteY596" fmla="*/ 1387428 h 4069169"/>
              <a:gd name="connsiteX597" fmla="*/ 2565698 w 5110790"/>
              <a:gd name="connsiteY597" fmla="*/ 1388782 h 4069169"/>
              <a:gd name="connsiteX598" fmla="*/ 2565698 w 5110790"/>
              <a:gd name="connsiteY598" fmla="*/ 1447491 h 4069169"/>
              <a:gd name="connsiteX599" fmla="*/ 2533244 w 5110790"/>
              <a:gd name="connsiteY599" fmla="*/ 1446346 h 4069169"/>
              <a:gd name="connsiteX600" fmla="*/ 2503241 w 5110790"/>
              <a:gd name="connsiteY600" fmla="*/ 1442942 h 4069169"/>
              <a:gd name="connsiteX601" fmla="*/ 2475603 w 5110790"/>
              <a:gd name="connsiteY601" fmla="*/ 1437331 h 4069169"/>
              <a:gd name="connsiteX602" fmla="*/ 2450247 w 5110790"/>
              <a:gd name="connsiteY602" fmla="*/ 1429562 h 4069169"/>
              <a:gd name="connsiteX603" fmla="*/ 2427085 w 5110790"/>
              <a:gd name="connsiteY603" fmla="*/ 1419686 h 4069169"/>
              <a:gd name="connsiteX604" fmla="*/ 2406034 w 5110790"/>
              <a:gd name="connsiteY604" fmla="*/ 1407753 h 4069169"/>
              <a:gd name="connsiteX605" fmla="*/ 2387009 w 5110790"/>
              <a:gd name="connsiteY605" fmla="*/ 1393812 h 4069169"/>
              <a:gd name="connsiteX606" fmla="*/ 2369924 w 5110790"/>
              <a:gd name="connsiteY606" fmla="*/ 1377914 h 4069169"/>
              <a:gd name="connsiteX607" fmla="*/ 2354694 w 5110790"/>
              <a:gd name="connsiteY607" fmla="*/ 1360110 h 4069169"/>
              <a:gd name="connsiteX608" fmla="*/ 2341235 w 5110790"/>
              <a:gd name="connsiteY608" fmla="*/ 1340448 h 4069169"/>
              <a:gd name="connsiteX609" fmla="*/ 2329461 w 5110790"/>
              <a:gd name="connsiteY609" fmla="*/ 1318979 h 4069169"/>
              <a:gd name="connsiteX610" fmla="*/ 2319288 w 5110790"/>
              <a:gd name="connsiteY610" fmla="*/ 1295754 h 4069169"/>
              <a:gd name="connsiteX611" fmla="*/ 2310630 w 5110790"/>
              <a:gd name="connsiteY611" fmla="*/ 1270822 h 4069169"/>
              <a:gd name="connsiteX612" fmla="*/ 2303402 w 5110790"/>
              <a:gd name="connsiteY612" fmla="*/ 1244233 h 4069169"/>
              <a:gd name="connsiteX613" fmla="*/ 2297519 w 5110790"/>
              <a:gd name="connsiteY613" fmla="*/ 1216038 h 4069169"/>
              <a:gd name="connsiteX614" fmla="*/ 2292897 w 5110790"/>
              <a:gd name="connsiteY614" fmla="*/ 1186287 h 4069169"/>
              <a:gd name="connsiteX615" fmla="*/ 2289449 w 5110790"/>
              <a:gd name="connsiteY615" fmla="*/ 1155029 h 4069169"/>
              <a:gd name="connsiteX616" fmla="*/ 2287092 w 5110790"/>
              <a:gd name="connsiteY616" fmla="*/ 1122316 h 4069169"/>
              <a:gd name="connsiteX617" fmla="*/ 2285740 w 5110790"/>
              <a:gd name="connsiteY617" fmla="*/ 1088196 h 4069169"/>
              <a:gd name="connsiteX618" fmla="*/ 2285309 w 5110790"/>
              <a:gd name="connsiteY618" fmla="*/ 1052721 h 4069169"/>
              <a:gd name="connsiteX619" fmla="*/ 2285755 w 5110790"/>
              <a:gd name="connsiteY619" fmla="*/ 1017397 h 4069169"/>
              <a:gd name="connsiteX620" fmla="*/ 2287147 w 5110790"/>
              <a:gd name="connsiteY620" fmla="*/ 983429 h 4069169"/>
              <a:gd name="connsiteX621" fmla="*/ 2289566 w 5110790"/>
              <a:gd name="connsiteY621" fmla="*/ 950865 h 4069169"/>
              <a:gd name="connsiteX622" fmla="*/ 2293091 w 5110790"/>
              <a:gd name="connsiteY622" fmla="*/ 919755 h 4069169"/>
              <a:gd name="connsiteX623" fmla="*/ 2297804 w 5110790"/>
              <a:gd name="connsiteY623" fmla="*/ 890147 h 4069169"/>
              <a:gd name="connsiteX624" fmla="*/ 2303784 w 5110790"/>
              <a:gd name="connsiteY624" fmla="*/ 862093 h 4069169"/>
              <a:gd name="connsiteX625" fmla="*/ 2311113 w 5110790"/>
              <a:gd name="connsiteY625" fmla="*/ 835640 h 4069169"/>
              <a:gd name="connsiteX626" fmla="*/ 2319870 w 5110790"/>
              <a:gd name="connsiteY626" fmla="*/ 810839 h 4069169"/>
              <a:gd name="connsiteX627" fmla="*/ 2330137 w 5110790"/>
              <a:gd name="connsiteY627" fmla="*/ 787738 h 4069169"/>
              <a:gd name="connsiteX628" fmla="*/ 2341994 w 5110790"/>
              <a:gd name="connsiteY628" fmla="*/ 766386 h 4069169"/>
              <a:gd name="connsiteX629" fmla="*/ 2355521 w 5110790"/>
              <a:gd name="connsiteY629" fmla="*/ 746834 h 4069169"/>
              <a:gd name="connsiteX630" fmla="*/ 2370798 w 5110790"/>
              <a:gd name="connsiteY630" fmla="*/ 729131 h 4069169"/>
              <a:gd name="connsiteX631" fmla="*/ 2387907 w 5110790"/>
              <a:gd name="connsiteY631" fmla="*/ 713326 h 4069169"/>
              <a:gd name="connsiteX632" fmla="*/ 2406927 w 5110790"/>
              <a:gd name="connsiteY632" fmla="*/ 699468 h 4069169"/>
              <a:gd name="connsiteX633" fmla="*/ 2427939 w 5110790"/>
              <a:gd name="connsiteY633" fmla="*/ 687607 h 4069169"/>
              <a:gd name="connsiteX634" fmla="*/ 2451024 w 5110790"/>
              <a:gd name="connsiteY634" fmla="*/ 677791 h 4069169"/>
              <a:gd name="connsiteX635" fmla="*/ 2476262 w 5110790"/>
              <a:gd name="connsiteY635" fmla="*/ 670071 h 4069169"/>
              <a:gd name="connsiteX636" fmla="*/ 2503733 w 5110790"/>
              <a:gd name="connsiteY636" fmla="*/ 664495 h 4069169"/>
              <a:gd name="connsiteX637" fmla="*/ 2533518 w 5110790"/>
              <a:gd name="connsiteY637" fmla="*/ 661113 h 4069169"/>
              <a:gd name="connsiteX638" fmla="*/ 1358847 w 5110790"/>
              <a:gd name="connsiteY638" fmla="*/ 0 h 4069169"/>
              <a:gd name="connsiteX639" fmla="*/ 1439826 w 5110790"/>
              <a:gd name="connsiteY639" fmla="*/ 0 h 4069169"/>
              <a:gd name="connsiteX640" fmla="*/ 1554207 w 5110790"/>
              <a:gd name="connsiteY640" fmla="*/ 209532 h 4069169"/>
              <a:gd name="connsiteX641" fmla="*/ 1437801 w 5110790"/>
              <a:gd name="connsiteY641" fmla="*/ 425136 h 4069169"/>
              <a:gd name="connsiteX642" fmla="*/ 1358847 w 5110790"/>
              <a:gd name="connsiteY642" fmla="*/ 425136 h 4069169"/>
              <a:gd name="connsiteX643" fmla="*/ 1458045 w 5110790"/>
              <a:gd name="connsiteY643" fmla="*/ 239899 h 4069169"/>
              <a:gd name="connsiteX644" fmla="*/ 1068337 w 5110790"/>
              <a:gd name="connsiteY644" fmla="*/ 239899 h 4069169"/>
              <a:gd name="connsiteX645" fmla="*/ 1068337 w 5110790"/>
              <a:gd name="connsiteY645" fmla="*/ 175116 h 4069169"/>
              <a:gd name="connsiteX646" fmla="*/ 1456021 w 5110790"/>
              <a:gd name="connsiteY646" fmla="*/ 175116 h 4069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Lst>
            <a:rect l="l" t="t" r="r" b="b"/>
            <a:pathLst>
              <a:path w="5110790" h="4069169">
                <a:moveTo>
                  <a:pt x="1358848" y="3644032"/>
                </a:moveTo>
                <a:lnTo>
                  <a:pt x="1439827" y="3644032"/>
                </a:lnTo>
                <a:lnTo>
                  <a:pt x="1554208" y="3853564"/>
                </a:lnTo>
                <a:lnTo>
                  <a:pt x="1437802" y="4069169"/>
                </a:lnTo>
                <a:lnTo>
                  <a:pt x="1358848" y="4069169"/>
                </a:lnTo>
                <a:lnTo>
                  <a:pt x="1458046" y="3883931"/>
                </a:lnTo>
                <a:lnTo>
                  <a:pt x="1068338" y="3883931"/>
                </a:lnTo>
                <a:lnTo>
                  <a:pt x="1068338" y="3819148"/>
                </a:lnTo>
                <a:lnTo>
                  <a:pt x="1456022" y="3819148"/>
                </a:lnTo>
                <a:close/>
                <a:moveTo>
                  <a:pt x="3579243" y="3101476"/>
                </a:moveTo>
                <a:lnTo>
                  <a:pt x="3604850" y="3103707"/>
                </a:lnTo>
                <a:lnTo>
                  <a:pt x="3624668" y="3111725"/>
                </a:lnTo>
                <a:lnTo>
                  <a:pt x="3637463" y="3127526"/>
                </a:lnTo>
                <a:lnTo>
                  <a:pt x="3642002" y="3153100"/>
                </a:lnTo>
                <a:lnTo>
                  <a:pt x="3637463" y="3179845"/>
                </a:lnTo>
                <a:lnTo>
                  <a:pt x="3624668" y="3196247"/>
                </a:lnTo>
                <a:lnTo>
                  <a:pt x="3604850" y="3204487"/>
                </a:lnTo>
                <a:lnTo>
                  <a:pt x="3579243" y="3206749"/>
                </a:lnTo>
                <a:lnTo>
                  <a:pt x="3553637" y="3204487"/>
                </a:lnTo>
                <a:lnTo>
                  <a:pt x="3533820" y="3196247"/>
                </a:lnTo>
                <a:lnTo>
                  <a:pt x="3521024" y="3179845"/>
                </a:lnTo>
                <a:lnTo>
                  <a:pt x="3516485" y="3153100"/>
                </a:lnTo>
                <a:lnTo>
                  <a:pt x="3521166" y="3127526"/>
                </a:lnTo>
                <a:lnTo>
                  <a:pt x="3534199" y="3111725"/>
                </a:lnTo>
                <a:lnTo>
                  <a:pt x="3554064" y="3103707"/>
                </a:lnTo>
                <a:close/>
                <a:moveTo>
                  <a:pt x="1609095" y="3101476"/>
                </a:moveTo>
                <a:lnTo>
                  <a:pt x="1634701" y="3103707"/>
                </a:lnTo>
                <a:lnTo>
                  <a:pt x="1654519" y="3111725"/>
                </a:lnTo>
                <a:lnTo>
                  <a:pt x="1667313" y="3127526"/>
                </a:lnTo>
                <a:lnTo>
                  <a:pt x="1671852" y="3153100"/>
                </a:lnTo>
                <a:lnTo>
                  <a:pt x="1667313" y="3179845"/>
                </a:lnTo>
                <a:lnTo>
                  <a:pt x="1654519" y="3196247"/>
                </a:lnTo>
                <a:lnTo>
                  <a:pt x="1634701" y="3204487"/>
                </a:lnTo>
                <a:lnTo>
                  <a:pt x="1609095" y="3206749"/>
                </a:lnTo>
                <a:lnTo>
                  <a:pt x="1583490" y="3204487"/>
                </a:lnTo>
                <a:lnTo>
                  <a:pt x="1563672" y="3196247"/>
                </a:lnTo>
                <a:lnTo>
                  <a:pt x="1550877" y="3179845"/>
                </a:lnTo>
                <a:lnTo>
                  <a:pt x="1546338" y="3153100"/>
                </a:lnTo>
                <a:lnTo>
                  <a:pt x="1551019" y="3127526"/>
                </a:lnTo>
                <a:lnTo>
                  <a:pt x="1564051" y="3111725"/>
                </a:lnTo>
                <a:lnTo>
                  <a:pt x="1583917" y="3103707"/>
                </a:lnTo>
                <a:close/>
                <a:moveTo>
                  <a:pt x="3579243" y="2676340"/>
                </a:moveTo>
                <a:lnTo>
                  <a:pt x="3604850" y="2678443"/>
                </a:lnTo>
                <a:lnTo>
                  <a:pt x="3624668" y="2686335"/>
                </a:lnTo>
                <a:lnTo>
                  <a:pt x="3637463" y="2702388"/>
                </a:lnTo>
                <a:lnTo>
                  <a:pt x="3642002" y="2728976"/>
                </a:lnTo>
                <a:lnTo>
                  <a:pt x="3637463" y="2754708"/>
                </a:lnTo>
                <a:lnTo>
                  <a:pt x="3624668" y="2770857"/>
                </a:lnTo>
                <a:lnTo>
                  <a:pt x="3604850" y="2779223"/>
                </a:lnTo>
                <a:lnTo>
                  <a:pt x="3579243" y="2781612"/>
                </a:lnTo>
                <a:lnTo>
                  <a:pt x="3554223" y="2779223"/>
                </a:lnTo>
                <a:lnTo>
                  <a:pt x="3534706" y="2770857"/>
                </a:lnTo>
                <a:lnTo>
                  <a:pt x="3522021" y="2754708"/>
                </a:lnTo>
                <a:lnTo>
                  <a:pt x="3517498" y="2728976"/>
                </a:lnTo>
                <a:lnTo>
                  <a:pt x="3522021" y="2702388"/>
                </a:lnTo>
                <a:lnTo>
                  <a:pt x="3534706" y="2686335"/>
                </a:lnTo>
                <a:lnTo>
                  <a:pt x="3554223" y="2678443"/>
                </a:lnTo>
                <a:close/>
                <a:moveTo>
                  <a:pt x="1609095" y="2676340"/>
                </a:moveTo>
                <a:lnTo>
                  <a:pt x="1634701" y="2678443"/>
                </a:lnTo>
                <a:lnTo>
                  <a:pt x="1654519" y="2686335"/>
                </a:lnTo>
                <a:lnTo>
                  <a:pt x="1667313" y="2702388"/>
                </a:lnTo>
                <a:lnTo>
                  <a:pt x="1671852" y="2728976"/>
                </a:lnTo>
                <a:lnTo>
                  <a:pt x="1667313" y="2754708"/>
                </a:lnTo>
                <a:lnTo>
                  <a:pt x="1654519" y="2770857"/>
                </a:lnTo>
                <a:lnTo>
                  <a:pt x="1634701" y="2779223"/>
                </a:lnTo>
                <a:lnTo>
                  <a:pt x="1609095" y="2781612"/>
                </a:lnTo>
                <a:lnTo>
                  <a:pt x="1584075" y="2779223"/>
                </a:lnTo>
                <a:lnTo>
                  <a:pt x="1564558" y="2770857"/>
                </a:lnTo>
                <a:lnTo>
                  <a:pt x="1551873" y="2754708"/>
                </a:lnTo>
                <a:lnTo>
                  <a:pt x="1547350" y="2728976"/>
                </a:lnTo>
                <a:lnTo>
                  <a:pt x="1551873" y="2702388"/>
                </a:lnTo>
                <a:lnTo>
                  <a:pt x="1564558" y="2686335"/>
                </a:lnTo>
                <a:lnTo>
                  <a:pt x="1584075" y="2678443"/>
                </a:lnTo>
                <a:close/>
                <a:moveTo>
                  <a:pt x="2879125" y="2481992"/>
                </a:moveTo>
                <a:lnTo>
                  <a:pt x="2911305" y="2483129"/>
                </a:lnTo>
                <a:lnTo>
                  <a:pt x="2941090" y="2486511"/>
                </a:lnTo>
                <a:lnTo>
                  <a:pt x="2968561" y="2492087"/>
                </a:lnTo>
                <a:lnTo>
                  <a:pt x="2993799" y="2499807"/>
                </a:lnTo>
                <a:lnTo>
                  <a:pt x="3016884" y="2509622"/>
                </a:lnTo>
                <a:lnTo>
                  <a:pt x="3037896" y="2521483"/>
                </a:lnTo>
                <a:lnTo>
                  <a:pt x="3056916" y="2535342"/>
                </a:lnTo>
                <a:lnTo>
                  <a:pt x="3074024" y="2551147"/>
                </a:lnTo>
                <a:lnTo>
                  <a:pt x="3089302" y="2568850"/>
                </a:lnTo>
                <a:lnTo>
                  <a:pt x="3102829" y="2588403"/>
                </a:lnTo>
                <a:lnTo>
                  <a:pt x="3114685" y="2609754"/>
                </a:lnTo>
                <a:lnTo>
                  <a:pt x="3124952" y="2632854"/>
                </a:lnTo>
                <a:lnTo>
                  <a:pt x="3133709" y="2657656"/>
                </a:lnTo>
                <a:lnTo>
                  <a:pt x="3141039" y="2684109"/>
                </a:lnTo>
                <a:lnTo>
                  <a:pt x="3147019" y="2712163"/>
                </a:lnTo>
                <a:lnTo>
                  <a:pt x="3151732" y="2741770"/>
                </a:lnTo>
                <a:lnTo>
                  <a:pt x="3155257" y="2772881"/>
                </a:lnTo>
                <a:lnTo>
                  <a:pt x="3157675" y="2805445"/>
                </a:lnTo>
                <a:lnTo>
                  <a:pt x="3159067" y="2839413"/>
                </a:lnTo>
                <a:lnTo>
                  <a:pt x="3159514" y="2874737"/>
                </a:lnTo>
                <a:lnTo>
                  <a:pt x="3159089" y="2910212"/>
                </a:lnTo>
                <a:lnTo>
                  <a:pt x="3157757" y="2944332"/>
                </a:lnTo>
                <a:lnTo>
                  <a:pt x="3155431" y="2977045"/>
                </a:lnTo>
                <a:lnTo>
                  <a:pt x="3152023" y="3008303"/>
                </a:lnTo>
                <a:lnTo>
                  <a:pt x="3147446" y="3038054"/>
                </a:lnTo>
                <a:lnTo>
                  <a:pt x="3141612" y="3066249"/>
                </a:lnTo>
                <a:lnTo>
                  <a:pt x="3134435" y="3092837"/>
                </a:lnTo>
                <a:lnTo>
                  <a:pt x="3125826" y="3117770"/>
                </a:lnTo>
                <a:lnTo>
                  <a:pt x="3115700" y="3140995"/>
                </a:lnTo>
                <a:lnTo>
                  <a:pt x="3103967" y="3162464"/>
                </a:lnTo>
                <a:lnTo>
                  <a:pt x="3090542" y="3182126"/>
                </a:lnTo>
                <a:lnTo>
                  <a:pt x="3075336" y="3199931"/>
                </a:lnTo>
                <a:lnTo>
                  <a:pt x="3058263" y="3215828"/>
                </a:lnTo>
                <a:lnTo>
                  <a:pt x="3039235" y="3229769"/>
                </a:lnTo>
                <a:lnTo>
                  <a:pt x="3018165" y="3241703"/>
                </a:lnTo>
                <a:lnTo>
                  <a:pt x="2994965" y="3251579"/>
                </a:lnTo>
                <a:lnTo>
                  <a:pt x="2969548" y="3259347"/>
                </a:lnTo>
                <a:lnTo>
                  <a:pt x="2941828" y="3264959"/>
                </a:lnTo>
                <a:lnTo>
                  <a:pt x="2911716" y="3268362"/>
                </a:lnTo>
                <a:lnTo>
                  <a:pt x="2879125" y="3269508"/>
                </a:lnTo>
                <a:lnTo>
                  <a:pt x="2879125" y="3210798"/>
                </a:lnTo>
                <a:lnTo>
                  <a:pt x="2909252" y="3209444"/>
                </a:lnTo>
                <a:lnTo>
                  <a:pt x="2936490" y="3205429"/>
                </a:lnTo>
                <a:lnTo>
                  <a:pt x="2960977" y="3198827"/>
                </a:lnTo>
                <a:lnTo>
                  <a:pt x="2982849" y="3189707"/>
                </a:lnTo>
                <a:lnTo>
                  <a:pt x="3019298" y="3164203"/>
                </a:lnTo>
                <a:lnTo>
                  <a:pt x="3046935" y="3129493"/>
                </a:lnTo>
                <a:lnTo>
                  <a:pt x="3057792" y="3108864"/>
                </a:lnTo>
                <a:lnTo>
                  <a:pt x="3066859" y="3086149"/>
                </a:lnTo>
                <a:lnTo>
                  <a:pt x="3074271" y="3061419"/>
                </a:lnTo>
                <a:lnTo>
                  <a:pt x="3080167" y="3034745"/>
                </a:lnTo>
                <a:lnTo>
                  <a:pt x="3084682" y="3006199"/>
                </a:lnTo>
                <a:lnTo>
                  <a:pt x="3087956" y="2975855"/>
                </a:lnTo>
                <a:lnTo>
                  <a:pt x="3090124" y="2943781"/>
                </a:lnTo>
                <a:lnTo>
                  <a:pt x="3091324" y="2910051"/>
                </a:lnTo>
                <a:lnTo>
                  <a:pt x="3091694" y="2874737"/>
                </a:lnTo>
                <a:lnTo>
                  <a:pt x="3091305" y="2839769"/>
                </a:lnTo>
                <a:lnTo>
                  <a:pt x="3090050" y="2806365"/>
                </a:lnTo>
                <a:lnTo>
                  <a:pt x="3087800" y="2774596"/>
                </a:lnTo>
                <a:lnTo>
                  <a:pt x="3084425" y="2744535"/>
                </a:lnTo>
                <a:lnTo>
                  <a:pt x="3079795" y="2716252"/>
                </a:lnTo>
                <a:lnTo>
                  <a:pt x="3073782" y="2689820"/>
                </a:lnTo>
                <a:lnTo>
                  <a:pt x="3066253" y="2665311"/>
                </a:lnTo>
                <a:lnTo>
                  <a:pt x="3057081" y="2642795"/>
                </a:lnTo>
                <a:lnTo>
                  <a:pt x="3046134" y="2622345"/>
                </a:lnTo>
                <a:lnTo>
                  <a:pt x="3018400" y="2587929"/>
                </a:lnTo>
                <a:lnTo>
                  <a:pt x="2982013" y="2562635"/>
                </a:lnTo>
                <a:lnTo>
                  <a:pt x="2960250" y="2553590"/>
                </a:lnTo>
                <a:lnTo>
                  <a:pt x="2935934" y="2547039"/>
                </a:lnTo>
                <a:lnTo>
                  <a:pt x="2908936" y="2543056"/>
                </a:lnTo>
                <a:lnTo>
                  <a:pt x="2879125" y="2541713"/>
                </a:lnTo>
                <a:close/>
                <a:moveTo>
                  <a:pt x="2565698" y="2481992"/>
                </a:moveTo>
                <a:lnTo>
                  <a:pt x="2565698" y="2541713"/>
                </a:lnTo>
                <a:lnTo>
                  <a:pt x="2536056" y="2543056"/>
                </a:lnTo>
                <a:lnTo>
                  <a:pt x="2509206" y="2547039"/>
                </a:lnTo>
                <a:lnTo>
                  <a:pt x="2485020" y="2553590"/>
                </a:lnTo>
                <a:lnTo>
                  <a:pt x="2463369" y="2562635"/>
                </a:lnTo>
                <a:lnTo>
                  <a:pt x="2427161" y="2587929"/>
                </a:lnTo>
                <a:lnTo>
                  <a:pt x="2399551" y="2622345"/>
                </a:lnTo>
                <a:lnTo>
                  <a:pt x="2388649" y="2642795"/>
                </a:lnTo>
                <a:lnTo>
                  <a:pt x="2379511" y="2665311"/>
                </a:lnTo>
                <a:lnTo>
                  <a:pt x="2372009" y="2689820"/>
                </a:lnTo>
                <a:lnTo>
                  <a:pt x="2366014" y="2716252"/>
                </a:lnTo>
                <a:lnTo>
                  <a:pt x="2361397" y="2744535"/>
                </a:lnTo>
                <a:lnTo>
                  <a:pt x="2358029" y="2774596"/>
                </a:lnTo>
                <a:lnTo>
                  <a:pt x="2355783" y="2806365"/>
                </a:lnTo>
                <a:lnTo>
                  <a:pt x="2354530" y="2839769"/>
                </a:lnTo>
                <a:lnTo>
                  <a:pt x="2354141" y="2874737"/>
                </a:lnTo>
                <a:lnTo>
                  <a:pt x="2354520" y="2910051"/>
                </a:lnTo>
                <a:lnTo>
                  <a:pt x="2355746" y="2943781"/>
                </a:lnTo>
                <a:lnTo>
                  <a:pt x="2357952" y="2975855"/>
                </a:lnTo>
                <a:lnTo>
                  <a:pt x="2361268" y="3006199"/>
                </a:lnTo>
                <a:lnTo>
                  <a:pt x="2365828" y="3034745"/>
                </a:lnTo>
                <a:lnTo>
                  <a:pt x="2371764" y="3061419"/>
                </a:lnTo>
                <a:lnTo>
                  <a:pt x="2379208" y="3086149"/>
                </a:lnTo>
                <a:lnTo>
                  <a:pt x="2388293" y="3108864"/>
                </a:lnTo>
                <a:lnTo>
                  <a:pt x="2399150" y="3129493"/>
                </a:lnTo>
                <a:lnTo>
                  <a:pt x="2426712" y="3164203"/>
                </a:lnTo>
                <a:lnTo>
                  <a:pt x="2462952" y="3189707"/>
                </a:lnTo>
                <a:lnTo>
                  <a:pt x="2484656" y="3198827"/>
                </a:lnTo>
                <a:lnTo>
                  <a:pt x="2508928" y="3205429"/>
                </a:lnTo>
                <a:lnTo>
                  <a:pt x="2535898" y="3209444"/>
                </a:lnTo>
                <a:lnTo>
                  <a:pt x="2565698" y="3210798"/>
                </a:lnTo>
                <a:lnTo>
                  <a:pt x="2565698" y="3269508"/>
                </a:lnTo>
                <a:lnTo>
                  <a:pt x="2533244" y="3268362"/>
                </a:lnTo>
                <a:lnTo>
                  <a:pt x="2503241" y="3264959"/>
                </a:lnTo>
                <a:lnTo>
                  <a:pt x="2475603" y="3259347"/>
                </a:lnTo>
                <a:lnTo>
                  <a:pt x="2450247" y="3251579"/>
                </a:lnTo>
                <a:lnTo>
                  <a:pt x="2427085" y="3241703"/>
                </a:lnTo>
                <a:lnTo>
                  <a:pt x="2406034" y="3229769"/>
                </a:lnTo>
                <a:lnTo>
                  <a:pt x="2387009" y="3215828"/>
                </a:lnTo>
                <a:lnTo>
                  <a:pt x="2369924" y="3199931"/>
                </a:lnTo>
                <a:lnTo>
                  <a:pt x="2354694" y="3182126"/>
                </a:lnTo>
                <a:lnTo>
                  <a:pt x="2341235" y="3162464"/>
                </a:lnTo>
                <a:lnTo>
                  <a:pt x="2329461" y="3140995"/>
                </a:lnTo>
                <a:lnTo>
                  <a:pt x="2319288" y="3117770"/>
                </a:lnTo>
                <a:lnTo>
                  <a:pt x="2310630" y="3092837"/>
                </a:lnTo>
                <a:lnTo>
                  <a:pt x="2303402" y="3066249"/>
                </a:lnTo>
                <a:lnTo>
                  <a:pt x="2297519" y="3038054"/>
                </a:lnTo>
                <a:lnTo>
                  <a:pt x="2292897" y="3008303"/>
                </a:lnTo>
                <a:lnTo>
                  <a:pt x="2289449" y="2977045"/>
                </a:lnTo>
                <a:lnTo>
                  <a:pt x="2287092" y="2944332"/>
                </a:lnTo>
                <a:lnTo>
                  <a:pt x="2285740" y="2910212"/>
                </a:lnTo>
                <a:lnTo>
                  <a:pt x="2285309" y="2874737"/>
                </a:lnTo>
                <a:lnTo>
                  <a:pt x="2285755" y="2839413"/>
                </a:lnTo>
                <a:lnTo>
                  <a:pt x="2287147" y="2805445"/>
                </a:lnTo>
                <a:lnTo>
                  <a:pt x="2289566" y="2772881"/>
                </a:lnTo>
                <a:lnTo>
                  <a:pt x="2293091" y="2741770"/>
                </a:lnTo>
                <a:lnTo>
                  <a:pt x="2297804" y="2712163"/>
                </a:lnTo>
                <a:lnTo>
                  <a:pt x="2303784" y="2684109"/>
                </a:lnTo>
                <a:lnTo>
                  <a:pt x="2311113" y="2657656"/>
                </a:lnTo>
                <a:lnTo>
                  <a:pt x="2319870" y="2632854"/>
                </a:lnTo>
                <a:lnTo>
                  <a:pt x="2330137" y="2609754"/>
                </a:lnTo>
                <a:lnTo>
                  <a:pt x="2341994" y="2588403"/>
                </a:lnTo>
                <a:lnTo>
                  <a:pt x="2355521" y="2568850"/>
                </a:lnTo>
                <a:lnTo>
                  <a:pt x="2370798" y="2551147"/>
                </a:lnTo>
                <a:lnTo>
                  <a:pt x="2387907" y="2535342"/>
                </a:lnTo>
                <a:lnTo>
                  <a:pt x="2406927" y="2521483"/>
                </a:lnTo>
                <a:lnTo>
                  <a:pt x="2427939" y="2509622"/>
                </a:lnTo>
                <a:lnTo>
                  <a:pt x="2451024" y="2499807"/>
                </a:lnTo>
                <a:lnTo>
                  <a:pt x="2476262" y="2492087"/>
                </a:lnTo>
                <a:lnTo>
                  <a:pt x="2503733" y="2486511"/>
                </a:lnTo>
                <a:lnTo>
                  <a:pt x="2533518" y="2483129"/>
                </a:lnTo>
                <a:close/>
                <a:moveTo>
                  <a:pt x="4308476" y="2413668"/>
                </a:moveTo>
                <a:lnTo>
                  <a:pt x="4389455" y="2413668"/>
                </a:lnTo>
                <a:lnTo>
                  <a:pt x="4503836" y="2623200"/>
                </a:lnTo>
                <a:lnTo>
                  <a:pt x="4387430" y="2838804"/>
                </a:lnTo>
                <a:lnTo>
                  <a:pt x="4308476" y="2838804"/>
                </a:lnTo>
                <a:lnTo>
                  <a:pt x="4407674" y="2653567"/>
                </a:lnTo>
                <a:lnTo>
                  <a:pt x="4017966" y="2653567"/>
                </a:lnTo>
                <a:lnTo>
                  <a:pt x="4017966" y="2588784"/>
                </a:lnTo>
                <a:lnTo>
                  <a:pt x="4405650" y="2588784"/>
                </a:lnTo>
                <a:close/>
                <a:moveTo>
                  <a:pt x="2147951" y="2190467"/>
                </a:moveTo>
                <a:lnTo>
                  <a:pt x="2173557" y="2192697"/>
                </a:lnTo>
                <a:lnTo>
                  <a:pt x="2193375" y="2200715"/>
                </a:lnTo>
                <a:lnTo>
                  <a:pt x="2206169" y="2216516"/>
                </a:lnTo>
                <a:lnTo>
                  <a:pt x="2210708" y="2242090"/>
                </a:lnTo>
                <a:lnTo>
                  <a:pt x="2206169" y="2268835"/>
                </a:lnTo>
                <a:lnTo>
                  <a:pt x="2193375" y="2285237"/>
                </a:lnTo>
                <a:lnTo>
                  <a:pt x="2173557" y="2293477"/>
                </a:lnTo>
                <a:lnTo>
                  <a:pt x="2147951" y="2295739"/>
                </a:lnTo>
                <a:lnTo>
                  <a:pt x="2122345" y="2293477"/>
                </a:lnTo>
                <a:lnTo>
                  <a:pt x="2102527" y="2285237"/>
                </a:lnTo>
                <a:lnTo>
                  <a:pt x="2089732" y="2268835"/>
                </a:lnTo>
                <a:lnTo>
                  <a:pt x="2085193" y="2242090"/>
                </a:lnTo>
                <a:lnTo>
                  <a:pt x="2089874" y="2216516"/>
                </a:lnTo>
                <a:lnTo>
                  <a:pt x="2102907" y="2200715"/>
                </a:lnTo>
                <a:lnTo>
                  <a:pt x="2122772" y="2192697"/>
                </a:lnTo>
                <a:close/>
                <a:moveTo>
                  <a:pt x="784523" y="2190467"/>
                </a:moveTo>
                <a:lnTo>
                  <a:pt x="810129" y="2192697"/>
                </a:lnTo>
                <a:lnTo>
                  <a:pt x="829946" y="2200715"/>
                </a:lnTo>
                <a:lnTo>
                  <a:pt x="842741" y="2216516"/>
                </a:lnTo>
                <a:lnTo>
                  <a:pt x="847281" y="2242090"/>
                </a:lnTo>
                <a:lnTo>
                  <a:pt x="842741" y="2268835"/>
                </a:lnTo>
                <a:lnTo>
                  <a:pt x="829946" y="2285237"/>
                </a:lnTo>
                <a:lnTo>
                  <a:pt x="810129" y="2293477"/>
                </a:lnTo>
                <a:lnTo>
                  <a:pt x="784523" y="2295739"/>
                </a:lnTo>
                <a:lnTo>
                  <a:pt x="758916" y="2293477"/>
                </a:lnTo>
                <a:lnTo>
                  <a:pt x="739099" y="2285237"/>
                </a:lnTo>
                <a:lnTo>
                  <a:pt x="726304" y="2268835"/>
                </a:lnTo>
                <a:lnTo>
                  <a:pt x="721765" y="2242090"/>
                </a:lnTo>
                <a:lnTo>
                  <a:pt x="726446" y="2216516"/>
                </a:lnTo>
                <a:lnTo>
                  <a:pt x="739479" y="2200715"/>
                </a:lnTo>
                <a:lnTo>
                  <a:pt x="759344" y="2192697"/>
                </a:lnTo>
                <a:close/>
                <a:moveTo>
                  <a:pt x="62758" y="2190467"/>
                </a:moveTo>
                <a:lnTo>
                  <a:pt x="88364" y="2192697"/>
                </a:lnTo>
                <a:lnTo>
                  <a:pt x="108181" y="2200715"/>
                </a:lnTo>
                <a:lnTo>
                  <a:pt x="120977" y="2216516"/>
                </a:lnTo>
                <a:lnTo>
                  <a:pt x="125516" y="2242090"/>
                </a:lnTo>
                <a:lnTo>
                  <a:pt x="120977" y="2268835"/>
                </a:lnTo>
                <a:lnTo>
                  <a:pt x="108181" y="2285237"/>
                </a:lnTo>
                <a:lnTo>
                  <a:pt x="88364" y="2293477"/>
                </a:lnTo>
                <a:lnTo>
                  <a:pt x="62758" y="2295739"/>
                </a:lnTo>
                <a:lnTo>
                  <a:pt x="37151" y="2293477"/>
                </a:lnTo>
                <a:lnTo>
                  <a:pt x="17334" y="2285237"/>
                </a:lnTo>
                <a:lnTo>
                  <a:pt x="4539" y="2268835"/>
                </a:lnTo>
                <a:lnTo>
                  <a:pt x="0" y="2242090"/>
                </a:lnTo>
                <a:lnTo>
                  <a:pt x="4681" y="2216516"/>
                </a:lnTo>
                <a:lnTo>
                  <a:pt x="17713" y="2200715"/>
                </a:lnTo>
                <a:lnTo>
                  <a:pt x="37578" y="2192697"/>
                </a:lnTo>
                <a:close/>
                <a:moveTo>
                  <a:pt x="4915430" y="1822022"/>
                </a:moveTo>
                <a:lnTo>
                  <a:pt x="4996408" y="1822022"/>
                </a:lnTo>
                <a:lnTo>
                  <a:pt x="5110790" y="2031553"/>
                </a:lnTo>
                <a:lnTo>
                  <a:pt x="4994384" y="2247158"/>
                </a:lnTo>
                <a:lnTo>
                  <a:pt x="4915430" y="2247158"/>
                </a:lnTo>
                <a:lnTo>
                  <a:pt x="5014628" y="2061920"/>
                </a:lnTo>
                <a:lnTo>
                  <a:pt x="4624920" y="2061920"/>
                </a:lnTo>
                <a:lnTo>
                  <a:pt x="4624920" y="1997137"/>
                </a:lnTo>
                <a:lnTo>
                  <a:pt x="5012604" y="1997137"/>
                </a:lnTo>
                <a:close/>
                <a:moveTo>
                  <a:pt x="2876800" y="1822016"/>
                </a:moveTo>
                <a:lnTo>
                  <a:pt x="2957778" y="1822016"/>
                </a:lnTo>
                <a:lnTo>
                  <a:pt x="3072160" y="2031547"/>
                </a:lnTo>
                <a:lnTo>
                  <a:pt x="2955754" y="2247152"/>
                </a:lnTo>
                <a:lnTo>
                  <a:pt x="2876800" y="2247152"/>
                </a:lnTo>
                <a:lnTo>
                  <a:pt x="2975998" y="2061915"/>
                </a:lnTo>
                <a:lnTo>
                  <a:pt x="2586290" y="2061915"/>
                </a:lnTo>
                <a:lnTo>
                  <a:pt x="2586290" y="1997132"/>
                </a:lnTo>
                <a:lnTo>
                  <a:pt x="2973974" y="1997132"/>
                </a:lnTo>
                <a:close/>
                <a:moveTo>
                  <a:pt x="1513768" y="1822016"/>
                </a:moveTo>
                <a:lnTo>
                  <a:pt x="1594748" y="1822016"/>
                </a:lnTo>
                <a:lnTo>
                  <a:pt x="1709128" y="2031547"/>
                </a:lnTo>
                <a:lnTo>
                  <a:pt x="1592723" y="2247152"/>
                </a:lnTo>
                <a:lnTo>
                  <a:pt x="1513768" y="2247152"/>
                </a:lnTo>
                <a:lnTo>
                  <a:pt x="1612966" y="2061915"/>
                </a:lnTo>
                <a:lnTo>
                  <a:pt x="1223259" y="2061915"/>
                </a:lnTo>
                <a:lnTo>
                  <a:pt x="1223259" y="1997132"/>
                </a:lnTo>
                <a:lnTo>
                  <a:pt x="1610942" y="1997132"/>
                </a:lnTo>
                <a:close/>
                <a:moveTo>
                  <a:pt x="2147951" y="1765330"/>
                </a:moveTo>
                <a:lnTo>
                  <a:pt x="2173557" y="1767433"/>
                </a:lnTo>
                <a:lnTo>
                  <a:pt x="2193375" y="1775325"/>
                </a:lnTo>
                <a:lnTo>
                  <a:pt x="2206169" y="1791378"/>
                </a:lnTo>
                <a:lnTo>
                  <a:pt x="2210708" y="1817966"/>
                </a:lnTo>
                <a:lnTo>
                  <a:pt x="2206169" y="1843698"/>
                </a:lnTo>
                <a:lnTo>
                  <a:pt x="2193375" y="1859846"/>
                </a:lnTo>
                <a:lnTo>
                  <a:pt x="2173557" y="1868213"/>
                </a:lnTo>
                <a:lnTo>
                  <a:pt x="2147951" y="1870601"/>
                </a:lnTo>
                <a:lnTo>
                  <a:pt x="2122930" y="1868213"/>
                </a:lnTo>
                <a:lnTo>
                  <a:pt x="2103413" y="1859846"/>
                </a:lnTo>
                <a:lnTo>
                  <a:pt x="2090728" y="1843698"/>
                </a:lnTo>
                <a:lnTo>
                  <a:pt x="2086205" y="1817966"/>
                </a:lnTo>
                <a:lnTo>
                  <a:pt x="2090728" y="1791378"/>
                </a:lnTo>
                <a:lnTo>
                  <a:pt x="2103413" y="1775325"/>
                </a:lnTo>
                <a:lnTo>
                  <a:pt x="2122930" y="1767433"/>
                </a:lnTo>
                <a:close/>
                <a:moveTo>
                  <a:pt x="784523" y="1765330"/>
                </a:moveTo>
                <a:lnTo>
                  <a:pt x="810129" y="1767433"/>
                </a:lnTo>
                <a:lnTo>
                  <a:pt x="829946" y="1775325"/>
                </a:lnTo>
                <a:lnTo>
                  <a:pt x="842741" y="1791378"/>
                </a:lnTo>
                <a:lnTo>
                  <a:pt x="847281" y="1817966"/>
                </a:lnTo>
                <a:lnTo>
                  <a:pt x="842741" y="1843698"/>
                </a:lnTo>
                <a:lnTo>
                  <a:pt x="829946" y="1859846"/>
                </a:lnTo>
                <a:lnTo>
                  <a:pt x="810129" y="1868213"/>
                </a:lnTo>
                <a:lnTo>
                  <a:pt x="784523" y="1870601"/>
                </a:lnTo>
                <a:lnTo>
                  <a:pt x="759502" y="1868213"/>
                </a:lnTo>
                <a:lnTo>
                  <a:pt x="739984" y="1859846"/>
                </a:lnTo>
                <a:lnTo>
                  <a:pt x="727300" y="1843698"/>
                </a:lnTo>
                <a:lnTo>
                  <a:pt x="722776" y="1817966"/>
                </a:lnTo>
                <a:lnTo>
                  <a:pt x="727300" y="1791378"/>
                </a:lnTo>
                <a:lnTo>
                  <a:pt x="739984" y="1775325"/>
                </a:lnTo>
                <a:lnTo>
                  <a:pt x="759502" y="1767433"/>
                </a:lnTo>
                <a:close/>
                <a:moveTo>
                  <a:pt x="62758" y="1765330"/>
                </a:moveTo>
                <a:lnTo>
                  <a:pt x="88364" y="1767433"/>
                </a:lnTo>
                <a:lnTo>
                  <a:pt x="108181" y="1775325"/>
                </a:lnTo>
                <a:lnTo>
                  <a:pt x="120977" y="1791378"/>
                </a:lnTo>
                <a:lnTo>
                  <a:pt x="125516" y="1817966"/>
                </a:lnTo>
                <a:lnTo>
                  <a:pt x="120977" y="1843698"/>
                </a:lnTo>
                <a:lnTo>
                  <a:pt x="108181" y="1859846"/>
                </a:lnTo>
                <a:lnTo>
                  <a:pt x="88364" y="1868213"/>
                </a:lnTo>
                <a:lnTo>
                  <a:pt x="62758" y="1870601"/>
                </a:lnTo>
                <a:lnTo>
                  <a:pt x="37736" y="1868213"/>
                </a:lnTo>
                <a:lnTo>
                  <a:pt x="18219" y="1859846"/>
                </a:lnTo>
                <a:lnTo>
                  <a:pt x="5535" y="1843698"/>
                </a:lnTo>
                <a:lnTo>
                  <a:pt x="1012" y="1817966"/>
                </a:lnTo>
                <a:lnTo>
                  <a:pt x="5535" y="1791378"/>
                </a:lnTo>
                <a:lnTo>
                  <a:pt x="18219" y="1775325"/>
                </a:lnTo>
                <a:lnTo>
                  <a:pt x="37736" y="1767433"/>
                </a:lnTo>
                <a:close/>
                <a:moveTo>
                  <a:pt x="3434660" y="1570981"/>
                </a:moveTo>
                <a:lnTo>
                  <a:pt x="3466840" y="1572118"/>
                </a:lnTo>
                <a:lnTo>
                  <a:pt x="3496625" y="1575500"/>
                </a:lnTo>
                <a:lnTo>
                  <a:pt x="3524096" y="1581076"/>
                </a:lnTo>
                <a:lnTo>
                  <a:pt x="3549334" y="1588796"/>
                </a:lnTo>
                <a:lnTo>
                  <a:pt x="3572418" y="1598611"/>
                </a:lnTo>
                <a:lnTo>
                  <a:pt x="3593431" y="1610473"/>
                </a:lnTo>
                <a:lnTo>
                  <a:pt x="3612450" y="1624331"/>
                </a:lnTo>
                <a:lnTo>
                  <a:pt x="3629559" y="1640136"/>
                </a:lnTo>
                <a:lnTo>
                  <a:pt x="3644837" y="1657839"/>
                </a:lnTo>
                <a:lnTo>
                  <a:pt x="3658363" y="1677391"/>
                </a:lnTo>
                <a:lnTo>
                  <a:pt x="3670219" y="1698743"/>
                </a:lnTo>
                <a:lnTo>
                  <a:pt x="3680486" y="1721844"/>
                </a:lnTo>
                <a:lnTo>
                  <a:pt x="3689244" y="1746646"/>
                </a:lnTo>
                <a:lnTo>
                  <a:pt x="3696573" y="1773098"/>
                </a:lnTo>
                <a:lnTo>
                  <a:pt x="3702553" y="1801152"/>
                </a:lnTo>
                <a:lnTo>
                  <a:pt x="3707266" y="1830760"/>
                </a:lnTo>
                <a:lnTo>
                  <a:pt x="3710792" y="1861870"/>
                </a:lnTo>
                <a:lnTo>
                  <a:pt x="3713210" y="1894434"/>
                </a:lnTo>
                <a:lnTo>
                  <a:pt x="3714602" y="1928402"/>
                </a:lnTo>
                <a:lnTo>
                  <a:pt x="3715048" y="1963726"/>
                </a:lnTo>
                <a:lnTo>
                  <a:pt x="3714624" y="1999201"/>
                </a:lnTo>
                <a:lnTo>
                  <a:pt x="3713292" y="2033321"/>
                </a:lnTo>
                <a:lnTo>
                  <a:pt x="3710966" y="2066034"/>
                </a:lnTo>
                <a:lnTo>
                  <a:pt x="3707557" y="2097292"/>
                </a:lnTo>
                <a:lnTo>
                  <a:pt x="3702980" y="2127043"/>
                </a:lnTo>
                <a:lnTo>
                  <a:pt x="3697147" y="2155238"/>
                </a:lnTo>
                <a:lnTo>
                  <a:pt x="3689969" y="2181827"/>
                </a:lnTo>
                <a:lnTo>
                  <a:pt x="3681361" y="2206759"/>
                </a:lnTo>
                <a:lnTo>
                  <a:pt x="3671234" y="2229984"/>
                </a:lnTo>
                <a:lnTo>
                  <a:pt x="3659502" y="2251453"/>
                </a:lnTo>
                <a:lnTo>
                  <a:pt x="3646077" y="2271115"/>
                </a:lnTo>
                <a:lnTo>
                  <a:pt x="3630871" y="2288919"/>
                </a:lnTo>
                <a:lnTo>
                  <a:pt x="3613798" y="2304817"/>
                </a:lnTo>
                <a:lnTo>
                  <a:pt x="3594769" y="2318758"/>
                </a:lnTo>
                <a:lnTo>
                  <a:pt x="3573700" y="2330691"/>
                </a:lnTo>
                <a:lnTo>
                  <a:pt x="3550500" y="2340567"/>
                </a:lnTo>
                <a:lnTo>
                  <a:pt x="3525083" y="2348336"/>
                </a:lnTo>
                <a:lnTo>
                  <a:pt x="3497363" y="2353947"/>
                </a:lnTo>
                <a:lnTo>
                  <a:pt x="3467251" y="2357351"/>
                </a:lnTo>
                <a:lnTo>
                  <a:pt x="3434660" y="2358496"/>
                </a:lnTo>
                <a:lnTo>
                  <a:pt x="3434660" y="2299787"/>
                </a:lnTo>
                <a:lnTo>
                  <a:pt x="3464787" y="2298433"/>
                </a:lnTo>
                <a:lnTo>
                  <a:pt x="3492025" y="2294418"/>
                </a:lnTo>
                <a:lnTo>
                  <a:pt x="3516511" y="2287816"/>
                </a:lnTo>
                <a:lnTo>
                  <a:pt x="3538383" y="2278696"/>
                </a:lnTo>
                <a:lnTo>
                  <a:pt x="3574832" y="2253193"/>
                </a:lnTo>
                <a:lnTo>
                  <a:pt x="3602470" y="2218482"/>
                </a:lnTo>
                <a:lnTo>
                  <a:pt x="3613327" y="2197853"/>
                </a:lnTo>
                <a:lnTo>
                  <a:pt x="3622393" y="2175138"/>
                </a:lnTo>
                <a:lnTo>
                  <a:pt x="3629805" y="2150408"/>
                </a:lnTo>
                <a:lnTo>
                  <a:pt x="3635701" y="2123734"/>
                </a:lnTo>
                <a:lnTo>
                  <a:pt x="3640217" y="2095189"/>
                </a:lnTo>
                <a:lnTo>
                  <a:pt x="3643490" y="2064844"/>
                </a:lnTo>
                <a:lnTo>
                  <a:pt x="3645659" y="2032771"/>
                </a:lnTo>
                <a:lnTo>
                  <a:pt x="3646859" y="1999041"/>
                </a:lnTo>
                <a:lnTo>
                  <a:pt x="3647229" y="1963726"/>
                </a:lnTo>
                <a:lnTo>
                  <a:pt x="3646839" y="1928758"/>
                </a:lnTo>
                <a:lnTo>
                  <a:pt x="3645584" y="1895355"/>
                </a:lnTo>
                <a:lnTo>
                  <a:pt x="3643335" y="1863586"/>
                </a:lnTo>
                <a:lnTo>
                  <a:pt x="3639960" y="1833525"/>
                </a:lnTo>
                <a:lnTo>
                  <a:pt x="3635330" y="1805242"/>
                </a:lnTo>
                <a:lnTo>
                  <a:pt x="3629316" y="1778810"/>
                </a:lnTo>
                <a:lnTo>
                  <a:pt x="3621788" y="1754300"/>
                </a:lnTo>
                <a:lnTo>
                  <a:pt x="3612615" y="1731785"/>
                </a:lnTo>
                <a:lnTo>
                  <a:pt x="3601669" y="1711335"/>
                </a:lnTo>
                <a:lnTo>
                  <a:pt x="3573935" y="1676919"/>
                </a:lnTo>
                <a:lnTo>
                  <a:pt x="3537548" y="1651625"/>
                </a:lnTo>
                <a:lnTo>
                  <a:pt x="3515784" y="1642579"/>
                </a:lnTo>
                <a:lnTo>
                  <a:pt x="3491469" y="1636029"/>
                </a:lnTo>
                <a:lnTo>
                  <a:pt x="3464471" y="1632046"/>
                </a:lnTo>
                <a:lnTo>
                  <a:pt x="3434660" y="1630702"/>
                </a:lnTo>
                <a:close/>
                <a:moveTo>
                  <a:pt x="3579243" y="1279461"/>
                </a:moveTo>
                <a:lnTo>
                  <a:pt x="3604850" y="1281691"/>
                </a:lnTo>
                <a:lnTo>
                  <a:pt x="3624668" y="1289709"/>
                </a:lnTo>
                <a:lnTo>
                  <a:pt x="3637463" y="1305510"/>
                </a:lnTo>
                <a:lnTo>
                  <a:pt x="3642002" y="1331085"/>
                </a:lnTo>
                <a:lnTo>
                  <a:pt x="3637463" y="1357829"/>
                </a:lnTo>
                <a:lnTo>
                  <a:pt x="3624668" y="1374231"/>
                </a:lnTo>
                <a:lnTo>
                  <a:pt x="3604850" y="1382471"/>
                </a:lnTo>
                <a:lnTo>
                  <a:pt x="3579243" y="1384733"/>
                </a:lnTo>
                <a:lnTo>
                  <a:pt x="3553637" y="1382471"/>
                </a:lnTo>
                <a:lnTo>
                  <a:pt x="3533820" y="1374231"/>
                </a:lnTo>
                <a:lnTo>
                  <a:pt x="3521024" y="1357829"/>
                </a:lnTo>
                <a:lnTo>
                  <a:pt x="3516485" y="1331085"/>
                </a:lnTo>
                <a:lnTo>
                  <a:pt x="3521166" y="1305510"/>
                </a:lnTo>
                <a:lnTo>
                  <a:pt x="3534199" y="1289709"/>
                </a:lnTo>
                <a:lnTo>
                  <a:pt x="3554064" y="1281691"/>
                </a:lnTo>
                <a:close/>
                <a:moveTo>
                  <a:pt x="1609095" y="1279455"/>
                </a:moveTo>
                <a:lnTo>
                  <a:pt x="1634701" y="1281685"/>
                </a:lnTo>
                <a:lnTo>
                  <a:pt x="1654519" y="1289703"/>
                </a:lnTo>
                <a:lnTo>
                  <a:pt x="1667313" y="1305504"/>
                </a:lnTo>
                <a:lnTo>
                  <a:pt x="1671852" y="1331078"/>
                </a:lnTo>
                <a:lnTo>
                  <a:pt x="1667313" y="1357823"/>
                </a:lnTo>
                <a:lnTo>
                  <a:pt x="1654519" y="1374224"/>
                </a:lnTo>
                <a:lnTo>
                  <a:pt x="1634701" y="1382465"/>
                </a:lnTo>
                <a:lnTo>
                  <a:pt x="1609095" y="1384726"/>
                </a:lnTo>
                <a:lnTo>
                  <a:pt x="1583489" y="1382465"/>
                </a:lnTo>
                <a:lnTo>
                  <a:pt x="1563671" y="1374224"/>
                </a:lnTo>
                <a:lnTo>
                  <a:pt x="1550877" y="1357823"/>
                </a:lnTo>
                <a:lnTo>
                  <a:pt x="1546337" y="1331078"/>
                </a:lnTo>
                <a:lnTo>
                  <a:pt x="1551018" y="1305504"/>
                </a:lnTo>
                <a:lnTo>
                  <a:pt x="1564051" y="1289703"/>
                </a:lnTo>
                <a:lnTo>
                  <a:pt x="1583916" y="1281685"/>
                </a:lnTo>
                <a:close/>
                <a:moveTo>
                  <a:pt x="4308476" y="1229360"/>
                </a:moveTo>
                <a:lnTo>
                  <a:pt x="4389455" y="1229360"/>
                </a:lnTo>
                <a:lnTo>
                  <a:pt x="4503836" y="1438891"/>
                </a:lnTo>
                <a:lnTo>
                  <a:pt x="4387430" y="1654496"/>
                </a:lnTo>
                <a:lnTo>
                  <a:pt x="4308476" y="1654496"/>
                </a:lnTo>
                <a:lnTo>
                  <a:pt x="4407674" y="1469259"/>
                </a:lnTo>
                <a:lnTo>
                  <a:pt x="4017966" y="1469259"/>
                </a:lnTo>
                <a:lnTo>
                  <a:pt x="4017966" y="1404475"/>
                </a:lnTo>
                <a:lnTo>
                  <a:pt x="4405650" y="1404475"/>
                </a:lnTo>
                <a:close/>
                <a:moveTo>
                  <a:pt x="3579243" y="854324"/>
                </a:moveTo>
                <a:lnTo>
                  <a:pt x="3604850" y="856427"/>
                </a:lnTo>
                <a:lnTo>
                  <a:pt x="3624668" y="864320"/>
                </a:lnTo>
                <a:lnTo>
                  <a:pt x="3637463" y="880373"/>
                </a:lnTo>
                <a:lnTo>
                  <a:pt x="3642002" y="906960"/>
                </a:lnTo>
                <a:lnTo>
                  <a:pt x="3637463" y="932693"/>
                </a:lnTo>
                <a:lnTo>
                  <a:pt x="3624668" y="948841"/>
                </a:lnTo>
                <a:lnTo>
                  <a:pt x="3604850" y="957207"/>
                </a:lnTo>
                <a:lnTo>
                  <a:pt x="3579243" y="959596"/>
                </a:lnTo>
                <a:lnTo>
                  <a:pt x="3554223" y="957207"/>
                </a:lnTo>
                <a:lnTo>
                  <a:pt x="3534706" y="948841"/>
                </a:lnTo>
                <a:lnTo>
                  <a:pt x="3522021" y="932693"/>
                </a:lnTo>
                <a:lnTo>
                  <a:pt x="3517498" y="906960"/>
                </a:lnTo>
                <a:lnTo>
                  <a:pt x="3522021" y="880373"/>
                </a:lnTo>
                <a:lnTo>
                  <a:pt x="3534706" y="864320"/>
                </a:lnTo>
                <a:lnTo>
                  <a:pt x="3554223" y="856427"/>
                </a:lnTo>
                <a:close/>
                <a:moveTo>
                  <a:pt x="1609095" y="854318"/>
                </a:moveTo>
                <a:lnTo>
                  <a:pt x="1634701" y="856421"/>
                </a:lnTo>
                <a:lnTo>
                  <a:pt x="1654519" y="864313"/>
                </a:lnTo>
                <a:lnTo>
                  <a:pt x="1667313" y="880366"/>
                </a:lnTo>
                <a:lnTo>
                  <a:pt x="1671852" y="906953"/>
                </a:lnTo>
                <a:lnTo>
                  <a:pt x="1667313" y="932686"/>
                </a:lnTo>
                <a:lnTo>
                  <a:pt x="1654519" y="948834"/>
                </a:lnTo>
                <a:lnTo>
                  <a:pt x="1634701" y="957201"/>
                </a:lnTo>
                <a:lnTo>
                  <a:pt x="1609095" y="959589"/>
                </a:lnTo>
                <a:lnTo>
                  <a:pt x="1584074" y="957201"/>
                </a:lnTo>
                <a:lnTo>
                  <a:pt x="1564557" y="948834"/>
                </a:lnTo>
                <a:lnTo>
                  <a:pt x="1551872" y="932686"/>
                </a:lnTo>
                <a:lnTo>
                  <a:pt x="1547349" y="906953"/>
                </a:lnTo>
                <a:lnTo>
                  <a:pt x="1551872" y="880366"/>
                </a:lnTo>
                <a:lnTo>
                  <a:pt x="1564557" y="864313"/>
                </a:lnTo>
                <a:lnTo>
                  <a:pt x="1584074" y="856421"/>
                </a:lnTo>
                <a:close/>
                <a:moveTo>
                  <a:pt x="2879125" y="659976"/>
                </a:moveTo>
                <a:lnTo>
                  <a:pt x="2911305" y="661113"/>
                </a:lnTo>
                <a:lnTo>
                  <a:pt x="2941090" y="664495"/>
                </a:lnTo>
                <a:lnTo>
                  <a:pt x="2968561" y="670071"/>
                </a:lnTo>
                <a:lnTo>
                  <a:pt x="2993799" y="677791"/>
                </a:lnTo>
                <a:lnTo>
                  <a:pt x="3016884" y="687607"/>
                </a:lnTo>
                <a:lnTo>
                  <a:pt x="3037896" y="699468"/>
                </a:lnTo>
                <a:lnTo>
                  <a:pt x="3056916" y="713326"/>
                </a:lnTo>
                <a:lnTo>
                  <a:pt x="3074024" y="729131"/>
                </a:lnTo>
                <a:lnTo>
                  <a:pt x="3089302" y="746834"/>
                </a:lnTo>
                <a:lnTo>
                  <a:pt x="3102829" y="766386"/>
                </a:lnTo>
                <a:lnTo>
                  <a:pt x="3114685" y="787738"/>
                </a:lnTo>
                <a:lnTo>
                  <a:pt x="3124952" y="810839"/>
                </a:lnTo>
                <a:lnTo>
                  <a:pt x="3133709" y="835640"/>
                </a:lnTo>
                <a:lnTo>
                  <a:pt x="3141039" y="862093"/>
                </a:lnTo>
                <a:lnTo>
                  <a:pt x="3147019" y="890147"/>
                </a:lnTo>
                <a:lnTo>
                  <a:pt x="3151732" y="919755"/>
                </a:lnTo>
                <a:lnTo>
                  <a:pt x="3155257" y="950865"/>
                </a:lnTo>
                <a:lnTo>
                  <a:pt x="3157675" y="983429"/>
                </a:lnTo>
                <a:lnTo>
                  <a:pt x="3159067" y="1017397"/>
                </a:lnTo>
                <a:lnTo>
                  <a:pt x="3159514" y="1052721"/>
                </a:lnTo>
                <a:lnTo>
                  <a:pt x="3159089" y="1088196"/>
                </a:lnTo>
                <a:lnTo>
                  <a:pt x="3157757" y="1122316"/>
                </a:lnTo>
                <a:lnTo>
                  <a:pt x="3155431" y="1155029"/>
                </a:lnTo>
                <a:lnTo>
                  <a:pt x="3152023" y="1186287"/>
                </a:lnTo>
                <a:lnTo>
                  <a:pt x="3147446" y="1216038"/>
                </a:lnTo>
                <a:lnTo>
                  <a:pt x="3141612" y="1244233"/>
                </a:lnTo>
                <a:lnTo>
                  <a:pt x="3134435" y="1270822"/>
                </a:lnTo>
                <a:lnTo>
                  <a:pt x="3125826" y="1295754"/>
                </a:lnTo>
                <a:lnTo>
                  <a:pt x="3115700" y="1318979"/>
                </a:lnTo>
                <a:lnTo>
                  <a:pt x="3103967" y="1340448"/>
                </a:lnTo>
                <a:lnTo>
                  <a:pt x="3090542" y="1360110"/>
                </a:lnTo>
                <a:lnTo>
                  <a:pt x="3075336" y="1377914"/>
                </a:lnTo>
                <a:lnTo>
                  <a:pt x="3058263" y="1393812"/>
                </a:lnTo>
                <a:lnTo>
                  <a:pt x="3039235" y="1407753"/>
                </a:lnTo>
                <a:lnTo>
                  <a:pt x="3018165" y="1419686"/>
                </a:lnTo>
                <a:lnTo>
                  <a:pt x="2994965" y="1429562"/>
                </a:lnTo>
                <a:lnTo>
                  <a:pt x="2969548" y="1437331"/>
                </a:lnTo>
                <a:lnTo>
                  <a:pt x="2941828" y="1442942"/>
                </a:lnTo>
                <a:lnTo>
                  <a:pt x="2911716" y="1446346"/>
                </a:lnTo>
                <a:lnTo>
                  <a:pt x="2879125" y="1447491"/>
                </a:lnTo>
                <a:lnTo>
                  <a:pt x="2879125" y="1388782"/>
                </a:lnTo>
                <a:lnTo>
                  <a:pt x="2909252" y="1387428"/>
                </a:lnTo>
                <a:lnTo>
                  <a:pt x="2936490" y="1383413"/>
                </a:lnTo>
                <a:lnTo>
                  <a:pt x="2960977" y="1376811"/>
                </a:lnTo>
                <a:lnTo>
                  <a:pt x="2982849" y="1367691"/>
                </a:lnTo>
                <a:lnTo>
                  <a:pt x="3019298" y="1342188"/>
                </a:lnTo>
                <a:lnTo>
                  <a:pt x="3046935" y="1307477"/>
                </a:lnTo>
                <a:lnTo>
                  <a:pt x="3057792" y="1286848"/>
                </a:lnTo>
                <a:lnTo>
                  <a:pt x="3066859" y="1264133"/>
                </a:lnTo>
                <a:lnTo>
                  <a:pt x="3074271" y="1239402"/>
                </a:lnTo>
                <a:lnTo>
                  <a:pt x="3080167" y="1212729"/>
                </a:lnTo>
                <a:lnTo>
                  <a:pt x="3084682" y="1184184"/>
                </a:lnTo>
                <a:lnTo>
                  <a:pt x="3087956" y="1153838"/>
                </a:lnTo>
                <a:lnTo>
                  <a:pt x="3090124" y="1121765"/>
                </a:lnTo>
                <a:lnTo>
                  <a:pt x="3091324" y="1088036"/>
                </a:lnTo>
                <a:lnTo>
                  <a:pt x="3091694" y="1052721"/>
                </a:lnTo>
                <a:lnTo>
                  <a:pt x="3091305" y="1017753"/>
                </a:lnTo>
                <a:lnTo>
                  <a:pt x="3090050" y="984350"/>
                </a:lnTo>
                <a:lnTo>
                  <a:pt x="3087800" y="952581"/>
                </a:lnTo>
                <a:lnTo>
                  <a:pt x="3084425" y="922520"/>
                </a:lnTo>
                <a:lnTo>
                  <a:pt x="3079795" y="894237"/>
                </a:lnTo>
                <a:lnTo>
                  <a:pt x="3073782" y="867805"/>
                </a:lnTo>
                <a:lnTo>
                  <a:pt x="3066253" y="843295"/>
                </a:lnTo>
                <a:lnTo>
                  <a:pt x="3057081" y="820780"/>
                </a:lnTo>
                <a:lnTo>
                  <a:pt x="3046134" y="800330"/>
                </a:lnTo>
                <a:lnTo>
                  <a:pt x="3018400" y="765914"/>
                </a:lnTo>
                <a:lnTo>
                  <a:pt x="2982013" y="740620"/>
                </a:lnTo>
                <a:lnTo>
                  <a:pt x="2960250" y="731574"/>
                </a:lnTo>
                <a:lnTo>
                  <a:pt x="2935934" y="725024"/>
                </a:lnTo>
                <a:lnTo>
                  <a:pt x="2908936" y="721041"/>
                </a:lnTo>
                <a:lnTo>
                  <a:pt x="2879125" y="719697"/>
                </a:lnTo>
                <a:close/>
                <a:moveTo>
                  <a:pt x="2565698" y="659976"/>
                </a:moveTo>
                <a:lnTo>
                  <a:pt x="2565698" y="719697"/>
                </a:lnTo>
                <a:lnTo>
                  <a:pt x="2536056" y="721041"/>
                </a:lnTo>
                <a:lnTo>
                  <a:pt x="2509206" y="725024"/>
                </a:lnTo>
                <a:lnTo>
                  <a:pt x="2485020" y="731574"/>
                </a:lnTo>
                <a:lnTo>
                  <a:pt x="2463369" y="740620"/>
                </a:lnTo>
                <a:lnTo>
                  <a:pt x="2427161" y="765914"/>
                </a:lnTo>
                <a:lnTo>
                  <a:pt x="2399551" y="800330"/>
                </a:lnTo>
                <a:lnTo>
                  <a:pt x="2388649" y="820780"/>
                </a:lnTo>
                <a:lnTo>
                  <a:pt x="2379511" y="843295"/>
                </a:lnTo>
                <a:lnTo>
                  <a:pt x="2372009" y="867805"/>
                </a:lnTo>
                <a:lnTo>
                  <a:pt x="2366014" y="894237"/>
                </a:lnTo>
                <a:lnTo>
                  <a:pt x="2361397" y="922520"/>
                </a:lnTo>
                <a:lnTo>
                  <a:pt x="2358029" y="952581"/>
                </a:lnTo>
                <a:lnTo>
                  <a:pt x="2355783" y="984350"/>
                </a:lnTo>
                <a:lnTo>
                  <a:pt x="2354530" y="1017753"/>
                </a:lnTo>
                <a:lnTo>
                  <a:pt x="2354141" y="1052721"/>
                </a:lnTo>
                <a:lnTo>
                  <a:pt x="2354520" y="1088036"/>
                </a:lnTo>
                <a:lnTo>
                  <a:pt x="2355746" y="1121765"/>
                </a:lnTo>
                <a:lnTo>
                  <a:pt x="2357952" y="1153838"/>
                </a:lnTo>
                <a:lnTo>
                  <a:pt x="2361268" y="1184184"/>
                </a:lnTo>
                <a:lnTo>
                  <a:pt x="2365828" y="1212729"/>
                </a:lnTo>
                <a:lnTo>
                  <a:pt x="2371764" y="1239402"/>
                </a:lnTo>
                <a:lnTo>
                  <a:pt x="2379208" y="1264133"/>
                </a:lnTo>
                <a:lnTo>
                  <a:pt x="2388293" y="1286848"/>
                </a:lnTo>
                <a:lnTo>
                  <a:pt x="2399150" y="1307477"/>
                </a:lnTo>
                <a:lnTo>
                  <a:pt x="2426712" y="1342188"/>
                </a:lnTo>
                <a:lnTo>
                  <a:pt x="2462952" y="1367691"/>
                </a:lnTo>
                <a:lnTo>
                  <a:pt x="2484656" y="1376811"/>
                </a:lnTo>
                <a:lnTo>
                  <a:pt x="2508928" y="1383413"/>
                </a:lnTo>
                <a:lnTo>
                  <a:pt x="2535898" y="1387428"/>
                </a:lnTo>
                <a:lnTo>
                  <a:pt x="2565698" y="1388782"/>
                </a:lnTo>
                <a:lnTo>
                  <a:pt x="2565698" y="1447491"/>
                </a:lnTo>
                <a:lnTo>
                  <a:pt x="2533244" y="1446346"/>
                </a:lnTo>
                <a:lnTo>
                  <a:pt x="2503241" y="1442942"/>
                </a:lnTo>
                <a:lnTo>
                  <a:pt x="2475603" y="1437331"/>
                </a:lnTo>
                <a:lnTo>
                  <a:pt x="2450247" y="1429562"/>
                </a:lnTo>
                <a:lnTo>
                  <a:pt x="2427085" y="1419686"/>
                </a:lnTo>
                <a:lnTo>
                  <a:pt x="2406034" y="1407753"/>
                </a:lnTo>
                <a:lnTo>
                  <a:pt x="2387009" y="1393812"/>
                </a:lnTo>
                <a:lnTo>
                  <a:pt x="2369924" y="1377914"/>
                </a:lnTo>
                <a:lnTo>
                  <a:pt x="2354694" y="1360110"/>
                </a:lnTo>
                <a:lnTo>
                  <a:pt x="2341235" y="1340448"/>
                </a:lnTo>
                <a:lnTo>
                  <a:pt x="2329461" y="1318979"/>
                </a:lnTo>
                <a:lnTo>
                  <a:pt x="2319288" y="1295754"/>
                </a:lnTo>
                <a:lnTo>
                  <a:pt x="2310630" y="1270822"/>
                </a:lnTo>
                <a:lnTo>
                  <a:pt x="2303402" y="1244233"/>
                </a:lnTo>
                <a:lnTo>
                  <a:pt x="2297519" y="1216038"/>
                </a:lnTo>
                <a:lnTo>
                  <a:pt x="2292897" y="1186287"/>
                </a:lnTo>
                <a:lnTo>
                  <a:pt x="2289449" y="1155029"/>
                </a:lnTo>
                <a:lnTo>
                  <a:pt x="2287092" y="1122316"/>
                </a:lnTo>
                <a:lnTo>
                  <a:pt x="2285740" y="1088196"/>
                </a:lnTo>
                <a:lnTo>
                  <a:pt x="2285309" y="1052721"/>
                </a:lnTo>
                <a:lnTo>
                  <a:pt x="2285755" y="1017397"/>
                </a:lnTo>
                <a:lnTo>
                  <a:pt x="2287147" y="983429"/>
                </a:lnTo>
                <a:lnTo>
                  <a:pt x="2289566" y="950865"/>
                </a:lnTo>
                <a:lnTo>
                  <a:pt x="2293091" y="919755"/>
                </a:lnTo>
                <a:lnTo>
                  <a:pt x="2297804" y="890147"/>
                </a:lnTo>
                <a:lnTo>
                  <a:pt x="2303784" y="862093"/>
                </a:lnTo>
                <a:lnTo>
                  <a:pt x="2311113" y="835640"/>
                </a:lnTo>
                <a:lnTo>
                  <a:pt x="2319870" y="810839"/>
                </a:lnTo>
                <a:lnTo>
                  <a:pt x="2330137" y="787738"/>
                </a:lnTo>
                <a:lnTo>
                  <a:pt x="2341994" y="766386"/>
                </a:lnTo>
                <a:lnTo>
                  <a:pt x="2355521" y="746834"/>
                </a:lnTo>
                <a:lnTo>
                  <a:pt x="2370798" y="729131"/>
                </a:lnTo>
                <a:lnTo>
                  <a:pt x="2387907" y="713326"/>
                </a:lnTo>
                <a:lnTo>
                  <a:pt x="2406927" y="699468"/>
                </a:lnTo>
                <a:lnTo>
                  <a:pt x="2427939" y="687607"/>
                </a:lnTo>
                <a:lnTo>
                  <a:pt x="2451024" y="677791"/>
                </a:lnTo>
                <a:lnTo>
                  <a:pt x="2476262" y="670071"/>
                </a:lnTo>
                <a:lnTo>
                  <a:pt x="2503733" y="664495"/>
                </a:lnTo>
                <a:lnTo>
                  <a:pt x="2533518" y="661113"/>
                </a:lnTo>
                <a:close/>
                <a:moveTo>
                  <a:pt x="1358847" y="0"/>
                </a:moveTo>
                <a:lnTo>
                  <a:pt x="1439826" y="0"/>
                </a:lnTo>
                <a:lnTo>
                  <a:pt x="1554207" y="209532"/>
                </a:lnTo>
                <a:lnTo>
                  <a:pt x="1437801" y="425136"/>
                </a:lnTo>
                <a:lnTo>
                  <a:pt x="1358847" y="425136"/>
                </a:lnTo>
                <a:lnTo>
                  <a:pt x="1458045" y="239899"/>
                </a:lnTo>
                <a:lnTo>
                  <a:pt x="1068337" y="239899"/>
                </a:lnTo>
                <a:lnTo>
                  <a:pt x="1068337" y="175116"/>
                </a:lnTo>
                <a:lnTo>
                  <a:pt x="1456021" y="175116"/>
                </a:lnTo>
                <a:close/>
              </a:path>
            </a:pathLst>
          </a:custGeom>
          <a:solidFill>
            <a:srgbClr val="88C66D"/>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531051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reaker G">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rgbClr val="21212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rgbClr val="21212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rgbClr val="212121"/>
                </a:solidFill>
              </a:defRPr>
            </a:lvl1pPr>
          </a:lstStyle>
          <a:p>
            <a:fld id="{7326C215-F3F2-4DB9-8B13-8FADB0ABB2EE}" type="datetime2">
              <a:rPr lang="da-DK" smtClean="0"/>
              <a:pPr/>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rgbClr val="21212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rgbClr val="212121"/>
                </a:solidFill>
              </a:defRPr>
            </a:lvl1pPr>
          </a:lstStyle>
          <a:p>
            <a:fld id="{24C8C45C-947F-4981-8B3F-4F32E973C901}" type="slidenum">
              <a:rPr lang="da-DK" smtClean="0"/>
              <a:pPr/>
              <a:t>‹nr.›</a:t>
            </a:fld>
            <a:endParaRPr lang="da-DK"/>
          </a:p>
        </p:txBody>
      </p:sp>
      <p:sp>
        <p:nvSpPr>
          <p:cNvPr id="6" name="Mikro grafik 1">
            <a:extLst>
              <a:ext uri="{FF2B5EF4-FFF2-40B4-BE49-F238E27FC236}">
                <a16:creationId xmlns:a16="http://schemas.microsoft.com/office/drawing/2014/main" id="{6CC62A60-7680-83DC-FF01-8D34130F5DA8}"/>
              </a:ext>
            </a:extLst>
          </p:cNvPr>
          <p:cNvSpPr/>
          <p:nvPr userDrawn="1"/>
        </p:nvSpPr>
        <p:spPr>
          <a:xfrm>
            <a:off x="346105" y="1028469"/>
            <a:ext cx="3864836" cy="3086563"/>
          </a:xfrm>
          <a:custGeom>
            <a:avLst/>
            <a:gdLst>
              <a:gd name="connsiteX0" fmla="*/ 8393513 w 8497013"/>
              <a:gd name="connsiteY0" fmla="*/ 6508832 h 6785945"/>
              <a:gd name="connsiteX1" fmla="*/ 8435743 w 8497013"/>
              <a:gd name="connsiteY1" fmla="*/ 6512510 h 6785945"/>
              <a:gd name="connsiteX2" fmla="*/ 8468426 w 8497013"/>
              <a:gd name="connsiteY2" fmla="*/ 6525734 h 6785945"/>
              <a:gd name="connsiteX3" fmla="*/ 8489527 w 8497013"/>
              <a:gd name="connsiteY3" fmla="*/ 6551791 h 6785945"/>
              <a:gd name="connsiteX4" fmla="*/ 8497013 w 8497013"/>
              <a:gd name="connsiteY4" fmla="*/ 6593969 h 6785945"/>
              <a:gd name="connsiteX5" fmla="*/ 8489527 w 8497013"/>
              <a:gd name="connsiteY5" fmla="*/ 6638076 h 6785945"/>
              <a:gd name="connsiteX6" fmla="*/ 8468426 w 8497013"/>
              <a:gd name="connsiteY6" fmla="*/ 6665125 h 6785945"/>
              <a:gd name="connsiteX7" fmla="*/ 8435743 w 8497013"/>
              <a:gd name="connsiteY7" fmla="*/ 6678715 h 6785945"/>
              <a:gd name="connsiteX8" fmla="*/ 8393513 w 8497013"/>
              <a:gd name="connsiteY8" fmla="*/ 6682444 h 6785945"/>
              <a:gd name="connsiteX9" fmla="*/ 8351283 w 8497013"/>
              <a:gd name="connsiteY9" fmla="*/ 6678715 h 6785945"/>
              <a:gd name="connsiteX10" fmla="*/ 8318600 w 8497013"/>
              <a:gd name="connsiteY10" fmla="*/ 6665125 h 6785945"/>
              <a:gd name="connsiteX11" fmla="*/ 8297498 w 8497013"/>
              <a:gd name="connsiteY11" fmla="*/ 6638076 h 6785945"/>
              <a:gd name="connsiteX12" fmla="*/ 8290013 w 8497013"/>
              <a:gd name="connsiteY12" fmla="*/ 6593969 h 6785945"/>
              <a:gd name="connsiteX13" fmla="*/ 8297733 w 8497013"/>
              <a:gd name="connsiteY13" fmla="*/ 6551791 h 6785945"/>
              <a:gd name="connsiteX14" fmla="*/ 8319226 w 8497013"/>
              <a:gd name="connsiteY14" fmla="*/ 6525734 h 6785945"/>
              <a:gd name="connsiteX15" fmla="*/ 8351987 w 8497013"/>
              <a:gd name="connsiteY15" fmla="*/ 6512510 h 6785945"/>
              <a:gd name="connsiteX16" fmla="*/ 5162785 w 8497013"/>
              <a:gd name="connsiteY16" fmla="*/ 6508832 h 6785945"/>
              <a:gd name="connsiteX17" fmla="*/ 5205015 w 8497013"/>
              <a:gd name="connsiteY17" fmla="*/ 6512510 h 6785945"/>
              <a:gd name="connsiteX18" fmla="*/ 5237697 w 8497013"/>
              <a:gd name="connsiteY18" fmla="*/ 6525734 h 6785945"/>
              <a:gd name="connsiteX19" fmla="*/ 5258799 w 8497013"/>
              <a:gd name="connsiteY19" fmla="*/ 6551791 h 6785945"/>
              <a:gd name="connsiteX20" fmla="*/ 5266284 w 8497013"/>
              <a:gd name="connsiteY20" fmla="*/ 6593969 h 6785945"/>
              <a:gd name="connsiteX21" fmla="*/ 5258799 w 8497013"/>
              <a:gd name="connsiteY21" fmla="*/ 6638076 h 6785945"/>
              <a:gd name="connsiteX22" fmla="*/ 5237697 w 8497013"/>
              <a:gd name="connsiteY22" fmla="*/ 6665125 h 6785945"/>
              <a:gd name="connsiteX23" fmla="*/ 5205015 w 8497013"/>
              <a:gd name="connsiteY23" fmla="*/ 6678715 h 6785945"/>
              <a:gd name="connsiteX24" fmla="*/ 5162785 w 8497013"/>
              <a:gd name="connsiteY24" fmla="*/ 6682444 h 6785945"/>
              <a:gd name="connsiteX25" fmla="*/ 5120555 w 8497013"/>
              <a:gd name="connsiteY25" fmla="*/ 6678715 h 6785945"/>
              <a:gd name="connsiteX26" fmla="*/ 5087872 w 8497013"/>
              <a:gd name="connsiteY26" fmla="*/ 6665125 h 6785945"/>
              <a:gd name="connsiteX27" fmla="*/ 5066771 w 8497013"/>
              <a:gd name="connsiteY27" fmla="*/ 6638076 h 6785945"/>
              <a:gd name="connsiteX28" fmla="*/ 5059285 w 8497013"/>
              <a:gd name="connsiteY28" fmla="*/ 6593969 h 6785945"/>
              <a:gd name="connsiteX29" fmla="*/ 5067005 w 8497013"/>
              <a:gd name="connsiteY29" fmla="*/ 6551791 h 6785945"/>
              <a:gd name="connsiteX30" fmla="*/ 5088499 w 8497013"/>
              <a:gd name="connsiteY30" fmla="*/ 6525734 h 6785945"/>
              <a:gd name="connsiteX31" fmla="*/ 5121260 w 8497013"/>
              <a:gd name="connsiteY31" fmla="*/ 6512510 h 6785945"/>
              <a:gd name="connsiteX32" fmla="*/ 6674635 w 8497013"/>
              <a:gd name="connsiteY32" fmla="*/ 6508827 h 6785945"/>
              <a:gd name="connsiteX33" fmla="*/ 6881636 w 8497013"/>
              <a:gd name="connsiteY33" fmla="*/ 6508827 h 6785945"/>
              <a:gd name="connsiteX34" fmla="*/ 6881636 w 8497013"/>
              <a:gd name="connsiteY34" fmla="*/ 6682440 h 6785945"/>
              <a:gd name="connsiteX35" fmla="*/ 6674635 w 8497013"/>
              <a:gd name="connsiteY35" fmla="*/ 6682440 h 6785945"/>
              <a:gd name="connsiteX36" fmla="*/ 1511898 w 8497013"/>
              <a:gd name="connsiteY36" fmla="*/ 6358592 h 6785945"/>
              <a:gd name="connsiteX37" fmla="*/ 2416689 w 8497013"/>
              <a:gd name="connsiteY37" fmla="*/ 6358592 h 6785945"/>
              <a:gd name="connsiteX38" fmla="*/ 2416689 w 8497013"/>
              <a:gd name="connsiteY38" fmla="*/ 6465429 h 6785945"/>
              <a:gd name="connsiteX39" fmla="*/ 1511898 w 8497013"/>
              <a:gd name="connsiteY39" fmla="*/ 6465429 h 6785945"/>
              <a:gd name="connsiteX40" fmla="*/ 0 w 8497013"/>
              <a:gd name="connsiteY40" fmla="*/ 6358592 h 6785945"/>
              <a:gd name="connsiteX41" fmla="*/ 904792 w 8497013"/>
              <a:gd name="connsiteY41" fmla="*/ 6358592 h 6785945"/>
              <a:gd name="connsiteX42" fmla="*/ 904792 w 8497013"/>
              <a:gd name="connsiteY42" fmla="*/ 6465429 h 6785945"/>
              <a:gd name="connsiteX43" fmla="*/ 0 w 8497013"/>
              <a:gd name="connsiteY43" fmla="*/ 6465429 h 6785945"/>
              <a:gd name="connsiteX44" fmla="*/ 1511898 w 8497013"/>
              <a:gd name="connsiteY44" fmla="*/ 6009695 h 6785945"/>
              <a:gd name="connsiteX45" fmla="*/ 2416689 w 8497013"/>
              <a:gd name="connsiteY45" fmla="*/ 6009695 h 6785945"/>
              <a:gd name="connsiteX46" fmla="*/ 2416689 w 8497013"/>
              <a:gd name="connsiteY46" fmla="*/ 6116533 h 6785945"/>
              <a:gd name="connsiteX47" fmla="*/ 1511898 w 8497013"/>
              <a:gd name="connsiteY47" fmla="*/ 6116533 h 6785945"/>
              <a:gd name="connsiteX48" fmla="*/ 0 w 8497013"/>
              <a:gd name="connsiteY48" fmla="*/ 6009695 h 6785945"/>
              <a:gd name="connsiteX49" fmla="*/ 904792 w 8497013"/>
              <a:gd name="connsiteY49" fmla="*/ 6009695 h 6785945"/>
              <a:gd name="connsiteX50" fmla="*/ 904792 w 8497013"/>
              <a:gd name="connsiteY50" fmla="*/ 6116533 h 6785945"/>
              <a:gd name="connsiteX51" fmla="*/ 0 w 8497013"/>
              <a:gd name="connsiteY51" fmla="*/ 6116533 h 6785945"/>
              <a:gd name="connsiteX52" fmla="*/ 8393513 w 8497013"/>
              <a:gd name="connsiteY52" fmla="*/ 5807701 h 6785945"/>
              <a:gd name="connsiteX53" fmla="*/ 8435743 w 8497013"/>
              <a:gd name="connsiteY53" fmla="*/ 5811170 h 6785945"/>
              <a:gd name="connsiteX54" fmla="*/ 8468426 w 8497013"/>
              <a:gd name="connsiteY54" fmla="*/ 5824185 h 6785945"/>
              <a:gd name="connsiteX55" fmla="*/ 8489527 w 8497013"/>
              <a:gd name="connsiteY55" fmla="*/ 5850660 h 6785945"/>
              <a:gd name="connsiteX56" fmla="*/ 8497013 w 8497013"/>
              <a:gd name="connsiteY56" fmla="*/ 5894506 h 6785945"/>
              <a:gd name="connsiteX57" fmla="*/ 8489527 w 8497013"/>
              <a:gd name="connsiteY57" fmla="*/ 5936945 h 6785945"/>
              <a:gd name="connsiteX58" fmla="*/ 8468426 w 8497013"/>
              <a:gd name="connsiteY58" fmla="*/ 5963576 h 6785945"/>
              <a:gd name="connsiteX59" fmla="*/ 8435743 w 8497013"/>
              <a:gd name="connsiteY59" fmla="*/ 5977374 h 6785945"/>
              <a:gd name="connsiteX60" fmla="*/ 8393513 w 8497013"/>
              <a:gd name="connsiteY60" fmla="*/ 5981313 h 6785945"/>
              <a:gd name="connsiteX61" fmla="*/ 8352248 w 8497013"/>
              <a:gd name="connsiteY61" fmla="*/ 5977374 h 6785945"/>
              <a:gd name="connsiteX62" fmla="*/ 8320060 w 8497013"/>
              <a:gd name="connsiteY62" fmla="*/ 5963576 h 6785945"/>
              <a:gd name="connsiteX63" fmla="*/ 8299141 w 8497013"/>
              <a:gd name="connsiteY63" fmla="*/ 5936945 h 6785945"/>
              <a:gd name="connsiteX64" fmla="*/ 8291681 w 8497013"/>
              <a:gd name="connsiteY64" fmla="*/ 5894506 h 6785945"/>
              <a:gd name="connsiteX65" fmla="*/ 8299141 w 8497013"/>
              <a:gd name="connsiteY65" fmla="*/ 5850660 h 6785945"/>
              <a:gd name="connsiteX66" fmla="*/ 8320060 w 8497013"/>
              <a:gd name="connsiteY66" fmla="*/ 5824185 h 6785945"/>
              <a:gd name="connsiteX67" fmla="*/ 8352248 w 8497013"/>
              <a:gd name="connsiteY67" fmla="*/ 5811170 h 6785945"/>
              <a:gd name="connsiteX68" fmla="*/ 5162785 w 8497013"/>
              <a:gd name="connsiteY68" fmla="*/ 5807701 h 6785945"/>
              <a:gd name="connsiteX69" fmla="*/ 5205015 w 8497013"/>
              <a:gd name="connsiteY69" fmla="*/ 5811170 h 6785945"/>
              <a:gd name="connsiteX70" fmla="*/ 5237697 w 8497013"/>
              <a:gd name="connsiteY70" fmla="*/ 5824185 h 6785945"/>
              <a:gd name="connsiteX71" fmla="*/ 5258799 w 8497013"/>
              <a:gd name="connsiteY71" fmla="*/ 5850660 h 6785945"/>
              <a:gd name="connsiteX72" fmla="*/ 5266284 w 8497013"/>
              <a:gd name="connsiteY72" fmla="*/ 5894506 h 6785945"/>
              <a:gd name="connsiteX73" fmla="*/ 5258799 w 8497013"/>
              <a:gd name="connsiteY73" fmla="*/ 5936945 h 6785945"/>
              <a:gd name="connsiteX74" fmla="*/ 5237697 w 8497013"/>
              <a:gd name="connsiteY74" fmla="*/ 5963576 h 6785945"/>
              <a:gd name="connsiteX75" fmla="*/ 5205015 w 8497013"/>
              <a:gd name="connsiteY75" fmla="*/ 5977374 h 6785945"/>
              <a:gd name="connsiteX76" fmla="*/ 5162785 w 8497013"/>
              <a:gd name="connsiteY76" fmla="*/ 5981313 h 6785945"/>
              <a:gd name="connsiteX77" fmla="*/ 5121521 w 8497013"/>
              <a:gd name="connsiteY77" fmla="*/ 5977374 h 6785945"/>
              <a:gd name="connsiteX78" fmla="*/ 5089334 w 8497013"/>
              <a:gd name="connsiteY78" fmla="*/ 5963576 h 6785945"/>
              <a:gd name="connsiteX79" fmla="*/ 5068415 w 8497013"/>
              <a:gd name="connsiteY79" fmla="*/ 5936945 h 6785945"/>
              <a:gd name="connsiteX80" fmla="*/ 5060955 w 8497013"/>
              <a:gd name="connsiteY80" fmla="*/ 5894506 h 6785945"/>
              <a:gd name="connsiteX81" fmla="*/ 5068415 w 8497013"/>
              <a:gd name="connsiteY81" fmla="*/ 5850660 h 6785945"/>
              <a:gd name="connsiteX82" fmla="*/ 5089334 w 8497013"/>
              <a:gd name="connsiteY82" fmla="*/ 5824185 h 6785945"/>
              <a:gd name="connsiteX83" fmla="*/ 5121521 w 8497013"/>
              <a:gd name="connsiteY83" fmla="*/ 5811170 h 6785945"/>
              <a:gd name="connsiteX84" fmla="*/ 4008189 w 8497013"/>
              <a:gd name="connsiteY84" fmla="*/ 5487184 h 6785945"/>
              <a:gd name="connsiteX85" fmla="*/ 4061259 w 8497013"/>
              <a:gd name="connsiteY85" fmla="*/ 5489060 h 6785945"/>
              <a:gd name="connsiteX86" fmla="*/ 4110380 w 8497013"/>
              <a:gd name="connsiteY86" fmla="*/ 5494637 h 6785945"/>
              <a:gd name="connsiteX87" fmla="*/ 4155685 w 8497013"/>
              <a:gd name="connsiteY87" fmla="*/ 5503832 h 6785945"/>
              <a:gd name="connsiteX88" fmla="*/ 4197307 w 8497013"/>
              <a:gd name="connsiteY88" fmla="*/ 5516564 h 6785945"/>
              <a:gd name="connsiteX89" fmla="*/ 4235378 w 8497013"/>
              <a:gd name="connsiteY89" fmla="*/ 5532752 h 6785945"/>
              <a:gd name="connsiteX90" fmla="*/ 4270031 w 8497013"/>
              <a:gd name="connsiteY90" fmla="*/ 5552313 h 6785945"/>
              <a:gd name="connsiteX91" fmla="*/ 4301398 w 8497013"/>
              <a:gd name="connsiteY91" fmla="*/ 5575168 h 6785945"/>
              <a:gd name="connsiteX92" fmla="*/ 4329613 w 8497013"/>
              <a:gd name="connsiteY92" fmla="*/ 5601234 h 6785945"/>
              <a:gd name="connsiteX93" fmla="*/ 4354810 w 8497013"/>
              <a:gd name="connsiteY93" fmla="*/ 5630430 h 6785945"/>
              <a:gd name="connsiteX94" fmla="*/ 4377118 w 8497013"/>
              <a:gd name="connsiteY94" fmla="*/ 5662675 h 6785945"/>
              <a:gd name="connsiteX95" fmla="*/ 4396671 w 8497013"/>
              <a:gd name="connsiteY95" fmla="*/ 5697887 h 6785945"/>
              <a:gd name="connsiteX96" fmla="*/ 4413603 w 8497013"/>
              <a:gd name="connsiteY96" fmla="*/ 5735985 h 6785945"/>
              <a:gd name="connsiteX97" fmla="*/ 4428046 w 8497013"/>
              <a:gd name="connsiteY97" fmla="*/ 5776887 h 6785945"/>
              <a:gd name="connsiteX98" fmla="*/ 4440133 w 8497013"/>
              <a:gd name="connsiteY98" fmla="*/ 5820513 h 6785945"/>
              <a:gd name="connsiteX99" fmla="*/ 4449996 w 8497013"/>
              <a:gd name="connsiteY99" fmla="*/ 5866781 h 6785945"/>
              <a:gd name="connsiteX100" fmla="*/ 4457768 w 8497013"/>
              <a:gd name="connsiteY100" fmla="*/ 5915609 h 6785945"/>
              <a:gd name="connsiteX101" fmla="*/ 4463582 w 8497013"/>
              <a:gd name="connsiteY101" fmla="*/ 5966915 h 6785945"/>
              <a:gd name="connsiteX102" fmla="*/ 4467570 w 8497013"/>
              <a:gd name="connsiteY102" fmla="*/ 6020620 h 6785945"/>
              <a:gd name="connsiteX103" fmla="*/ 4469866 w 8497013"/>
              <a:gd name="connsiteY103" fmla="*/ 6076640 h 6785945"/>
              <a:gd name="connsiteX104" fmla="*/ 4470602 w 8497013"/>
              <a:gd name="connsiteY104" fmla="*/ 6134896 h 6785945"/>
              <a:gd name="connsiteX105" fmla="*/ 4469902 w 8497013"/>
              <a:gd name="connsiteY105" fmla="*/ 6193401 h 6785945"/>
              <a:gd name="connsiteX106" fmla="*/ 4467705 w 8497013"/>
              <a:gd name="connsiteY106" fmla="*/ 6249671 h 6785945"/>
              <a:gd name="connsiteX107" fmla="*/ 4463869 w 8497013"/>
              <a:gd name="connsiteY107" fmla="*/ 6303621 h 6785945"/>
              <a:gd name="connsiteX108" fmla="*/ 4458248 w 8497013"/>
              <a:gd name="connsiteY108" fmla="*/ 6355171 h 6785945"/>
              <a:gd name="connsiteX109" fmla="*/ 4450700 w 8497013"/>
              <a:gd name="connsiteY109" fmla="*/ 6404236 h 6785945"/>
              <a:gd name="connsiteX110" fmla="*/ 4441079 w 8497013"/>
              <a:gd name="connsiteY110" fmla="*/ 6450735 h 6785945"/>
              <a:gd name="connsiteX111" fmla="*/ 4429242 w 8497013"/>
              <a:gd name="connsiteY111" fmla="*/ 6494584 h 6785945"/>
              <a:gd name="connsiteX112" fmla="*/ 4415045 w 8497013"/>
              <a:gd name="connsiteY112" fmla="*/ 6535702 h 6785945"/>
              <a:gd name="connsiteX113" fmla="*/ 4398345 w 8497013"/>
              <a:gd name="connsiteY113" fmla="*/ 6574005 h 6785945"/>
              <a:gd name="connsiteX114" fmla="*/ 4378996 w 8497013"/>
              <a:gd name="connsiteY114" fmla="*/ 6609411 h 6785945"/>
              <a:gd name="connsiteX115" fmla="*/ 4356855 w 8497013"/>
              <a:gd name="connsiteY115" fmla="*/ 6641837 h 6785945"/>
              <a:gd name="connsiteX116" fmla="*/ 4331777 w 8497013"/>
              <a:gd name="connsiteY116" fmla="*/ 6671200 h 6785945"/>
              <a:gd name="connsiteX117" fmla="*/ 4303620 w 8497013"/>
              <a:gd name="connsiteY117" fmla="*/ 6697419 h 6785945"/>
              <a:gd name="connsiteX118" fmla="*/ 4272239 w 8497013"/>
              <a:gd name="connsiteY118" fmla="*/ 6720409 h 6785945"/>
              <a:gd name="connsiteX119" fmla="*/ 4237491 w 8497013"/>
              <a:gd name="connsiteY119" fmla="*/ 6740090 h 6785945"/>
              <a:gd name="connsiteX120" fmla="*/ 4199230 w 8497013"/>
              <a:gd name="connsiteY120" fmla="*/ 6756377 h 6785945"/>
              <a:gd name="connsiteX121" fmla="*/ 4157313 w 8497013"/>
              <a:gd name="connsiteY121" fmla="*/ 6769189 h 6785945"/>
              <a:gd name="connsiteX122" fmla="*/ 4111597 w 8497013"/>
              <a:gd name="connsiteY122" fmla="*/ 6778443 h 6785945"/>
              <a:gd name="connsiteX123" fmla="*/ 4061937 w 8497013"/>
              <a:gd name="connsiteY123" fmla="*/ 6784056 h 6785945"/>
              <a:gd name="connsiteX124" fmla="*/ 4008189 w 8497013"/>
              <a:gd name="connsiteY124" fmla="*/ 6785945 h 6785945"/>
              <a:gd name="connsiteX125" fmla="*/ 4008189 w 8497013"/>
              <a:gd name="connsiteY125" fmla="*/ 6689123 h 6785945"/>
              <a:gd name="connsiteX126" fmla="*/ 4057874 w 8497013"/>
              <a:gd name="connsiteY126" fmla="*/ 6686890 h 6785945"/>
              <a:gd name="connsiteX127" fmla="*/ 4102795 w 8497013"/>
              <a:gd name="connsiteY127" fmla="*/ 6680269 h 6785945"/>
              <a:gd name="connsiteX128" fmla="*/ 4143177 w 8497013"/>
              <a:gd name="connsiteY128" fmla="*/ 6669380 h 6785945"/>
              <a:gd name="connsiteX129" fmla="*/ 4179248 w 8497013"/>
              <a:gd name="connsiteY129" fmla="*/ 6654340 h 6785945"/>
              <a:gd name="connsiteX130" fmla="*/ 4239359 w 8497013"/>
              <a:gd name="connsiteY130" fmla="*/ 6612280 h 6785945"/>
              <a:gd name="connsiteX131" fmla="*/ 4284939 w 8497013"/>
              <a:gd name="connsiteY131" fmla="*/ 6555036 h 6785945"/>
              <a:gd name="connsiteX132" fmla="*/ 4302844 w 8497013"/>
              <a:gd name="connsiteY132" fmla="*/ 6521015 h 6785945"/>
              <a:gd name="connsiteX133" fmla="*/ 4317796 w 8497013"/>
              <a:gd name="connsiteY133" fmla="*/ 6483554 h 6785945"/>
              <a:gd name="connsiteX134" fmla="*/ 4330020 w 8497013"/>
              <a:gd name="connsiteY134" fmla="*/ 6442769 h 6785945"/>
              <a:gd name="connsiteX135" fmla="*/ 4339743 w 8497013"/>
              <a:gd name="connsiteY135" fmla="*/ 6398779 h 6785945"/>
              <a:gd name="connsiteX136" fmla="*/ 4347190 w 8497013"/>
              <a:gd name="connsiteY136" fmla="*/ 6351702 h 6785945"/>
              <a:gd name="connsiteX137" fmla="*/ 4352590 w 8497013"/>
              <a:gd name="connsiteY137" fmla="*/ 6301658 h 6785945"/>
              <a:gd name="connsiteX138" fmla="*/ 4356166 w 8497013"/>
              <a:gd name="connsiteY138" fmla="*/ 6248763 h 6785945"/>
              <a:gd name="connsiteX139" fmla="*/ 4358145 w 8497013"/>
              <a:gd name="connsiteY139" fmla="*/ 6193136 h 6785945"/>
              <a:gd name="connsiteX140" fmla="*/ 4358755 w 8497013"/>
              <a:gd name="connsiteY140" fmla="*/ 6134896 h 6785945"/>
              <a:gd name="connsiteX141" fmla="*/ 4358113 w 8497013"/>
              <a:gd name="connsiteY141" fmla="*/ 6077227 h 6785945"/>
              <a:gd name="connsiteX142" fmla="*/ 4356043 w 8497013"/>
              <a:gd name="connsiteY142" fmla="*/ 6022138 h 6785945"/>
              <a:gd name="connsiteX143" fmla="*/ 4352333 w 8497013"/>
              <a:gd name="connsiteY143" fmla="*/ 5969745 h 6785945"/>
              <a:gd name="connsiteX144" fmla="*/ 4346766 w 8497013"/>
              <a:gd name="connsiteY144" fmla="*/ 5920169 h 6785945"/>
              <a:gd name="connsiteX145" fmla="*/ 4339131 w 8497013"/>
              <a:gd name="connsiteY145" fmla="*/ 5873525 h 6785945"/>
              <a:gd name="connsiteX146" fmla="*/ 4329213 w 8497013"/>
              <a:gd name="connsiteY146" fmla="*/ 5829933 h 6785945"/>
              <a:gd name="connsiteX147" fmla="*/ 4316797 w 8497013"/>
              <a:gd name="connsiteY147" fmla="*/ 5789512 h 6785945"/>
              <a:gd name="connsiteX148" fmla="*/ 4301670 w 8497013"/>
              <a:gd name="connsiteY148" fmla="*/ 5752380 h 6785945"/>
              <a:gd name="connsiteX149" fmla="*/ 4283617 w 8497013"/>
              <a:gd name="connsiteY149" fmla="*/ 5718654 h 6785945"/>
              <a:gd name="connsiteX150" fmla="*/ 4237879 w 8497013"/>
              <a:gd name="connsiteY150" fmla="*/ 5661895 h 6785945"/>
              <a:gd name="connsiteX151" fmla="*/ 4177870 w 8497013"/>
              <a:gd name="connsiteY151" fmla="*/ 5620182 h 6785945"/>
              <a:gd name="connsiteX152" fmla="*/ 4141978 w 8497013"/>
              <a:gd name="connsiteY152" fmla="*/ 5605263 h 6785945"/>
              <a:gd name="connsiteX153" fmla="*/ 4101877 w 8497013"/>
              <a:gd name="connsiteY153" fmla="*/ 5594460 h 6785945"/>
              <a:gd name="connsiteX154" fmla="*/ 4057352 w 8497013"/>
              <a:gd name="connsiteY154" fmla="*/ 5587892 h 6785945"/>
              <a:gd name="connsiteX155" fmla="*/ 4008189 w 8497013"/>
              <a:gd name="connsiteY155" fmla="*/ 5585676 h 6785945"/>
              <a:gd name="connsiteX156" fmla="*/ 3491267 w 8497013"/>
              <a:gd name="connsiteY156" fmla="*/ 5487184 h 6785945"/>
              <a:gd name="connsiteX157" fmla="*/ 3491267 w 8497013"/>
              <a:gd name="connsiteY157" fmla="*/ 5585676 h 6785945"/>
              <a:gd name="connsiteX158" fmla="*/ 3442381 w 8497013"/>
              <a:gd name="connsiteY158" fmla="*/ 5587892 h 6785945"/>
              <a:gd name="connsiteX159" fmla="*/ 3398103 w 8497013"/>
              <a:gd name="connsiteY159" fmla="*/ 5594460 h 6785945"/>
              <a:gd name="connsiteX160" fmla="*/ 3358217 w 8497013"/>
              <a:gd name="connsiteY160" fmla="*/ 5605263 h 6785945"/>
              <a:gd name="connsiteX161" fmla="*/ 3322510 w 8497013"/>
              <a:gd name="connsiteY161" fmla="*/ 5620182 h 6785945"/>
              <a:gd name="connsiteX162" fmla="*/ 3262795 w 8497013"/>
              <a:gd name="connsiteY162" fmla="*/ 5661895 h 6785945"/>
              <a:gd name="connsiteX163" fmla="*/ 3217261 w 8497013"/>
              <a:gd name="connsiteY163" fmla="*/ 5718654 h 6785945"/>
              <a:gd name="connsiteX164" fmla="*/ 3199282 w 8497013"/>
              <a:gd name="connsiteY164" fmla="*/ 5752380 h 6785945"/>
              <a:gd name="connsiteX165" fmla="*/ 3184213 w 8497013"/>
              <a:gd name="connsiteY165" fmla="*/ 5789512 h 6785945"/>
              <a:gd name="connsiteX166" fmla="*/ 3171840 w 8497013"/>
              <a:gd name="connsiteY166" fmla="*/ 5829933 h 6785945"/>
              <a:gd name="connsiteX167" fmla="*/ 3161952 w 8497013"/>
              <a:gd name="connsiteY167" fmla="*/ 5873525 h 6785945"/>
              <a:gd name="connsiteX168" fmla="*/ 3154338 w 8497013"/>
              <a:gd name="connsiteY168" fmla="*/ 5920169 h 6785945"/>
              <a:gd name="connsiteX169" fmla="*/ 3148785 w 8497013"/>
              <a:gd name="connsiteY169" fmla="*/ 5969745 h 6785945"/>
              <a:gd name="connsiteX170" fmla="*/ 3145081 w 8497013"/>
              <a:gd name="connsiteY170" fmla="*/ 6022138 h 6785945"/>
              <a:gd name="connsiteX171" fmla="*/ 3143014 w 8497013"/>
              <a:gd name="connsiteY171" fmla="*/ 6077227 h 6785945"/>
              <a:gd name="connsiteX172" fmla="*/ 3142372 w 8497013"/>
              <a:gd name="connsiteY172" fmla="*/ 6134896 h 6785945"/>
              <a:gd name="connsiteX173" fmla="*/ 3142997 w 8497013"/>
              <a:gd name="connsiteY173" fmla="*/ 6193136 h 6785945"/>
              <a:gd name="connsiteX174" fmla="*/ 3145020 w 8497013"/>
              <a:gd name="connsiteY174" fmla="*/ 6248763 h 6785945"/>
              <a:gd name="connsiteX175" fmla="*/ 3148657 w 8497013"/>
              <a:gd name="connsiteY175" fmla="*/ 6301658 h 6785945"/>
              <a:gd name="connsiteX176" fmla="*/ 3154126 w 8497013"/>
              <a:gd name="connsiteY176" fmla="*/ 6351702 h 6785945"/>
              <a:gd name="connsiteX177" fmla="*/ 3161647 w 8497013"/>
              <a:gd name="connsiteY177" fmla="*/ 6398779 h 6785945"/>
              <a:gd name="connsiteX178" fmla="*/ 3171437 w 8497013"/>
              <a:gd name="connsiteY178" fmla="*/ 6442769 h 6785945"/>
              <a:gd name="connsiteX179" fmla="*/ 3183713 w 8497013"/>
              <a:gd name="connsiteY179" fmla="*/ 6483554 h 6785945"/>
              <a:gd name="connsiteX180" fmla="*/ 3198695 w 8497013"/>
              <a:gd name="connsiteY180" fmla="*/ 6521015 h 6785945"/>
              <a:gd name="connsiteX181" fmla="*/ 3216602 w 8497013"/>
              <a:gd name="connsiteY181" fmla="*/ 6555036 h 6785945"/>
              <a:gd name="connsiteX182" fmla="*/ 3262055 w 8497013"/>
              <a:gd name="connsiteY182" fmla="*/ 6612280 h 6785945"/>
              <a:gd name="connsiteX183" fmla="*/ 3321821 w 8497013"/>
              <a:gd name="connsiteY183" fmla="*/ 6654340 h 6785945"/>
              <a:gd name="connsiteX184" fmla="*/ 3357617 w 8497013"/>
              <a:gd name="connsiteY184" fmla="*/ 6669380 h 6785945"/>
              <a:gd name="connsiteX185" fmla="*/ 3397644 w 8497013"/>
              <a:gd name="connsiteY185" fmla="*/ 6680269 h 6785945"/>
              <a:gd name="connsiteX186" fmla="*/ 3442120 w 8497013"/>
              <a:gd name="connsiteY186" fmla="*/ 6686890 h 6785945"/>
              <a:gd name="connsiteX187" fmla="*/ 3491267 w 8497013"/>
              <a:gd name="connsiteY187" fmla="*/ 6689123 h 6785945"/>
              <a:gd name="connsiteX188" fmla="*/ 3491267 w 8497013"/>
              <a:gd name="connsiteY188" fmla="*/ 6785945 h 6785945"/>
              <a:gd name="connsiteX189" fmla="*/ 3437744 w 8497013"/>
              <a:gd name="connsiteY189" fmla="*/ 6784056 h 6785945"/>
              <a:gd name="connsiteX190" fmla="*/ 3388267 w 8497013"/>
              <a:gd name="connsiteY190" fmla="*/ 6778443 h 6785945"/>
              <a:gd name="connsiteX191" fmla="*/ 3342687 w 8497013"/>
              <a:gd name="connsiteY191" fmla="*/ 6769189 h 6785945"/>
              <a:gd name="connsiteX192" fmla="*/ 3300868 w 8497013"/>
              <a:gd name="connsiteY192" fmla="*/ 6756377 h 6785945"/>
              <a:gd name="connsiteX193" fmla="*/ 3262672 w 8497013"/>
              <a:gd name="connsiteY193" fmla="*/ 6740090 h 6785945"/>
              <a:gd name="connsiteX194" fmla="*/ 3227954 w 8497013"/>
              <a:gd name="connsiteY194" fmla="*/ 6720409 h 6785945"/>
              <a:gd name="connsiteX195" fmla="*/ 3196577 w 8497013"/>
              <a:gd name="connsiteY195" fmla="*/ 6697419 h 6785945"/>
              <a:gd name="connsiteX196" fmla="*/ 3168401 w 8497013"/>
              <a:gd name="connsiteY196" fmla="*/ 6671200 h 6785945"/>
              <a:gd name="connsiteX197" fmla="*/ 3143286 w 8497013"/>
              <a:gd name="connsiteY197" fmla="*/ 6641837 h 6785945"/>
              <a:gd name="connsiteX198" fmla="*/ 3121088 w 8497013"/>
              <a:gd name="connsiteY198" fmla="*/ 6609411 h 6785945"/>
              <a:gd name="connsiteX199" fmla="*/ 3101671 w 8497013"/>
              <a:gd name="connsiteY199" fmla="*/ 6574005 h 6785945"/>
              <a:gd name="connsiteX200" fmla="*/ 3084893 w 8497013"/>
              <a:gd name="connsiteY200" fmla="*/ 6535702 h 6785945"/>
              <a:gd name="connsiteX201" fmla="*/ 3070614 w 8497013"/>
              <a:gd name="connsiteY201" fmla="*/ 6494584 h 6785945"/>
              <a:gd name="connsiteX202" fmla="*/ 3058694 w 8497013"/>
              <a:gd name="connsiteY202" fmla="*/ 6450735 h 6785945"/>
              <a:gd name="connsiteX203" fmla="*/ 3048993 w 8497013"/>
              <a:gd name="connsiteY203" fmla="*/ 6404236 h 6785945"/>
              <a:gd name="connsiteX204" fmla="*/ 3041370 w 8497013"/>
              <a:gd name="connsiteY204" fmla="*/ 6355171 h 6785945"/>
              <a:gd name="connsiteX205" fmla="*/ 3035685 w 8497013"/>
              <a:gd name="connsiteY205" fmla="*/ 6303621 h 6785945"/>
              <a:gd name="connsiteX206" fmla="*/ 3031798 w 8497013"/>
              <a:gd name="connsiteY206" fmla="*/ 6249671 h 6785945"/>
              <a:gd name="connsiteX207" fmla="*/ 3029568 w 8497013"/>
              <a:gd name="connsiteY207" fmla="*/ 6193401 h 6785945"/>
              <a:gd name="connsiteX208" fmla="*/ 3028857 w 8497013"/>
              <a:gd name="connsiteY208" fmla="*/ 6134896 h 6785945"/>
              <a:gd name="connsiteX209" fmla="*/ 3029592 w 8497013"/>
              <a:gd name="connsiteY209" fmla="*/ 6076640 h 6785945"/>
              <a:gd name="connsiteX210" fmla="*/ 3031888 w 8497013"/>
              <a:gd name="connsiteY210" fmla="*/ 6020620 h 6785945"/>
              <a:gd name="connsiteX211" fmla="*/ 3035877 w 8497013"/>
              <a:gd name="connsiteY211" fmla="*/ 5966915 h 6785945"/>
              <a:gd name="connsiteX212" fmla="*/ 3041690 w 8497013"/>
              <a:gd name="connsiteY212" fmla="*/ 5915609 h 6785945"/>
              <a:gd name="connsiteX213" fmla="*/ 3049463 w 8497013"/>
              <a:gd name="connsiteY213" fmla="*/ 5866781 h 6785945"/>
              <a:gd name="connsiteX214" fmla="*/ 3059326 w 8497013"/>
              <a:gd name="connsiteY214" fmla="*/ 5820513 h 6785945"/>
              <a:gd name="connsiteX215" fmla="*/ 3071412 w 8497013"/>
              <a:gd name="connsiteY215" fmla="*/ 5776887 h 6785945"/>
              <a:gd name="connsiteX216" fmla="*/ 3085855 w 8497013"/>
              <a:gd name="connsiteY216" fmla="*/ 5735985 h 6785945"/>
              <a:gd name="connsiteX217" fmla="*/ 3102787 w 8497013"/>
              <a:gd name="connsiteY217" fmla="*/ 5697887 h 6785945"/>
              <a:gd name="connsiteX218" fmla="*/ 3122341 w 8497013"/>
              <a:gd name="connsiteY218" fmla="*/ 5662675 h 6785945"/>
              <a:gd name="connsiteX219" fmla="*/ 3144649 w 8497013"/>
              <a:gd name="connsiteY219" fmla="*/ 5630430 h 6785945"/>
              <a:gd name="connsiteX220" fmla="*/ 3169844 w 8497013"/>
              <a:gd name="connsiteY220" fmla="*/ 5601234 h 6785945"/>
              <a:gd name="connsiteX221" fmla="*/ 3198060 w 8497013"/>
              <a:gd name="connsiteY221" fmla="*/ 5575168 h 6785945"/>
              <a:gd name="connsiteX222" fmla="*/ 3229427 w 8497013"/>
              <a:gd name="connsiteY222" fmla="*/ 5552313 h 6785945"/>
              <a:gd name="connsiteX223" fmla="*/ 3264079 w 8497013"/>
              <a:gd name="connsiteY223" fmla="*/ 5532752 h 6785945"/>
              <a:gd name="connsiteX224" fmla="*/ 3302151 w 8497013"/>
              <a:gd name="connsiteY224" fmla="*/ 5516564 h 6785945"/>
              <a:gd name="connsiteX225" fmla="*/ 3343773 w 8497013"/>
              <a:gd name="connsiteY225" fmla="*/ 5503832 h 6785945"/>
              <a:gd name="connsiteX226" fmla="*/ 3389078 w 8497013"/>
              <a:gd name="connsiteY226" fmla="*/ 5494637 h 6785945"/>
              <a:gd name="connsiteX227" fmla="*/ 3438196 w 8497013"/>
              <a:gd name="connsiteY227" fmla="*/ 5489060 h 6785945"/>
              <a:gd name="connsiteX228" fmla="*/ 5569411 w 8497013"/>
              <a:gd name="connsiteY228" fmla="*/ 5006403 h 6785945"/>
              <a:gd name="connsiteX229" fmla="*/ 5611640 w 8497013"/>
              <a:gd name="connsiteY229" fmla="*/ 5010081 h 6785945"/>
              <a:gd name="connsiteX230" fmla="*/ 5644323 w 8497013"/>
              <a:gd name="connsiteY230" fmla="*/ 5023305 h 6785945"/>
              <a:gd name="connsiteX231" fmla="*/ 5665424 w 8497013"/>
              <a:gd name="connsiteY231" fmla="*/ 5049363 h 6785945"/>
              <a:gd name="connsiteX232" fmla="*/ 5672910 w 8497013"/>
              <a:gd name="connsiteY232" fmla="*/ 5091541 h 6785945"/>
              <a:gd name="connsiteX233" fmla="*/ 5665424 w 8497013"/>
              <a:gd name="connsiteY233" fmla="*/ 5135648 h 6785945"/>
              <a:gd name="connsiteX234" fmla="*/ 5644323 w 8497013"/>
              <a:gd name="connsiteY234" fmla="*/ 5162697 h 6785945"/>
              <a:gd name="connsiteX235" fmla="*/ 5611640 w 8497013"/>
              <a:gd name="connsiteY235" fmla="*/ 5176287 h 6785945"/>
              <a:gd name="connsiteX236" fmla="*/ 5569411 w 8497013"/>
              <a:gd name="connsiteY236" fmla="*/ 5180017 h 6785945"/>
              <a:gd name="connsiteX237" fmla="*/ 5527181 w 8497013"/>
              <a:gd name="connsiteY237" fmla="*/ 5176287 h 6785945"/>
              <a:gd name="connsiteX238" fmla="*/ 5494498 w 8497013"/>
              <a:gd name="connsiteY238" fmla="*/ 5162697 h 6785945"/>
              <a:gd name="connsiteX239" fmla="*/ 5473397 w 8497013"/>
              <a:gd name="connsiteY239" fmla="*/ 5135648 h 6785945"/>
              <a:gd name="connsiteX240" fmla="*/ 5465911 w 8497013"/>
              <a:gd name="connsiteY240" fmla="*/ 5091541 h 6785945"/>
              <a:gd name="connsiteX241" fmla="*/ 5473631 w 8497013"/>
              <a:gd name="connsiteY241" fmla="*/ 5049363 h 6785945"/>
              <a:gd name="connsiteX242" fmla="*/ 5495125 w 8497013"/>
              <a:gd name="connsiteY242" fmla="*/ 5023305 h 6785945"/>
              <a:gd name="connsiteX243" fmla="*/ 5527886 w 8497013"/>
              <a:gd name="connsiteY243" fmla="*/ 5010081 h 6785945"/>
              <a:gd name="connsiteX244" fmla="*/ 4804116 w 8497013"/>
              <a:gd name="connsiteY244" fmla="*/ 5006403 h 6785945"/>
              <a:gd name="connsiteX245" fmla="*/ 4846346 w 8497013"/>
              <a:gd name="connsiteY245" fmla="*/ 5010081 h 6785945"/>
              <a:gd name="connsiteX246" fmla="*/ 4879028 w 8497013"/>
              <a:gd name="connsiteY246" fmla="*/ 5023305 h 6785945"/>
              <a:gd name="connsiteX247" fmla="*/ 4900130 w 8497013"/>
              <a:gd name="connsiteY247" fmla="*/ 5049363 h 6785945"/>
              <a:gd name="connsiteX248" fmla="*/ 4907615 w 8497013"/>
              <a:gd name="connsiteY248" fmla="*/ 5091541 h 6785945"/>
              <a:gd name="connsiteX249" fmla="*/ 4900130 w 8497013"/>
              <a:gd name="connsiteY249" fmla="*/ 5135648 h 6785945"/>
              <a:gd name="connsiteX250" fmla="*/ 4879028 w 8497013"/>
              <a:gd name="connsiteY250" fmla="*/ 5162697 h 6785945"/>
              <a:gd name="connsiteX251" fmla="*/ 4846346 w 8497013"/>
              <a:gd name="connsiteY251" fmla="*/ 5176287 h 6785945"/>
              <a:gd name="connsiteX252" fmla="*/ 4804116 w 8497013"/>
              <a:gd name="connsiteY252" fmla="*/ 5180017 h 6785945"/>
              <a:gd name="connsiteX253" fmla="*/ 4761886 w 8497013"/>
              <a:gd name="connsiteY253" fmla="*/ 5176287 h 6785945"/>
              <a:gd name="connsiteX254" fmla="*/ 4729203 w 8497013"/>
              <a:gd name="connsiteY254" fmla="*/ 5162697 h 6785945"/>
              <a:gd name="connsiteX255" fmla="*/ 4708102 w 8497013"/>
              <a:gd name="connsiteY255" fmla="*/ 5135648 h 6785945"/>
              <a:gd name="connsiteX256" fmla="*/ 4700616 w 8497013"/>
              <a:gd name="connsiteY256" fmla="*/ 5091541 h 6785945"/>
              <a:gd name="connsiteX257" fmla="*/ 4708336 w 8497013"/>
              <a:gd name="connsiteY257" fmla="*/ 5049363 h 6785945"/>
              <a:gd name="connsiteX258" fmla="*/ 4729830 w 8497013"/>
              <a:gd name="connsiteY258" fmla="*/ 5023305 h 6785945"/>
              <a:gd name="connsiteX259" fmla="*/ 4762591 w 8497013"/>
              <a:gd name="connsiteY259" fmla="*/ 5010081 h 6785945"/>
              <a:gd name="connsiteX260" fmla="*/ 2787004 w 8497013"/>
              <a:gd name="connsiteY260" fmla="*/ 4856173 h 6785945"/>
              <a:gd name="connsiteX261" fmla="*/ 3691793 w 8497013"/>
              <a:gd name="connsiteY261" fmla="*/ 4856173 h 6785945"/>
              <a:gd name="connsiteX262" fmla="*/ 3691793 w 8497013"/>
              <a:gd name="connsiteY262" fmla="*/ 4963011 h 6785945"/>
              <a:gd name="connsiteX263" fmla="*/ 2787004 w 8497013"/>
              <a:gd name="connsiteY263" fmla="*/ 4963011 h 6785945"/>
              <a:gd name="connsiteX264" fmla="*/ 1275095 w 8497013"/>
              <a:gd name="connsiteY264" fmla="*/ 4856173 h 6785945"/>
              <a:gd name="connsiteX265" fmla="*/ 2179887 w 8497013"/>
              <a:gd name="connsiteY265" fmla="*/ 4856173 h 6785945"/>
              <a:gd name="connsiteX266" fmla="*/ 2179887 w 8497013"/>
              <a:gd name="connsiteY266" fmla="*/ 4963011 h 6785945"/>
              <a:gd name="connsiteX267" fmla="*/ 1275095 w 8497013"/>
              <a:gd name="connsiteY267" fmla="*/ 4963011 h 6785945"/>
              <a:gd name="connsiteX268" fmla="*/ 2787004 w 8497013"/>
              <a:gd name="connsiteY268" fmla="*/ 4507276 h 6785945"/>
              <a:gd name="connsiteX269" fmla="*/ 3691793 w 8497013"/>
              <a:gd name="connsiteY269" fmla="*/ 4507276 h 6785945"/>
              <a:gd name="connsiteX270" fmla="*/ 3691793 w 8497013"/>
              <a:gd name="connsiteY270" fmla="*/ 4614114 h 6785945"/>
              <a:gd name="connsiteX271" fmla="*/ 2787004 w 8497013"/>
              <a:gd name="connsiteY271" fmla="*/ 4614114 h 6785945"/>
              <a:gd name="connsiteX272" fmla="*/ 1275095 w 8497013"/>
              <a:gd name="connsiteY272" fmla="*/ 4507276 h 6785945"/>
              <a:gd name="connsiteX273" fmla="*/ 2179887 w 8497013"/>
              <a:gd name="connsiteY273" fmla="*/ 4507276 h 6785945"/>
              <a:gd name="connsiteX274" fmla="*/ 2179887 w 8497013"/>
              <a:gd name="connsiteY274" fmla="*/ 4614114 h 6785945"/>
              <a:gd name="connsiteX275" fmla="*/ 1275095 w 8497013"/>
              <a:gd name="connsiteY275" fmla="*/ 4614114 h 6785945"/>
              <a:gd name="connsiteX276" fmla="*/ 5569411 w 8497013"/>
              <a:gd name="connsiteY276" fmla="*/ 4305272 h 6785945"/>
              <a:gd name="connsiteX277" fmla="*/ 5611640 w 8497013"/>
              <a:gd name="connsiteY277" fmla="*/ 4308741 h 6785945"/>
              <a:gd name="connsiteX278" fmla="*/ 5644323 w 8497013"/>
              <a:gd name="connsiteY278" fmla="*/ 4321757 h 6785945"/>
              <a:gd name="connsiteX279" fmla="*/ 5665424 w 8497013"/>
              <a:gd name="connsiteY279" fmla="*/ 4348232 h 6785945"/>
              <a:gd name="connsiteX280" fmla="*/ 5672910 w 8497013"/>
              <a:gd name="connsiteY280" fmla="*/ 4392078 h 6785945"/>
              <a:gd name="connsiteX281" fmla="*/ 5665424 w 8497013"/>
              <a:gd name="connsiteY281" fmla="*/ 4434517 h 6785945"/>
              <a:gd name="connsiteX282" fmla="*/ 5644323 w 8497013"/>
              <a:gd name="connsiteY282" fmla="*/ 4461148 h 6785945"/>
              <a:gd name="connsiteX283" fmla="*/ 5611640 w 8497013"/>
              <a:gd name="connsiteY283" fmla="*/ 4474946 h 6785945"/>
              <a:gd name="connsiteX284" fmla="*/ 5569411 w 8497013"/>
              <a:gd name="connsiteY284" fmla="*/ 4478885 h 6785945"/>
              <a:gd name="connsiteX285" fmla="*/ 5528147 w 8497013"/>
              <a:gd name="connsiteY285" fmla="*/ 4474946 h 6785945"/>
              <a:gd name="connsiteX286" fmla="*/ 5495959 w 8497013"/>
              <a:gd name="connsiteY286" fmla="*/ 4461148 h 6785945"/>
              <a:gd name="connsiteX287" fmla="*/ 5475040 w 8497013"/>
              <a:gd name="connsiteY287" fmla="*/ 4434517 h 6785945"/>
              <a:gd name="connsiteX288" fmla="*/ 5467580 w 8497013"/>
              <a:gd name="connsiteY288" fmla="*/ 4392078 h 6785945"/>
              <a:gd name="connsiteX289" fmla="*/ 5475040 w 8497013"/>
              <a:gd name="connsiteY289" fmla="*/ 4348232 h 6785945"/>
              <a:gd name="connsiteX290" fmla="*/ 5495959 w 8497013"/>
              <a:gd name="connsiteY290" fmla="*/ 4321757 h 6785945"/>
              <a:gd name="connsiteX291" fmla="*/ 5528147 w 8497013"/>
              <a:gd name="connsiteY291" fmla="*/ 4308741 h 6785945"/>
              <a:gd name="connsiteX292" fmla="*/ 4804116 w 8497013"/>
              <a:gd name="connsiteY292" fmla="*/ 4305272 h 6785945"/>
              <a:gd name="connsiteX293" fmla="*/ 4846346 w 8497013"/>
              <a:gd name="connsiteY293" fmla="*/ 4308741 h 6785945"/>
              <a:gd name="connsiteX294" fmla="*/ 4879028 w 8497013"/>
              <a:gd name="connsiteY294" fmla="*/ 4321757 h 6785945"/>
              <a:gd name="connsiteX295" fmla="*/ 4900130 w 8497013"/>
              <a:gd name="connsiteY295" fmla="*/ 4348232 h 6785945"/>
              <a:gd name="connsiteX296" fmla="*/ 4907615 w 8497013"/>
              <a:gd name="connsiteY296" fmla="*/ 4392078 h 6785945"/>
              <a:gd name="connsiteX297" fmla="*/ 4900130 w 8497013"/>
              <a:gd name="connsiteY297" fmla="*/ 4434517 h 6785945"/>
              <a:gd name="connsiteX298" fmla="*/ 4879028 w 8497013"/>
              <a:gd name="connsiteY298" fmla="*/ 4461148 h 6785945"/>
              <a:gd name="connsiteX299" fmla="*/ 4846346 w 8497013"/>
              <a:gd name="connsiteY299" fmla="*/ 4474946 h 6785945"/>
              <a:gd name="connsiteX300" fmla="*/ 4804116 w 8497013"/>
              <a:gd name="connsiteY300" fmla="*/ 4478885 h 6785945"/>
              <a:gd name="connsiteX301" fmla="*/ 4762852 w 8497013"/>
              <a:gd name="connsiteY301" fmla="*/ 4474946 h 6785945"/>
              <a:gd name="connsiteX302" fmla="*/ 4730664 w 8497013"/>
              <a:gd name="connsiteY302" fmla="*/ 4461148 h 6785945"/>
              <a:gd name="connsiteX303" fmla="*/ 4709745 w 8497013"/>
              <a:gd name="connsiteY303" fmla="*/ 4434517 h 6785945"/>
              <a:gd name="connsiteX304" fmla="*/ 4702285 w 8497013"/>
              <a:gd name="connsiteY304" fmla="*/ 4392078 h 6785945"/>
              <a:gd name="connsiteX305" fmla="*/ 4709745 w 8497013"/>
              <a:gd name="connsiteY305" fmla="*/ 4348232 h 6785945"/>
              <a:gd name="connsiteX306" fmla="*/ 4730664 w 8497013"/>
              <a:gd name="connsiteY306" fmla="*/ 4321757 h 6785945"/>
              <a:gd name="connsiteX307" fmla="*/ 4762852 w 8497013"/>
              <a:gd name="connsiteY307" fmla="*/ 4308741 h 6785945"/>
              <a:gd name="connsiteX308" fmla="*/ 7712987 w 8497013"/>
              <a:gd name="connsiteY308" fmla="*/ 3503986 h 6785945"/>
              <a:gd name="connsiteX309" fmla="*/ 7763122 w 8497013"/>
              <a:gd name="connsiteY309" fmla="*/ 3509568 h 6785945"/>
              <a:gd name="connsiteX310" fmla="*/ 7795147 w 8497013"/>
              <a:gd name="connsiteY310" fmla="*/ 3526208 h 6785945"/>
              <a:gd name="connsiteX311" fmla="*/ 7811787 w 8497013"/>
              <a:gd name="connsiteY311" fmla="*/ 3553746 h 6785945"/>
              <a:gd name="connsiteX312" fmla="*/ 7815767 w 8497013"/>
              <a:gd name="connsiteY312" fmla="*/ 3592021 h 6785945"/>
              <a:gd name="connsiteX313" fmla="*/ 7809810 w 8497013"/>
              <a:gd name="connsiteY313" fmla="*/ 3640873 h 6785945"/>
              <a:gd name="connsiteX314" fmla="*/ 7763068 w 8497013"/>
              <a:gd name="connsiteY314" fmla="*/ 3887939 h 6785945"/>
              <a:gd name="connsiteX315" fmla="*/ 7682939 w 8497013"/>
              <a:gd name="connsiteY315" fmla="*/ 3887939 h 6785945"/>
              <a:gd name="connsiteX316" fmla="*/ 7709648 w 8497013"/>
              <a:gd name="connsiteY316" fmla="*/ 3677600 h 6785945"/>
              <a:gd name="connsiteX317" fmla="*/ 7668644 w 8497013"/>
              <a:gd name="connsiteY317" fmla="*/ 3673635 h 6785945"/>
              <a:gd name="connsiteX318" fmla="*/ 7637031 w 8497013"/>
              <a:gd name="connsiteY318" fmla="*/ 3659654 h 6785945"/>
              <a:gd name="connsiteX319" fmla="*/ 7616686 w 8497013"/>
              <a:gd name="connsiteY319" fmla="*/ 3632527 h 6785945"/>
              <a:gd name="connsiteX320" fmla="*/ 7609487 w 8497013"/>
              <a:gd name="connsiteY320" fmla="*/ 3589124 h 6785945"/>
              <a:gd name="connsiteX321" fmla="*/ 7617207 w 8497013"/>
              <a:gd name="connsiteY321" fmla="*/ 3546946 h 6785945"/>
              <a:gd name="connsiteX322" fmla="*/ 7638700 w 8497013"/>
              <a:gd name="connsiteY322" fmla="*/ 3520888 h 6785945"/>
              <a:gd name="connsiteX323" fmla="*/ 7671461 w 8497013"/>
              <a:gd name="connsiteY323" fmla="*/ 3507664 h 6785945"/>
              <a:gd name="connsiteX324" fmla="*/ 4062097 w 8497013"/>
              <a:gd name="connsiteY324" fmla="*/ 3353744 h 6785945"/>
              <a:gd name="connsiteX325" fmla="*/ 4966889 w 8497013"/>
              <a:gd name="connsiteY325" fmla="*/ 3353744 h 6785945"/>
              <a:gd name="connsiteX326" fmla="*/ 4966889 w 8497013"/>
              <a:gd name="connsiteY326" fmla="*/ 3460582 h 6785945"/>
              <a:gd name="connsiteX327" fmla="*/ 4062097 w 8497013"/>
              <a:gd name="connsiteY327" fmla="*/ 3460582 h 6785945"/>
              <a:gd name="connsiteX328" fmla="*/ 2550201 w 8497013"/>
              <a:gd name="connsiteY328" fmla="*/ 3353744 h 6785945"/>
              <a:gd name="connsiteX329" fmla="*/ 3454992 w 8497013"/>
              <a:gd name="connsiteY329" fmla="*/ 3353744 h 6785945"/>
              <a:gd name="connsiteX330" fmla="*/ 3454992 w 8497013"/>
              <a:gd name="connsiteY330" fmla="*/ 3460582 h 6785945"/>
              <a:gd name="connsiteX331" fmla="*/ 2550201 w 8497013"/>
              <a:gd name="connsiteY331" fmla="*/ 3460582 h 6785945"/>
              <a:gd name="connsiteX332" fmla="*/ 4062097 w 8497013"/>
              <a:gd name="connsiteY332" fmla="*/ 3004848 h 6785945"/>
              <a:gd name="connsiteX333" fmla="*/ 4966889 w 8497013"/>
              <a:gd name="connsiteY333" fmla="*/ 3004848 h 6785945"/>
              <a:gd name="connsiteX334" fmla="*/ 4966889 w 8497013"/>
              <a:gd name="connsiteY334" fmla="*/ 3111686 h 6785945"/>
              <a:gd name="connsiteX335" fmla="*/ 4062097 w 8497013"/>
              <a:gd name="connsiteY335" fmla="*/ 3111686 h 6785945"/>
              <a:gd name="connsiteX336" fmla="*/ 2550201 w 8497013"/>
              <a:gd name="connsiteY336" fmla="*/ 3004848 h 6785945"/>
              <a:gd name="connsiteX337" fmla="*/ 3454992 w 8497013"/>
              <a:gd name="connsiteY337" fmla="*/ 3004848 h 6785945"/>
              <a:gd name="connsiteX338" fmla="*/ 3454992 w 8497013"/>
              <a:gd name="connsiteY338" fmla="*/ 3111686 h 6785945"/>
              <a:gd name="connsiteX339" fmla="*/ 2550201 w 8497013"/>
              <a:gd name="connsiteY339" fmla="*/ 3111686 h 6785945"/>
              <a:gd name="connsiteX340" fmla="*/ 7712987 w 8497013"/>
              <a:gd name="connsiteY340" fmla="*/ 2802855 h 6785945"/>
              <a:gd name="connsiteX341" fmla="*/ 7755217 w 8497013"/>
              <a:gd name="connsiteY341" fmla="*/ 2806324 h 6785945"/>
              <a:gd name="connsiteX342" fmla="*/ 7787900 w 8497013"/>
              <a:gd name="connsiteY342" fmla="*/ 2819339 h 6785945"/>
              <a:gd name="connsiteX343" fmla="*/ 7809002 w 8497013"/>
              <a:gd name="connsiteY343" fmla="*/ 2845814 h 6785945"/>
              <a:gd name="connsiteX344" fmla="*/ 7816489 w 8497013"/>
              <a:gd name="connsiteY344" fmla="*/ 2889661 h 6785945"/>
              <a:gd name="connsiteX345" fmla="*/ 7809002 w 8497013"/>
              <a:gd name="connsiteY345" fmla="*/ 2932099 h 6785945"/>
              <a:gd name="connsiteX346" fmla="*/ 7787900 w 8497013"/>
              <a:gd name="connsiteY346" fmla="*/ 2958731 h 6785945"/>
              <a:gd name="connsiteX347" fmla="*/ 7755217 w 8497013"/>
              <a:gd name="connsiteY347" fmla="*/ 2972529 h 6785945"/>
              <a:gd name="connsiteX348" fmla="*/ 7712987 w 8497013"/>
              <a:gd name="connsiteY348" fmla="*/ 2976468 h 6785945"/>
              <a:gd name="connsiteX349" fmla="*/ 7671722 w 8497013"/>
              <a:gd name="connsiteY349" fmla="*/ 2972529 h 6785945"/>
              <a:gd name="connsiteX350" fmla="*/ 7639535 w 8497013"/>
              <a:gd name="connsiteY350" fmla="*/ 2958731 h 6785945"/>
              <a:gd name="connsiteX351" fmla="*/ 7618615 w 8497013"/>
              <a:gd name="connsiteY351" fmla="*/ 2932099 h 6785945"/>
              <a:gd name="connsiteX352" fmla="*/ 7611156 w 8497013"/>
              <a:gd name="connsiteY352" fmla="*/ 2889661 h 6785945"/>
              <a:gd name="connsiteX353" fmla="*/ 7618615 w 8497013"/>
              <a:gd name="connsiteY353" fmla="*/ 2845814 h 6785945"/>
              <a:gd name="connsiteX354" fmla="*/ 7639535 w 8497013"/>
              <a:gd name="connsiteY354" fmla="*/ 2819339 h 6785945"/>
              <a:gd name="connsiteX355" fmla="*/ 7671722 w 8497013"/>
              <a:gd name="connsiteY355" fmla="*/ 2806324 h 6785945"/>
              <a:gd name="connsiteX356" fmla="*/ 6558381 w 8497013"/>
              <a:gd name="connsiteY356" fmla="*/ 2482346 h 6785945"/>
              <a:gd name="connsiteX357" fmla="*/ 6611451 w 8497013"/>
              <a:gd name="connsiteY357" fmla="*/ 2484222 h 6785945"/>
              <a:gd name="connsiteX358" fmla="*/ 6660572 w 8497013"/>
              <a:gd name="connsiteY358" fmla="*/ 2489799 h 6785945"/>
              <a:gd name="connsiteX359" fmla="*/ 6705877 w 8497013"/>
              <a:gd name="connsiteY359" fmla="*/ 2498994 h 6785945"/>
              <a:gd name="connsiteX360" fmla="*/ 6747499 w 8497013"/>
              <a:gd name="connsiteY360" fmla="*/ 2511726 h 6785945"/>
              <a:gd name="connsiteX361" fmla="*/ 6785570 w 8497013"/>
              <a:gd name="connsiteY361" fmla="*/ 2527914 h 6785945"/>
              <a:gd name="connsiteX362" fmla="*/ 6820223 w 8497013"/>
              <a:gd name="connsiteY362" fmla="*/ 2547475 h 6785945"/>
              <a:gd name="connsiteX363" fmla="*/ 6851590 w 8497013"/>
              <a:gd name="connsiteY363" fmla="*/ 2570330 h 6785945"/>
              <a:gd name="connsiteX364" fmla="*/ 6879805 w 8497013"/>
              <a:gd name="connsiteY364" fmla="*/ 2596396 h 6785945"/>
              <a:gd name="connsiteX365" fmla="*/ 6905001 w 8497013"/>
              <a:gd name="connsiteY365" fmla="*/ 2625592 h 6785945"/>
              <a:gd name="connsiteX366" fmla="*/ 6927309 w 8497013"/>
              <a:gd name="connsiteY366" fmla="*/ 2657837 h 6785945"/>
              <a:gd name="connsiteX367" fmla="*/ 6946862 w 8497013"/>
              <a:gd name="connsiteY367" fmla="*/ 2693049 h 6785945"/>
              <a:gd name="connsiteX368" fmla="*/ 6963794 w 8497013"/>
              <a:gd name="connsiteY368" fmla="*/ 2731147 h 6785945"/>
              <a:gd name="connsiteX369" fmla="*/ 6978237 w 8497013"/>
              <a:gd name="connsiteY369" fmla="*/ 2772049 h 6785945"/>
              <a:gd name="connsiteX370" fmla="*/ 6990324 w 8497013"/>
              <a:gd name="connsiteY370" fmla="*/ 2815675 h 6785945"/>
              <a:gd name="connsiteX371" fmla="*/ 7000187 w 8497013"/>
              <a:gd name="connsiteY371" fmla="*/ 2861942 h 6785945"/>
              <a:gd name="connsiteX372" fmla="*/ 7007959 w 8497013"/>
              <a:gd name="connsiteY372" fmla="*/ 2910770 h 6785945"/>
              <a:gd name="connsiteX373" fmla="*/ 7013773 w 8497013"/>
              <a:gd name="connsiteY373" fmla="*/ 2962076 h 6785945"/>
              <a:gd name="connsiteX374" fmla="*/ 7017761 w 8497013"/>
              <a:gd name="connsiteY374" fmla="*/ 3015781 h 6785945"/>
              <a:gd name="connsiteX375" fmla="*/ 7020057 w 8497013"/>
              <a:gd name="connsiteY375" fmla="*/ 3071801 h 6785945"/>
              <a:gd name="connsiteX376" fmla="*/ 7020793 w 8497013"/>
              <a:gd name="connsiteY376" fmla="*/ 3130057 h 6785945"/>
              <a:gd name="connsiteX377" fmla="*/ 7020093 w 8497013"/>
              <a:gd name="connsiteY377" fmla="*/ 3188562 h 6785945"/>
              <a:gd name="connsiteX378" fmla="*/ 7017896 w 8497013"/>
              <a:gd name="connsiteY378" fmla="*/ 3244832 h 6785945"/>
              <a:gd name="connsiteX379" fmla="*/ 7014060 w 8497013"/>
              <a:gd name="connsiteY379" fmla="*/ 3298782 h 6785945"/>
              <a:gd name="connsiteX380" fmla="*/ 7008439 w 8497013"/>
              <a:gd name="connsiteY380" fmla="*/ 3350332 h 6785945"/>
              <a:gd name="connsiteX381" fmla="*/ 7000891 w 8497013"/>
              <a:gd name="connsiteY381" fmla="*/ 3399397 h 6785945"/>
              <a:gd name="connsiteX382" fmla="*/ 6991270 w 8497013"/>
              <a:gd name="connsiteY382" fmla="*/ 3445896 h 6785945"/>
              <a:gd name="connsiteX383" fmla="*/ 6979433 w 8497013"/>
              <a:gd name="connsiteY383" fmla="*/ 3489745 h 6785945"/>
              <a:gd name="connsiteX384" fmla="*/ 6965236 w 8497013"/>
              <a:gd name="connsiteY384" fmla="*/ 3530863 h 6785945"/>
              <a:gd name="connsiteX385" fmla="*/ 6948536 w 8497013"/>
              <a:gd name="connsiteY385" fmla="*/ 3569166 h 6785945"/>
              <a:gd name="connsiteX386" fmla="*/ 6929187 w 8497013"/>
              <a:gd name="connsiteY386" fmla="*/ 3604572 h 6785945"/>
              <a:gd name="connsiteX387" fmla="*/ 6907046 w 8497013"/>
              <a:gd name="connsiteY387" fmla="*/ 3636998 h 6785945"/>
              <a:gd name="connsiteX388" fmla="*/ 6881969 w 8497013"/>
              <a:gd name="connsiteY388" fmla="*/ 3666361 h 6785945"/>
              <a:gd name="connsiteX389" fmla="*/ 6853812 w 8497013"/>
              <a:gd name="connsiteY389" fmla="*/ 3692580 h 6785945"/>
              <a:gd name="connsiteX390" fmla="*/ 6822431 w 8497013"/>
              <a:gd name="connsiteY390" fmla="*/ 3715570 h 6785945"/>
              <a:gd name="connsiteX391" fmla="*/ 6787683 w 8497013"/>
              <a:gd name="connsiteY391" fmla="*/ 3735251 h 6785945"/>
              <a:gd name="connsiteX392" fmla="*/ 6749422 w 8497013"/>
              <a:gd name="connsiteY392" fmla="*/ 3751538 h 6785945"/>
              <a:gd name="connsiteX393" fmla="*/ 6707505 w 8497013"/>
              <a:gd name="connsiteY393" fmla="*/ 3764350 h 6785945"/>
              <a:gd name="connsiteX394" fmla="*/ 6661789 w 8497013"/>
              <a:gd name="connsiteY394" fmla="*/ 3773604 h 6785945"/>
              <a:gd name="connsiteX395" fmla="*/ 6612129 w 8497013"/>
              <a:gd name="connsiteY395" fmla="*/ 3779217 h 6785945"/>
              <a:gd name="connsiteX396" fmla="*/ 6558381 w 8497013"/>
              <a:gd name="connsiteY396" fmla="*/ 3781106 h 6785945"/>
              <a:gd name="connsiteX397" fmla="*/ 6558381 w 8497013"/>
              <a:gd name="connsiteY397" fmla="*/ 3684284 h 6785945"/>
              <a:gd name="connsiteX398" fmla="*/ 6608066 w 8497013"/>
              <a:gd name="connsiteY398" fmla="*/ 3682051 h 6785945"/>
              <a:gd name="connsiteX399" fmla="*/ 6652986 w 8497013"/>
              <a:gd name="connsiteY399" fmla="*/ 3675430 h 6785945"/>
              <a:gd name="connsiteX400" fmla="*/ 6693369 w 8497013"/>
              <a:gd name="connsiteY400" fmla="*/ 3664541 h 6785945"/>
              <a:gd name="connsiteX401" fmla="*/ 6729440 w 8497013"/>
              <a:gd name="connsiteY401" fmla="*/ 3649501 h 6785945"/>
              <a:gd name="connsiteX402" fmla="*/ 6789551 w 8497013"/>
              <a:gd name="connsiteY402" fmla="*/ 3607441 h 6785945"/>
              <a:gd name="connsiteX403" fmla="*/ 6835130 w 8497013"/>
              <a:gd name="connsiteY403" fmla="*/ 3550197 h 6785945"/>
              <a:gd name="connsiteX404" fmla="*/ 6853036 w 8497013"/>
              <a:gd name="connsiteY404" fmla="*/ 3516176 h 6785945"/>
              <a:gd name="connsiteX405" fmla="*/ 6867988 w 8497013"/>
              <a:gd name="connsiteY405" fmla="*/ 3478715 h 6785945"/>
              <a:gd name="connsiteX406" fmla="*/ 6880212 w 8497013"/>
              <a:gd name="connsiteY406" fmla="*/ 3437930 h 6785945"/>
              <a:gd name="connsiteX407" fmla="*/ 6889935 w 8497013"/>
              <a:gd name="connsiteY407" fmla="*/ 3393940 h 6785945"/>
              <a:gd name="connsiteX408" fmla="*/ 6897382 w 8497013"/>
              <a:gd name="connsiteY408" fmla="*/ 3346863 h 6785945"/>
              <a:gd name="connsiteX409" fmla="*/ 6902781 w 8497013"/>
              <a:gd name="connsiteY409" fmla="*/ 3296819 h 6785945"/>
              <a:gd name="connsiteX410" fmla="*/ 6906357 w 8497013"/>
              <a:gd name="connsiteY410" fmla="*/ 3243924 h 6785945"/>
              <a:gd name="connsiteX411" fmla="*/ 6908336 w 8497013"/>
              <a:gd name="connsiteY411" fmla="*/ 3188297 h 6785945"/>
              <a:gd name="connsiteX412" fmla="*/ 6908946 w 8497013"/>
              <a:gd name="connsiteY412" fmla="*/ 3130057 h 6785945"/>
              <a:gd name="connsiteX413" fmla="*/ 6908304 w 8497013"/>
              <a:gd name="connsiteY413" fmla="*/ 3072388 h 6785945"/>
              <a:gd name="connsiteX414" fmla="*/ 6906234 w 8497013"/>
              <a:gd name="connsiteY414" fmla="*/ 3017299 h 6785945"/>
              <a:gd name="connsiteX415" fmla="*/ 6902524 w 8497013"/>
              <a:gd name="connsiteY415" fmla="*/ 2964906 h 6785945"/>
              <a:gd name="connsiteX416" fmla="*/ 6896958 w 8497013"/>
              <a:gd name="connsiteY416" fmla="*/ 2915330 h 6785945"/>
              <a:gd name="connsiteX417" fmla="*/ 6889323 w 8497013"/>
              <a:gd name="connsiteY417" fmla="*/ 2868686 h 6785945"/>
              <a:gd name="connsiteX418" fmla="*/ 6879405 w 8497013"/>
              <a:gd name="connsiteY418" fmla="*/ 2825095 h 6785945"/>
              <a:gd name="connsiteX419" fmla="*/ 6866989 w 8497013"/>
              <a:gd name="connsiteY419" fmla="*/ 2784674 h 6785945"/>
              <a:gd name="connsiteX420" fmla="*/ 6851862 w 8497013"/>
              <a:gd name="connsiteY420" fmla="*/ 2747542 h 6785945"/>
              <a:gd name="connsiteX421" fmla="*/ 6833809 w 8497013"/>
              <a:gd name="connsiteY421" fmla="*/ 2713816 h 6785945"/>
              <a:gd name="connsiteX422" fmla="*/ 6788071 w 8497013"/>
              <a:gd name="connsiteY422" fmla="*/ 2657057 h 6785945"/>
              <a:gd name="connsiteX423" fmla="*/ 6728062 w 8497013"/>
              <a:gd name="connsiteY423" fmla="*/ 2615344 h 6785945"/>
              <a:gd name="connsiteX424" fmla="*/ 6692170 w 8497013"/>
              <a:gd name="connsiteY424" fmla="*/ 2600425 h 6785945"/>
              <a:gd name="connsiteX425" fmla="*/ 6652069 w 8497013"/>
              <a:gd name="connsiteY425" fmla="*/ 2589622 h 6785945"/>
              <a:gd name="connsiteX426" fmla="*/ 6607544 w 8497013"/>
              <a:gd name="connsiteY426" fmla="*/ 2583054 h 6785945"/>
              <a:gd name="connsiteX427" fmla="*/ 6558381 w 8497013"/>
              <a:gd name="connsiteY427" fmla="*/ 2580838 h 6785945"/>
              <a:gd name="connsiteX428" fmla="*/ 6041510 w 8497013"/>
              <a:gd name="connsiteY428" fmla="*/ 2482346 h 6785945"/>
              <a:gd name="connsiteX429" fmla="*/ 6041510 w 8497013"/>
              <a:gd name="connsiteY429" fmla="*/ 2580838 h 6785945"/>
              <a:gd name="connsiteX430" fmla="*/ 5992624 w 8497013"/>
              <a:gd name="connsiteY430" fmla="*/ 2583054 h 6785945"/>
              <a:gd name="connsiteX431" fmla="*/ 5948343 w 8497013"/>
              <a:gd name="connsiteY431" fmla="*/ 2589622 h 6785945"/>
              <a:gd name="connsiteX432" fmla="*/ 5908457 w 8497013"/>
              <a:gd name="connsiteY432" fmla="*/ 2600425 h 6785945"/>
              <a:gd name="connsiteX433" fmla="*/ 5872751 w 8497013"/>
              <a:gd name="connsiteY433" fmla="*/ 2615344 h 6785945"/>
              <a:gd name="connsiteX434" fmla="*/ 5813036 w 8497013"/>
              <a:gd name="connsiteY434" fmla="*/ 2657057 h 6785945"/>
              <a:gd name="connsiteX435" fmla="*/ 5767502 w 8497013"/>
              <a:gd name="connsiteY435" fmla="*/ 2713816 h 6785945"/>
              <a:gd name="connsiteX436" fmla="*/ 5749523 w 8497013"/>
              <a:gd name="connsiteY436" fmla="*/ 2747542 h 6785945"/>
              <a:gd name="connsiteX437" fmla="*/ 5734453 w 8497013"/>
              <a:gd name="connsiteY437" fmla="*/ 2784674 h 6785945"/>
              <a:gd name="connsiteX438" fmla="*/ 5722081 w 8497013"/>
              <a:gd name="connsiteY438" fmla="*/ 2825095 h 6785945"/>
              <a:gd name="connsiteX439" fmla="*/ 5712193 w 8497013"/>
              <a:gd name="connsiteY439" fmla="*/ 2868686 h 6785945"/>
              <a:gd name="connsiteX440" fmla="*/ 5704579 w 8497013"/>
              <a:gd name="connsiteY440" fmla="*/ 2915330 h 6785945"/>
              <a:gd name="connsiteX441" fmla="*/ 5699026 w 8497013"/>
              <a:gd name="connsiteY441" fmla="*/ 2964906 h 6785945"/>
              <a:gd name="connsiteX442" fmla="*/ 5695322 w 8497013"/>
              <a:gd name="connsiteY442" fmla="*/ 3017299 h 6785945"/>
              <a:gd name="connsiteX443" fmla="*/ 5693255 w 8497013"/>
              <a:gd name="connsiteY443" fmla="*/ 3072388 h 6785945"/>
              <a:gd name="connsiteX444" fmla="*/ 5692613 w 8497013"/>
              <a:gd name="connsiteY444" fmla="*/ 3130057 h 6785945"/>
              <a:gd name="connsiteX445" fmla="*/ 5693239 w 8497013"/>
              <a:gd name="connsiteY445" fmla="*/ 3188297 h 6785945"/>
              <a:gd name="connsiteX446" fmla="*/ 5695261 w 8497013"/>
              <a:gd name="connsiteY446" fmla="*/ 3243924 h 6785945"/>
              <a:gd name="connsiteX447" fmla="*/ 5698898 w 8497013"/>
              <a:gd name="connsiteY447" fmla="*/ 3296819 h 6785945"/>
              <a:gd name="connsiteX448" fmla="*/ 5704367 w 8497013"/>
              <a:gd name="connsiteY448" fmla="*/ 3346863 h 6785945"/>
              <a:gd name="connsiteX449" fmla="*/ 5711888 w 8497013"/>
              <a:gd name="connsiteY449" fmla="*/ 3393940 h 6785945"/>
              <a:gd name="connsiteX450" fmla="*/ 5721677 w 8497013"/>
              <a:gd name="connsiteY450" fmla="*/ 3437930 h 6785945"/>
              <a:gd name="connsiteX451" fmla="*/ 5733954 w 8497013"/>
              <a:gd name="connsiteY451" fmla="*/ 3478715 h 6785945"/>
              <a:gd name="connsiteX452" fmla="*/ 5748936 w 8497013"/>
              <a:gd name="connsiteY452" fmla="*/ 3516176 h 6785945"/>
              <a:gd name="connsiteX453" fmla="*/ 5766842 w 8497013"/>
              <a:gd name="connsiteY453" fmla="*/ 3550197 h 6785945"/>
              <a:gd name="connsiteX454" fmla="*/ 5812296 w 8497013"/>
              <a:gd name="connsiteY454" fmla="*/ 3607441 h 6785945"/>
              <a:gd name="connsiteX455" fmla="*/ 5872062 w 8497013"/>
              <a:gd name="connsiteY455" fmla="*/ 3649501 h 6785945"/>
              <a:gd name="connsiteX456" fmla="*/ 5907857 w 8497013"/>
              <a:gd name="connsiteY456" fmla="*/ 3664541 h 6785945"/>
              <a:gd name="connsiteX457" fmla="*/ 5947885 w 8497013"/>
              <a:gd name="connsiteY457" fmla="*/ 3675430 h 6785945"/>
              <a:gd name="connsiteX458" fmla="*/ 5992363 w 8497013"/>
              <a:gd name="connsiteY458" fmla="*/ 3682051 h 6785945"/>
              <a:gd name="connsiteX459" fmla="*/ 6041510 w 8497013"/>
              <a:gd name="connsiteY459" fmla="*/ 3684284 h 6785945"/>
              <a:gd name="connsiteX460" fmla="*/ 6041510 w 8497013"/>
              <a:gd name="connsiteY460" fmla="*/ 3781106 h 6785945"/>
              <a:gd name="connsiteX461" fmla="*/ 5987987 w 8497013"/>
              <a:gd name="connsiteY461" fmla="*/ 3779217 h 6785945"/>
              <a:gd name="connsiteX462" fmla="*/ 5938507 w 8497013"/>
              <a:gd name="connsiteY462" fmla="*/ 3773604 h 6785945"/>
              <a:gd name="connsiteX463" fmla="*/ 5892927 w 8497013"/>
              <a:gd name="connsiteY463" fmla="*/ 3764350 h 6785945"/>
              <a:gd name="connsiteX464" fmla="*/ 5851109 w 8497013"/>
              <a:gd name="connsiteY464" fmla="*/ 3751538 h 6785945"/>
              <a:gd name="connsiteX465" fmla="*/ 5812912 w 8497013"/>
              <a:gd name="connsiteY465" fmla="*/ 3735251 h 6785945"/>
              <a:gd name="connsiteX466" fmla="*/ 5778195 w 8497013"/>
              <a:gd name="connsiteY466" fmla="*/ 3715570 h 6785945"/>
              <a:gd name="connsiteX467" fmla="*/ 5746818 w 8497013"/>
              <a:gd name="connsiteY467" fmla="*/ 3692580 h 6785945"/>
              <a:gd name="connsiteX468" fmla="*/ 5718642 w 8497013"/>
              <a:gd name="connsiteY468" fmla="*/ 3666361 h 6785945"/>
              <a:gd name="connsiteX469" fmla="*/ 5693526 w 8497013"/>
              <a:gd name="connsiteY469" fmla="*/ 3636998 h 6785945"/>
              <a:gd name="connsiteX470" fmla="*/ 5671329 w 8497013"/>
              <a:gd name="connsiteY470" fmla="*/ 3604572 h 6785945"/>
              <a:gd name="connsiteX471" fmla="*/ 5651912 w 8497013"/>
              <a:gd name="connsiteY471" fmla="*/ 3569166 h 6785945"/>
              <a:gd name="connsiteX472" fmla="*/ 5635134 w 8497013"/>
              <a:gd name="connsiteY472" fmla="*/ 3530863 h 6785945"/>
              <a:gd name="connsiteX473" fmla="*/ 5620855 w 8497013"/>
              <a:gd name="connsiteY473" fmla="*/ 3489745 h 6785945"/>
              <a:gd name="connsiteX474" fmla="*/ 5608935 w 8497013"/>
              <a:gd name="connsiteY474" fmla="*/ 3445896 h 6785945"/>
              <a:gd name="connsiteX475" fmla="*/ 5599234 w 8497013"/>
              <a:gd name="connsiteY475" fmla="*/ 3399397 h 6785945"/>
              <a:gd name="connsiteX476" fmla="*/ 5591611 w 8497013"/>
              <a:gd name="connsiteY476" fmla="*/ 3350332 h 6785945"/>
              <a:gd name="connsiteX477" fmla="*/ 5585926 w 8497013"/>
              <a:gd name="connsiteY477" fmla="*/ 3298782 h 6785945"/>
              <a:gd name="connsiteX478" fmla="*/ 5582039 w 8497013"/>
              <a:gd name="connsiteY478" fmla="*/ 3244832 h 6785945"/>
              <a:gd name="connsiteX479" fmla="*/ 5579809 w 8497013"/>
              <a:gd name="connsiteY479" fmla="*/ 3188562 h 6785945"/>
              <a:gd name="connsiteX480" fmla="*/ 5579098 w 8497013"/>
              <a:gd name="connsiteY480" fmla="*/ 3130057 h 6785945"/>
              <a:gd name="connsiteX481" fmla="*/ 5579833 w 8497013"/>
              <a:gd name="connsiteY481" fmla="*/ 3071801 h 6785945"/>
              <a:gd name="connsiteX482" fmla="*/ 5582129 w 8497013"/>
              <a:gd name="connsiteY482" fmla="*/ 3015781 h 6785945"/>
              <a:gd name="connsiteX483" fmla="*/ 5586118 w 8497013"/>
              <a:gd name="connsiteY483" fmla="*/ 2962076 h 6785945"/>
              <a:gd name="connsiteX484" fmla="*/ 5591931 w 8497013"/>
              <a:gd name="connsiteY484" fmla="*/ 2910770 h 6785945"/>
              <a:gd name="connsiteX485" fmla="*/ 5599704 w 8497013"/>
              <a:gd name="connsiteY485" fmla="*/ 2861942 h 6785945"/>
              <a:gd name="connsiteX486" fmla="*/ 5609567 w 8497013"/>
              <a:gd name="connsiteY486" fmla="*/ 2815675 h 6785945"/>
              <a:gd name="connsiteX487" fmla="*/ 5621653 w 8497013"/>
              <a:gd name="connsiteY487" fmla="*/ 2772049 h 6785945"/>
              <a:gd name="connsiteX488" fmla="*/ 5636096 w 8497013"/>
              <a:gd name="connsiteY488" fmla="*/ 2731147 h 6785945"/>
              <a:gd name="connsiteX489" fmla="*/ 5653028 w 8497013"/>
              <a:gd name="connsiteY489" fmla="*/ 2693049 h 6785945"/>
              <a:gd name="connsiteX490" fmla="*/ 5672581 w 8497013"/>
              <a:gd name="connsiteY490" fmla="*/ 2657837 h 6785945"/>
              <a:gd name="connsiteX491" fmla="*/ 5694889 w 8497013"/>
              <a:gd name="connsiteY491" fmla="*/ 2625592 h 6785945"/>
              <a:gd name="connsiteX492" fmla="*/ 5720085 w 8497013"/>
              <a:gd name="connsiteY492" fmla="*/ 2596396 h 6785945"/>
              <a:gd name="connsiteX493" fmla="*/ 5748300 w 8497013"/>
              <a:gd name="connsiteY493" fmla="*/ 2570330 h 6785945"/>
              <a:gd name="connsiteX494" fmla="*/ 5779667 w 8497013"/>
              <a:gd name="connsiteY494" fmla="*/ 2547475 h 6785945"/>
              <a:gd name="connsiteX495" fmla="*/ 5814320 w 8497013"/>
              <a:gd name="connsiteY495" fmla="*/ 2527914 h 6785945"/>
              <a:gd name="connsiteX496" fmla="*/ 5852391 w 8497013"/>
              <a:gd name="connsiteY496" fmla="*/ 2511726 h 6785945"/>
              <a:gd name="connsiteX497" fmla="*/ 5894013 w 8497013"/>
              <a:gd name="connsiteY497" fmla="*/ 2498994 h 6785945"/>
              <a:gd name="connsiteX498" fmla="*/ 5939318 w 8497013"/>
              <a:gd name="connsiteY498" fmla="*/ 2489799 h 6785945"/>
              <a:gd name="connsiteX499" fmla="*/ 5988439 w 8497013"/>
              <a:gd name="connsiteY499" fmla="*/ 2484222 h 6785945"/>
              <a:gd name="connsiteX500" fmla="*/ 5337245 w 8497013"/>
              <a:gd name="connsiteY500" fmla="*/ 1851325 h 6785945"/>
              <a:gd name="connsiteX501" fmla="*/ 6242037 w 8497013"/>
              <a:gd name="connsiteY501" fmla="*/ 1851325 h 6785945"/>
              <a:gd name="connsiteX502" fmla="*/ 6242037 w 8497013"/>
              <a:gd name="connsiteY502" fmla="*/ 1958164 h 6785945"/>
              <a:gd name="connsiteX503" fmla="*/ 5337245 w 8497013"/>
              <a:gd name="connsiteY503" fmla="*/ 1958164 h 6785945"/>
              <a:gd name="connsiteX504" fmla="*/ 3825296 w 8497013"/>
              <a:gd name="connsiteY504" fmla="*/ 1851325 h 6785945"/>
              <a:gd name="connsiteX505" fmla="*/ 4730088 w 8497013"/>
              <a:gd name="connsiteY505" fmla="*/ 1851325 h 6785945"/>
              <a:gd name="connsiteX506" fmla="*/ 4730088 w 8497013"/>
              <a:gd name="connsiteY506" fmla="*/ 1958164 h 6785945"/>
              <a:gd name="connsiteX507" fmla="*/ 3825296 w 8497013"/>
              <a:gd name="connsiteY507" fmla="*/ 1958164 h 6785945"/>
              <a:gd name="connsiteX508" fmla="*/ 6849172 w 8497013"/>
              <a:gd name="connsiteY508" fmla="*/ 1681043 h 6785945"/>
              <a:gd name="connsiteX509" fmla="*/ 7326608 w 8497013"/>
              <a:gd name="connsiteY509" fmla="*/ 1681043 h 6785945"/>
              <a:gd name="connsiteX510" fmla="*/ 7326608 w 8497013"/>
              <a:gd name="connsiteY510" fmla="*/ 1786212 h 6785945"/>
              <a:gd name="connsiteX511" fmla="*/ 6849172 w 8497013"/>
              <a:gd name="connsiteY511" fmla="*/ 1786212 h 6785945"/>
              <a:gd name="connsiteX512" fmla="*/ 5337245 w 8497013"/>
              <a:gd name="connsiteY512" fmla="*/ 1502429 h 6785945"/>
              <a:gd name="connsiteX513" fmla="*/ 6242037 w 8497013"/>
              <a:gd name="connsiteY513" fmla="*/ 1502429 h 6785945"/>
              <a:gd name="connsiteX514" fmla="*/ 6242037 w 8497013"/>
              <a:gd name="connsiteY514" fmla="*/ 1609267 h 6785945"/>
              <a:gd name="connsiteX515" fmla="*/ 5337245 w 8497013"/>
              <a:gd name="connsiteY515" fmla="*/ 1609267 h 6785945"/>
              <a:gd name="connsiteX516" fmla="*/ 3825296 w 8497013"/>
              <a:gd name="connsiteY516" fmla="*/ 1502429 h 6785945"/>
              <a:gd name="connsiteX517" fmla="*/ 4730088 w 8497013"/>
              <a:gd name="connsiteY517" fmla="*/ 1502429 h 6785945"/>
              <a:gd name="connsiteX518" fmla="*/ 4730088 w 8497013"/>
              <a:gd name="connsiteY518" fmla="*/ 1609267 h 6785945"/>
              <a:gd name="connsiteX519" fmla="*/ 3825296 w 8497013"/>
              <a:gd name="connsiteY519" fmla="*/ 1609267 h 6785945"/>
              <a:gd name="connsiteX520" fmla="*/ 7037373 w 8497013"/>
              <a:gd name="connsiteY520" fmla="*/ 348896 h 6785945"/>
              <a:gd name="connsiteX521" fmla="*/ 7942165 w 8497013"/>
              <a:gd name="connsiteY521" fmla="*/ 348896 h 6785945"/>
              <a:gd name="connsiteX522" fmla="*/ 7942165 w 8497013"/>
              <a:gd name="connsiteY522" fmla="*/ 455734 h 6785945"/>
              <a:gd name="connsiteX523" fmla="*/ 7037373 w 8497013"/>
              <a:gd name="connsiteY523" fmla="*/ 455734 h 6785945"/>
              <a:gd name="connsiteX524" fmla="*/ 5525404 w 8497013"/>
              <a:gd name="connsiteY524" fmla="*/ 348896 h 6785945"/>
              <a:gd name="connsiteX525" fmla="*/ 6430196 w 8497013"/>
              <a:gd name="connsiteY525" fmla="*/ 348896 h 6785945"/>
              <a:gd name="connsiteX526" fmla="*/ 6430196 w 8497013"/>
              <a:gd name="connsiteY526" fmla="*/ 455734 h 6785945"/>
              <a:gd name="connsiteX527" fmla="*/ 5525404 w 8497013"/>
              <a:gd name="connsiteY527" fmla="*/ 455734 h 6785945"/>
              <a:gd name="connsiteX528" fmla="*/ 7037373 w 8497013"/>
              <a:gd name="connsiteY528" fmla="*/ 0 h 6785945"/>
              <a:gd name="connsiteX529" fmla="*/ 7942165 w 8497013"/>
              <a:gd name="connsiteY529" fmla="*/ 0 h 6785945"/>
              <a:gd name="connsiteX530" fmla="*/ 7942165 w 8497013"/>
              <a:gd name="connsiteY530" fmla="*/ 106839 h 6785945"/>
              <a:gd name="connsiteX531" fmla="*/ 7037373 w 8497013"/>
              <a:gd name="connsiteY531" fmla="*/ 106839 h 6785945"/>
              <a:gd name="connsiteX532" fmla="*/ 5525404 w 8497013"/>
              <a:gd name="connsiteY532" fmla="*/ 0 h 6785945"/>
              <a:gd name="connsiteX533" fmla="*/ 6430196 w 8497013"/>
              <a:gd name="connsiteY533" fmla="*/ 0 h 6785945"/>
              <a:gd name="connsiteX534" fmla="*/ 6430196 w 8497013"/>
              <a:gd name="connsiteY534" fmla="*/ 106839 h 6785945"/>
              <a:gd name="connsiteX535" fmla="*/ 5525404 w 8497013"/>
              <a:gd name="connsiteY535" fmla="*/ 106839 h 678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Lst>
            <a:rect l="l" t="t" r="r" b="b"/>
            <a:pathLst>
              <a:path w="8497013" h="6785945">
                <a:moveTo>
                  <a:pt x="8393513" y="6508832"/>
                </a:moveTo>
                <a:lnTo>
                  <a:pt x="8435743" y="6512510"/>
                </a:lnTo>
                <a:lnTo>
                  <a:pt x="8468426" y="6525734"/>
                </a:lnTo>
                <a:lnTo>
                  <a:pt x="8489527" y="6551791"/>
                </a:lnTo>
                <a:lnTo>
                  <a:pt x="8497013" y="6593969"/>
                </a:lnTo>
                <a:lnTo>
                  <a:pt x="8489527" y="6638076"/>
                </a:lnTo>
                <a:lnTo>
                  <a:pt x="8468426" y="6665125"/>
                </a:lnTo>
                <a:lnTo>
                  <a:pt x="8435743" y="6678715"/>
                </a:lnTo>
                <a:lnTo>
                  <a:pt x="8393513" y="6682444"/>
                </a:lnTo>
                <a:lnTo>
                  <a:pt x="8351283" y="6678715"/>
                </a:lnTo>
                <a:lnTo>
                  <a:pt x="8318600" y="6665125"/>
                </a:lnTo>
                <a:lnTo>
                  <a:pt x="8297498" y="6638076"/>
                </a:lnTo>
                <a:lnTo>
                  <a:pt x="8290013" y="6593969"/>
                </a:lnTo>
                <a:lnTo>
                  <a:pt x="8297733" y="6551791"/>
                </a:lnTo>
                <a:lnTo>
                  <a:pt x="8319226" y="6525734"/>
                </a:lnTo>
                <a:lnTo>
                  <a:pt x="8351987" y="6512510"/>
                </a:lnTo>
                <a:close/>
                <a:moveTo>
                  <a:pt x="5162785" y="6508832"/>
                </a:moveTo>
                <a:lnTo>
                  <a:pt x="5205015" y="6512510"/>
                </a:lnTo>
                <a:lnTo>
                  <a:pt x="5237697" y="6525734"/>
                </a:lnTo>
                <a:lnTo>
                  <a:pt x="5258799" y="6551791"/>
                </a:lnTo>
                <a:lnTo>
                  <a:pt x="5266284" y="6593969"/>
                </a:lnTo>
                <a:lnTo>
                  <a:pt x="5258799" y="6638076"/>
                </a:lnTo>
                <a:lnTo>
                  <a:pt x="5237697" y="6665125"/>
                </a:lnTo>
                <a:lnTo>
                  <a:pt x="5205015" y="6678715"/>
                </a:lnTo>
                <a:lnTo>
                  <a:pt x="5162785" y="6682444"/>
                </a:lnTo>
                <a:lnTo>
                  <a:pt x="5120555" y="6678715"/>
                </a:lnTo>
                <a:lnTo>
                  <a:pt x="5087872" y="6665125"/>
                </a:lnTo>
                <a:lnTo>
                  <a:pt x="5066771" y="6638076"/>
                </a:lnTo>
                <a:lnTo>
                  <a:pt x="5059285" y="6593969"/>
                </a:lnTo>
                <a:lnTo>
                  <a:pt x="5067005" y="6551791"/>
                </a:lnTo>
                <a:lnTo>
                  <a:pt x="5088499" y="6525734"/>
                </a:lnTo>
                <a:lnTo>
                  <a:pt x="5121260" y="6512510"/>
                </a:lnTo>
                <a:close/>
                <a:moveTo>
                  <a:pt x="6674635" y="6508827"/>
                </a:moveTo>
                <a:lnTo>
                  <a:pt x="6881636" y="6508827"/>
                </a:lnTo>
                <a:lnTo>
                  <a:pt x="6881636" y="6682440"/>
                </a:lnTo>
                <a:lnTo>
                  <a:pt x="6674635" y="6682440"/>
                </a:lnTo>
                <a:close/>
                <a:moveTo>
                  <a:pt x="1511898" y="6358592"/>
                </a:moveTo>
                <a:lnTo>
                  <a:pt x="2416689" y="6358592"/>
                </a:lnTo>
                <a:lnTo>
                  <a:pt x="2416689" y="6465429"/>
                </a:lnTo>
                <a:lnTo>
                  <a:pt x="1511898" y="6465429"/>
                </a:lnTo>
                <a:close/>
                <a:moveTo>
                  <a:pt x="0" y="6358592"/>
                </a:moveTo>
                <a:lnTo>
                  <a:pt x="904792" y="6358592"/>
                </a:lnTo>
                <a:lnTo>
                  <a:pt x="904792" y="6465429"/>
                </a:lnTo>
                <a:lnTo>
                  <a:pt x="0" y="6465429"/>
                </a:lnTo>
                <a:close/>
                <a:moveTo>
                  <a:pt x="1511898" y="6009695"/>
                </a:moveTo>
                <a:lnTo>
                  <a:pt x="2416689" y="6009695"/>
                </a:lnTo>
                <a:lnTo>
                  <a:pt x="2416689" y="6116533"/>
                </a:lnTo>
                <a:lnTo>
                  <a:pt x="1511898" y="6116533"/>
                </a:lnTo>
                <a:close/>
                <a:moveTo>
                  <a:pt x="0" y="6009695"/>
                </a:moveTo>
                <a:lnTo>
                  <a:pt x="904792" y="6009695"/>
                </a:lnTo>
                <a:lnTo>
                  <a:pt x="904792" y="6116533"/>
                </a:lnTo>
                <a:lnTo>
                  <a:pt x="0" y="6116533"/>
                </a:lnTo>
                <a:close/>
                <a:moveTo>
                  <a:pt x="8393513" y="5807701"/>
                </a:moveTo>
                <a:lnTo>
                  <a:pt x="8435743" y="5811170"/>
                </a:lnTo>
                <a:lnTo>
                  <a:pt x="8468426" y="5824185"/>
                </a:lnTo>
                <a:lnTo>
                  <a:pt x="8489527" y="5850660"/>
                </a:lnTo>
                <a:lnTo>
                  <a:pt x="8497013" y="5894506"/>
                </a:lnTo>
                <a:lnTo>
                  <a:pt x="8489527" y="5936945"/>
                </a:lnTo>
                <a:lnTo>
                  <a:pt x="8468426" y="5963576"/>
                </a:lnTo>
                <a:lnTo>
                  <a:pt x="8435743" y="5977374"/>
                </a:lnTo>
                <a:lnTo>
                  <a:pt x="8393513" y="5981313"/>
                </a:lnTo>
                <a:lnTo>
                  <a:pt x="8352248" y="5977374"/>
                </a:lnTo>
                <a:lnTo>
                  <a:pt x="8320060" y="5963576"/>
                </a:lnTo>
                <a:lnTo>
                  <a:pt x="8299141" y="5936945"/>
                </a:lnTo>
                <a:lnTo>
                  <a:pt x="8291681" y="5894506"/>
                </a:lnTo>
                <a:lnTo>
                  <a:pt x="8299141" y="5850660"/>
                </a:lnTo>
                <a:lnTo>
                  <a:pt x="8320060" y="5824185"/>
                </a:lnTo>
                <a:lnTo>
                  <a:pt x="8352248" y="5811170"/>
                </a:lnTo>
                <a:close/>
                <a:moveTo>
                  <a:pt x="5162785" y="5807701"/>
                </a:moveTo>
                <a:lnTo>
                  <a:pt x="5205015" y="5811170"/>
                </a:lnTo>
                <a:lnTo>
                  <a:pt x="5237697" y="5824185"/>
                </a:lnTo>
                <a:lnTo>
                  <a:pt x="5258799" y="5850660"/>
                </a:lnTo>
                <a:lnTo>
                  <a:pt x="5266284" y="5894506"/>
                </a:lnTo>
                <a:lnTo>
                  <a:pt x="5258799" y="5936945"/>
                </a:lnTo>
                <a:lnTo>
                  <a:pt x="5237697" y="5963576"/>
                </a:lnTo>
                <a:lnTo>
                  <a:pt x="5205015" y="5977374"/>
                </a:lnTo>
                <a:lnTo>
                  <a:pt x="5162785" y="5981313"/>
                </a:lnTo>
                <a:lnTo>
                  <a:pt x="5121521" y="5977374"/>
                </a:lnTo>
                <a:lnTo>
                  <a:pt x="5089334" y="5963576"/>
                </a:lnTo>
                <a:lnTo>
                  <a:pt x="5068415" y="5936945"/>
                </a:lnTo>
                <a:lnTo>
                  <a:pt x="5060955" y="5894506"/>
                </a:lnTo>
                <a:lnTo>
                  <a:pt x="5068415" y="5850660"/>
                </a:lnTo>
                <a:lnTo>
                  <a:pt x="5089334" y="5824185"/>
                </a:lnTo>
                <a:lnTo>
                  <a:pt x="5121521" y="5811170"/>
                </a:lnTo>
                <a:close/>
                <a:moveTo>
                  <a:pt x="4008189" y="5487184"/>
                </a:moveTo>
                <a:lnTo>
                  <a:pt x="4061259" y="5489060"/>
                </a:lnTo>
                <a:lnTo>
                  <a:pt x="4110380" y="5494637"/>
                </a:lnTo>
                <a:lnTo>
                  <a:pt x="4155685" y="5503832"/>
                </a:lnTo>
                <a:lnTo>
                  <a:pt x="4197307" y="5516564"/>
                </a:lnTo>
                <a:lnTo>
                  <a:pt x="4235378" y="5532752"/>
                </a:lnTo>
                <a:lnTo>
                  <a:pt x="4270031" y="5552313"/>
                </a:lnTo>
                <a:lnTo>
                  <a:pt x="4301398" y="5575168"/>
                </a:lnTo>
                <a:lnTo>
                  <a:pt x="4329613" y="5601234"/>
                </a:lnTo>
                <a:lnTo>
                  <a:pt x="4354810" y="5630430"/>
                </a:lnTo>
                <a:lnTo>
                  <a:pt x="4377118" y="5662675"/>
                </a:lnTo>
                <a:lnTo>
                  <a:pt x="4396671" y="5697887"/>
                </a:lnTo>
                <a:lnTo>
                  <a:pt x="4413603" y="5735985"/>
                </a:lnTo>
                <a:lnTo>
                  <a:pt x="4428046" y="5776887"/>
                </a:lnTo>
                <a:lnTo>
                  <a:pt x="4440133" y="5820513"/>
                </a:lnTo>
                <a:lnTo>
                  <a:pt x="4449996" y="5866781"/>
                </a:lnTo>
                <a:lnTo>
                  <a:pt x="4457768" y="5915609"/>
                </a:lnTo>
                <a:lnTo>
                  <a:pt x="4463582" y="5966915"/>
                </a:lnTo>
                <a:lnTo>
                  <a:pt x="4467570" y="6020620"/>
                </a:lnTo>
                <a:lnTo>
                  <a:pt x="4469866" y="6076640"/>
                </a:lnTo>
                <a:lnTo>
                  <a:pt x="4470602" y="6134896"/>
                </a:lnTo>
                <a:lnTo>
                  <a:pt x="4469902" y="6193401"/>
                </a:lnTo>
                <a:lnTo>
                  <a:pt x="4467705" y="6249671"/>
                </a:lnTo>
                <a:lnTo>
                  <a:pt x="4463869" y="6303621"/>
                </a:lnTo>
                <a:lnTo>
                  <a:pt x="4458248" y="6355171"/>
                </a:lnTo>
                <a:lnTo>
                  <a:pt x="4450700" y="6404236"/>
                </a:lnTo>
                <a:lnTo>
                  <a:pt x="4441079" y="6450735"/>
                </a:lnTo>
                <a:lnTo>
                  <a:pt x="4429242" y="6494584"/>
                </a:lnTo>
                <a:lnTo>
                  <a:pt x="4415045" y="6535702"/>
                </a:lnTo>
                <a:lnTo>
                  <a:pt x="4398345" y="6574005"/>
                </a:lnTo>
                <a:lnTo>
                  <a:pt x="4378996" y="6609411"/>
                </a:lnTo>
                <a:lnTo>
                  <a:pt x="4356855" y="6641837"/>
                </a:lnTo>
                <a:lnTo>
                  <a:pt x="4331777" y="6671200"/>
                </a:lnTo>
                <a:lnTo>
                  <a:pt x="4303620" y="6697419"/>
                </a:lnTo>
                <a:lnTo>
                  <a:pt x="4272239" y="6720409"/>
                </a:lnTo>
                <a:lnTo>
                  <a:pt x="4237491" y="6740090"/>
                </a:lnTo>
                <a:lnTo>
                  <a:pt x="4199230" y="6756377"/>
                </a:lnTo>
                <a:lnTo>
                  <a:pt x="4157313" y="6769189"/>
                </a:lnTo>
                <a:lnTo>
                  <a:pt x="4111597" y="6778443"/>
                </a:lnTo>
                <a:lnTo>
                  <a:pt x="4061937" y="6784056"/>
                </a:lnTo>
                <a:lnTo>
                  <a:pt x="4008189" y="6785945"/>
                </a:lnTo>
                <a:lnTo>
                  <a:pt x="4008189" y="6689123"/>
                </a:lnTo>
                <a:lnTo>
                  <a:pt x="4057874" y="6686890"/>
                </a:lnTo>
                <a:lnTo>
                  <a:pt x="4102795" y="6680269"/>
                </a:lnTo>
                <a:lnTo>
                  <a:pt x="4143177" y="6669380"/>
                </a:lnTo>
                <a:lnTo>
                  <a:pt x="4179248" y="6654340"/>
                </a:lnTo>
                <a:lnTo>
                  <a:pt x="4239359" y="6612280"/>
                </a:lnTo>
                <a:lnTo>
                  <a:pt x="4284939" y="6555036"/>
                </a:lnTo>
                <a:lnTo>
                  <a:pt x="4302844" y="6521015"/>
                </a:lnTo>
                <a:lnTo>
                  <a:pt x="4317796" y="6483554"/>
                </a:lnTo>
                <a:lnTo>
                  <a:pt x="4330020" y="6442769"/>
                </a:lnTo>
                <a:lnTo>
                  <a:pt x="4339743" y="6398779"/>
                </a:lnTo>
                <a:lnTo>
                  <a:pt x="4347190" y="6351702"/>
                </a:lnTo>
                <a:lnTo>
                  <a:pt x="4352590" y="6301658"/>
                </a:lnTo>
                <a:lnTo>
                  <a:pt x="4356166" y="6248763"/>
                </a:lnTo>
                <a:lnTo>
                  <a:pt x="4358145" y="6193136"/>
                </a:lnTo>
                <a:lnTo>
                  <a:pt x="4358755" y="6134896"/>
                </a:lnTo>
                <a:lnTo>
                  <a:pt x="4358113" y="6077227"/>
                </a:lnTo>
                <a:lnTo>
                  <a:pt x="4356043" y="6022138"/>
                </a:lnTo>
                <a:lnTo>
                  <a:pt x="4352333" y="5969745"/>
                </a:lnTo>
                <a:lnTo>
                  <a:pt x="4346766" y="5920169"/>
                </a:lnTo>
                <a:lnTo>
                  <a:pt x="4339131" y="5873525"/>
                </a:lnTo>
                <a:lnTo>
                  <a:pt x="4329213" y="5829933"/>
                </a:lnTo>
                <a:lnTo>
                  <a:pt x="4316797" y="5789512"/>
                </a:lnTo>
                <a:lnTo>
                  <a:pt x="4301670" y="5752380"/>
                </a:lnTo>
                <a:lnTo>
                  <a:pt x="4283617" y="5718654"/>
                </a:lnTo>
                <a:lnTo>
                  <a:pt x="4237879" y="5661895"/>
                </a:lnTo>
                <a:lnTo>
                  <a:pt x="4177870" y="5620182"/>
                </a:lnTo>
                <a:lnTo>
                  <a:pt x="4141978" y="5605263"/>
                </a:lnTo>
                <a:lnTo>
                  <a:pt x="4101877" y="5594460"/>
                </a:lnTo>
                <a:lnTo>
                  <a:pt x="4057352" y="5587892"/>
                </a:lnTo>
                <a:lnTo>
                  <a:pt x="4008189" y="5585676"/>
                </a:lnTo>
                <a:close/>
                <a:moveTo>
                  <a:pt x="3491267" y="5487184"/>
                </a:moveTo>
                <a:lnTo>
                  <a:pt x="3491267" y="5585676"/>
                </a:lnTo>
                <a:lnTo>
                  <a:pt x="3442381" y="5587892"/>
                </a:lnTo>
                <a:lnTo>
                  <a:pt x="3398103" y="5594460"/>
                </a:lnTo>
                <a:lnTo>
                  <a:pt x="3358217" y="5605263"/>
                </a:lnTo>
                <a:lnTo>
                  <a:pt x="3322510" y="5620182"/>
                </a:lnTo>
                <a:lnTo>
                  <a:pt x="3262795" y="5661895"/>
                </a:lnTo>
                <a:lnTo>
                  <a:pt x="3217261" y="5718654"/>
                </a:lnTo>
                <a:lnTo>
                  <a:pt x="3199282" y="5752380"/>
                </a:lnTo>
                <a:lnTo>
                  <a:pt x="3184213" y="5789512"/>
                </a:lnTo>
                <a:lnTo>
                  <a:pt x="3171840" y="5829933"/>
                </a:lnTo>
                <a:lnTo>
                  <a:pt x="3161952" y="5873525"/>
                </a:lnTo>
                <a:lnTo>
                  <a:pt x="3154338" y="5920169"/>
                </a:lnTo>
                <a:lnTo>
                  <a:pt x="3148785" y="5969745"/>
                </a:lnTo>
                <a:lnTo>
                  <a:pt x="3145081" y="6022138"/>
                </a:lnTo>
                <a:lnTo>
                  <a:pt x="3143014" y="6077227"/>
                </a:lnTo>
                <a:lnTo>
                  <a:pt x="3142372" y="6134896"/>
                </a:lnTo>
                <a:lnTo>
                  <a:pt x="3142997" y="6193136"/>
                </a:lnTo>
                <a:lnTo>
                  <a:pt x="3145020" y="6248763"/>
                </a:lnTo>
                <a:lnTo>
                  <a:pt x="3148657" y="6301658"/>
                </a:lnTo>
                <a:lnTo>
                  <a:pt x="3154126" y="6351702"/>
                </a:lnTo>
                <a:lnTo>
                  <a:pt x="3161647" y="6398779"/>
                </a:lnTo>
                <a:lnTo>
                  <a:pt x="3171437" y="6442769"/>
                </a:lnTo>
                <a:lnTo>
                  <a:pt x="3183713" y="6483554"/>
                </a:lnTo>
                <a:lnTo>
                  <a:pt x="3198695" y="6521015"/>
                </a:lnTo>
                <a:lnTo>
                  <a:pt x="3216602" y="6555036"/>
                </a:lnTo>
                <a:lnTo>
                  <a:pt x="3262055" y="6612280"/>
                </a:lnTo>
                <a:lnTo>
                  <a:pt x="3321821" y="6654340"/>
                </a:lnTo>
                <a:lnTo>
                  <a:pt x="3357617" y="6669380"/>
                </a:lnTo>
                <a:lnTo>
                  <a:pt x="3397644" y="6680269"/>
                </a:lnTo>
                <a:lnTo>
                  <a:pt x="3442120" y="6686890"/>
                </a:lnTo>
                <a:lnTo>
                  <a:pt x="3491267" y="6689123"/>
                </a:lnTo>
                <a:lnTo>
                  <a:pt x="3491267" y="6785945"/>
                </a:lnTo>
                <a:lnTo>
                  <a:pt x="3437744" y="6784056"/>
                </a:lnTo>
                <a:lnTo>
                  <a:pt x="3388267" y="6778443"/>
                </a:lnTo>
                <a:lnTo>
                  <a:pt x="3342687" y="6769189"/>
                </a:lnTo>
                <a:lnTo>
                  <a:pt x="3300868" y="6756377"/>
                </a:lnTo>
                <a:lnTo>
                  <a:pt x="3262672" y="6740090"/>
                </a:lnTo>
                <a:lnTo>
                  <a:pt x="3227954" y="6720409"/>
                </a:lnTo>
                <a:lnTo>
                  <a:pt x="3196577" y="6697419"/>
                </a:lnTo>
                <a:lnTo>
                  <a:pt x="3168401" y="6671200"/>
                </a:lnTo>
                <a:lnTo>
                  <a:pt x="3143286" y="6641837"/>
                </a:lnTo>
                <a:lnTo>
                  <a:pt x="3121088" y="6609411"/>
                </a:lnTo>
                <a:lnTo>
                  <a:pt x="3101671" y="6574005"/>
                </a:lnTo>
                <a:lnTo>
                  <a:pt x="3084893" y="6535702"/>
                </a:lnTo>
                <a:lnTo>
                  <a:pt x="3070614" y="6494584"/>
                </a:lnTo>
                <a:lnTo>
                  <a:pt x="3058694" y="6450735"/>
                </a:lnTo>
                <a:lnTo>
                  <a:pt x="3048993" y="6404236"/>
                </a:lnTo>
                <a:lnTo>
                  <a:pt x="3041370" y="6355171"/>
                </a:lnTo>
                <a:lnTo>
                  <a:pt x="3035685" y="6303621"/>
                </a:lnTo>
                <a:lnTo>
                  <a:pt x="3031798" y="6249671"/>
                </a:lnTo>
                <a:lnTo>
                  <a:pt x="3029568" y="6193401"/>
                </a:lnTo>
                <a:lnTo>
                  <a:pt x="3028857" y="6134896"/>
                </a:lnTo>
                <a:lnTo>
                  <a:pt x="3029592" y="6076640"/>
                </a:lnTo>
                <a:lnTo>
                  <a:pt x="3031888" y="6020620"/>
                </a:lnTo>
                <a:lnTo>
                  <a:pt x="3035877" y="5966915"/>
                </a:lnTo>
                <a:lnTo>
                  <a:pt x="3041690" y="5915609"/>
                </a:lnTo>
                <a:lnTo>
                  <a:pt x="3049463" y="5866781"/>
                </a:lnTo>
                <a:lnTo>
                  <a:pt x="3059326" y="5820513"/>
                </a:lnTo>
                <a:lnTo>
                  <a:pt x="3071412" y="5776887"/>
                </a:lnTo>
                <a:lnTo>
                  <a:pt x="3085855" y="5735985"/>
                </a:lnTo>
                <a:lnTo>
                  <a:pt x="3102787" y="5697887"/>
                </a:lnTo>
                <a:lnTo>
                  <a:pt x="3122341" y="5662675"/>
                </a:lnTo>
                <a:lnTo>
                  <a:pt x="3144649" y="5630430"/>
                </a:lnTo>
                <a:lnTo>
                  <a:pt x="3169844" y="5601234"/>
                </a:lnTo>
                <a:lnTo>
                  <a:pt x="3198060" y="5575168"/>
                </a:lnTo>
                <a:lnTo>
                  <a:pt x="3229427" y="5552313"/>
                </a:lnTo>
                <a:lnTo>
                  <a:pt x="3264079" y="5532752"/>
                </a:lnTo>
                <a:lnTo>
                  <a:pt x="3302151" y="5516564"/>
                </a:lnTo>
                <a:lnTo>
                  <a:pt x="3343773" y="5503832"/>
                </a:lnTo>
                <a:lnTo>
                  <a:pt x="3389078" y="5494637"/>
                </a:lnTo>
                <a:lnTo>
                  <a:pt x="3438196" y="5489060"/>
                </a:lnTo>
                <a:close/>
                <a:moveTo>
                  <a:pt x="5569411" y="5006403"/>
                </a:moveTo>
                <a:lnTo>
                  <a:pt x="5611640" y="5010081"/>
                </a:lnTo>
                <a:lnTo>
                  <a:pt x="5644323" y="5023305"/>
                </a:lnTo>
                <a:lnTo>
                  <a:pt x="5665424" y="5049363"/>
                </a:lnTo>
                <a:lnTo>
                  <a:pt x="5672910" y="5091541"/>
                </a:lnTo>
                <a:lnTo>
                  <a:pt x="5665424" y="5135648"/>
                </a:lnTo>
                <a:lnTo>
                  <a:pt x="5644323" y="5162697"/>
                </a:lnTo>
                <a:lnTo>
                  <a:pt x="5611640" y="5176287"/>
                </a:lnTo>
                <a:lnTo>
                  <a:pt x="5569411" y="5180017"/>
                </a:lnTo>
                <a:lnTo>
                  <a:pt x="5527181" y="5176287"/>
                </a:lnTo>
                <a:lnTo>
                  <a:pt x="5494498" y="5162697"/>
                </a:lnTo>
                <a:lnTo>
                  <a:pt x="5473397" y="5135648"/>
                </a:lnTo>
                <a:lnTo>
                  <a:pt x="5465911" y="5091541"/>
                </a:lnTo>
                <a:lnTo>
                  <a:pt x="5473631" y="5049363"/>
                </a:lnTo>
                <a:lnTo>
                  <a:pt x="5495125" y="5023305"/>
                </a:lnTo>
                <a:lnTo>
                  <a:pt x="5527886" y="5010081"/>
                </a:lnTo>
                <a:close/>
                <a:moveTo>
                  <a:pt x="4804116" y="5006403"/>
                </a:moveTo>
                <a:lnTo>
                  <a:pt x="4846346" y="5010081"/>
                </a:lnTo>
                <a:lnTo>
                  <a:pt x="4879028" y="5023305"/>
                </a:lnTo>
                <a:lnTo>
                  <a:pt x="4900130" y="5049363"/>
                </a:lnTo>
                <a:lnTo>
                  <a:pt x="4907615" y="5091541"/>
                </a:lnTo>
                <a:lnTo>
                  <a:pt x="4900130" y="5135648"/>
                </a:lnTo>
                <a:lnTo>
                  <a:pt x="4879028" y="5162697"/>
                </a:lnTo>
                <a:lnTo>
                  <a:pt x="4846346" y="5176287"/>
                </a:lnTo>
                <a:lnTo>
                  <a:pt x="4804116" y="5180017"/>
                </a:lnTo>
                <a:lnTo>
                  <a:pt x="4761886" y="5176287"/>
                </a:lnTo>
                <a:lnTo>
                  <a:pt x="4729203" y="5162697"/>
                </a:lnTo>
                <a:lnTo>
                  <a:pt x="4708102" y="5135648"/>
                </a:lnTo>
                <a:lnTo>
                  <a:pt x="4700616" y="5091541"/>
                </a:lnTo>
                <a:lnTo>
                  <a:pt x="4708336" y="5049363"/>
                </a:lnTo>
                <a:lnTo>
                  <a:pt x="4729830" y="5023305"/>
                </a:lnTo>
                <a:lnTo>
                  <a:pt x="4762591" y="5010081"/>
                </a:lnTo>
                <a:close/>
                <a:moveTo>
                  <a:pt x="2787004" y="4856173"/>
                </a:moveTo>
                <a:lnTo>
                  <a:pt x="3691793" y="4856173"/>
                </a:lnTo>
                <a:lnTo>
                  <a:pt x="3691793" y="4963011"/>
                </a:lnTo>
                <a:lnTo>
                  <a:pt x="2787004" y="4963011"/>
                </a:lnTo>
                <a:close/>
                <a:moveTo>
                  <a:pt x="1275095" y="4856173"/>
                </a:moveTo>
                <a:lnTo>
                  <a:pt x="2179887" y="4856173"/>
                </a:lnTo>
                <a:lnTo>
                  <a:pt x="2179887" y="4963011"/>
                </a:lnTo>
                <a:lnTo>
                  <a:pt x="1275095" y="4963011"/>
                </a:lnTo>
                <a:close/>
                <a:moveTo>
                  <a:pt x="2787004" y="4507276"/>
                </a:moveTo>
                <a:lnTo>
                  <a:pt x="3691793" y="4507276"/>
                </a:lnTo>
                <a:lnTo>
                  <a:pt x="3691793" y="4614114"/>
                </a:lnTo>
                <a:lnTo>
                  <a:pt x="2787004" y="4614114"/>
                </a:lnTo>
                <a:close/>
                <a:moveTo>
                  <a:pt x="1275095" y="4507276"/>
                </a:moveTo>
                <a:lnTo>
                  <a:pt x="2179887" y="4507276"/>
                </a:lnTo>
                <a:lnTo>
                  <a:pt x="2179887" y="4614114"/>
                </a:lnTo>
                <a:lnTo>
                  <a:pt x="1275095" y="4614114"/>
                </a:lnTo>
                <a:close/>
                <a:moveTo>
                  <a:pt x="5569411" y="4305272"/>
                </a:moveTo>
                <a:lnTo>
                  <a:pt x="5611640" y="4308741"/>
                </a:lnTo>
                <a:lnTo>
                  <a:pt x="5644323" y="4321757"/>
                </a:lnTo>
                <a:lnTo>
                  <a:pt x="5665424" y="4348232"/>
                </a:lnTo>
                <a:lnTo>
                  <a:pt x="5672910" y="4392078"/>
                </a:lnTo>
                <a:lnTo>
                  <a:pt x="5665424" y="4434517"/>
                </a:lnTo>
                <a:lnTo>
                  <a:pt x="5644323" y="4461148"/>
                </a:lnTo>
                <a:lnTo>
                  <a:pt x="5611640" y="4474946"/>
                </a:lnTo>
                <a:lnTo>
                  <a:pt x="5569411" y="4478885"/>
                </a:lnTo>
                <a:lnTo>
                  <a:pt x="5528147" y="4474946"/>
                </a:lnTo>
                <a:lnTo>
                  <a:pt x="5495959" y="4461148"/>
                </a:lnTo>
                <a:lnTo>
                  <a:pt x="5475040" y="4434517"/>
                </a:lnTo>
                <a:lnTo>
                  <a:pt x="5467580" y="4392078"/>
                </a:lnTo>
                <a:lnTo>
                  <a:pt x="5475040" y="4348232"/>
                </a:lnTo>
                <a:lnTo>
                  <a:pt x="5495959" y="4321757"/>
                </a:lnTo>
                <a:lnTo>
                  <a:pt x="5528147" y="4308741"/>
                </a:lnTo>
                <a:close/>
                <a:moveTo>
                  <a:pt x="4804116" y="4305272"/>
                </a:moveTo>
                <a:lnTo>
                  <a:pt x="4846346" y="4308741"/>
                </a:lnTo>
                <a:lnTo>
                  <a:pt x="4879028" y="4321757"/>
                </a:lnTo>
                <a:lnTo>
                  <a:pt x="4900130" y="4348232"/>
                </a:lnTo>
                <a:lnTo>
                  <a:pt x="4907615" y="4392078"/>
                </a:lnTo>
                <a:lnTo>
                  <a:pt x="4900130" y="4434517"/>
                </a:lnTo>
                <a:lnTo>
                  <a:pt x="4879028" y="4461148"/>
                </a:lnTo>
                <a:lnTo>
                  <a:pt x="4846346" y="4474946"/>
                </a:lnTo>
                <a:lnTo>
                  <a:pt x="4804116" y="4478885"/>
                </a:lnTo>
                <a:lnTo>
                  <a:pt x="4762852" y="4474946"/>
                </a:lnTo>
                <a:lnTo>
                  <a:pt x="4730664" y="4461148"/>
                </a:lnTo>
                <a:lnTo>
                  <a:pt x="4709745" y="4434517"/>
                </a:lnTo>
                <a:lnTo>
                  <a:pt x="4702285" y="4392078"/>
                </a:lnTo>
                <a:lnTo>
                  <a:pt x="4709745" y="4348232"/>
                </a:lnTo>
                <a:lnTo>
                  <a:pt x="4730664" y="4321757"/>
                </a:lnTo>
                <a:lnTo>
                  <a:pt x="4762852" y="4308741"/>
                </a:lnTo>
                <a:close/>
                <a:moveTo>
                  <a:pt x="7712987" y="3503986"/>
                </a:moveTo>
                <a:lnTo>
                  <a:pt x="7763122" y="3509568"/>
                </a:lnTo>
                <a:lnTo>
                  <a:pt x="7795147" y="3526208"/>
                </a:lnTo>
                <a:lnTo>
                  <a:pt x="7811787" y="3553746"/>
                </a:lnTo>
                <a:lnTo>
                  <a:pt x="7815767" y="3592021"/>
                </a:lnTo>
                <a:lnTo>
                  <a:pt x="7809810" y="3640873"/>
                </a:lnTo>
                <a:lnTo>
                  <a:pt x="7763068" y="3887939"/>
                </a:lnTo>
                <a:lnTo>
                  <a:pt x="7682939" y="3887939"/>
                </a:lnTo>
                <a:lnTo>
                  <a:pt x="7709648" y="3677600"/>
                </a:lnTo>
                <a:lnTo>
                  <a:pt x="7668644" y="3673635"/>
                </a:lnTo>
                <a:lnTo>
                  <a:pt x="7637031" y="3659654"/>
                </a:lnTo>
                <a:lnTo>
                  <a:pt x="7616686" y="3632527"/>
                </a:lnTo>
                <a:lnTo>
                  <a:pt x="7609487" y="3589124"/>
                </a:lnTo>
                <a:lnTo>
                  <a:pt x="7617207" y="3546946"/>
                </a:lnTo>
                <a:lnTo>
                  <a:pt x="7638700" y="3520888"/>
                </a:lnTo>
                <a:lnTo>
                  <a:pt x="7671461" y="3507664"/>
                </a:lnTo>
                <a:close/>
                <a:moveTo>
                  <a:pt x="4062097" y="3353744"/>
                </a:moveTo>
                <a:lnTo>
                  <a:pt x="4966889" y="3353744"/>
                </a:lnTo>
                <a:lnTo>
                  <a:pt x="4966889" y="3460582"/>
                </a:lnTo>
                <a:lnTo>
                  <a:pt x="4062097" y="3460582"/>
                </a:lnTo>
                <a:close/>
                <a:moveTo>
                  <a:pt x="2550201" y="3353744"/>
                </a:moveTo>
                <a:lnTo>
                  <a:pt x="3454992" y="3353744"/>
                </a:lnTo>
                <a:lnTo>
                  <a:pt x="3454992" y="3460582"/>
                </a:lnTo>
                <a:lnTo>
                  <a:pt x="2550201" y="3460582"/>
                </a:lnTo>
                <a:close/>
                <a:moveTo>
                  <a:pt x="4062097" y="3004848"/>
                </a:moveTo>
                <a:lnTo>
                  <a:pt x="4966889" y="3004848"/>
                </a:lnTo>
                <a:lnTo>
                  <a:pt x="4966889" y="3111686"/>
                </a:lnTo>
                <a:lnTo>
                  <a:pt x="4062097" y="3111686"/>
                </a:lnTo>
                <a:close/>
                <a:moveTo>
                  <a:pt x="2550201" y="3004848"/>
                </a:moveTo>
                <a:lnTo>
                  <a:pt x="3454992" y="3004848"/>
                </a:lnTo>
                <a:lnTo>
                  <a:pt x="3454992" y="3111686"/>
                </a:lnTo>
                <a:lnTo>
                  <a:pt x="2550201" y="3111686"/>
                </a:lnTo>
                <a:close/>
                <a:moveTo>
                  <a:pt x="7712987" y="2802855"/>
                </a:moveTo>
                <a:lnTo>
                  <a:pt x="7755217" y="2806324"/>
                </a:lnTo>
                <a:lnTo>
                  <a:pt x="7787900" y="2819339"/>
                </a:lnTo>
                <a:lnTo>
                  <a:pt x="7809002" y="2845814"/>
                </a:lnTo>
                <a:lnTo>
                  <a:pt x="7816489" y="2889661"/>
                </a:lnTo>
                <a:lnTo>
                  <a:pt x="7809002" y="2932099"/>
                </a:lnTo>
                <a:lnTo>
                  <a:pt x="7787900" y="2958731"/>
                </a:lnTo>
                <a:lnTo>
                  <a:pt x="7755217" y="2972529"/>
                </a:lnTo>
                <a:lnTo>
                  <a:pt x="7712987" y="2976468"/>
                </a:lnTo>
                <a:lnTo>
                  <a:pt x="7671722" y="2972529"/>
                </a:lnTo>
                <a:lnTo>
                  <a:pt x="7639535" y="2958731"/>
                </a:lnTo>
                <a:lnTo>
                  <a:pt x="7618615" y="2932099"/>
                </a:lnTo>
                <a:lnTo>
                  <a:pt x="7611156" y="2889661"/>
                </a:lnTo>
                <a:lnTo>
                  <a:pt x="7618615" y="2845814"/>
                </a:lnTo>
                <a:lnTo>
                  <a:pt x="7639535" y="2819339"/>
                </a:lnTo>
                <a:lnTo>
                  <a:pt x="7671722" y="2806324"/>
                </a:lnTo>
                <a:close/>
                <a:moveTo>
                  <a:pt x="6558381" y="2482346"/>
                </a:moveTo>
                <a:lnTo>
                  <a:pt x="6611451" y="2484222"/>
                </a:lnTo>
                <a:lnTo>
                  <a:pt x="6660572" y="2489799"/>
                </a:lnTo>
                <a:lnTo>
                  <a:pt x="6705877" y="2498994"/>
                </a:lnTo>
                <a:lnTo>
                  <a:pt x="6747499" y="2511726"/>
                </a:lnTo>
                <a:lnTo>
                  <a:pt x="6785570" y="2527914"/>
                </a:lnTo>
                <a:lnTo>
                  <a:pt x="6820223" y="2547475"/>
                </a:lnTo>
                <a:lnTo>
                  <a:pt x="6851590" y="2570330"/>
                </a:lnTo>
                <a:lnTo>
                  <a:pt x="6879805" y="2596396"/>
                </a:lnTo>
                <a:lnTo>
                  <a:pt x="6905001" y="2625592"/>
                </a:lnTo>
                <a:lnTo>
                  <a:pt x="6927309" y="2657837"/>
                </a:lnTo>
                <a:lnTo>
                  <a:pt x="6946862" y="2693049"/>
                </a:lnTo>
                <a:lnTo>
                  <a:pt x="6963794" y="2731147"/>
                </a:lnTo>
                <a:lnTo>
                  <a:pt x="6978237" y="2772049"/>
                </a:lnTo>
                <a:lnTo>
                  <a:pt x="6990324" y="2815675"/>
                </a:lnTo>
                <a:lnTo>
                  <a:pt x="7000187" y="2861942"/>
                </a:lnTo>
                <a:lnTo>
                  <a:pt x="7007959" y="2910770"/>
                </a:lnTo>
                <a:lnTo>
                  <a:pt x="7013773" y="2962076"/>
                </a:lnTo>
                <a:lnTo>
                  <a:pt x="7017761" y="3015781"/>
                </a:lnTo>
                <a:lnTo>
                  <a:pt x="7020057" y="3071801"/>
                </a:lnTo>
                <a:lnTo>
                  <a:pt x="7020793" y="3130057"/>
                </a:lnTo>
                <a:lnTo>
                  <a:pt x="7020093" y="3188562"/>
                </a:lnTo>
                <a:lnTo>
                  <a:pt x="7017896" y="3244832"/>
                </a:lnTo>
                <a:lnTo>
                  <a:pt x="7014060" y="3298782"/>
                </a:lnTo>
                <a:lnTo>
                  <a:pt x="7008439" y="3350332"/>
                </a:lnTo>
                <a:lnTo>
                  <a:pt x="7000891" y="3399397"/>
                </a:lnTo>
                <a:lnTo>
                  <a:pt x="6991270" y="3445896"/>
                </a:lnTo>
                <a:lnTo>
                  <a:pt x="6979433" y="3489745"/>
                </a:lnTo>
                <a:lnTo>
                  <a:pt x="6965236" y="3530863"/>
                </a:lnTo>
                <a:lnTo>
                  <a:pt x="6948536" y="3569166"/>
                </a:lnTo>
                <a:lnTo>
                  <a:pt x="6929187" y="3604572"/>
                </a:lnTo>
                <a:lnTo>
                  <a:pt x="6907046" y="3636998"/>
                </a:lnTo>
                <a:lnTo>
                  <a:pt x="6881969" y="3666361"/>
                </a:lnTo>
                <a:lnTo>
                  <a:pt x="6853812" y="3692580"/>
                </a:lnTo>
                <a:lnTo>
                  <a:pt x="6822431" y="3715570"/>
                </a:lnTo>
                <a:lnTo>
                  <a:pt x="6787683" y="3735251"/>
                </a:lnTo>
                <a:lnTo>
                  <a:pt x="6749422" y="3751538"/>
                </a:lnTo>
                <a:lnTo>
                  <a:pt x="6707505" y="3764350"/>
                </a:lnTo>
                <a:lnTo>
                  <a:pt x="6661789" y="3773604"/>
                </a:lnTo>
                <a:lnTo>
                  <a:pt x="6612129" y="3779217"/>
                </a:lnTo>
                <a:lnTo>
                  <a:pt x="6558381" y="3781106"/>
                </a:lnTo>
                <a:lnTo>
                  <a:pt x="6558381" y="3684284"/>
                </a:lnTo>
                <a:lnTo>
                  <a:pt x="6608066" y="3682051"/>
                </a:lnTo>
                <a:lnTo>
                  <a:pt x="6652986" y="3675430"/>
                </a:lnTo>
                <a:lnTo>
                  <a:pt x="6693369" y="3664541"/>
                </a:lnTo>
                <a:lnTo>
                  <a:pt x="6729440" y="3649501"/>
                </a:lnTo>
                <a:lnTo>
                  <a:pt x="6789551" y="3607441"/>
                </a:lnTo>
                <a:lnTo>
                  <a:pt x="6835130" y="3550197"/>
                </a:lnTo>
                <a:lnTo>
                  <a:pt x="6853036" y="3516176"/>
                </a:lnTo>
                <a:lnTo>
                  <a:pt x="6867988" y="3478715"/>
                </a:lnTo>
                <a:lnTo>
                  <a:pt x="6880212" y="3437930"/>
                </a:lnTo>
                <a:lnTo>
                  <a:pt x="6889935" y="3393940"/>
                </a:lnTo>
                <a:lnTo>
                  <a:pt x="6897382" y="3346863"/>
                </a:lnTo>
                <a:lnTo>
                  <a:pt x="6902781" y="3296819"/>
                </a:lnTo>
                <a:lnTo>
                  <a:pt x="6906357" y="3243924"/>
                </a:lnTo>
                <a:lnTo>
                  <a:pt x="6908336" y="3188297"/>
                </a:lnTo>
                <a:lnTo>
                  <a:pt x="6908946" y="3130057"/>
                </a:lnTo>
                <a:lnTo>
                  <a:pt x="6908304" y="3072388"/>
                </a:lnTo>
                <a:lnTo>
                  <a:pt x="6906234" y="3017299"/>
                </a:lnTo>
                <a:lnTo>
                  <a:pt x="6902524" y="2964906"/>
                </a:lnTo>
                <a:lnTo>
                  <a:pt x="6896958" y="2915330"/>
                </a:lnTo>
                <a:lnTo>
                  <a:pt x="6889323" y="2868686"/>
                </a:lnTo>
                <a:lnTo>
                  <a:pt x="6879405" y="2825095"/>
                </a:lnTo>
                <a:lnTo>
                  <a:pt x="6866989" y="2784674"/>
                </a:lnTo>
                <a:lnTo>
                  <a:pt x="6851862" y="2747542"/>
                </a:lnTo>
                <a:lnTo>
                  <a:pt x="6833809" y="2713816"/>
                </a:lnTo>
                <a:lnTo>
                  <a:pt x="6788071" y="2657057"/>
                </a:lnTo>
                <a:lnTo>
                  <a:pt x="6728062" y="2615344"/>
                </a:lnTo>
                <a:lnTo>
                  <a:pt x="6692170" y="2600425"/>
                </a:lnTo>
                <a:lnTo>
                  <a:pt x="6652069" y="2589622"/>
                </a:lnTo>
                <a:lnTo>
                  <a:pt x="6607544" y="2583054"/>
                </a:lnTo>
                <a:lnTo>
                  <a:pt x="6558381" y="2580838"/>
                </a:lnTo>
                <a:close/>
                <a:moveTo>
                  <a:pt x="6041510" y="2482346"/>
                </a:moveTo>
                <a:lnTo>
                  <a:pt x="6041510" y="2580838"/>
                </a:lnTo>
                <a:lnTo>
                  <a:pt x="5992624" y="2583054"/>
                </a:lnTo>
                <a:lnTo>
                  <a:pt x="5948343" y="2589622"/>
                </a:lnTo>
                <a:lnTo>
                  <a:pt x="5908457" y="2600425"/>
                </a:lnTo>
                <a:lnTo>
                  <a:pt x="5872751" y="2615344"/>
                </a:lnTo>
                <a:lnTo>
                  <a:pt x="5813036" y="2657057"/>
                </a:lnTo>
                <a:lnTo>
                  <a:pt x="5767502" y="2713816"/>
                </a:lnTo>
                <a:lnTo>
                  <a:pt x="5749523" y="2747542"/>
                </a:lnTo>
                <a:lnTo>
                  <a:pt x="5734453" y="2784674"/>
                </a:lnTo>
                <a:lnTo>
                  <a:pt x="5722081" y="2825095"/>
                </a:lnTo>
                <a:lnTo>
                  <a:pt x="5712193" y="2868686"/>
                </a:lnTo>
                <a:lnTo>
                  <a:pt x="5704579" y="2915330"/>
                </a:lnTo>
                <a:lnTo>
                  <a:pt x="5699026" y="2964906"/>
                </a:lnTo>
                <a:lnTo>
                  <a:pt x="5695322" y="3017299"/>
                </a:lnTo>
                <a:lnTo>
                  <a:pt x="5693255" y="3072388"/>
                </a:lnTo>
                <a:lnTo>
                  <a:pt x="5692613" y="3130057"/>
                </a:lnTo>
                <a:lnTo>
                  <a:pt x="5693239" y="3188297"/>
                </a:lnTo>
                <a:lnTo>
                  <a:pt x="5695261" y="3243924"/>
                </a:lnTo>
                <a:lnTo>
                  <a:pt x="5698898" y="3296819"/>
                </a:lnTo>
                <a:lnTo>
                  <a:pt x="5704367" y="3346863"/>
                </a:lnTo>
                <a:lnTo>
                  <a:pt x="5711888" y="3393940"/>
                </a:lnTo>
                <a:lnTo>
                  <a:pt x="5721677" y="3437930"/>
                </a:lnTo>
                <a:lnTo>
                  <a:pt x="5733954" y="3478715"/>
                </a:lnTo>
                <a:lnTo>
                  <a:pt x="5748936" y="3516176"/>
                </a:lnTo>
                <a:lnTo>
                  <a:pt x="5766842" y="3550197"/>
                </a:lnTo>
                <a:lnTo>
                  <a:pt x="5812296" y="3607441"/>
                </a:lnTo>
                <a:lnTo>
                  <a:pt x="5872062" y="3649501"/>
                </a:lnTo>
                <a:lnTo>
                  <a:pt x="5907857" y="3664541"/>
                </a:lnTo>
                <a:lnTo>
                  <a:pt x="5947885" y="3675430"/>
                </a:lnTo>
                <a:lnTo>
                  <a:pt x="5992363" y="3682051"/>
                </a:lnTo>
                <a:lnTo>
                  <a:pt x="6041510" y="3684284"/>
                </a:lnTo>
                <a:lnTo>
                  <a:pt x="6041510" y="3781106"/>
                </a:lnTo>
                <a:lnTo>
                  <a:pt x="5987987" y="3779217"/>
                </a:lnTo>
                <a:lnTo>
                  <a:pt x="5938507" y="3773604"/>
                </a:lnTo>
                <a:lnTo>
                  <a:pt x="5892927" y="3764350"/>
                </a:lnTo>
                <a:lnTo>
                  <a:pt x="5851109" y="3751538"/>
                </a:lnTo>
                <a:lnTo>
                  <a:pt x="5812912" y="3735251"/>
                </a:lnTo>
                <a:lnTo>
                  <a:pt x="5778195" y="3715570"/>
                </a:lnTo>
                <a:lnTo>
                  <a:pt x="5746818" y="3692580"/>
                </a:lnTo>
                <a:lnTo>
                  <a:pt x="5718642" y="3666361"/>
                </a:lnTo>
                <a:lnTo>
                  <a:pt x="5693526" y="3636998"/>
                </a:lnTo>
                <a:lnTo>
                  <a:pt x="5671329" y="3604572"/>
                </a:lnTo>
                <a:lnTo>
                  <a:pt x="5651912" y="3569166"/>
                </a:lnTo>
                <a:lnTo>
                  <a:pt x="5635134" y="3530863"/>
                </a:lnTo>
                <a:lnTo>
                  <a:pt x="5620855" y="3489745"/>
                </a:lnTo>
                <a:lnTo>
                  <a:pt x="5608935" y="3445896"/>
                </a:lnTo>
                <a:lnTo>
                  <a:pt x="5599234" y="3399397"/>
                </a:lnTo>
                <a:lnTo>
                  <a:pt x="5591611" y="3350332"/>
                </a:lnTo>
                <a:lnTo>
                  <a:pt x="5585926" y="3298782"/>
                </a:lnTo>
                <a:lnTo>
                  <a:pt x="5582039" y="3244832"/>
                </a:lnTo>
                <a:lnTo>
                  <a:pt x="5579809" y="3188562"/>
                </a:lnTo>
                <a:lnTo>
                  <a:pt x="5579098" y="3130057"/>
                </a:lnTo>
                <a:lnTo>
                  <a:pt x="5579833" y="3071801"/>
                </a:lnTo>
                <a:lnTo>
                  <a:pt x="5582129" y="3015781"/>
                </a:lnTo>
                <a:lnTo>
                  <a:pt x="5586118" y="2962076"/>
                </a:lnTo>
                <a:lnTo>
                  <a:pt x="5591931" y="2910770"/>
                </a:lnTo>
                <a:lnTo>
                  <a:pt x="5599704" y="2861942"/>
                </a:lnTo>
                <a:lnTo>
                  <a:pt x="5609567" y="2815675"/>
                </a:lnTo>
                <a:lnTo>
                  <a:pt x="5621653" y="2772049"/>
                </a:lnTo>
                <a:lnTo>
                  <a:pt x="5636096" y="2731147"/>
                </a:lnTo>
                <a:lnTo>
                  <a:pt x="5653028" y="2693049"/>
                </a:lnTo>
                <a:lnTo>
                  <a:pt x="5672581" y="2657837"/>
                </a:lnTo>
                <a:lnTo>
                  <a:pt x="5694889" y="2625592"/>
                </a:lnTo>
                <a:lnTo>
                  <a:pt x="5720085" y="2596396"/>
                </a:lnTo>
                <a:lnTo>
                  <a:pt x="5748300" y="2570330"/>
                </a:lnTo>
                <a:lnTo>
                  <a:pt x="5779667" y="2547475"/>
                </a:lnTo>
                <a:lnTo>
                  <a:pt x="5814320" y="2527914"/>
                </a:lnTo>
                <a:lnTo>
                  <a:pt x="5852391" y="2511726"/>
                </a:lnTo>
                <a:lnTo>
                  <a:pt x="5894013" y="2498994"/>
                </a:lnTo>
                <a:lnTo>
                  <a:pt x="5939318" y="2489799"/>
                </a:lnTo>
                <a:lnTo>
                  <a:pt x="5988439" y="2484222"/>
                </a:lnTo>
                <a:close/>
                <a:moveTo>
                  <a:pt x="5337245" y="1851325"/>
                </a:moveTo>
                <a:lnTo>
                  <a:pt x="6242037" y="1851325"/>
                </a:lnTo>
                <a:lnTo>
                  <a:pt x="6242037" y="1958164"/>
                </a:lnTo>
                <a:lnTo>
                  <a:pt x="5337245" y="1958164"/>
                </a:lnTo>
                <a:close/>
                <a:moveTo>
                  <a:pt x="3825296" y="1851325"/>
                </a:moveTo>
                <a:lnTo>
                  <a:pt x="4730088" y="1851325"/>
                </a:lnTo>
                <a:lnTo>
                  <a:pt x="4730088" y="1958164"/>
                </a:lnTo>
                <a:lnTo>
                  <a:pt x="3825296" y="1958164"/>
                </a:lnTo>
                <a:close/>
                <a:moveTo>
                  <a:pt x="6849172" y="1681043"/>
                </a:moveTo>
                <a:lnTo>
                  <a:pt x="7326608" y="1681043"/>
                </a:lnTo>
                <a:lnTo>
                  <a:pt x="7326608" y="1786212"/>
                </a:lnTo>
                <a:lnTo>
                  <a:pt x="6849172" y="1786212"/>
                </a:lnTo>
                <a:close/>
                <a:moveTo>
                  <a:pt x="5337245" y="1502429"/>
                </a:moveTo>
                <a:lnTo>
                  <a:pt x="6242037" y="1502429"/>
                </a:lnTo>
                <a:lnTo>
                  <a:pt x="6242037" y="1609267"/>
                </a:lnTo>
                <a:lnTo>
                  <a:pt x="5337245" y="1609267"/>
                </a:lnTo>
                <a:close/>
                <a:moveTo>
                  <a:pt x="3825296" y="1502429"/>
                </a:moveTo>
                <a:lnTo>
                  <a:pt x="4730088" y="1502429"/>
                </a:lnTo>
                <a:lnTo>
                  <a:pt x="4730088" y="1609267"/>
                </a:lnTo>
                <a:lnTo>
                  <a:pt x="3825296" y="1609267"/>
                </a:lnTo>
                <a:close/>
                <a:moveTo>
                  <a:pt x="7037373" y="348896"/>
                </a:moveTo>
                <a:lnTo>
                  <a:pt x="7942165" y="348896"/>
                </a:lnTo>
                <a:lnTo>
                  <a:pt x="7942165" y="455734"/>
                </a:lnTo>
                <a:lnTo>
                  <a:pt x="7037373" y="455734"/>
                </a:lnTo>
                <a:close/>
                <a:moveTo>
                  <a:pt x="5525404" y="348896"/>
                </a:moveTo>
                <a:lnTo>
                  <a:pt x="6430196" y="348896"/>
                </a:lnTo>
                <a:lnTo>
                  <a:pt x="6430196" y="455734"/>
                </a:lnTo>
                <a:lnTo>
                  <a:pt x="5525404" y="455734"/>
                </a:lnTo>
                <a:close/>
                <a:moveTo>
                  <a:pt x="7037373" y="0"/>
                </a:moveTo>
                <a:lnTo>
                  <a:pt x="7942165" y="0"/>
                </a:lnTo>
                <a:lnTo>
                  <a:pt x="7942165" y="106839"/>
                </a:lnTo>
                <a:lnTo>
                  <a:pt x="7037373" y="106839"/>
                </a:lnTo>
                <a:close/>
                <a:moveTo>
                  <a:pt x="5525404" y="0"/>
                </a:moveTo>
                <a:lnTo>
                  <a:pt x="6430196" y="0"/>
                </a:lnTo>
                <a:lnTo>
                  <a:pt x="6430196" y="106839"/>
                </a:lnTo>
                <a:lnTo>
                  <a:pt x="5525404" y="106839"/>
                </a:lnTo>
                <a:close/>
              </a:path>
            </a:pathLst>
          </a:custGeom>
          <a:solidFill>
            <a:srgbClr val="4D7836"/>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371124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reaker H">
    <p:bg>
      <p:bgRef idx="1001">
        <a:schemeClr val="bg1"/>
      </p:bgRef>
    </p:bg>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7326C215-F3F2-4DB9-8B13-8FADB0ABB2EE}" type="datetime2">
              <a:rPr lang="da-DK" smtClean="0"/>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6" name="Mikro grafik 1">
            <a:extLst>
              <a:ext uri="{FF2B5EF4-FFF2-40B4-BE49-F238E27FC236}">
                <a16:creationId xmlns:a16="http://schemas.microsoft.com/office/drawing/2014/main" id="{6CC62A60-7680-83DC-FF01-8D34130F5DA8}"/>
              </a:ext>
            </a:extLst>
          </p:cNvPr>
          <p:cNvSpPr/>
          <p:nvPr userDrawn="1"/>
        </p:nvSpPr>
        <p:spPr>
          <a:xfrm>
            <a:off x="346105" y="1028469"/>
            <a:ext cx="3864836" cy="3086563"/>
          </a:xfrm>
          <a:custGeom>
            <a:avLst/>
            <a:gdLst>
              <a:gd name="connsiteX0" fmla="*/ 8393513 w 8497013"/>
              <a:gd name="connsiteY0" fmla="*/ 6508832 h 6785945"/>
              <a:gd name="connsiteX1" fmla="*/ 8435743 w 8497013"/>
              <a:gd name="connsiteY1" fmla="*/ 6512510 h 6785945"/>
              <a:gd name="connsiteX2" fmla="*/ 8468426 w 8497013"/>
              <a:gd name="connsiteY2" fmla="*/ 6525734 h 6785945"/>
              <a:gd name="connsiteX3" fmla="*/ 8489527 w 8497013"/>
              <a:gd name="connsiteY3" fmla="*/ 6551791 h 6785945"/>
              <a:gd name="connsiteX4" fmla="*/ 8497013 w 8497013"/>
              <a:gd name="connsiteY4" fmla="*/ 6593969 h 6785945"/>
              <a:gd name="connsiteX5" fmla="*/ 8489527 w 8497013"/>
              <a:gd name="connsiteY5" fmla="*/ 6638076 h 6785945"/>
              <a:gd name="connsiteX6" fmla="*/ 8468426 w 8497013"/>
              <a:gd name="connsiteY6" fmla="*/ 6665125 h 6785945"/>
              <a:gd name="connsiteX7" fmla="*/ 8435743 w 8497013"/>
              <a:gd name="connsiteY7" fmla="*/ 6678715 h 6785945"/>
              <a:gd name="connsiteX8" fmla="*/ 8393513 w 8497013"/>
              <a:gd name="connsiteY8" fmla="*/ 6682444 h 6785945"/>
              <a:gd name="connsiteX9" fmla="*/ 8351283 w 8497013"/>
              <a:gd name="connsiteY9" fmla="*/ 6678715 h 6785945"/>
              <a:gd name="connsiteX10" fmla="*/ 8318600 w 8497013"/>
              <a:gd name="connsiteY10" fmla="*/ 6665125 h 6785945"/>
              <a:gd name="connsiteX11" fmla="*/ 8297498 w 8497013"/>
              <a:gd name="connsiteY11" fmla="*/ 6638076 h 6785945"/>
              <a:gd name="connsiteX12" fmla="*/ 8290013 w 8497013"/>
              <a:gd name="connsiteY12" fmla="*/ 6593969 h 6785945"/>
              <a:gd name="connsiteX13" fmla="*/ 8297733 w 8497013"/>
              <a:gd name="connsiteY13" fmla="*/ 6551791 h 6785945"/>
              <a:gd name="connsiteX14" fmla="*/ 8319226 w 8497013"/>
              <a:gd name="connsiteY14" fmla="*/ 6525734 h 6785945"/>
              <a:gd name="connsiteX15" fmla="*/ 8351987 w 8497013"/>
              <a:gd name="connsiteY15" fmla="*/ 6512510 h 6785945"/>
              <a:gd name="connsiteX16" fmla="*/ 5162785 w 8497013"/>
              <a:gd name="connsiteY16" fmla="*/ 6508832 h 6785945"/>
              <a:gd name="connsiteX17" fmla="*/ 5205015 w 8497013"/>
              <a:gd name="connsiteY17" fmla="*/ 6512510 h 6785945"/>
              <a:gd name="connsiteX18" fmla="*/ 5237697 w 8497013"/>
              <a:gd name="connsiteY18" fmla="*/ 6525734 h 6785945"/>
              <a:gd name="connsiteX19" fmla="*/ 5258799 w 8497013"/>
              <a:gd name="connsiteY19" fmla="*/ 6551791 h 6785945"/>
              <a:gd name="connsiteX20" fmla="*/ 5266284 w 8497013"/>
              <a:gd name="connsiteY20" fmla="*/ 6593969 h 6785945"/>
              <a:gd name="connsiteX21" fmla="*/ 5258799 w 8497013"/>
              <a:gd name="connsiteY21" fmla="*/ 6638076 h 6785945"/>
              <a:gd name="connsiteX22" fmla="*/ 5237697 w 8497013"/>
              <a:gd name="connsiteY22" fmla="*/ 6665125 h 6785945"/>
              <a:gd name="connsiteX23" fmla="*/ 5205015 w 8497013"/>
              <a:gd name="connsiteY23" fmla="*/ 6678715 h 6785945"/>
              <a:gd name="connsiteX24" fmla="*/ 5162785 w 8497013"/>
              <a:gd name="connsiteY24" fmla="*/ 6682444 h 6785945"/>
              <a:gd name="connsiteX25" fmla="*/ 5120555 w 8497013"/>
              <a:gd name="connsiteY25" fmla="*/ 6678715 h 6785945"/>
              <a:gd name="connsiteX26" fmla="*/ 5087872 w 8497013"/>
              <a:gd name="connsiteY26" fmla="*/ 6665125 h 6785945"/>
              <a:gd name="connsiteX27" fmla="*/ 5066771 w 8497013"/>
              <a:gd name="connsiteY27" fmla="*/ 6638076 h 6785945"/>
              <a:gd name="connsiteX28" fmla="*/ 5059285 w 8497013"/>
              <a:gd name="connsiteY28" fmla="*/ 6593969 h 6785945"/>
              <a:gd name="connsiteX29" fmla="*/ 5067005 w 8497013"/>
              <a:gd name="connsiteY29" fmla="*/ 6551791 h 6785945"/>
              <a:gd name="connsiteX30" fmla="*/ 5088499 w 8497013"/>
              <a:gd name="connsiteY30" fmla="*/ 6525734 h 6785945"/>
              <a:gd name="connsiteX31" fmla="*/ 5121260 w 8497013"/>
              <a:gd name="connsiteY31" fmla="*/ 6512510 h 6785945"/>
              <a:gd name="connsiteX32" fmla="*/ 6674635 w 8497013"/>
              <a:gd name="connsiteY32" fmla="*/ 6508827 h 6785945"/>
              <a:gd name="connsiteX33" fmla="*/ 6881636 w 8497013"/>
              <a:gd name="connsiteY33" fmla="*/ 6508827 h 6785945"/>
              <a:gd name="connsiteX34" fmla="*/ 6881636 w 8497013"/>
              <a:gd name="connsiteY34" fmla="*/ 6682440 h 6785945"/>
              <a:gd name="connsiteX35" fmla="*/ 6674635 w 8497013"/>
              <a:gd name="connsiteY35" fmla="*/ 6682440 h 6785945"/>
              <a:gd name="connsiteX36" fmla="*/ 1511898 w 8497013"/>
              <a:gd name="connsiteY36" fmla="*/ 6358592 h 6785945"/>
              <a:gd name="connsiteX37" fmla="*/ 2416689 w 8497013"/>
              <a:gd name="connsiteY37" fmla="*/ 6358592 h 6785945"/>
              <a:gd name="connsiteX38" fmla="*/ 2416689 w 8497013"/>
              <a:gd name="connsiteY38" fmla="*/ 6465429 h 6785945"/>
              <a:gd name="connsiteX39" fmla="*/ 1511898 w 8497013"/>
              <a:gd name="connsiteY39" fmla="*/ 6465429 h 6785945"/>
              <a:gd name="connsiteX40" fmla="*/ 0 w 8497013"/>
              <a:gd name="connsiteY40" fmla="*/ 6358592 h 6785945"/>
              <a:gd name="connsiteX41" fmla="*/ 904792 w 8497013"/>
              <a:gd name="connsiteY41" fmla="*/ 6358592 h 6785945"/>
              <a:gd name="connsiteX42" fmla="*/ 904792 w 8497013"/>
              <a:gd name="connsiteY42" fmla="*/ 6465429 h 6785945"/>
              <a:gd name="connsiteX43" fmla="*/ 0 w 8497013"/>
              <a:gd name="connsiteY43" fmla="*/ 6465429 h 6785945"/>
              <a:gd name="connsiteX44" fmla="*/ 1511898 w 8497013"/>
              <a:gd name="connsiteY44" fmla="*/ 6009695 h 6785945"/>
              <a:gd name="connsiteX45" fmla="*/ 2416689 w 8497013"/>
              <a:gd name="connsiteY45" fmla="*/ 6009695 h 6785945"/>
              <a:gd name="connsiteX46" fmla="*/ 2416689 w 8497013"/>
              <a:gd name="connsiteY46" fmla="*/ 6116533 h 6785945"/>
              <a:gd name="connsiteX47" fmla="*/ 1511898 w 8497013"/>
              <a:gd name="connsiteY47" fmla="*/ 6116533 h 6785945"/>
              <a:gd name="connsiteX48" fmla="*/ 0 w 8497013"/>
              <a:gd name="connsiteY48" fmla="*/ 6009695 h 6785945"/>
              <a:gd name="connsiteX49" fmla="*/ 904792 w 8497013"/>
              <a:gd name="connsiteY49" fmla="*/ 6009695 h 6785945"/>
              <a:gd name="connsiteX50" fmla="*/ 904792 w 8497013"/>
              <a:gd name="connsiteY50" fmla="*/ 6116533 h 6785945"/>
              <a:gd name="connsiteX51" fmla="*/ 0 w 8497013"/>
              <a:gd name="connsiteY51" fmla="*/ 6116533 h 6785945"/>
              <a:gd name="connsiteX52" fmla="*/ 8393513 w 8497013"/>
              <a:gd name="connsiteY52" fmla="*/ 5807701 h 6785945"/>
              <a:gd name="connsiteX53" fmla="*/ 8435743 w 8497013"/>
              <a:gd name="connsiteY53" fmla="*/ 5811170 h 6785945"/>
              <a:gd name="connsiteX54" fmla="*/ 8468426 w 8497013"/>
              <a:gd name="connsiteY54" fmla="*/ 5824185 h 6785945"/>
              <a:gd name="connsiteX55" fmla="*/ 8489527 w 8497013"/>
              <a:gd name="connsiteY55" fmla="*/ 5850660 h 6785945"/>
              <a:gd name="connsiteX56" fmla="*/ 8497013 w 8497013"/>
              <a:gd name="connsiteY56" fmla="*/ 5894506 h 6785945"/>
              <a:gd name="connsiteX57" fmla="*/ 8489527 w 8497013"/>
              <a:gd name="connsiteY57" fmla="*/ 5936945 h 6785945"/>
              <a:gd name="connsiteX58" fmla="*/ 8468426 w 8497013"/>
              <a:gd name="connsiteY58" fmla="*/ 5963576 h 6785945"/>
              <a:gd name="connsiteX59" fmla="*/ 8435743 w 8497013"/>
              <a:gd name="connsiteY59" fmla="*/ 5977374 h 6785945"/>
              <a:gd name="connsiteX60" fmla="*/ 8393513 w 8497013"/>
              <a:gd name="connsiteY60" fmla="*/ 5981313 h 6785945"/>
              <a:gd name="connsiteX61" fmla="*/ 8352248 w 8497013"/>
              <a:gd name="connsiteY61" fmla="*/ 5977374 h 6785945"/>
              <a:gd name="connsiteX62" fmla="*/ 8320060 w 8497013"/>
              <a:gd name="connsiteY62" fmla="*/ 5963576 h 6785945"/>
              <a:gd name="connsiteX63" fmla="*/ 8299141 w 8497013"/>
              <a:gd name="connsiteY63" fmla="*/ 5936945 h 6785945"/>
              <a:gd name="connsiteX64" fmla="*/ 8291681 w 8497013"/>
              <a:gd name="connsiteY64" fmla="*/ 5894506 h 6785945"/>
              <a:gd name="connsiteX65" fmla="*/ 8299141 w 8497013"/>
              <a:gd name="connsiteY65" fmla="*/ 5850660 h 6785945"/>
              <a:gd name="connsiteX66" fmla="*/ 8320060 w 8497013"/>
              <a:gd name="connsiteY66" fmla="*/ 5824185 h 6785945"/>
              <a:gd name="connsiteX67" fmla="*/ 8352248 w 8497013"/>
              <a:gd name="connsiteY67" fmla="*/ 5811170 h 6785945"/>
              <a:gd name="connsiteX68" fmla="*/ 5162785 w 8497013"/>
              <a:gd name="connsiteY68" fmla="*/ 5807701 h 6785945"/>
              <a:gd name="connsiteX69" fmla="*/ 5205015 w 8497013"/>
              <a:gd name="connsiteY69" fmla="*/ 5811170 h 6785945"/>
              <a:gd name="connsiteX70" fmla="*/ 5237697 w 8497013"/>
              <a:gd name="connsiteY70" fmla="*/ 5824185 h 6785945"/>
              <a:gd name="connsiteX71" fmla="*/ 5258799 w 8497013"/>
              <a:gd name="connsiteY71" fmla="*/ 5850660 h 6785945"/>
              <a:gd name="connsiteX72" fmla="*/ 5266284 w 8497013"/>
              <a:gd name="connsiteY72" fmla="*/ 5894506 h 6785945"/>
              <a:gd name="connsiteX73" fmla="*/ 5258799 w 8497013"/>
              <a:gd name="connsiteY73" fmla="*/ 5936945 h 6785945"/>
              <a:gd name="connsiteX74" fmla="*/ 5237697 w 8497013"/>
              <a:gd name="connsiteY74" fmla="*/ 5963576 h 6785945"/>
              <a:gd name="connsiteX75" fmla="*/ 5205015 w 8497013"/>
              <a:gd name="connsiteY75" fmla="*/ 5977374 h 6785945"/>
              <a:gd name="connsiteX76" fmla="*/ 5162785 w 8497013"/>
              <a:gd name="connsiteY76" fmla="*/ 5981313 h 6785945"/>
              <a:gd name="connsiteX77" fmla="*/ 5121521 w 8497013"/>
              <a:gd name="connsiteY77" fmla="*/ 5977374 h 6785945"/>
              <a:gd name="connsiteX78" fmla="*/ 5089334 w 8497013"/>
              <a:gd name="connsiteY78" fmla="*/ 5963576 h 6785945"/>
              <a:gd name="connsiteX79" fmla="*/ 5068415 w 8497013"/>
              <a:gd name="connsiteY79" fmla="*/ 5936945 h 6785945"/>
              <a:gd name="connsiteX80" fmla="*/ 5060955 w 8497013"/>
              <a:gd name="connsiteY80" fmla="*/ 5894506 h 6785945"/>
              <a:gd name="connsiteX81" fmla="*/ 5068415 w 8497013"/>
              <a:gd name="connsiteY81" fmla="*/ 5850660 h 6785945"/>
              <a:gd name="connsiteX82" fmla="*/ 5089334 w 8497013"/>
              <a:gd name="connsiteY82" fmla="*/ 5824185 h 6785945"/>
              <a:gd name="connsiteX83" fmla="*/ 5121521 w 8497013"/>
              <a:gd name="connsiteY83" fmla="*/ 5811170 h 6785945"/>
              <a:gd name="connsiteX84" fmla="*/ 4008189 w 8497013"/>
              <a:gd name="connsiteY84" fmla="*/ 5487184 h 6785945"/>
              <a:gd name="connsiteX85" fmla="*/ 4061259 w 8497013"/>
              <a:gd name="connsiteY85" fmla="*/ 5489060 h 6785945"/>
              <a:gd name="connsiteX86" fmla="*/ 4110380 w 8497013"/>
              <a:gd name="connsiteY86" fmla="*/ 5494637 h 6785945"/>
              <a:gd name="connsiteX87" fmla="*/ 4155685 w 8497013"/>
              <a:gd name="connsiteY87" fmla="*/ 5503832 h 6785945"/>
              <a:gd name="connsiteX88" fmla="*/ 4197307 w 8497013"/>
              <a:gd name="connsiteY88" fmla="*/ 5516564 h 6785945"/>
              <a:gd name="connsiteX89" fmla="*/ 4235378 w 8497013"/>
              <a:gd name="connsiteY89" fmla="*/ 5532752 h 6785945"/>
              <a:gd name="connsiteX90" fmla="*/ 4270031 w 8497013"/>
              <a:gd name="connsiteY90" fmla="*/ 5552313 h 6785945"/>
              <a:gd name="connsiteX91" fmla="*/ 4301398 w 8497013"/>
              <a:gd name="connsiteY91" fmla="*/ 5575168 h 6785945"/>
              <a:gd name="connsiteX92" fmla="*/ 4329613 w 8497013"/>
              <a:gd name="connsiteY92" fmla="*/ 5601234 h 6785945"/>
              <a:gd name="connsiteX93" fmla="*/ 4354810 w 8497013"/>
              <a:gd name="connsiteY93" fmla="*/ 5630430 h 6785945"/>
              <a:gd name="connsiteX94" fmla="*/ 4377118 w 8497013"/>
              <a:gd name="connsiteY94" fmla="*/ 5662675 h 6785945"/>
              <a:gd name="connsiteX95" fmla="*/ 4396671 w 8497013"/>
              <a:gd name="connsiteY95" fmla="*/ 5697887 h 6785945"/>
              <a:gd name="connsiteX96" fmla="*/ 4413603 w 8497013"/>
              <a:gd name="connsiteY96" fmla="*/ 5735985 h 6785945"/>
              <a:gd name="connsiteX97" fmla="*/ 4428046 w 8497013"/>
              <a:gd name="connsiteY97" fmla="*/ 5776887 h 6785945"/>
              <a:gd name="connsiteX98" fmla="*/ 4440133 w 8497013"/>
              <a:gd name="connsiteY98" fmla="*/ 5820513 h 6785945"/>
              <a:gd name="connsiteX99" fmla="*/ 4449996 w 8497013"/>
              <a:gd name="connsiteY99" fmla="*/ 5866781 h 6785945"/>
              <a:gd name="connsiteX100" fmla="*/ 4457768 w 8497013"/>
              <a:gd name="connsiteY100" fmla="*/ 5915609 h 6785945"/>
              <a:gd name="connsiteX101" fmla="*/ 4463582 w 8497013"/>
              <a:gd name="connsiteY101" fmla="*/ 5966915 h 6785945"/>
              <a:gd name="connsiteX102" fmla="*/ 4467570 w 8497013"/>
              <a:gd name="connsiteY102" fmla="*/ 6020620 h 6785945"/>
              <a:gd name="connsiteX103" fmla="*/ 4469866 w 8497013"/>
              <a:gd name="connsiteY103" fmla="*/ 6076640 h 6785945"/>
              <a:gd name="connsiteX104" fmla="*/ 4470602 w 8497013"/>
              <a:gd name="connsiteY104" fmla="*/ 6134896 h 6785945"/>
              <a:gd name="connsiteX105" fmla="*/ 4469902 w 8497013"/>
              <a:gd name="connsiteY105" fmla="*/ 6193401 h 6785945"/>
              <a:gd name="connsiteX106" fmla="*/ 4467705 w 8497013"/>
              <a:gd name="connsiteY106" fmla="*/ 6249671 h 6785945"/>
              <a:gd name="connsiteX107" fmla="*/ 4463869 w 8497013"/>
              <a:gd name="connsiteY107" fmla="*/ 6303621 h 6785945"/>
              <a:gd name="connsiteX108" fmla="*/ 4458248 w 8497013"/>
              <a:gd name="connsiteY108" fmla="*/ 6355171 h 6785945"/>
              <a:gd name="connsiteX109" fmla="*/ 4450700 w 8497013"/>
              <a:gd name="connsiteY109" fmla="*/ 6404236 h 6785945"/>
              <a:gd name="connsiteX110" fmla="*/ 4441079 w 8497013"/>
              <a:gd name="connsiteY110" fmla="*/ 6450735 h 6785945"/>
              <a:gd name="connsiteX111" fmla="*/ 4429242 w 8497013"/>
              <a:gd name="connsiteY111" fmla="*/ 6494584 h 6785945"/>
              <a:gd name="connsiteX112" fmla="*/ 4415045 w 8497013"/>
              <a:gd name="connsiteY112" fmla="*/ 6535702 h 6785945"/>
              <a:gd name="connsiteX113" fmla="*/ 4398345 w 8497013"/>
              <a:gd name="connsiteY113" fmla="*/ 6574005 h 6785945"/>
              <a:gd name="connsiteX114" fmla="*/ 4378996 w 8497013"/>
              <a:gd name="connsiteY114" fmla="*/ 6609411 h 6785945"/>
              <a:gd name="connsiteX115" fmla="*/ 4356855 w 8497013"/>
              <a:gd name="connsiteY115" fmla="*/ 6641837 h 6785945"/>
              <a:gd name="connsiteX116" fmla="*/ 4331777 w 8497013"/>
              <a:gd name="connsiteY116" fmla="*/ 6671200 h 6785945"/>
              <a:gd name="connsiteX117" fmla="*/ 4303620 w 8497013"/>
              <a:gd name="connsiteY117" fmla="*/ 6697419 h 6785945"/>
              <a:gd name="connsiteX118" fmla="*/ 4272239 w 8497013"/>
              <a:gd name="connsiteY118" fmla="*/ 6720409 h 6785945"/>
              <a:gd name="connsiteX119" fmla="*/ 4237491 w 8497013"/>
              <a:gd name="connsiteY119" fmla="*/ 6740090 h 6785945"/>
              <a:gd name="connsiteX120" fmla="*/ 4199230 w 8497013"/>
              <a:gd name="connsiteY120" fmla="*/ 6756377 h 6785945"/>
              <a:gd name="connsiteX121" fmla="*/ 4157313 w 8497013"/>
              <a:gd name="connsiteY121" fmla="*/ 6769189 h 6785945"/>
              <a:gd name="connsiteX122" fmla="*/ 4111597 w 8497013"/>
              <a:gd name="connsiteY122" fmla="*/ 6778443 h 6785945"/>
              <a:gd name="connsiteX123" fmla="*/ 4061937 w 8497013"/>
              <a:gd name="connsiteY123" fmla="*/ 6784056 h 6785945"/>
              <a:gd name="connsiteX124" fmla="*/ 4008189 w 8497013"/>
              <a:gd name="connsiteY124" fmla="*/ 6785945 h 6785945"/>
              <a:gd name="connsiteX125" fmla="*/ 4008189 w 8497013"/>
              <a:gd name="connsiteY125" fmla="*/ 6689123 h 6785945"/>
              <a:gd name="connsiteX126" fmla="*/ 4057874 w 8497013"/>
              <a:gd name="connsiteY126" fmla="*/ 6686890 h 6785945"/>
              <a:gd name="connsiteX127" fmla="*/ 4102795 w 8497013"/>
              <a:gd name="connsiteY127" fmla="*/ 6680269 h 6785945"/>
              <a:gd name="connsiteX128" fmla="*/ 4143177 w 8497013"/>
              <a:gd name="connsiteY128" fmla="*/ 6669380 h 6785945"/>
              <a:gd name="connsiteX129" fmla="*/ 4179248 w 8497013"/>
              <a:gd name="connsiteY129" fmla="*/ 6654340 h 6785945"/>
              <a:gd name="connsiteX130" fmla="*/ 4239359 w 8497013"/>
              <a:gd name="connsiteY130" fmla="*/ 6612280 h 6785945"/>
              <a:gd name="connsiteX131" fmla="*/ 4284939 w 8497013"/>
              <a:gd name="connsiteY131" fmla="*/ 6555036 h 6785945"/>
              <a:gd name="connsiteX132" fmla="*/ 4302844 w 8497013"/>
              <a:gd name="connsiteY132" fmla="*/ 6521015 h 6785945"/>
              <a:gd name="connsiteX133" fmla="*/ 4317796 w 8497013"/>
              <a:gd name="connsiteY133" fmla="*/ 6483554 h 6785945"/>
              <a:gd name="connsiteX134" fmla="*/ 4330020 w 8497013"/>
              <a:gd name="connsiteY134" fmla="*/ 6442769 h 6785945"/>
              <a:gd name="connsiteX135" fmla="*/ 4339743 w 8497013"/>
              <a:gd name="connsiteY135" fmla="*/ 6398779 h 6785945"/>
              <a:gd name="connsiteX136" fmla="*/ 4347190 w 8497013"/>
              <a:gd name="connsiteY136" fmla="*/ 6351702 h 6785945"/>
              <a:gd name="connsiteX137" fmla="*/ 4352590 w 8497013"/>
              <a:gd name="connsiteY137" fmla="*/ 6301658 h 6785945"/>
              <a:gd name="connsiteX138" fmla="*/ 4356166 w 8497013"/>
              <a:gd name="connsiteY138" fmla="*/ 6248763 h 6785945"/>
              <a:gd name="connsiteX139" fmla="*/ 4358145 w 8497013"/>
              <a:gd name="connsiteY139" fmla="*/ 6193136 h 6785945"/>
              <a:gd name="connsiteX140" fmla="*/ 4358755 w 8497013"/>
              <a:gd name="connsiteY140" fmla="*/ 6134896 h 6785945"/>
              <a:gd name="connsiteX141" fmla="*/ 4358113 w 8497013"/>
              <a:gd name="connsiteY141" fmla="*/ 6077227 h 6785945"/>
              <a:gd name="connsiteX142" fmla="*/ 4356043 w 8497013"/>
              <a:gd name="connsiteY142" fmla="*/ 6022138 h 6785945"/>
              <a:gd name="connsiteX143" fmla="*/ 4352333 w 8497013"/>
              <a:gd name="connsiteY143" fmla="*/ 5969745 h 6785945"/>
              <a:gd name="connsiteX144" fmla="*/ 4346766 w 8497013"/>
              <a:gd name="connsiteY144" fmla="*/ 5920169 h 6785945"/>
              <a:gd name="connsiteX145" fmla="*/ 4339131 w 8497013"/>
              <a:gd name="connsiteY145" fmla="*/ 5873525 h 6785945"/>
              <a:gd name="connsiteX146" fmla="*/ 4329213 w 8497013"/>
              <a:gd name="connsiteY146" fmla="*/ 5829933 h 6785945"/>
              <a:gd name="connsiteX147" fmla="*/ 4316797 w 8497013"/>
              <a:gd name="connsiteY147" fmla="*/ 5789512 h 6785945"/>
              <a:gd name="connsiteX148" fmla="*/ 4301670 w 8497013"/>
              <a:gd name="connsiteY148" fmla="*/ 5752380 h 6785945"/>
              <a:gd name="connsiteX149" fmla="*/ 4283617 w 8497013"/>
              <a:gd name="connsiteY149" fmla="*/ 5718654 h 6785945"/>
              <a:gd name="connsiteX150" fmla="*/ 4237879 w 8497013"/>
              <a:gd name="connsiteY150" fmla="*/ 5661895 h 6785945"/>
              <a:gd name="connsiteX151" fmla="*/ 4177870 w 8497013"/>
              <a:gd name="connsiteY151" fmla="*/ 5620182 h 6785945"/>
              <a:gd name="connsiteX152" fmla="*/ 4141978 w 8497013"/>
              <a:gd name="connsiteY152" fmla="*/ 5605263 h 6785945"/>
              <a:gd name="connsiteX153" fmla="*/ 4101877 w 8497013"/>
              <a:gd name="connsiteY153" fmla="*/ 5594460 h 6785945"/>
              <a:gd name="connsiteX154" fmla="*/ 4057352 w 8497013"/>
              <a:gd name="connsiteY154" fmla="*/ 5587892 h 6785945"/>
              <a:gd name="connsiteX155" fmla="*/ 4008189 w 8497013"/>
              <a:gd name="connsiteY155" fmla="*/ 5585676 h 6785945"/>
              <a:gd name="connsiteX156" fmla="*/ 3491267 w 8497013"/>
              <a:gd name="connsiteY156" fmla="*/ 5487184 h 6785945"/>
              <a:gd name="connsiteX157" fmla="*/ 3491267 w 8497013"/>
              <a:gd name="connsiteY157" fmla="*/ 5585676 h 6785945"/>
              <a:gd name="connsiteX158" fmla="*/ 3442381 w 8497013"/>
              <a:gd name="connsiteY158" fmla="*/ 5587892 h 6785945"/>
              <a:gd name="connsiteX159" fmla="*/ 3398103 w 8497013"/>
              <a:gd name="connsiteY159" fmla="*/ 5594460 h 6785945"/>
              <a:gd name="connsiteX160" fmla="*/ 3358217 w 8497013"/>
              <a:gd name="connsiteY160" fmla="*/ 5605263 h 6785945"/>
              <a:gd name="connsiteX161" fmla="*/ 3322510 w 8497013"/>
              <a:gd name="connsiteY161" fmla="*/ 5620182 h 6785945"/>
              <a:gd name="connsiteX162" fmla="*/ 3262795 w 8497013"/>
              <a:gd name="connsiteY162" fmla="*/ 5661895 h 6785945"/>
              <a:gd name="connsiteX163" fmla="*/ 3217261 w 8497013"/>
              <a:gd name="connsiteY163" fmla="*/ 5718654 h 6785945"/>
              <a:gd name="connsiteX164" fmla="*/ 3199282 w 8497013"/>
              <a:gd name="connsiteY164" fmla="*/ 5752380 h 6785945"/>
              <a:gd name="connsiteX165" fmla="*/ 3184213 w 8497013"/>
              <a:gd name="connsiteY165" fmla="*/ 5789512 h 6785945"/>
              <a:gd name="connsiteX166" fmla="*/ 3171840 w 8497013"/>
              <a:gd name="connsiteY166" fmla="*/ 5829933 h 6785945"/>
              <a:gd name="connsiteX167" fmla="*/ 3161952 w 8497013"/>
              <a:gd name="connsiteY167" fmla="*/ 5873525 h 6785945"/>
              <a:gd name="connsiteX168" fmla="*/ 3154338 w 8497013"/>
              <a:gd name="connsiteY168" fmla="*/ 5920169 h 6785945"/>
              <a:gd name="connsiteX169" fmla="*/ 3148785 w 8497013"/>
              <a:gd name="connsiteY169" fmla="*/ 5969745 h 6785945"/>
              <a:gd name="connsiteX170" fmla="*/ 3145081 w 8497013"/>
              <a:gd name="connsiteY170" fmla="*/ 6022138 h 6785945"/>
              <a:gd name="connsiteX171" fmla="*/ 3143014 w 8497013"/>
              <a:gd name="connsiteY171" fmla="*/ 6077227 h 6785945"/>
              <a:gd name="connsiteX172" fmla="*/ 3142372 w 8497013"/>
              <a:gd name="connsiteY172" fmla="*/ 6134896 h 6785945"/>
              <a:gd name="connsiteX173" fmla="*/ 3142997 w 8497013"/>
              <a:gd name="connsiteY173" fmla="*/ 6193136 h 6785945"/>
              <a:gd name="connsiteX174" fmla="*/ 3145020 w 8497013"/>
              <a:gd name="connsiteY174" fmla="*/ 6248763 h 6785945"/>
              <a:gd name="connsiteX175" fmla="*/ 3148657 w 8497013"/>
              <a:gd name="connsiteY175" fmla="*/ 6301658 h 6785945"/>
              <a:gd name="connsiteX176" fmla="*/ 3154126 w 8497013"/>
              <a:gd name="connsiteY176" fmla="*/ 6351702 h 6785945"/>
              <a:gd name="connsiteX177" fmla="*/ 3161647 w 8497013"/>
              <a:gd name="connsiteY177" fmla="*/ 6398779 h 6785945"/>
              <a:gd name="connsiteX178" fmla="*/ 3171437 w 8497013"/>
              <a:gd name="connsiteY178" fmla="*/ 6442769 h 6785945"/>
              <a:gd name="connsiteX179" fmla="*/ 3183713 w 8497013"/>
              <a:gd name="connsiteY179" fmla="*/ 6483554 h 6785945"/>
              <a:gd name="connsiteX180" fmla="*/ 3198695 w 8497013"/>
              <a:gd name="connsiteY180" fmla="*/ 6521015 h 6785945"/>
              <a:gd name="connsiteX181" fmla="*/ 3216602 w 8497013"/>
              <a:gd name="connsiteY181" fmla="*/ 6555036 h 6785945"/>
              <a:gd name="connsiteX182" fmla="*/ 3262055 w 8497013"/>
              <a:gd name="connsiteY182" fmla="*/ 6612280 h 6785945"/>
              <a:gd name="connsiteX183" fmla="*/ 3321821 w 8497013"/>
              <a:gd name="connsiteY183" fmla="*/ 6654340 h 6785945"/>
              <a:gd name="connsiteX184" fmla="*/ 3357617 w 8497013"/>
              <a:gd name="connsiteY184" fmla="*/ 6669380 h 6785945"/>
              <a:gd name="connsiteX185" fmla="*/ 3397644 w 8497013"/>
              <a:gd name="connsiteY185" fmla="*/ 6680269 h 6785945"/>
              <a:gd name="connsiteX186" fmla="*/ 3442120 w 8497013"/>
              <a:gd name="connsiteY186" fmla="*/ 6686890 h 6785945"/>
              <a:gd name="connsiteX187" fmla="*/ 3491267 w 8497013"/>
              <a:gd name="connsiteY187" fmla="*/ 6689123 h 6785945"/>
              <a:gd name="connsiteX188" fmla="*/ 3491267 w 8497013"/>
              <a:gd name="connsiteY188" fmla="*/ 6785945 h 6785945"/>
              <a:gd name="connsiteX189" fmla="*/ 3437744 w 8497013"/>
              <a:gd name="connsiteY189" fmla="*/ 6784056 h 6785945"/>
              <a:gd name="connsiteX190" fmla="*/ 3388267 w 8497013"/>
              <a:gd name="connsiteY190" fmla="*/ 6778443 h 6785945"/>
              <a:gd name="connsiteX191" fmla="*/ 3342687 w 8497013"/>
              <a:gd name="connsiteY191" fmla="*/ 6769189 h 6785945"/>
              <a:gd name="connsiteX192" fmla="*/ 3300868 w 8497013"/>
              <a:gd name="connsiteY192" fmla="*/ 6756377 h 6785945"/>
              <a:gd name="connsiteX193" fmla="*/ 3262672 w 8497013"/>
              <a:gd name="connsiteY193" fmla="*/ 6740090 h 6785945"/>
              <a:gd name="connsiteX194" fmla="*/ 3227954 w 8497013"/>
              <a:gd name="connsiteY194" fmla="*/ 6720409 h 6785945"/>
              <a:gd name="connsiteX195" fmla="*/ 3196577 w 8497013"/>
              <a:gd name="connsiteY195" fmla="*/ 6697419 h 6785945"/>
              <a:gd name="connsiteX196" fmla="*/ 3168401 w 8497013"/>
              <a:gd name="connsiteY196" fmla="*/ 6671200 h 6785945"/>
              <a:gd name="connsiteX197" fmla="*/ 3143286 w 8497013"/>
              <a:gd name="connsiteY197" fmla="*/ 6641837 h 6785945"/>
              <a:gd name="connsiteX198" fmla="*/ 3121088 w 8497013"/>
              <a:gd name="connsiteY198" fmla="*/ 6609411 h 6785945"/>
              <a:gd name="connsiteX199" fmla="*/ 3101671 w 8497013"/>
              <a:gd name="connsiteY199" fmla="*/ 6574005 h 6785945"/>
              <a:gd name="connsiteX200" fmla="*/ 3084893 w 8497013"/>
              <a:gd name="connsiteY200" fmla="*/ 6535702 h 6785945"/>
              <a:gd name="connsiteX201" fmla="*/ 3070614 w 8497013"/>
              <a:gd name="connsiteY201" fmla="*/ 6494584 h 6785945"/>
              <a:gd name="connsiteX202" fmla="*/ 3058694 w 8497013"/>
              <a:gd name="connsiteY202" fmla="*/ 6450735 h 6785945"/>
              <a:gd name="connsiteX203" fmla="*/ 3048993 w 8497013"/>
              <a:gd name="connsiteY203" fmla="*/ 6404236 h 6785945"/>
              <a:gd name="connsiteX204" fmla="*/ 3041370 w 8497013"/>
              <a:gd name="connsiteY204" fmla="*/ 6355171 h 6785945"/>
              <a:gd name="connsiteX205" fmla="*/ 3035685 w 8497013"/>
              <a:gd name="connsiteY205" fmla="*/ 6303621 h 6785945"/>
              <a:gd name="connsiteX206" fmla="*/ 3031798 w 8497013"/>
              <a:gd name="connsiteY206" fmla="*/ 6249671 h 6785945"/>
              <a:gd name="connsiteX207" fmla="*/ 3029568 w 8497013"/>
              <a:gd name="connsiteY207" fmla="*/ 6193401 h 6785945"/>
              <a:gd name="connsiteX208" fmla="*/ 3028857 w 8497013"/>
              <a:gd name="connsiteY208" fmla="*/ 6134896 h 6785945"/>
              <a:gd name="connsiteX209" fmla="*/ 3029592 w 8497013"/>
              <a:gd name="connsiteY209" fmla="*/ 6076640 h 6785945"/>
              <a:gd name="connsiteX210" fmla="*/ 3031888 w 8497013"/>
              <a:gd name="connsiteY210" fmla="*/ 6020620 h 6785945"/>
              <a:gd name="connsiteX211" fmla="*/ 3035877 w 8497013"/>
              <a:gd name="connsiteY211" fmla="*/ 5966915 h 6785945"/>
              <a:gd name="connsiteX212" fmla="*/ 3041690 w 8497013"/>
              <a:gd name="connsiteY212" fmla="*/ 5915609 h 6785945"/>
              <a:gd name="connsiteX213" fmla="*/ 3049463 w 8497013"/>
              <a:gd name="connsiteY213" fmla="*/ 5866781 h 6785945"/>
              <a:gd name="connsiteX214" fmla="*/ 3059326 w 8497013"/>
              <a:gd name="connsiteY214" fmla="*/ 5820513 h 6785945"/>
              <a:gd name="connsiteX215" fmla="*/ 3071412 w 8497013"/>
              <a:gd name="connsiteY215" fmla="*/ 5776887 h 6785945"/>
              <a:gd name="connsiteX216" fmla="*/ 3085855 w 8497013"/>
              <a:gd name="connsiteY216" fmla="*/ 5735985 h 6785945"/>
              <a:gd name="connsiteX217" fmla="*/ 3102787 w 8497013"/>
              <a:gd name="connsiteY217" fmla="*/ 5697887 h 6785945"/>
              <a:gd name="connsiteX218" fmla="*/ 3122341 w 8497013"/>
              <a:gd name="connsiteY218" fmla="*/ 5662675 h 6785945"/>
              <a:gd name="connsiteX219" fmla="*/ 3144649 w 8497013"/>
              <a:gd name="connsiteY219" fmla="*/ 5630430 h 6785945"/>
              <a:gd name="connsiteX220" fmla="*/ 3169844 w 8497013"/>
              <a:gd name="connsiteY220" fmla="*/ 5601234 h 6785945"/>
              <a:gd name="connsiteX221" fmla="*/ 3198060 w 8497013"/>
              <a:gd name="connsiteY221" fmla="*/ 5575168 h 6785945"/>
              <a:gd name="connsiteX222" fmla="*/ 3229427 w 8497013"/>
              <a:gd name="connsiteY222" fmla="*/ 5552313 h 6785945"/>
              <a:gd name="connsiteX223" fmla="*/ 3264079 w 8497013"/>
              <a:gd name="connsiteY223" fmla="*/ 5532752 h 6785945"/>
              <a:gd name="connsiteX224" fmla="*/ 3302151 w 8497013"/>
              <a:gd name="connsiteY224" fmla="*/ 5516564 h 6785945"/>
              <a:gd name="connsiteX225" fmla="*/ 3343773 w 8497013"/>
              <a:gd name="connsiteY225" fmla="*/ 5503832 h 6785945"/>
              <a:gd name="connsiteX226" fmla="*/ 3389078 w 8497013"/>
              <a:gd name="connsiteY226" fmla="*/ 5494637 h 6785945"/>
              <a:gd name="connsiteX227" fmla="*/ 3438196 w 8497013"/>
              <a:gd name="connsiteY227" fmla="*/ 5489060 h 6785945"/>
              <a:gd name="connsiteX228" fmla="*/ 5569411 w 8497013"/>
              <a:gd name="connsiteY228" fmla="*/ 5006403 h 6785945"/>
              <a:gd name="connsiteX229" fmla="*/ 5611640 w 8497013"/>
              <a:gd name="connsiteY229" fmla="*/ 5010081 h 6785945"/>
              <a:gd name="connsiteX230" fmla="*/ 5644323 w 8497013"/>
              <a:gd name="connsiteY230" fmla="*/ 5023305 h 6785945"/>
              <a:gd name="connsiteX231" fmla="*/ 5665424 w 8497013"/>
              <a:gd name="connsiteY231" fmla="*/ 5049363 h 6785945"/>
              <a:gd name="connsiteX232" fmla="*/ 5672910 w 8497013"/>
              <a:gd name="connsiteY232" fmla="*/ 5091541 h 6785945"/>
              <a:gd name="connsiteX233" fmla="*/ 5665424 w 8497013"/>
              <a:gd name="connsiteY233" fmla="*/ 5135648 h 6785945"/>
              <a:gd name="connsiteX234" fmla="*/ 5644323 w 8497013"/>
              <a:gd name="connsiteY234" fmla="*/ 5162697 h 6785945"/>
              <a:gd name="connsiteX235" fmla="*/ 5611640 w 8497013"/>
              <a:gd name="connsiteY235" fmla="*/ 5176287 h 6785945"/>
              <a:gd name="connsiteX236" fmla="*/ 5569411 w 8497013"/>
              <a:gd name="connsiteY236" fmla="*/ 5180017 h 6785945"/>
              <a:gd name="connsiteX237" fmla="*/ 5527181 w 8497013"/>
              <a:gd name="connsiteY237" fmla="*/ 5176287 h 6785945"/>
              <a:gd name="connsiteX238" fmla="*/ 5494498 w 8497013"/>
              <a:gd name="connsiteY238" fmla="*/ 5162697 h 6785945"/>
              <a:gd name="connsiteX239" fmla="*/ 5473397 w 8497013"/>
              <a:gd name="connsiteY239" fmla="*/ 5135648 h 6785945"/>
              <a:gd name="connsiteX240" fmla="*/ 5465911 w 8497013"/>
              <a:gd name="connsiteY240" fmla="*/ 5091541 h 6785945"/>
              <a:gd name="connsiteX241" fmla="*/ 5473631 w 8497013"/>
              <a:gd name="connsiteY241" fmla="*/ 5049363 h 6785945"/>
              <a:gd name="connsiteX242" fmla="*/ 5495125 w 8497013"/>
              <a:gd name="connsiteY242" fmla="*/ 5023305 h 6785945"/>
              <a:gd name="connsiteX243" fmla="*/ 5527886 w 8497013"/>
              <a:gd name="connsiteY243" fmla="*/ 5010081 h 6785945"/>
              <a:gd name="connsiteX244" fmla="*/ 4804116 w 8497013"/>
              <a:gd name="connsiteY244" fmla="*/ 5006403 h 6785945"/>
              <a:gd name="connsiteX245" fmla="*/ 4846346 w 8497013"/>
              <a:gd name="connsiteY245" fmla="*/ 5010081 h 6785945"/>
              <a:gd name="connsiteX246" fmla="*/ 4879028 w 8497013"/>
              <a:gd name="connsiteY246" fmla="*/ 5023305 h 6785945"/>
              <a:gd name="connsiteX247" fmla="*/ 4900130 w 8497013"/>
              <a:gd name="connsiteY247" fmla="*/ 5049363 h 6785945"/>
              <a:gd name="connsiteX248" fmla="*/ 4907615 w 8497013"/>
              <a:gd name="connsiteY248" fmla="*/ 5091541 h 6785945"/>
              <a:gd name="connsiteX249" fmla="*/ 4900130 w 8497013"/>
              <a:gd name="connsiteY249" fmla="*/ 5135648 h 6785945"/>
              <a:gd name="connsiteX250" fmla="*/ 4879028 w 8497013"/>
              <a:gd name="connsiteY250" fmla="*/ 5162697 h 6785945"/>
              <a:gd name="connsiteX251" fmla="*/ 4846346 w 8497013"/>
              <a:gd name="connsiteY251" fmla="*/ 5176287 h 6785945"/>
              <a:gd name="connsiteX252" fmla="*/ 4804116 w 8497013"/>
              <a:gd name="connsiteY252" fmla="*/ 5180017 h 6785945"/>
              <a:gd name="connsiteX253" fmla="*/ 4761886 w 8497013"/>
              <a:gd name="connsiteY253" fmla="*/ 5176287 h 6785945"/>
              <a:gd name="connsiteX254" fmla="*/ 4729203 w 8497013"/>
              <a:gd name="connsiteY254" fmla="*/ 5162697 h 6785945"/>
              <a:gd name="connsiteX255" fmla="*/ 4708102 w 8497013"/>
              <a:gd name="connsiteY255" fmla="*/ 5135648 h 6785945"/>
              <a:gd name="connsiteX256" fmla="*/ 4700616 w 8497013"/>
              <a:gd name="connsiteY256" fmla="*/ 5091541 h 6785945"/>
              <a:gd name="connsiteX257" fmla="*/ 4708336 w 8497013"/>
              <a:gd name="connsiteY257" fmla="*/ 5049363 h 6785945"/>
              <a:gd name="connsiteX258" fmla="*/ 4729830 w 8497013"/>
              <a:gd name="connsiteY258" fmla="*/ 5023305 h 6785945"/>
              <a:gd name="connsiteX259" fmla="*/ 4762591 w 8497013"/>
              <a:gd name="connsiteY259" fmla="*/ 5010081 h 6785945"/>
              <a:gd name="connsiteX260" fmla="*/ 2787004 w 8497013"/>
              <a:gd name="connsiteY260" fmla="*/ 4856173 h 6785945"/>
              <a:gd name="connsiteX261" fmla="*/ 3691793 w 8497013"/>
              <a:gd name="connsiteY261" fmla="*/ 4856173 h 6785945"/>
              <a:gd name="connsiteX262" fmla="*/ 3691793 w 8497013"/>
              <a:gd name="connsiteY262" fmla="*/ 4963011 h 6785945"/>
              <a:gd name="connsiteX263" fmla="*/ 2787004 w 8497013"/>
              <a:gd name="connsiteY263" fmla="*/ 4963011 h 6785945"/>
              <a:gd name="connsiteX264" fmla="*/ 1275095 w 8497013"/>
              <a:gd name="connsiteY264" fmla="*/ 4856173 h 6785945"/>
              <a:gd name="connsiteX265" fmla="*/ 2179887 w 8497013"/>
              <a:gd name="connsiteY265" fmla="*/ 4856173 h 6785945"/>
              <a:gd name="connsiteX266" fmla="*/ 2179887 w 8497013"/>
              <a:gd name="connsiteY266" fmla="*/ 4963011 h 6785945"/>
              <a:gd name="connsiteX267" fmla="*/ 1275095 w 8497013"/>
              <a:gd name="connsiteY267" fmla="*/ 4963011 h 6785945"/>
              <a:gd name="connsiteX268" fmla="*/ 2787004 w 8497013"/>
              <a:gd name="connsiteY268" fmla="*/ 4507276 h 6785945"/>
              <a:gd name="connsiteX269" fmla="*/ 3691793 w 8497013"/>
              <a:gd name="connsiteY269" fmla="*/ 4507276 h 6785945"/>
              <a:gd name="connsiteX270" fmla="*/ 3691793 w 8497013"/>
              <a:gd name="connsiteY270" fmla="*/ 4614114 h 6785945"/>
              <a:gd name="connsiteX271" fmla="*/ 2787004 w 8497013"/>
              <a:gd name="connsiteY271" fmla="*/ 4614114 h 6785945"/>
              <a:gd name="connsiteX272" fmla="*/ 1275095 w 8497013"/>
              <a:gd name="connsiteY272" fmla="*/ 4507276 h 6785945"/>
              <a:gd name="connsiteX273" fmla="*/ 2179887 w 8497013"/>
              <a:gd name="connsiteY273" fmla="*/ 4507276 h 6785945"/>
              <a:gd name="connsiteX274" fmla="*/ 2179887 w 8497013"/>
              <a:gd name="connsiteY274" fmla="*/ 4614114 h 6785945"/>
              <a:gd name="connsiteX275" fmla="*/ 1275095 w 8497013"/>
              <a:gd name="connsiteY275" fmla="*/ 4614114 h 6785945"/>
              <a:gd name="connsiteX276" fmla="*/ 5569411 w 8497013"/>
              <a:gd name="connsiteY276" fmla="*/ 4305272 h 6785945"/>
              <a:gd name="connsiteX277" fmla="*/ 5611640 w 8497013"/>
              <a:gd name="connsiteY277" fmla="*/ 4308741 h 6785945"/>
              <a:gd name="connsiteX278" fmla="*/ 5644323 w 8497013"/>
              <a:gd name="connsiteY278" fmla="*/ 4321757 h 6785945"/>
              <a:gd name="connsiteX279" fmla="*/ 5665424 w 8497013"/>
              <a:gd name="connsiteY279" fmla="*/ 4348232 h 6785945"/>
              <a:gd name="connsiteX280" fmla="*/ 5672910 w 8497013"/>
              <a:gd name="connsiteY280" fmla="*/ 4392078 h 6785945"/>
              <a:gd name="connsiteX281" fmla="*/ 5665424 w 8497013"/>
              <a:gd name="connsiteY281" fmla="*/ 4434517 h 6785945"/>
              <a:gd name="connsiteX282" fmla="*/ 5644323 w 8497013"/>
              <a:gd name="connsiteY282" fmla="*/ 4461148 h 6785945"/>
              <a:gd name="connsiteX283" fmla="*/ 5611640 w 8497013"/>
              <a:gd name="connsiteY283" fmla="*/ 4474946 h 6785945"/>
              <a:gd name="connsiteX284" fmla="*/ 5569411 w 8497013"/>
              <a:gd name="connsiteY284" fmla="*/ 4478885 h 6785945"/>
              <a:gd name="connsiteX285" fmla="*/ 5528147 w 8497013"/>
              <a:gd name="connsiteY285" fmla="*/ 4474946 h 6785945"/>
              <a:gd name="connsiteX286" fmla="*/ 5495959 w 8497013"/>
              <a:gd name="connsiteY286" fmla="*/ 4461148 h 6785945"/>
              <a:gd name="connsiteX287" fmla="*/ 5475040 w 8497013"/>
              <a:gd name="connsiteY287" fmla="*/ 4434517 h 6785945"/>
              <a:gd name="connsiteX288" fmla="*/ 5467580 w 8497013"/>
              <a:gd name="connsiteY288" fmla="*/ 4392078 h 6785945"/>
              <a:gd name="connsiteX289" fmla="*/ 5475040 w 8497013"/>
              <a:gd name="connsiteY289" fmla="*/ 4348232 h 6785945"/>
              <a:gd name="connsiteX290" fmla="*/ 5495959 w 8497013"/>
              <a:gd name="connsiteY290" fmla="*/ 4321757 h 6785945"/>
              <a:gd name="connsiteX291" fmla="*/ 5528147 w 8497013"/>
              <a:gd name="connsiteY291" fmla="*/ 4308741 h 6785945"/>
              <a:gd name="connsiteX292" fmla="*/ 4804116 w 8497013"/>
              <a:gd name="connsiteY292" fmla="*/ 4305272 h 6785945"/>
              <a:gd name="connsiteX293" fmla="*/ 4846346 w 8497013"/>
              <a:gd name="connsiteY293" fmla="*/ 4308741 h 6785945"/>
              <a:gd name="connsiteX294" fmla="*/ 4879028 w 8497013"/>
              <a:gd name="connsiteY294" fmla="*/ 4321757 h 6785945"/>
              <a:gd name="connsiteX295" fmla="*/ 4900130 w 8497013"/>
              <a:gd name="connsiteY295" fmla="*/ 4348232 h 6785945"/>
              <a:gd name="connsiteX296" fmla="*/ 4907615 w 8497013"/>
              <a:gd name="connsiteY296" fmla="*/ 4392078 h 6785945"/>
              <a:gd name="connsiteX297" fmla="*/ 4900130 w 8497013"/>
              <a:gd name="connsiteY297" fmla="*/ 4434517 h 6785945"/>
              <a:gd name="connsiteX298" fmla="*/ 4879028 w 8497013"/>
              <a:gd name="connsiteY298" fmla="*/ 4461148 h 6785945"/>
              <a:gd name="connsiteX299" fmla="*/ 4846346 w 8497013"/>
              <a:gd name="connsiteY299" fmla="*/ 4474946 h 6785945"/>
              <a:gd name="connsiteX300" fmla="*/ 4804116 w 8497013"/>
              <a:gd name="connsiteY300" fmla="*/ 4478885 h 6785945"/>
              <a:gd name="connsiteX301" fmla="*/ 4762852 w 8497013"/>
              <a:gd name="connsiteY301" fmla="*/ 4474946 h 6785945"/>
              <a:gd name="connsiteX302" fmla="*/ 4730664 w 8497013"/>
              <a:gd name="connsiteY302" fmla="*/ 4461148 h 6785945"/>
              <a:gd name="connsiteX303" fmla="*/ 4709745 w 8497013"/>
              <a:gd name="connsiteY303" fmla="*/ 4434517 h 6785945"/>
              <a:gd name="connsiteX304" fmla="*/ 4702285 w 8497013"/>
              <a:gd name="connsiteY304" fmla="*/ 4392078 h 6785945"/>
              <a:gd name="connsiteX305" fmla="*/ 4709745 w 8497013"/>
              <a:gd name="connsiteY305" fmla="*/ 4348232 h 6785945"/>
              <a:gd name="connsiteX306" fmla="*/ 4730664 w 8497013"/>
              <a:gd name="connsiteY306" fmla="*/ 4321757 h 6785945"/>
              <a:gd name="connsiteX307" fmla="*/ 4762852 w 8497013"/>
              <a:gd name="connsiteY307" fmla="*/ 4308741 h 6785945"/>
              <a:gd name="connsiteX308" fmla="*/ 7712987 w 8497013"/>
              <a:gd name="connsiteY308" fmla="*/ 3503986 h 6785945"/>
              <a:gd name="connsiteX309" fmla="*/ 7763122 w 8497013"/>
              <a:gd name="connsiteY309" fmla="*/ 3509568 h 6785945"/>
              <a:gd name="connsiteX310" fmla="*/ 7795147 w 8497013"/>
              <a:gd name="connsiteY310" fmla="*/ 3526208 h 6785945"/>
              <a:gd name="connsiteX311" fmla="*/ 7811787 w 8497013"/>
              <a:gd name="connsiteY311" fmla="*/ 3553746 h 6785945"/>
              <a:gd name="connsiteX312" fmla="*/ 7815767 w 8497013"/>
              <a:gd name="connsiteY312" fmla="*/ 3592021 h 6785945"/>
              <a:gd name="connsiteX313" fmla="*/ 7809810 w 8497013"/>
              <a:gd name="connsiteY313" fmla="*/ 3640873 h 6785945"/>
              <a:gd name="connsiteX314" fmla="*/ 7763068 w 8497013"/>
              <a:gd name="connsiteY314" fmla="*/ 3887939 h 6785945"/>
              <a:gd name="connsiteX315" fmla="*/ 7682939 w 8497013"/>
              <a:gd name="connsiteY315" fmla="*/ 3887939 h 6785945"/>
              <a:gd name="connsiteX316" fmla="*/ 7709648 w 8497013"/>
              <a:gd name="connsiteY316" fmla="*/ 3677600 h 6785945"/>
              <a:gd name="connsiteX317" fmla="*/ 7668644 w 8497013"/>
              <a:gd name="connsiteY317" fmla="*/ 3673635 h 6785945"/>
              <a:gd name="connsiteX318" fmla="*/ 7637031 w 8497013"/>
              <a:gd name="connsiteY318" fmla="*/ 3659654 h 6785945"/>
              <a:gd name="connsiteX319" fmla="*/ 7616686 w 8497013"/>
              <a:gd name="connsiteY319" fmla="*/ 3632527 h 6785945"/>
              <a:gd name="connsiteX320" fmla="*/ 7609487 w 8497013"/>
              <a:gd name="connsiteY320" fmla="*/ 3589124 h 6785945"/>
              <a:gd name="connsiteX321" fmla="*/ 7617207 w 8497013"/>
              <a:gd name="connsiteY321" fmla="*/ 3546946 h 6785945"/>
              <a:gd name="connsiteX322" fmla="*/ 7638700 w 8497013"/>
              <a:gd name="connsiteY322" fmla="*/ 3520888 h 6785945"/>
              <a:gd name="connsiteX323" fmla="*/ 7671461 w 8497013"/>
              <a:gd name="connsiteY323" fmla="*/ 3507664 h 6785945"/>
              <a:gd name="connsiteX324" fmla="*/ 4062097 w 8497013"/>
              <a:gd name="connsiteY324" fmla="*/ 3353744 h 6785945"/>
              <a:gd name="connsiteX325" fmla="*/ 4966889 w 8497013"/>
              <a:gd name="connsiteY325" fmla="*/ 3353744 h 6785945"/>
              <a:gd name="connsiteX326" fmla="*/ 4966889 w 8497013"/>
              <a:gd name="connsiteY326" fmla="*/ 3460582 h 6785945"/>
              <a:gd name="connsiteX327" fmla="*/ 4062097 w 8497013"/>
              <a:gd name="connsiteY327" fmla="*/ 3460582 h 6785945"/>
              <a:gd name="connsiteX328" fmla="*/ 2550201 w 8497013"/>
              <a:gd name="connsiteY328" fmla="*/ 3353744 h 6785945"/>
              <a:gd name="connsiteX329" fmla="*/ 3454992 w 8497013"/>
              <a:gd name="connsiteY329" fmla="*/ 3353744 h 6785945"/>
              <a:gd name="connsiteX330" fmla="*/ 3454992 w 8497013"/>
              <a:gd name="connsiteY330" fmla="*/ 3460582 h 6785945"/>
              <a:gd name="connsiteX331" fmla="*/ 2550201 w 8497013"/>
              <a:gd name="connsiteY331" fmla="*/ 3460582 h 6785945"/>
              <a:gd name="connsiteX332" fmla="*/ 4062097 w 8497013"/>
              <a:gd name="connsiteY332" fmla="*/ 3004848 h 6785945"/>
              <a:gd name="connsiteX333" fmla="*/ 4966889 w 8497013"/>
              <a:gd name="connsiteY333" fmla="*/ 3004848 h 6785945"/>
              <a:gd name="connsiteX334" fmla="*/ 4966889 w 8497013"/>
              <a:gd name="connsiteY334" fmla="*/ 3111686 h 6785945"/>
              <a:gd name="connsiteX335" fmla="*/ 4062097 w 8497013"/>
              <a:gd name="connsiteY335" fmla="*/ 3111686 h 6785945"/>
              <a:gd name="connsiteX336" fmla="*/ 2550201 w 8497013"/>
              <a:gd name="connsiteY336" fmla="*/ 3004848 h 6785945"/>
              <a:gd name="connsiteX337" fmla="*/ 3454992 w 8497013"/>
              <a:gd name="connsiteY337" fmla="*/ 3004848 h 6785945"/>
              <a:gd name="connsiteX338" fmla="*/ 3454992 w 8497013"/>
              <a:gd name="connsiteY338" fmla="*/ 3111686 h 6785945"/>
              <a:gd name="connsiteX339" fmla="*/ 2550201 w 8497013"/>
              <a:gd name="connsiteY339" fmla="*/ 3111686 h 6785945"/>
              <a:gd name="connsiteX340" fmla="*/ 7712987 w 8497013"/>
              <a:gd name="connsiteY340" fmla="*/ 2802855 h 6785945"/>
              <a:gd name="connsiteX341" fmla="*/ 7755217 w 8497013"/>
              <a:gd name="connsiteY341" fmla="*/ 2806324 h 6785945"/>
              <a:gd name="connsiteX342" fmla="*/ 7787900 w 8497013"/>
              <a:gd name="connsiteY342" fmla="*/ 2819339 h 6785945"/>
              <a:gd name="connsiteX343" fmla="*/ 7809002 w 8497013"/>
              <a:gd name="connsiteY343" fmla="*/ 2845814 h 6785945"/>
              <a:gd name="connsiteX344" fmla="*/ 7816489 w 8497013"/>
              <a:gd name="connsiteY344" fmla="*/ 2889661 h 6785945"/>
              <a:gd name="connsiteX345" fmla="*/ 7809002 w 8497013"/>
              <a:gd name="connsiteY345" fmla="*/ 2932099 h 6785945"/>
              <a:gd name="connsiteX346" fmla="*/ 7787900 w 8497013"/>
              <a:gd name="connsiteY346" fmla="*/ 2958731 h 6785945"/>
              <a:gd name="connsiteX347" fmla="*/ 7755217 w 8497013"/>
              <a:gd name="connsiteY347" fmla="*/ 2972529 h 6785945"/>
              <a:gd name="connsiteX348" fmla="*/ 7712987 w 8497013"/>
              <a:gd name="connsiteY348" fmla="*/ 2976468 h 6785945"/>
              <a:gd name="connsiteX349" fmla="*/ 7671722 w 8497013"/>
              <a:gd name="connsiteY349" fmla="*/ 2972529 h 6785945"/>
              <a:gd name="connsiteX350" fmla="*/ 7639535 w 8497013"/>
              <a:gd name="connsiteY350" fmla="*/ 2958731 h 6785945"/>
              <a:gd name="connsiteX351" fmla="*/ 7618615 w 8497013"/>
              <a:gd name="connsiteY351" fmla="*/ 2932099 h 6785945"/>
              <a:gd name="connsiteX352" fmla="*/ 7611156 w 8497013"/>
              <a:gd name="connsiteY352" fmla="*/ 2889661 h 6785945"/>
              <a:gd name="connsiteX353" fmla="*/ 7618615 w 8497013"/>
              <a:gd name="connsiteY353" fmla="*/ 2845814 h 6785945"/>
              <a:gd name="connsiteX354" fmla="*/ 7639535 w 8497013"/>
              <a:gd name="connsiteY354" fmla="*/ 2819339 h 6785945"/>
              <a:gd name="connsiteX355" fmla="*/ 7671722 w 8497013"/>
              <a:gd name="connsiteY355" fmla="*/ 2806324 h 6785945"/>
              <a:gd name="connsiteX356" fmla="*/ 6558381 w 8497013"/>
              <a:gd name="connsiteY356" fmla="*/ 2482346 h 6785945"/>
              <a:gd name="connsiteX357" fmla="*/ 6611451 w 8497013"/>
              <a:gd name="connsiteY357" fmla="*/ 2484222 h 6785945"/>
              <a:gd name="connsiteX358" fmla="*/ 6660572 w 8497013"/>
              <a:gd name="connsiteY358" fmla="*/ 2489799 h 6785945"/>
              <a:gd name="connsiteX359" fmla="*/ 6705877 w 8497013"/>
              <a:gd name="connsiteY359" fmla="*/ 2498994 h 6785945"/>
              <a:gd name="connsiteX360" fmla="*/ 6747499 w 8497013"/>
              <a:gd name="connsiteY360" fmla="*/ 2511726 h 6785945"/>
              <a:gd name="connsiteX361" fmla="*/ 6785570 w 8497013"/>
              <a:gd name="connsiteY361" fmla="*/ 2527914 h 6785945"/>
              <a:gd name="connsiteX362" fmla="*/ 6820223 w 8497013"/>
              <a:gd name="connsiteY362" fmla="*/ 2547475 h 6785945"/>
              <a:gd name="connsiteX363" fmla="*/ 6851590 w 8497013"/>
              <a:gd name="connsiteY363" fmla="*/ 2570330 h 6785945"/>
              <a:gd name="connsiteX364" fmla="*/ 6879805 w 8497013"/>
              <a:gd name="connsiteY364" fmla="*/ 2596396 h 6785945"/>
              <a:gd name="connsiteX365" fmla="*/ 6905001 w 8497013"/>
              <a:gd name="connsiteY365" fmla="*/ 2625592 h 6785945"/>
              <a:gd name="connsiteX366" fmla="*/ 6927309 w 8497013"/>
              <a:gd name="connsiteY366" fmla="*/ 2657837 h 6785945"/>
              <a:gd name="connsiteX367" fmla="*/ 6946862 w 8497013"/>
              <a:gd name="connsiteY367" fmla="*/ 2693049 h 6785945"/>
              <a:gd name="connsiteX368" fmla="*/ 6963794 w 8497013"/>
              <a:gd name="connsiteY368" fmla="*/ 2731147 h 6785945"/>
              <a:gd name="connsiteX369" fmla="*/ 6978237 w 8497013"/>
              <a:gd name="connsiteY369" fmla="*/ 2772049 h 6785945"/>
              <a:gd name="connsiteX370" fmla="*/ 6990324 w 8497013"/>
              <a:gd name="connsiteY370" fmla="*/ 2815675 h 6785945"/>
              <a:gd name="connsiteX371" fmla="*/ 7000187 w 8497013"/>
              <a:gd name="connsiteY371" fmla="*/ 2861942 h 6785945"/>
              <a:gd name="connsiteX372" fmla="*/ 7007959 w 8497013"/>
              <a:gd name="connsiteY372" fmla="*/ 2910770 h 6785945"/>
              <a:gd name="connsiteX373" fmla="*/ 7013773 w 8497013"/>
              <a:gd name="connsiteY373" fmla="*/ 2962076 h 6785945"/>
              <a:gd name="connsiteX374" fmla="*/ 7017761 w 8497013"/>
              <a:gd name="connsiteY374" fmla="*/ 3015781 h 6785945"/>
              <a:gd name="connsiteX375" fmla="*/ 7020057 w 8497013"/>
              <a:gd name="connsiteY375" fmla="*/ 3071801 h 6785945"/>
              <a:gd name="connsiteX376" fmla="*/ 7020793 w 8497013"/>
              <a:gd name="connsiteY376" fmla="*/ 3130057 h 6785945"/>
              <a:gd name="connsiteX377" fmla="*/ 7020093 w 8497013"/>
              <a:gd name="connsiteY377" fmla="*/ 3188562 h 6785945"/>
              <a:gd name="connsiteX378" fmla="*/ 7017896 w 8497013"/>
              <a:gd name="connsiteY378" fmla="*/ 3244832 h 6785945"/>
              <a:gd name="connsiteX379" fmla="*/ 7014060 w 8497013"/>
              <a:gd name="connsiteY379" fmla="*/ 3298782 h 6785945"/>
              <a:gd name="connsiteX380" fmla="*/ 7008439 w 8497013"/>
              <a:gd name="connsiteY380" fmla="*/ 3350332 h 6785945"/>
              <a:gd name="connsiteX381" fmla="*/ 7000891 w 8497013"/>
              <a:gd name="connsiteY381" fmla="*/ 3399397 h 6785945"/>
              <a:gd name="connsiteX382" fmla="*/ 6991270 w 8497013"/>
              <a:gd name="connsiteY382" fmla="*/ 3445896 h 6785945"/>
              <a:gd name="connsiteX383" fmla="*/ 6979433 w 8497013"/>
              <a:gd name="connsiteY383" fmla="*/ 3489745 h 6785945"/>
              <a:gd name="connsiteX384" fmla="*/ 6965236 w 8497013"/>
              <a:gd name="connsiteY384" fmla="*/ 3530863 h 6785945"/>
              <a:gd name="connsiteX385" fmla="*/ 6948536 w 8497013"/>
              <a:gd name="connsiteY385" fmla="*/ 3569166 h 6785945"/>
              <a:gd name="connsiteX386" fmla="*/ 6929187 w 8497013"/>
              <a:gd name="connsiteY386" fmla="*/ 3604572 h 6785945"/>
              <a:gd name="connsiteX387" fmla="*/ 6907046 w 8497013"/>
              <a:gd name="connsiteY387" fmla="*/ 3636998 h 6785945"/>
              <a:gd name="connsiteX388" fmla="*/ 6881969 w 8497013"/>
              <a:gd name="connsiteY388" fmla="*/ 3666361 h 6785945"/>
              <a:gd name="connsiteX389" fmla="*/ 6853812 w 8497013"/>
              <a:gd name="connsiteY389" fmla="*/ 3692580 h 6785945"/>
              <a:gd name="connsiteX390" fmla="*/ 6822431 w 8497013"/>
              <a:gd name="connsiteY390" fmla="*/ 3715570 h 6785945"/>
              <a:gd name="connsiteX391" fmla="*/ 6787683 w 8497013"/>
              <a:gd name="connsiteY391" fmla="*/ 3735251 h 6785945"/>
              <a:gd name="connsiteX392" fmla="*/ 6749422 w 8497013"/>
              <a:gd name="connsiteY392" fmla="*/ 3751538 h 6785945"/>
              <a:gd name="connsiteX393" fmla="*/ 6707505 w 8497013"/>
              <a:gd name="connsiteY393" fmla="*/ 3764350 h 6785945"/>
              <a:gd name="connsiteX394" fmla="*/ 6661789 w 8497013"/>
              <a:gd name="connsiteY394" fmla="*/ 3773604 h 6785945"/>
              <a:gd name="connsiteX395" fmla="*/ 6612129 w 8497013"/>
              <a:gd name="connsiteY395" fmla="*/ 3779217 h 6785945"/>
              <a:gd name="connsiteX396" fmla="*/ 6558381 w 8497013"/>
              <a:gd name="connsiteY396" fmla="*/ 3781106 h 6785945"/>
              <a:gd name="connsiteX397" fmla="*/ 6558381 w 8497013"/>
              <a:gd name="connsiteY397" fmla="*/ 3684284 h 6785945"/>
              <a:gd name="connsiteX398" fmla="*/ 6608066 w 8497013"/>
              <a:gd name="connsiteY398" fmla="*/ 3682051 h 6785945"/>
              <a:gd name="connsiteX399" fmla="*/ 6652986 w 8497013"/>
              <a:gd name="connsiteY399" fmla="*/ 3675430 h 6785945"/>
              <a:gd name="connsiteX400" fmla="*/ 6693369 w 8497013"/>
              <a:gd name="connsiteY400" fmla="*/ 3664541 h 6785945"/>
              <a:gd name="connsiteX401" fmla="*/ 6729440 w 8497013"/>
              <a:gd name="connsiteY401" fmla="*/ 3649501 h 6785945"/>
              <a:gd name="connsiteX402" fmla="*/ 6789551 w 8497013"/>
              <a:gd name="connsiteY402" fmla="*/ 3607441 h 6785945"/>
              <a:gd name="connsiteX403" fmla="*/ 6835130 w 8497013"/>
              <a:gd name="connsiteY403" fmla="*/ 3550197 h 6785945"/>
              <a:gd name="connsiteX404" fmla="*/ 6853036 w 8497013"/>
              <a:gd name="connsiteY404" fmla="*/ 3516176 h 6785945"/>
              <a:gd name="connsiteX405" fmla="*/ 6867988 w 8497013"/>
              <a:gd name="connsiteY405" fmla="*/ 3478715 h 6785945"/>
              <a:gd name="connsiteX406" fmla="*/ 6880212 w 8497013"/>
              <a:gd name="connsiteY406" fmla="*/ 3437930 h 6785945"/>
              <a:gd name="connsiteX407" fmla="*/ 6889935 w 8497013"/>
              <a:gd name="connsiteY407" fmla="*/ 3393940 h 6785945"/>
              <a:gd name="connsiteX408" fmla="*/ 6897382 w 8497013"/>
              <a:gd name="connsiteY408" fmla="*/ 3346863 h 6785945"/>
              <a:gd name="connsiteX409" fmla="*/ 6902781 w 8497013"/>
              <a:gd name="connsiteY409" fmla="*/ 3296819 h 6785945"/>
              <a:gd name="connsiteX410" fmla="*/ 6906357 w 8497013"/>
              <a:gd name="connsiteY410" fmla="*/ 3243924 h 6785945"/>
              <a:gd name="connsiteX411" fmla="*/ 6908336 w 8497013"/>
              <a:gd name="connsiteY411" fmla="*/ 3188297 h 6785945"/>
              <a:gd name="connsiteX412" fmla="*/ 6908946 w 8497013"/>
              <a:gd name="connsiteY412" fmla="*/ 3130057 h 6785945"/>
              <a:gd name="connsiteX413" fmla="*/ 6908304 w 8497013"/>
              <a:gd name="connsiteY413" fmla="*/ 3072388 h 6785945"/>
              <a:gd name="connsiteX414" fmla="*/ 6906234 w 8497013"/>
              <a:gd name="connsiteY414" fmla="*/ 3017299 h 6785945"/>
              <a:gd name="connsiteX415" fmla="*/ 6902524 w 8497013"/>
              <a:gd name="connsiteY415" fmla="*/ 2964906 h 6785945"/>
              <a:gd name="connsiteX416" fmla="*/ 6896958 w 8497013"/>
              <a:gd name="connsiteY416" fmla="*/ 2915330 h 6785945"/>
              <a:gd name="connsiteX417" fmla="*/ 6889323 w 8497013"/>
              <a:gd name="connsiteY417" fmla="*/ 2868686 h 6785945"/>
              <a:gd name="connsiteX418" fmla="*/ 6879405 w 8497013"/>
              <a:gd name="connsiteY418" fmla="*/ 2825095 h 6785945"/>
              <a:gd name="connsiteX419" fmla="*/ 6866989 w 8497013"/>
              <a:gd name="connsiteY419" fmla="*/ 2784674 h 6785945"/>
              <a:gd name="connsiteX420" fmla="*/ 6851862 w 8497013"/>
              <a:gd name="connsiteY420" fmla="*/ 2747542 h 6785945"/>
              <a:gd name="connsiteX421" fmla="*/ 6833809 w 8497013"/>
              <a:gd name="connsiteY421" fmla="*/ 2713816 h 6785945"/>
              <a:gd name="connsiteX422" fmla="*/ 6788071 w 8497013"/>
              <a:gd name="connsiteY422" fmla="*/ 2657057 h 6785945"/>
              <a:gd name="connsiteX423" fmla="*/ 6728062 w 8497013"/>
              <a:gd name="connsiteY423" fmla="*/ 2615344 h 6785945"/>
              <a:gd name="connsiteX424" fmla="*/ 6692170 w 8497013"/>
              <a:gd name="connsiteY424" fmla="*/ 2600425 h 6785945"/>
              <a:gd name="connsiteX425" fmla="*/ 6652069 w 8497013"/>
              <a:gd name="connsiteY425" fmla="*/ 2589622 h 6785945"/>
              <a:gd name="connsiteX426" fmla="*/ 6607544 w 8497013"/>
              <a:gd name="connsiteY426" fmla="*/ 2583054 h 6785945"/>
              <a:gd name="connsiteX427" fmla="*/ 6558381 w 8497013"/>
              <a:gd name="connsiteY427" fmla="*/ 2580838 h 6785945"/>
              <a:gd name="connsiteX428" fmla="*/ 6041510 w 8497013"/>
              <a:gd name="connsiteY428" fmla="*/ 2482346 h 6785945"/>
              <a:gd name="connsiteX429" fmla="*/ 6041510 w 8497013"/>
              <a:gd name="connsiteY429" fmla="*/ 2580838 h 6785945"/>
              <a:gd name="connsiteX430" fmla="*/ 5992624 w 8497013"/>
              <a:gd name="connsiteY430" fmla="*/ 2583054 h 6785945"/>
              <a:gd name="connsiteX431" fmla="*/ 5948343 w 8497013"/>
              <a:gd name="connsiteY431" fmla="*/ 2589622 h 6785945"/>
              <a:gd name="connsiteX432" fmla="*/ 5908457 w 8497013"/>
              <a:gd name="connsiteY432" fmla="*/ 2600425 h 6785945"/>
              <a:gd name="connsiteX433" fmla="*/ 5872751 w 8497013"/>
              <a:gd name="connsiteY433" fmla="*/ 2615344 h 6785945"/>
              <a:gd name="connsiteX434" fmla="*/ 5813036 w 8497013"/>
              <a:gd name="connsiteY434" fmla="*/ 2657057 h 6785945"/>
              <a:gd name="connsiteX435" fmla="*/ 5767502 w 8497013"/>
              <a:gd name="connsiteY435" fmla="*/ 2713816 h 6785945"/>
              <a:gd name="connsiteX436" fmla="*/ 5749523 w 8497013"/>
              <a:gd name="connsiteY436" fmla="*/ 2747542 h 6785945"/>
              <a:gd name="connsiteX437" fmla="*/ 5734453 w 8497013"/>
              <a:gd name="connsiteY437" fmla="*/ 2784674 h 6785945"/>
              <a:gd name="connsiteX438" fmla="*/ 5722081 w 8497013"/>
              <a:gd name="connsiteY438" fmla="*/ 2825095 h 6785945"/>
              <a:gd name="connsiteX439" fmla="*/ 5712193 w 8497013"/>
              <a:gd name="connsiteY439" fmla="*/ 2868686 h 6785945"/>
              <a:gd name="connsiteX440" fmla="*/ 5704579 w 8497013"/>
              <a:gd name="connsiteY440" fmla="*/ 2915330 h 6785945"/>
              <a:gd name="connsiteX441" fmla="*/ 5699026 w 8497013"/>
              <a:gd name="connsiteY441" fmla="*/ 2964906 h 6785945"/>
              <a:gd name="connsiteX442" fmla="*/ 5695322 w 8497013"/>
              <a:gd name="connsiteY442" fmla="*/ 3017299 h 6785945"/>
              <a:gd name="connsiteX443" fmla="*/ 5693255 w 8497013"/>
              <a:gd name="connsiteY443" fmla="*/ 3072388 h 6785945"/>
              <a:gd name="connsiteX444" fmla="*/ 5692613 w 8497013"/>
              <a:gd name="connsiteY444" fmla="*/ 3130057 h 6785945"/>
              <a:gd name="connsiteX445" fmla="*/ 5693239 w 8497013"/>
              <a:gd name="connsiteY445" fmla="*/ 3188297 h 6785945"/>
              <a:gd name="connsiteX446" fmla="*/ 5695261 w 8497013"/>
              <a:gd name="connsiteY446" fmla="*/ 3243924 h 6785945"/>
              <a:gd name="connsiteX447" fmla="*/ 5698898 w 8497013"/>
              <a:gd name="connsiteY447" fmla="*/ 3296819 h 6785945"/>
              <a:gd name="connsiteX448" fmla="*/ 5704367 w 8497013"/>
              <a:gd name="connsiteY448" fmla="*/ 3346863 h 6785945"/>
              <a:gd name="connsiteX449" fmla="*/ 5711888 w 8497013"/>
              <a:gd name="connsiteY449" fmla="*/ 3393940 h 6785945"/>
              <a:gd name="connsiteX450" fmla="*/ 5721677 w 8497013"/>
              <a:gd name="connsiteY450" fmla="*/ 3437930 h 6785945"/>
              <a:gd name="connsiteX451" fmla="*/ 5733954 w 8497013"/>
              <a:gd name="connsiteY451" fmla="*/ 3478715 h 6785945"/>
              <a:gd name="connsiteX452" fmla="*/ 5748936 w 8497013"/>
              <a:gd name="connsiteY452" fmla="*/ 3516176 h 6785945"/>
              <a:gd name="connsiteX453" fmla="*/ 5766842 w 8497013"/>
              <a:gd name="connsiteY453" fmla="*/ 3550197 h 6785945"/>
              <a:gd name="connsiteX454" fmla="*/ 5812296 w 8497013"/>
              <a:gd name="connsiteY454" fmla="*/ 3607441 h 6785945"/>
              <a:gd name="connsiteX455" fmla="*/ 5872062 w 8497013"/>
              <a:gd name="connsiteY455" fmla="*/ 3649501 h 6785945"/>
              <a:gd name="connsiteX456" fmla="*/ 5907857 w 8497013"/>
              <a:gd name="connsiteY456" fmla="*/ 3664541 h 6785945"/>
              <a:gd name="connsiteX457" fmla="*/ 5947885 w 8497013"/>
              <a:gd name="connsiteY457" fmla="*/ 3675430 h 6785945"/>
              <a:gd name="connsiteX458" fmla="*/ 5992363 w 8497013"/>
              <a:gd name="connsiteY458" fmla="*/ 3682051 h 6785945"/>
              <a:gd name="connsiteX459" fmla="*/ 6041510 w 8497013"/>
              <a:gd name="connsiteY459" fmla="*/ 3684284 h 6785945"/>
              <a:gd name="connsiteX460" fmla="*/ 6041510 w 8497013"/>
              <a:gd name="connsiteY460" fmla="*/ 3781106 h 6785945"/>
              <a:gd name="connsiteX461" fmla="*/ 5987987 w 8497013"/>
              <a:gd name="connsiteY461" fmla="*/ 3779217 h 6785945"/>
              <a:gd name="connsiteX462" fmla="*/ 5938507 w 8497013"/>
              <a:gd name="connsiteY462" fmla="*/ 3773604 h 6785945"/>
              <a:gd name="connsiteX463" fmla="*/ 5892927 w 8497013"/>
              <a:gd name="connsiteY463" fmla="*/ 3764350 h 6785945"/>
              <a:gd name="connsiteX464" fmla="*/ 5851109 w 8497013"/>
              <a:gd name="connsiteY464" fmla="*/ 3751538 h 6785945"/>
              <a:gd name="connsiteX465" fmla="*/ 5812912 w 8497013"/>
              <a:gd name="connsiteY465" fmla="*/ 3735251 h 6785945"/>
              <a:gd name="connsiteX466" fmla="*/ 5778195 w 8497013"/>
              <a:gd name="connsiteY466" fmla="*/ 3715570 h 6785945"/>
              <a:gd name="connsiteX467" fmla="*/ 5746818 w 8497013"/>
              <a:gd name="connsiteY467" fmla="*/ 3692580 h 6785945"/>
              <a:gd name="connsiteX468" fmla="*/ 5718642 w 8497013"/>
              <a:gd name="connsiteY468" fmla="*/ 3666361 h 6785945"/>
              <a:gd name="connsiteX469" fmla="*/ 5693526 w 8497013"/>
              <a:gd name="connsiteY469" fmla="*/ 3636998 h 6785945"/>
              <a:gd name="connsiteX470" fmla="*/ 5671329 w 8497013"/>
              <a:gd name="connsiteY470" fmla="*/ 3604572 h 6785945"/>
              <a:gd name="connsiteX471" fmla="*/ 5651912 w 8497013"/>
              <a:gd name="connsiteY471" fmla="*/ 3569166 h 6785945"/>
              <a:gd name="connsiteX472" fmla="*/ 5635134 w 8497013"/>
              <a:gd name="connsiteY472" fmla="*/ 3530863 h 6785945"/>
              <a:gd name="connsiteX473" fmla="*/ 5620855 w 8497013"/>
              <a:gd name="connsiteY473" fmla="*/ 3489745 h 6785945"/>
              <a:gd name="connsiteX474" fmla="*/ 5608935 w 8497013"/>
              <a:gd name="connsiteY474" fmla="*/ 3445896 h 6785945"/>
              <a:gd name="connsiteX475" fmla="*/ 5599234 w 8497013"/>
              <a:gd name="connsiteY475" fmla="*/ 3399397 h 6785945"/>
              <a:gd name="connsiteX476" fmla="*/ 5591611 w 8497013"/>
              <a:gd name="connsiteY476" fmla="*/ 3350332 h 6785945"/>
              <a:gd name="connsiteX477" fmla="*/ 5585926 w 8497013"/>
              <a:gd name="connsiteY477" fmla="*/ 3298782 h 6785945"/>
              <a:gd name="connsiteX478" fmla="*/ 5582039 w 8497013"/>
              <a:gd name="connsiteY478" fmla="*/ 3244832 h 6785945"/>
              <a:gd name="connsiteX479" fmla="*/ 5579809 w 8497013"/>
              <a:gd name="connsiteY479" fmla="*/ 3188562 h 6785945"/>
              <a:gd name="connsiteX480" fmla="*/ 5579098 w 8497013"/>
              <a:gd name="connsiteY480" fmla="*/ 3130057 h 6785945"/>
              <a:gd name="connsiteX481" fmla="*/ 5579833 w 8497013"/>
              <a:gd name="connsiteY481" fmla="*/ 3071801 h 6785945"/>
              <a:gd name="connsiteX482" fmla="*/ 5582129 w 8497013"/>
              <a:gd name="connsiteY482" fmla="*/ 3015781 h 6785945"/>
              <a:gd name="connsiteX483" fmla="*/ 5586118 w 8497013"/>
              <a:gd name="connsiteY483" fmla="*/ 2962076 h 6785945"/>
              <a:gd name="connsiteX484" fmla="*/ 5591931 w 8497013"/>
              <a:gd name="connsiteY484" fmla="*/ 2910770 h 6785945"/>
              <a:gd name="connsiteX485" fmla="*/ 5599704 w 8497013"/>
              <a:gd name="connsiteY485" fmla="*/ 2861942 h 6785945"/>
              <a:gd name="connsiteX486" fmla="*/ 5609567 w 8497013"/>
              <a:gd name="connsiteY486" fmla="*/ 2815675 h 6785945"/>
              <a:gd name="connsiteX487" fmla="*/ 5621653 w 8497013"/>
              <a:gd name="connsiteY487" fmla="*/ 2772049 h 6785945"/>
              <a:gd name="connsiteX488" fmla="*/ 5636096 w 8497013"/>
              <a:gd name="connsiteY488" fmla="*/ 2731147 h 6785945"/>
              <a:gd name="connsiteX489" fmla="*/ 5653028 w 8497013"/>
              <a:gd name="connsiteY489" fmla="*/ 2693049 h 6785945"/>
              <a:gd name="connsiteX490" fmla="*/ 5672581 w 8497013"/>
              <a:gd name="connsiteY490" fmla="*/ 2657837 h 6785945"/>
              <a:gd name="connsiteX491" fmla="*/ 5694889 w 8497013"/>
              <a:gd name="connsiteY491" fmla="*/ 2625592 h 6785945"/>
              <a:gd name="connsiteX492" fmla="*/ 5720085 w 8497013"/>
              <a:gd name="connsiteY492" fmla="*/ 2596396 h 6785945"/>
              <a:gd name="connsiteX493" fmla="*/ 5748300 w 8497013"/>
              <a:gd name="connsiteY493" fmla="*/ 2570330 h 6785945"/>
              <a:gd name="connsiteX494" fmla="*/ 5779667 w 8497013"/>
              <a:gd name="connsiteY494" fmla="*/ 2547475 h 6785945"/>
              <a:gd name="connsiteX495" fmla="*/ 5814320 w 8497013"/>
              <a:gd name="connsiteY495" fmla="*/ 2527914 h 6785945"/>
              <a:gd name="connsiteX496" fmla="*/ 5852391 w 8497013"/>
              <a:gd name="connsiteY496" fmla="*/ 2511726 h 6785945"/>
              <a:gd name="connsiteX497" fmla="*/ 5894013 w 8497013"/>
              <a:gd name="connsiteY497" fmla="*/ 2498994 h 6785945"/>
              <a:gd name="connsiteX498" fmla="*/ 5939318 w 8497013"/>
              <a:gd name="connsiteY498" fmla="*/ 2489799 h 6785945"/>
              <a:gd name="connsiteX499" fmla="*/ 5988439 w 8497013"/>
              <a:gd name="connsiteY499" fmla="*/ 2484222 h 6785945"/>
              <a:gd name="connsiteX500" fmla="*/ 5337245 w 8497013"/>
              <a:gd name="connsiteY500" fmla="*/ 1851325 h 6785945"/>
              <a:gd name="connsiteX501" fmla="*/ 6242037 w 8497013"/>
              <a:gd name="connsiteY501" fmla="*/ 1851325 h 6785945"/>
              <a:gd name="connsiteX502" fmla="*/ 6242037 w 8497013"/>
              <a:gd name="connsiteY502" fmla="*/ 1958164 h 6785945"/>
              <a:gd name="connsiteX503" fmla="*/ 5337245 w 8497013"/>
              <a:gd name="connsiteY503" fmla="*/ 1958164 h 6785945"/>
              <a:gd name="connsiteX504" fmla="*/ 3825296 w 8497013"/>
              <a:gd name="connsiteY504" fmla="*/ 1851325 h 6785945"/>
              <a:gd name="connsiteX505" fmla="*/ 4730088 w 8497013"/>
              <a:gd name="connsiteY505" fmla="*/ 1851325 h 6785945"/>
              <a:gd name="connsiteX506" fmla="*/ 4730088 w 8497013"/>
              <a:gd name="connsiteY506" fmla="*/ 1958164 h 6785945"/>
              <a:gd name="connsiteX507" fmla="*/ 3825296 w 8497013"/>
              <a:gd name="connsiteY507" fmla="*/ 1958164 h 6785945"/>
              <a:gd name="connsiteX508" fmla="*/ 6849172 w 8497013"/>
              <a:gd name="connsiteY508" fmla="*/ 1681043 h 6785945"/>
              <a:gd name="connsiteX509" fmla="*/ 7326608 w 8497013"/>
              <a:gd name="connsiteY509" fmla="*/ 1681043 h 6785945"/>
              <a:gd name="connsiteX510" fmla="*/ 7326608 w 8497013"/>
              <a:gd name="connsiteY510" fmla="*/ 1786212 h 6785945"/>
              <a:gd name="connsiteX511" fmla="*/ 6849172 w 8497013"/>
              <a:gd name="connsiteY511" fmla="*/ 1786212 h 6785945"/>
              <a:gd name="connsiteX512" fmla="*/ 5337245 w 8497013"/>
              <a:gd name="connsiteY512" fmla="*/ 1502429 h 6785945"/>
              <a:gd name="connsiteX513" fmla="*/ 6242037 w 8497013"/>
              <a:gd name="connsiteY513" fmla="*/ 1502429 h 6785945"/>
              <a:gd name="connsiteX514" fmla="*/ 6242037 w 8497013"/>
              <a:gd name="connsiteY514" fmla="*/ 1609267 h 6785945"/>
              <a:gd name="connsiteX515" fmla="*/ 5337245 w 8497013"/>
              <a:gd name="connsiteY515" fmla="*/ 1609267 h 6785945"/>
              <a:gd name="connsiteX516" fmla="*/ 3825296 w 8497013"/>
              <a:gd name="connsiteY516" fmla="*/ 1502429 h 6785945"/>
              <a:gd name="connsiteX517" fmla="*/ 4730088 w 8497013"/>
              <a:gd name="connsiteY517" fmla="*/ 1502429 h 6785945"/>
              <a:gd name="connsiteX518" fmla="*/ 4730088 w 8497013"/>
              <a:gd name="connsiteY518" fmla="*/ 1609267 h 6785945"/>
              <a:gd name="connsiteX519" fmla="*/ 3825296 w 8497013"/>
              <a:gd name="connsiteY519" fmla="*/ 1609267 h 6785945"/>
              <a:gd name="connsiteX520" fmla="*/ 7037373 w 8497013"/>
              <a:gd name="connsiteY520" fmla="*/ 348896 h 6785945"/>
              <a:gd name="connsiteX521" fmla="*/ 7942165 w 8497013"/>
              <a:gd name="connsiteY521" fmla="*/ 348896 h 6785945"/>
              <a:gd name="connsiteX522" fmla="*/ 7942165 w 8497013"/>
              <a:gd name="connsiteY522" fmla="*/ 455734 h 6785945"/>
              <a:gd name="connsiteX523" fmla="*/ 7037373 w 8497013"/>
              <a:gd name="connsiteY523" fmla="*/ 455734 h 6785945"/>
              <a:gd name="connsiteX524" fmla="*/ 5525404 w 8497013"/>
              <a:gd name="connsiteY524" fmla="*/ 348896 h 6785945"/>
              <a:gd name="connsiteX525" fmla="*/ 6430196 w 8497013"/>
              <a:gd name="connsiteY525" fmla="*/ 348896 h 6785945"/>
              <a:gd name="connsiteX526" fmla="*/ 6430196 w 8497013"/>
              <a:gd name="connsiteY526" fmla="*/ 455734 h 6785945"/>
              <a:gd name="connsiteX527" fmla="*/ 5525404 w 8497013"/>
              <a:gd name="connsiteY527" fmla="*/ 455734 h 6785945"/>
              <a:gd name="connsiteX528" fmla="*/ 7037373 w 8497013"/>
              <a:gd name="connsiteY528" fmla="*/ 0 h 6785945"/>
              <a:gd name="connsiteX529" fmla="*/ 7942165 w 8497013"/>
              <a:gd name="connsiteY529" fmla="*/ 0 h 6785945"/>
              <a:gd name="connsiteX530" fmla="*/ 7942165 w 8497013"/>
              <a:gd name="connsiteY530" fmla="*/ 106839 h 6785945"/>
              <a:gd name="connsiteX531" fmla="*/ 7037373 w 8497013"/>
              <a:gd name="connsiteY531" fmla="*/ 106839 h 6785945"/>
              <a:gd name="connsiteX532" fmla="*/ 5525404 w 8497013"/>
              <a:gd name="connsiteY532" fmla="*/ 0 h 6785945"/>
              <a:gd name="connsiteX533" fmla="*/ 6430196 w 8497013"/>
              <a:gd name="connsiteY533" fmla="*/ 0 h 6785945"/>
              <a:gd name="connsiteX534" fmla="*/ 6430196 w 8497013"/>
              <a:gd name="connsiteY534" fmla="*/ 106839 h 6785945"/>
              <a:gd name="connsiteX535" fmla="*/ 5525404 w 8497013"/>
              <a:gd name="connsiteY535" fmla="*/ 106839 h 678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Lst>
            <a:rect l="l" t="t" r="r" b="b"/>
            <a:pathLst>
              <a:path w="8497013" h="6785945">
                <a:moveTo>
                  <a:pt x="8393513" y="6508832"/>
                </a:moveTo>
                <a:lnTo>
                  <a:pt x="8435743" y="6512510"/>
                </a:lnTo>
                <a:lnTo>
                  <a:pt x="8468426" y="6525734"/>
                </a:lnTo>
                <a:lnTo>
                  <a:pt x="8489527" y="6551791"/>
                </a:lnTo>
                <a:lnTo>
                  <a:pt x="8497013" y="6593969"/>
                </a:lnTo>
                <a:lnTo>
                  <a:pt x="8489527" y="6638076"/>
                </a:lnTo>
                <a:lnTo>
                  <a:pt x="8468426" y="6665125"/>
                </a:lnTo>
                <a:lnTo>
                  <a:pt x="8435743" y="6678715"/>
                </a:lnTo>
                <a:lnTo>
                  <a:pt x="8393513" y="6682444"/>
                </a:lnTo>
                <a:lnTo>
                  <a:pt x="8351283" y="6678715"/>
                </a:lnTo>
                <a:lnTo>
                  <a:pt x="8318600" y="6665125"/>
                </a:lnTo>
                <a:lnTo>
                  <a:pt x="8297498" y="6638076"/>
                </a:lnTo>
                <a:lnTo>
                  <a:pt x="8290013" y="6593969"/>
                </a:lnTo>
                <a:lnTo>
                  <a:pt x="8297733" y="6551791"/>
                </a:lnTo>
                <a:lnTo>
                  <a:pt x="8319226" y="6525734"/>
                </a:lnTo>
                <a:lnTo>
                  <a:pt x="8351987" y="6512510"/>
                </a:lnTo>
                <a:close/>
                <a:moveTo>
                  <a:pt x="5162785" y="6508832"/>
                </a:moveTo>
                <a:lnTo>
                  <a:pt x="5205015" y="6512510"/>
                </a:lnTo>
                <a:lnTo>
                  <a:pt x="5237697" y="6525734"/>
                </a:lnTo>
                <a:lnTo>
                  <a:pt x="5258799" y="6551791"/>
                </a:lnTo>
                <a:lnTo>
                  <a:pt x="5266284" y="6593969"/>
                </a:lnTo>
                <a:lnTo>
                  <a:pt x="5258799" y="6638076"/>
                </a:lnTo>
                <a:lnTo>
                  <a:pt x="5237697" y="6665125"/>
                </a:lnTo>
                <a:lnTo>
                  <a:pt x="5205015" y="6678715"/>
                </a:lnTo>
                <a:lnTo>
                  <a:pt x="5162785" y="6682444"/>
                </a:lnTo>
                <a:lnTo>
                  <a:pt x="5120555" y="6678715"/>
                </a:lnTo>
                <a:lnTo>
                  <a:pt x="5087872" y="6665125"/>
                </a:lnTo>
                <a:lnTo>
                  <a:pt x="5066771" y="6638076"/>
                </a:lnTo>
                <a:lnTo>
                  <a:pt x="5059285" y="6593969"/>
                </a:lnTo>
                <a:lnTo>
                  <a:pt x="5067005" y="6551791"/>
                </a:lnTo>
                <a:lnTo>
                  <a:pt x="5088499" y="6525734"/>
                </a:lnTo>
                <a:lnTo>
                  <a:pt x="5121260" y="6512510"/>
                </a:lnTo>
                <a:close/>
                <a:moveTo>
                  <a:pt x="6674635" y="6508827"/>
                </a:moveTo>
                <a:lnTo>
                  <a:pt x="6881636" y="6508827"/>
                </a:lnTo>
                <a:lnTo>
                  <a:pt x="6881636" y="6682440"/>
                </a:lnTo>
                <a:lnTo>
                  <a:pt x="6674635" y="6682440"/>
                </a:lnTo>
                <a:close/>
                <a:moveTo>
                  <a:pt x="1511898" y="6358592"/>
                </a:moveTo>
                <a:lnTo>
                  <a:pt x="2416689" y="6358592"/>
                </a:lnTo>
                <a:lnTo>
                  <a:pt x="2416689" y="6465429"/>
                </a:lnTo>
                <a:lnTo>
                  <a:pt x="1511898" y="6465429"/>
                </a:lnTo>
                <a:close/>
                <a:moveTo>
                  <a:pt x="0" y="6358592"/>
                </a:moveTo>
                <a:lnTo>
                  <a:pt x="904792" y="6358592"/>
                </a:lnTo>
                <a:lnTo>
                  <a:pt x="904792" y="6465429"/>
                </a:lnTo>
                <a:lnTo>
                  <a:pt x="0" y="6465429"/>
                </a:lnTo>
                <a:close/>
                <a:moveTo>
                  <a:pt x="1511898" y="6009695"/>
                </a:moveTo>
                <a:lnTo>
                  <a:pt x="2416689" y="6009695"/>
                </a:lnTo>
                <a:lnTo>
                  <a:pt x="2416689" y="6116533"/>
                </a:lnTo>
                <a:lnTo>
                  <a:pt x="1511898" y="6116533"/>
                </a:lnTo>
                <a:close/>
                <a:moveTo>
                  <a:pt x="0" y="6009695"/>
                </a:moveTo>
                <a:lnTo>
                  <a:pt x="904792" y="6009695"/>
                </a:lnTo>
                <a:lnTo>
                  <a:pt x="904792" y="6116533"/>
                </a:lnTo>
                <a:lnTo>
                  <a:pt x="0" y="6116533"/>
                </a:lnTo>
                <a:close/>
                <a:moveTo>
                  <a:pt x="8393513" y="5807701"/>
                </a:moveTo>
                <a:lnTo>
                  <a:pt x="8435743" y="5811170"/>
                </a:lnTo>
                <a:lnTo>
                  <a:pt x="8468426" y="5824185"/>
                </a:lnTo>
                <a:lnTo>
                  <a:pt x="8489527" y="5850660"/>
                </a:lnTo>
                <a:lnTo>
                  <a:pt x="8497013" y="5894506"/>
                </a:lnTo>
                <a:lnTo>
                  <a:pt x="8489527" y="5936945"/>
                </a:lnTo>
                <a:lnTo>
                  <a:pt x="8468426" y="5963576"/>
                </a:lnTo>
                <a:lnTo>
                  <a:pt x="8435743" y="5977374"/>
                </a:lnTo>
                <a:lnTo>
                  <a:pt x="8393513" y="5981313"/>
                </a:lnTo>
                <a:lnTo>
                  <a:pt x="8352248" y="5977374"/>
                </a:lnTo>
                <a:lnTo>
                  <a:pt x="8320060" y="5963576"/>
                </a:lnTo>
                <a:lnTo>
                  <a:pt x="8299141" y="5936945"/>
                </a:lnTo>
                <a:lnTo>
                  <a:pt x="8291681" y="5894506"/>
                </a:lnTo>
                <a:lnTo>
                  <a:pt x="8299141" y="5850660"/>
                </a:lnTo>
                <a:lnTo>
                  <a:pt x="8320060" y="5824185"/>
                </a:lnTo>
                <a:lnTo>
                  <a:pt x="8352248" y="5811170"/>
                </a:lnTo>
                <a:close/>
                <a:moveTo>
                  <a:pt x="5162785" y="5807701"/>
                </a:moveTo>
                <a:lnTo>
                  <a:pt x="5205015" y="5811170"/>
                </a:lnTo>
                <a:lnTo>
                  <a:pt x="5237697" y="5824185"/>
                </a:lnTo>
                <a:lnTo>
                  <a:pt x="5258799" y="5850660"/>
                </a:lnTo>
                <a:lnTo>
                  <a:pt x="5266284" y="5894506"/>
                </a:lnTo>
                <a:lnTo>
                  <a:pt x="5258799" y="5936945"/>
                </a:lnTo>
                <a:lnTo>
                  <a:pt x="5237697" y="5963576"/>
                </a:lnTo>
                <a:lnTo>
                  <a:pt x="5205015" y="5977374"/>
                </a:lnTo>
                <a:lnTo>
                  <a:pt x="5162785" y="5981313"/>
                </a:lnTo>
                <a:lnTo>
                  <a:pt x="5121521" y="5977374"/>
                </a:lnTo>
                <a:lnTo>
                  <a:pt x="5089334" y="5963576"/>
                </a:lnTo>
                <a:lnTo>
                  <a:pt x="5068415" y="5936945"/>
                </a:lnTo>
                <a:lnTo>
                  <a:pt x="5060955" y="5894506"/>
                </a:lnTo>
                <a:lnTo>
                  <a:pt x="5068415" y="5850660"/>
                </a:lnTo>
                <a:lnTo>
                  <a:pt x="5089334" y="5824185"/>
                </a:lnTo>
                <a:lnTo>
                  <a:pt x="5121521" y="5811170"/>
                </a:lnTo>
                <a:close/>
                <a:moveTo>
                  <a:pt x="4008189" y="5487184"/>
                </a:moveTo>
                <a:lnTo>
                  <a:pt x="4061259" y="5489060"/>
                </a:lnTo>
                <a:lnTo>
                  <a:pt x="4110380" y="5494637"/>
                </a:lnTo>
                <a:lnTo>
                  <a:pt x="4155685" y="5503832"/>
                </a:lnTo>
                <a:lnTo>
                  <a:pt x="4197307" y="5516564"/>
                </a:lnTo>
                <a:lnTo>
                  <a:pt x="4235378" y="5532752"/>
                </a:lnTo>
                <a:lnTo>
                  <a:pt x="4270031" y="5552313"/>
                </a:lnTo>
                <a:lnTo>
                  <a:pt x="4301398" y="5575168"/>
                </a:lnTo>
                <a:lnTo>
                  <a:pt x="4329613" y="5601234"/>
                </a:lnTo>
                <a:lnTo>
                  <a:pt x="4354810" y="5630430"/>
                </a:lnTo>
                <a:lnTo>
                  <a:pt x="4377118" y="5662675"/>
                </a:lnTo>
                <a:lnTo>
                  <a:pt x="4396671" y="5697887"/>
                </a:lnTo>
                <a:lnTo>
                  <a:pt x="4413603" y="5735985"/>
                </a:lnTo>
                <a:lnTo>
                  <a:pt x="4428046" y="5776887"/>
                </a:lnTo>
                <a:lnTo>
                  <a:pt x="4440133" y="5820513"/>
                </a:lnTo>
                <a:lnTo>
                  <a:pt x="4449996" y="5866781"/>
                </a:lnTo>
                <a:lnTo>
                  <a:pt x="4457768" y="5915609"/>
                </a:lnTo>
                <a:lnTo>
                  <a:pt x="4463582" y="5966915"/>
                </a:lnTo>
                <a:lnTo>
                  <a:pt x="4467570" y="6020620"/>
                </a:lnTo>
                <a:lnTo>
                  <a:pt x="4469866" y="6076640"/>
                </a:lnTo>
                <a:lnTo>
                  <a:pt x="4470602" y="6134896"/>
                </a:lnTo>
                <a:lnTo>
                  <a:pt x="4469902" y="6193401"/>
                </a:lnTo>
                <a:lnTo>
                  <a:pt x="4467705" y="6249671"/>
                </a:lnTo>
                <a:lnTo>
                  <a:pt x="4463869" y="6303621"/>
                </a:lnTo>
                <a:lnTo>
                  <a:pt x="4458248" y="6355171"/>
                </a:lnTo>
                <a:lnTo>
                  <a:pt x="4450700" y="6404236"/>
                </a:lnTo>
                <a:lnTo>
                  <a:pt x="4441079" y="6450735"/>
                </a:lnTo>
                <a:lnTo>
                  <a:pt x="4429242" y="6494584"/>
                </a:lnTo>
                <a:lnTo>
                  <a:pt x="4415045" y="6535702"/>
                </a:lnTo>
                <a:lnTo>
                  <a:pt x="4398345" y="6574005"/>
                </a:lnTo>
                <a:lnTo>
                  <a:pt x="4378996" y="6609411"/>
                </a:lnTo>
                <a:lnTo>
                  <a:pt x="4356855" y="6641837"/>
                </a:lnTo>
                <a:lnTo>
                  <a:pt x="4331777" y="6671200"/>
                </a:lnTo>
                <a:lnTo>
                  <a:pt x="4303620" y="6697419"/>
                </a:lnTo>
                <a:lnTo>
                  <a:pt x="4272239" y="6720409"/>
                </a:lnTo>
                <a:lnTo>
                  <a:pt x="4237491" y="6740090"/>
                </a:lnTo>
                <a:lnTo>
                  <a:pt x="4199230" y="6756377"/>
                </a:lnTo>
                <a:lnTo>
                  <a:pt x="4157313" y="6769189"/>
                </a:lnTo>
                <a:lnTo>
                  <a:pt x="4111597" y="6778443"/>
                </a:lnTo>
                <a:lnTo>
                  <a:pt x="4061937" y="6784056"/>
                </a:lnTo>
                <a:lnTo>
                  <a:pt x="4008189" y="6785945"/>
                </a:lnTo>
                <a:lnTo>
                  <a:pt x="4008189" y="6689123"/>
                </a:lnTo>
                <a:lnTo>
                  <a:pt x="4057874" y="6686890"/>
                </a:lnTo>
                <a:lnTo>
                  <a:pt x="4102795" y="6680269"/>
                </a:lnTo>
                <a:lnTo>
                  <a:pt x="4143177" y="6669380"/>
                </a:lnTo>
                <a:lnTo>
                  <a:pt x="4179248" y="6654340"/>
                </a:lnTo>
                <a:lnTo>
                  <a:pt x="4239359" y="6612280"/>
                </a:lnTo>
                <a:lnTo>
                  <a:pt x="4284939" y="6555036"/>
                </a:lnTo>
                <a:lnTo>
                  <a:pt x="4302844" y="6521015"/>
                </a:lnTo>
                <a:lnTo>
                  <a:pt x="4317796" y="6483554"/>
                </a:lnTo>
                <a:lnTo>
                  <a:pt x="4330020" y="6442769"/>
                </a:lnTo>
                <a:lnTo>
                  <a:pt x="4339743" y="6398779"/>
                </a:lnTo>
                <a:lnTo>
                  <a:pt x="4347190" y="6351702"/>
                </a:lnTo>
                <a:lnTo>
                  <a:pt x="4352590" y="6301658"/>
                </a:lnTo>
                <a:lnTo>
                  <a:pt x="4356166" y="6248763"/>
                </a:lnTo>
                <a:lnTo>
                  <a:pt x="4358145" y="6193136"/>
                </a:lnTo>
                <a:lnTo>
                  <a:pt x="4358755" y="6134896"/>
                </a:lnTo>
                <a:lnTo>
                  <a:pt x="4358113" y="6077227"/>
                </a:lnTo>
                <a:lnTo>
                  <a:pt x="4356043" y="6022138"/>
                </a:lnTo>
                <a:lnTo>
                  <a:pt x="4352333" y="5969745"/>
                </a:lnTo>
                <a:lnTo>
                  <a:pt x="4346766" y="5920169"/>
                </a:lnTo>
                <a:lnTo>
                  <a:pt x="4339131" y="5873525"/>
                </a:lnTo>
                <a:lnTo>
                  <a:pt x="4329213" y="5829933"/>
                </a:lnTo>
                <a:lnTo>
                  <a:pt x="4316797" y="5789512"/>
                </a:lnTo>
                <a:lnTo>
                  <a:pt x="4301670" y="5752380"/>
                </a:lnTo>
                <a:lnTo>
                  <a:pt x="4283617" y="5718654"/>
                </a:lnTo>
                <a:lnTo>
                  <a:pt x="4237879" y="5661895"/>
                </a:lnTo>
                <a:lnTo>
                  <a:pt x="4177870" y="5620182"/>
                </a:lnTo>
                <a:lnTo>
                  <a:pt x="4141978" y="5605263"/>
                </a:lnTo>
                <a:lnTo>
                  <a:pt x="4101877" y="5594460"/>
                </a:lnTo>
                <a:lnTo>
                  <a:pt x="4057352" y="5587892"/>
                </a:lnTo>
                <a:lnTo>
                  <a:pt x="4008189" y="5585676"/>
                </a:lnTo>
                <a:close/>
                <a:moveTo>
                  <a:pt x="3491267" y="5487184"/>
                </a:moveTo>
                <a:lnTo>
                  <a:pt x="3491267" y="5585676"/>
                </a:lnTo>
                <a:lnTo>
                  <a:pt x="3442381" y="5587892"/>
                </a:lnTo>
                <a:lnTo>
                  <a:pt x="3398103" y="5594460"/>
                </a:lnTo>
                <a:lnTo>
                  <a:pt x="3358217" y="5605263"/>
                </a:lnTo>
                <a:lnTo>
                  <a:pt x="3322510" y="5620182"/>
                </a:lnTo>
                <a:lnTo>
                  <a:pt x="3262795" y="5661895"/>
                </a:lnTo>
                <a:lnTo>
                  <a:pt x="3217261" y="5718654"/>
                </a:lnTo>
                <a:lnTo>
                  <a:pt x="3199282" y="5752380"/>
                </a:lnTo>
                <a:lnTo>
                  <a:pt x="3184213" y="5789512"/>
                </a:lnTo>
                <a:lnTo>
                  <a:pt x="3171840" y="5829933"/>
                </a:lnTo>
                <a:lnTo>
                  <a:pt x="3161952" y="5873525"/>
                </a:lnTo>
                <a:lnTo>
                  <a:pt x="3154338" y="5920169"/>
                </a:lnTo>
                <a:lnTo>
                  <a:pt x="3148785" y="5969745"/>
                </a:lnTo>
                <a:lnTo>
                  <a:pt x="3145081" y="6022138"/>
                </a:lnTo>
                <a:lnTo>
                  <a:pt x="3143014" y="6077227"/>
                </a:lnTo>
                <a:lnTo>
                  <a:pt x="3142372" y="6134896"/>
                </a:lnTo>
                <a:lnTo>
                  <a:pt x="3142997" y="6193136"/>
                </a:lnTo>
                <a:lnTo>
                  <a:pt x="3145020" y="6248763"/>
                </a:lnTo>
                <a:lnTo>
                  <a:pt x="3148657" y="6301658"/>
                </a:lnTo>
                <a:lnTo>
                  <a:pt x="3154126" y="6351702"/>
                </a:lnTo>
                <a:lnTo>
                  <a:pt x="3161647" y="6398779"/>
                </a:lnTo>
                <a:lnTo>
                  <a:pt x="3171437" y="6442769"/>
                </a:lnTo>
                <a:lnTo>
                  <a:pt x="3183713" y="6483554"/>
                </a:lnTo>
                <a:lnTo>
                  <a:pt x="3198695" y="6521015"/>
                </a:lnTo>
                <a:lnTo>
                  <a:pt x="3216602" y="6555036"/>
                </a:lnTo>
                <a:lnTo>
                  <a:pt x="3262055" y="6612280"/>
                </a:lnTo>
                <a:lnTo>
                  <a:pt x="3321821" y="6654340"/>
                </a:lnTo>
                <a:lnTo>
                  <a:pt x="3357617" y="6669380"/>
                </a:lnTo>
                <a:lnTo>
                  <a:pt x="3397644" y="6680269"/>
                </a:lnTo>
                <a:lnTo>
                  <a:pt x="3442120" y="6686890"/>
                </a:lnTo>
                <a:lnTo>
                  <a:pt x="3491267" y="6689123"/>
                </a:lnTo>
                <a:lnTo>
                  <a:pt x="3491267" y="6785945"/>
                </a:lnTo>
                <a:lnTo>
                  <a:pt x="3437744" y="6784056"/>
                </a:lnTo>
                <a:lnTo>
                  <a:pt x="3388267" y="6778443"/>
                </a:lnTo>
                <a:lnTo>
                  <a:pt x="3342687" y="6769189"/>
                </a:lnTo>
                <a:lnTo>
                  <a:pt x="3300868" y="6756377"/>
                </a:lnTo>
                <a:lnTo>
                  <a:pt x="3262672" y="6740090"/>
                </a:lnTo>
                <a:lnTo>
                  <a:pt x="3227954" y="6720409"/>
                </a:lnTo>
                <a:lnTo>
                  <a:pt x="3196577" y="6697419"/>
                </a:lnTo>
                <a:lnTo>
                  <a:pt x="3168401" y="6671200"/>
                </a:lnTo>
                <a:lnTo>
                  <a:pt x="3143286" y="6641837"/>
                </a:lnTo>
                <a:lnTo>
                  <a:pt x="3121088" y="6609411"/>
                </a:lnTo>
                <a:lnTo>
                  <a:pt x="3101671" y="6574005"/>
                </a:lnTo>
                <a:lnTo>
                  <a:pt x="3084893" y="6535702"/>
                </a:lnTo>
                <a:lnTo>
                  <a:pt x="3070614" y="6494584"/>
                </a:lnTo>
                <a:lnTo>
                  <a:pt x="3058694" y="6450735"/>
                </a:lnTo>
                <a:lnTo>
                  <a:pt x="3048993" y="6404236"/>
                </a:lnTo>
                <a:lnTo>
                  <a:pt x="3041370" y="6355171"/>
                </a:lnTo>
                <a:lnTo>
                  <a:pt x="3035685" y="6303621"/>
                </a:lnTo>
                <a:lnTo>
                  <a:pt x="3031798" y="6249671"/>
                </a:lnTo>
                <a:lnTo>
                  <a:pt x="3029568" y="6193401"/>
                </a:lnTo>
                <a:lnTo>
                  <a:pt x="3028857" y="6134896"/>
                </a:lnTo>
                <a:lnTo>
                  <a:pt x="3029592" y="6076640"/>
                </a:lnTo>
                <a:lnTo>
                  <a:pt x="3031888" y="6020620"/>
                </a:lnTo>
                <a:lnTo>
                  <a:pt x="3035877" y="5966915"/>
                </a:lnTo>
                <a:lnTo>
                  <a:pt x="3041690" y="5915609"/>
                </a:lnTo>
                <a:lnTo>
                  <a:pt x="3049463" y="5866781"/>
                </a:lnTo>
                <a:lnTo>
                  <a:pt x="3059326" y="5820513"/>
                </a:lnTo>
                <a:lnTo>
                  <a:pt x="3071412" y="5776887"/>
                </a:lnTo>
                <a:lnTo>
                  <a:pt x="3085855" y="5735985"/>
                </a:lnTo>
                <a:lnTo>
                  <a:pt x="3102787" y="5697887"/>
                </a:lnTo>
                <a:lnTo>
                  <a:pt x="3122341" y="5662675"/>
                </a:lnTo>
                <a:lnTo>
                  <a:pt x="3144649" y="5630430"/>
                </a:lnTo>
                <a:lnTo>
                  <a:pt x="3169844" y="5601234"/>
                </a:lnTo>
                <a:lnTo>
                  <a:pt x="3198060" y="5575168"/>
                </a:lnTo>
                <a:lnTo>
                  <a:pt x="3229427" y="5552313"/>
                </a:lnTo>
                <a:lnTo>
                  <a:pt x="3264079" y="5532752"/>
                </a:lnTo>
                <a:lnTo>
                  <a:pt x="3302151" y="5516564"/>
                </a:lnTo>
                <a:lnTo>
                  <a:pt x="3343773" y="5503832"/>
                </a:lnTo>
                <a:lnTo>
                  <a:pt x="3389078" y="5494637"/>
                </a:lnTo>
                <a:lnTo>
                  <a:pt x="3438196" y="5489060"/>
                </a:lnTo>
                <a:close/>
                <a:moveTo>
                  <a:pt x="5569411" y="5006403"/>
                </a:moveTo>
                <a:lnTo>
                  <a:pt x="5611640" y="5010081"/>
                </a:lnTo>
                <a:lnTo>
                  <a:pt x="5644323" y="5023305"/>
                </a:lnTo>
                <a:lnTo>
                  <a:pt x="5665424" y="5049363"/>
                </a:lnTo>
                <a:lnTo>
                  <a:pt x="5672910" y="5091541"/>
                </a:lnTo>
                <a:lnTo>
                  <a:pt x="5665424" y="5135648"/>
                </a:lnTo>
                <a:lnTo>
                  <a:pt x="5644323" y="5162697"/>
                </a:lnTo>
                <a:lnTo>
                  <a:pt x="5611640" y="5176287"/>
                </a:lnTo>
                <a:lnTo>
                  <a:pt x="5569411" y="5180017"/>
                </a:lnTo>
                <a:lnTo>
                  <a:pt x="5527181" y="5176287"/>
                </a:lnTo>
                <a:lnTo>
                  <a:pt x="5494498" y="5162697"/>
                </a:lnTo>
                <a:lnTo>
                  <a:pt x="5473397" y="5135648"/>
                </a:lnTo>
                <a:lnTo>
                  <a:pt x="5465911" y="5091541"/>
                </a:lnTo>
                <a:lnTo>
                  <a:pt x="5473631" y="5049363"/>
                </a:lnTo>
                <a:lnTo>
                  <a:pt x="5495125" y="5023305"/>
                </a:lnTo>
                <a:lnTo>
                  <a:pt x="5527886" y="5010081"/>
                </a:lnTo>
                <a:close/>
                <a:moveTo>
                  <a:pt x="4804116" y="5006403"/>
                </a:moveTo>
                <a:lnTo>
                  <a:pt x="4846346" y="5010081"/>
                </a:lnTo>
                <a:lnTo>
                  <a:pt x="4879028" y="5023305"/>
                </a:lnTo>
                <a:lnTo>
                  <a:pt x="4900130" y="5049363"/>
                </a:lnTo>
                <a:lnTo>
                  <a:pt x="4907615" y="5091541"/>
                </a:lnTo>
                <a:lnTo>
                  <a:pt x="4900130" y="5135648"/>
                </a:lnTo>
                <a:lnTo>
                  <a:pt x="4879028" y="5162697"/>
                </a:lnTo>
                <a:lnTo>
                  <a:pt x="4846346" y="5176287"/>
                </a:lnTo>
                <a:lnTo>
                  <a:pt x="4804116" y="5180017"/>
                </a:lnTo>
                <a:lnTo>
                  <a:pt x="4761886" y="5176287"/>
                </a:lnTo>
                <a:lnTo>
                  <a:pt x="4729203" y="5162697"/>
                </a:lnTo>
                <a:lnTo>
                  <a:pt x="4708102" y="5135648"/>
                </a:lnTo>
                <a:lnTo>
                  <a:pt x="4700616" y="5091541"/>
                </a:lnTo>
                <a:lnTo>
                  <a:pt x="4708336" y="5049363"/>
                </a:lnTo>
                <a:lnTo>
                  <a:pt x="4729830" y="5023305"/>
                </a:lnTo>
                <a:lnTo>
                  <a:pt x="4762591" y="5010081"/>
                </a:lnTo>
                <a:close/>
                <a:moveTo>
                  <a:pt x="2787004" y="4856173"/>
                </a:moveTo>
                <a:lnTo>
                  <a:pt x="3691793" y="4856173"/>
                </a:lnTo>
                <a:lnTo>
                  <a:pt x="3691793" y="4963011"/>
                </a:lnTo>
                <a:lnTo>
                  <a:pt x="2787004" y="4963011"/>
                </a:lnTo>
                <a:close/>
                <a:moveTo>
                  <a:pt x="1275095" y="4856173"/>
                </a:moveTo>
                <a:lnTo>
                  <a:pt x="2179887" y="4856173"/>
                </a:lnTo>
                <a:lnTo>
                  <a:pt x="2179887" y="4963011"/>
                </a:lnTo>
                <a:lnTo>
                  <a:pt x="1275095" y="4963011"/>
                </a:lnTo>
                <a:close/>
                <a:moveTo>
                  <a:pt x="2787004" y="4507276"/>
                </a:moveTo>
                <a:lnTo>
                  <a:pt x="3691793" y="4507276"/>
                </a:lnTo>
                <a:lnTo>
                  <a:pt x="3691793" y="4614114"/>
                </a:lnTo>
                <a:lnTo>
                  <a:pt x="2787004" y="4614114"/>
                </a:lnTo>
                <a:close/>
                <a:moveTo>
                  <a:pt x="1275095" y="4507276"/>
                </a:moveTo>
                <a:lnTo>
                  <a:pt x="2179887" y="4507276"/>
                </a:lnTo>
                <a:lnTo>
                  <a:pt x="2179887" y="4614114"/>
                </a:lnTo>
                <a:lnTo>
                  <a:pt x="1275095" y="4614114"/>
                </a:lnTo>
                <a:close/>
                <a:moveTo>
                  <a:pt x="5569411" y="4305272"/>
                </a:moveTo>
                <a:lnTo>
                  <a:pt x="5611640" y="4308741"/>
                </a:lnTo>
                <a:lnTo>
                  <a:pt x="5644323" y="4321757"/>
                </a:lnTo>
                <a:lnTo>
                  <a:pt x="5665424" y="4348232"/>
                </a:lnTo>
                <a:lnTo>
                  <a:pt x="5672910" y="4392078"/>
                </a:lnTo>
                <a:lnTo>
                  <a:pt x="5665424" y="4434517"/>
                </a:lnTo>
                <a:lnTo>
                  <a:pt x="5644323" y="4461148"/>
                </a:lnTo>
                <a:lnTo>
                  <a:pt x="5611640" y="4474946"/>
                </a:lnTo>
                <a:lnTo>
                  <a:pt x="5569411" y="4478885"/>
                </a:lnTo>
                <a:lnTo>
                  <a:pt x="5528147" y="4474946"/>
                </a:lnTo>
                <a:lnTo>
                  <a:pt x="5495959" y="4461148"/>
                </a:lnTo>
                <a:lnTo>
                  <a:pt x="5475040" y="4434517"/>
                </a:lnTo>
                <a:lnTo>
                  <a:pt x="5467580" y="4392078"/>
                </a:lnTo>
                <a:lnTo>
                  <a:pt x="5475040" y="4348232"/>
                </a:lnTo>
                <a:lnTo>
                  <a:pt x="5495959" y="4321757"/>
                </a:lnTo>
                <a:lnTo>
                  <a:pt x="5528147" y="4308741"/>
                </a:lnTo>
                <a:close/>
                <a:moveTo>
                  <a:pt x="4804116" y="4305272"/>
                </a:moveTo>
                <a:lnTo>
                  <a:pt x="4846346" y="4308741"/>
                </a:lnTo>
                <a:lnTo>
                  <a:pt x="4879028" y="4321757"/>
                </a:lnTo>
                <a:lnTo>
                  <a:pt x="4900130" y="4348232"/>
                </a:lnTo>
                <a:lnTo>
                  <a:pt x="4907615" y="4392078"/>
                </a:lnTo>
                <a:lnTo>
                  <a:pt x="4900130" y="4434517"/>
                </a:lnTo>
                <a:lnTo>
                  <a:pt x="4879028" y="4461148"/>
                </a:lnTo>
                <a:lnTo>
                  <a:pt x="4846346" y="4474946"/>
                </a:lnTo>
                <a:lnTo>
                  <a:pt x="4804116" y="4478885"/>
                </a:lnTo>
                <a:lnTo>
                  <a:pt x="4762852" y="4474946"/>
                </a:lnTo>
                <a:lnTo>
                  <a:pt x="4730664" y="4461148"/>
                </a:lnTo>
                <a:lnTo>
                  <a:pt x="4709745" y="4434517"/>
                </a:lnTo>
                <a:lnTo>
                  <a:pt x="4702285" y="4392078"/>
                </a:lnTo>
                <a:lnTo>
                  <a:pt x="4709745" y="4348232"/>
                </a:lnTo>
                <a:lnTo>
                  <a:pt x="4730664" y="4321757"/>
                </a:lnTo>
                <a:lnTo>
                  <a:pt x="4762852" y="4308741"/>
                </a:lnTo>
                <a:close/>
                <a:moveTo>
                  <a:pt x="7712987" y="3503986"/>
                </a:moveTo>
                <a:lnTo>
                  <a:pt x="7763122" y="3509568"/>
                </a:lnTo>
                <a:lnTo>
                  <a:pt x="7795147" y="3526208"/>
                </a:lnTo>
                <a:lnTo>
                  <a:pt x="7811787" y="3553746"/>
                </a:lnTo>
                <a:lnTo>
                  <a:pt x="7815767" y="3592021"/>
                </a:lnTo>
                <a:lnTo>
                  <a:pt x="7809810" y="3640873"/>
                </a:lnTo>
                <a:lnTo>
                  <a:pt x="7763068" y="3887939"/>
                </a:lnTo>
                <a:lnTo>
                  <a:pt x="7682939" y="3887939"/>
                </a:lnTo>
                <a:lnTo>
                  <a:pt x="7709648" y="3677600"/>
                </a:lnTo>
                <a:lnTo>
                  <a:pt x="7668644" y="3673635"/>
                </a:lnTo>
                <a:lnTo>
                  <a:pt x="7637031" y="3659654"/>
                </a:lnTo>
                <a:lnTo>
                  <a:pt x="7616686" y="3632527"/>
                </a:lnTo>
                <a:lnTo>
                  <a:pt x="7609487" y="3589124"/>
                </a:lnTo>
                <a:lnTo>
                  <a:pt x="7617207" y="3546946"/>
                </a:lnTo>
                <a:lnTo>
                  <a:pt x="7638700" y="3520888"/>
                </a:lnTo>
                <a:lnTo>
                  <a:pt x="7671461" y="3507664"/>
                </a:lnTo>
                <a:close/>
                <a:moveTo>
                  <a:pt x="4062097" y="3353744"/>
                </a:moveTo>
                <a:lnTo>
                  <a:pt x="4966889" y="3353744"/>
                </a:lnTo>
                <a:lnTo>
                  <a:pt x="4966889" y="3460582"/>
                </a:lnTo>
                <a:lnTo>
                  <a:pt x="4062097" y="3460582"/>
                </a:lnTo>
                <a:close/>
                <a:moveTo>
                  <a:pt x="2550201" y="3353744"/>
                </a:moveTo>
                <a:lnTo>
                  <a:pt x="3454992" y="3353744"/>
                </a:lnTo>
                <a:lnTo>
                  <a:pt x="3454992" y="3460582"/>
                </a:lnTo>
                <a:lnTo>
                  <a:pt x="2550201" y="3460582"/>
                </a:lnTo>
                <a:close/>
                <a:moveTo>
                  <a:pt x="4062097" y="3004848"/>
                </a:moveTo>
                <a:lnTo>
                  <a:pt x="4966889" y="3004848"/>
                </a:lnTo>
                <a:lnTo>
                  <a:pt x="4966889" y="3111686"/>
                </a:lnTo>
                <a:lnTo>
                  <a:pt x="4062097" y="3111686"/>
                </a:lnTo>
                <a:close/>
                <a:moveTo>
                  <a:pt x="2550201" y="3004848"/>
                </a:moveTo>
                <a:lnTo>
                  <a:pt x="3454992" y="3004848"/>
                </a:lnTo>
                <a:lnTo>
                  <a:pt x="3454992" y="3111686"/>
                </a:lnTo>
                <a:lnTo>
                  <a:pt x="2550201" y="3111686"/>
                </a:lnTo>
                <a:close/>
                <a:moveTo>
                  <a:pt x="7712987" y="2802855"/>
                </a:moveTo>
                <a:lnTo>
                  <a:pt x="7755217" y="2806324"/>
                </a:lnTo>
                <a:lnTo>
                  <a:pt x="7787900" y="2819339"/>
                </a:lnTo>
                <a:lnTo>
                  <a:pt x="7809002" y="2845814"/>
                </a:lnTo>
                <a:lnTo>
                  <a:pt x="7816489" y="2889661"/>
                </a:lnTo>
                <a:lnTo>
                  <a:pt x="7809002" y="2932099"/>
                </a:lnTo>
                <a:lnTo>
                  <a:pt x="7787900" y="2958731"/>
                </a:lnTo>
                <a:lnTo>
                  <a:pt x="7755217" y="2972529"/>
                </a:lnTo>
                <a:lnTo>
                  <a:pt x="7712987" y="2976468"/>
                </a:lnTo>
                <a:lnTo>
                  <a:pt x="7671722" y="2972529"/>
                </a:lnTo>
                <a:lnTo>
                  <a:pt x="7639535" y="2958731"/>
                </a:lnTo>
                <a:lnTo>
                  <a:pt x="7618615" y="2932099"/>
                </a:lnTo>
                <a:lnTo>
                  <a:pt x="7611156" y="2889661"/>
                </a:lnTo>
                <a:lnTo>
                  <a:pt x="7618615" y="2845814"/>
                </a:lnTo>
                <a:lnTo>
                  <a:pt x="7639535" y="2819339"/>
                </a:lnTo>
                <a:lnTo>
                  <a:pt x="7671722" y="2806324"/>
                </a:lnTo>
                <a:close/>
                <a:moveTo>
                  <a:pt x="6558381" y="2482346"/>
                </a:moveTo>
                <a:lnTo>
                  <a:pt x="6611451" y="2484222"/>
                </a:lnTo>
                <a:lnTo>
                  <a:pt x="6660572" y="2489799"/>
                </a:lnTo>
                <a:lnTo>
                  <a:pt x="6705877" y="2498994"/>
                </a:lnTo>
                <a:lnTo>
                  <a:pt x="6747499" y="2511726"/>
                </a:lnTo>
                <a:lnTo>
                  <a:pt x="6785570" y="2527914"/>
                </a:lnTo>
                <a:lnTo>
                  <a:pt x="6820223" y="2547475"/>
                </a:lnTo>
                <a:lnTo>
                  <a:pt x="6851590" y="2570330"/>
                </a:lnTo>
                <a:lnTo>
                  <a:pt x="6879805" y="2596396"/>
                </a:lnTo>
                <a:lnTo>
                  <a:pt x="6905001" y="2625592"/>
                </a:lnTo>
                <a:lnTo>
                  <a:pt x="6927309" y="2657837"/>
                </a:lnTo>
                <a:lnTo>
                  <a:pt x="6946862" y="2693049"/>
                </a:lnTo>
                <a:lnTo>
                  <a:pt x="6963794" y="2731147"/>
                </a:lnTo>
                <a:lnTo>
                  <a:pt x="6978237" y="2772049"/>
                </a:lnTo>
                <a:lnTo>
                  <a:pt x="6990324" y="2815675"/>
                </a:lnTo>
                <a:lnTo>
                  <a:pt x="7000187" y="2861942"/>
                </a:lnTo>
                <a:lnTo>
                  <a:pt x="7007959" y="2910770"/>
                </a:lnTo>
                <a:lnTo>
                  <a:pt x="7013773" y="2962076"/>
                </a:lnTo>
                <a:lnTo>
                  <a:pt x="7017761" y="3015781"/>
                </a:lnTo>
                <a:lnTo>
                  <a:pt x="7020057" y="3071801"/>
                </a:lnTo>
                <a:lnTo>
                  <a:pt x="7020793" y="3130057"/>
                </a:lnTo>
                <a:lnTo>
                  <a:pt x="7020093" y="3188562"/>
                </a:lnTo>
                <a:lnTo>
                  <a:pt x="7017896" y="3244832"/>
                </a:lnTo>
                <a:lnTo>
                  <a:pt x="7014060" y="3298782"/>
                </a:lnTo>
                <a:lnTo>
                  <a:pt x="7008439" y="3350332"/>
                </a:lnTo>
                <a:lnTo>
                  <a:pt x="7000891" y="3399397"/>
                </a:lnTo>
                <a:lnTo>
                  <a:pt x="6991270" y="3445896"/>
                </a:lnTo>
                <a:lnTo>
                  <a:pt x="6979433" y="3489745"/>
                </a:lnTo>
                <a:lnTo>
                  <a:pt x="6965236" y="3530863"/>
                </a:lnTo>
                <a:lnTo>
                  <a:pt x="6948536" y="3569166"/>
                </a:lnTo>
                <a:lnTo>
                  <a:pt x="6929187" y="3604572"/>
                </a:lnTo>
                <a:lnTo>
                  <a:pt x="6907046" y="3636998"/>
                </a:lnTo>
                <a:lnTo>
                  <a:pt x="6881969" y="3666361"/>
                </a:lnTo>
                <a:lnTo>
                  <a:pt x="6853812" y="3692580"/>
                </a:lnTo>
                <a:lnTo>
                  <a:pt x="6822431" y="3715570"/>
                </a:lnTo>
                <a:lnTo>
                  <a:pt x="6787683" y="3735251"/>
                </a:lnTo>
                <a:lnTo>
                  <a:pt x="6749422" y="3751538"/>
                </a:lnTo>
                <a:lnTo>
                  <a:pt x="6707505" y="3764350"/>
                </a:lnTo>
                <a:lnTo>
                  <a:pt x="6661789" y="3773604"/>
                </a:lnTo>
                <a:lnTo>
                  <a:pt x="6612129" y="3779217"/>
                </a:lnTo>
                <a:lnTo>
                  <a:pt x="6558381" y="3781106"/>
                </a:lnTo>
                <a:lnTo>
                  <a:pt x="6558381" y="3684284"/>
                </a:lnTo>
                <a:lnTo>
                  <a:pt x="6608066" y="3682051"/>
                </a:lnTo>
                <a:lnTo>
                  <a:pt x="6652986" y="3675430"/>
                </a:lnTo>
                <a:lnTo>
                  <a:pt x="6693369" y="3664541"/>
                </a:lnTo>
                <a:lnTo>
                  <a:pt x="6729440" y="3649501"/>
                </a:lnTo>
                <a:lnTo>
                  <a:pt x="6789551" y="3607441"/>
                </a:lnTo>
                <a:lnTo>
                  <a:pt x="6835130" y="3550197"/>
                </a:lnTo>
                <a:lnTo>
                  <a:pt x="6853036" y="3516176"/>
                </a:lnTo>
                <a:lnTo>
                  <a:pt x="6867988" y="3478715"/>
                </a:lnTo>
                <a:lnTo>
                  <a:pt x="6880212" y="3437930"/>
                </a:lnTo>
                <a:lnTo>
                  <a:pt x="6889935" y="3393940"/>
                </a:lnTo>
                <a:lnTo>
                  <a:pt x="6897382" y="3346863"/>
                </a:lnTo>
                <a:lnTo>
                  <a:pt x="6902781" y="3296819"/>
                </a:lnTo>
                <a:lnTo>
                  <a:pt x="6906357" y="3243924"/>
                </a:lnTo>
                <a:lnTo>
                  <a:pt x="6908336" y="3188297"/>
                </a:lnTo>
                <a:lnTo>
                  <a:pt x="6908946" y="3130057"/>
                </a:lnTo>
                <a:lnTo>
                  <a:pt x="6908304" y="3072388"/>
                </a:lnTo>
                <a:lnTo>
                  <a:pt x="6906234" y="3017299"/>
                </a:lnTo>
                <a:lnTo>
                  <a:pt x="6902524" y="2964906"/>
                </a:lnTo>
                <a:lnTo>
                  <a:pt x="6896958" y="2915330"/>
                </a:lnTo>
                <a:lnTo>
                  <a:pt x="6889323" y="2868686"/>
                </a:lnTo>
                <a:lnTo>
                  <a:pt x="6879405" y="2825095"/>
                </a:lnTo>
                <a:lnTo>
                  <a:pt x="6866989" y="2784674"/>
                </a:lnTo>
                <a:lnTo>
                  <a:pt x="6851862" y="2747542"/>
                </a:lnTo>
                <a:lnTo>
                  <a:pt x="6833809" y="2713816"/>
                </a:lnTo>
                <a:lnTo>
                  <a:pt x="6788071" y="2657057"/>
                </a:lnTo>
                <a:lnTo>
                  <a:pt x="6728062" y="2615344"/>
                </a:lnTo>
                <a:lnTo>
                  <a:pt x="6692170" y="2600425"/>
                </a:lnTo>
                <a:lnTo>
                  <a:pt x="6652069" y="2589622"/>
                </a:lnTo>
                <a:lnTo>
                  <a:pt x="6607544" y="2583054"/>
                </a:lnTo>
                <a:lnTo>
                  <a:pt x="6558381" y="2580838"/>
                </a:lnTo>
                <a:close/>
                <a:moveTo>
                  <a:pt x="6041510" y="2482346"/>
                </a:moveTo>
                <a:lnTo>
                  <a:pt x="6041510" y="2580838"/>
                </a:lnTo>
                <a:lnTo>
                  <a:pt x="5992624" y="2583054"/>
                </a:lnTo>
                <a:lnTo>
                  <a:pt x="5948343" y="2589622"/>
                </a:lnTo>
                <a:lnTo>
                  <a:pt x="5908457" y="2600425"/>
                </a:lnTo>
                <a:lnTo>
                  <a:pt x="5872751" y="2615344"/>
                </a:lnTo>
                <a:lnTo>
                  <a:pt x="5813036" y="2657057"/>
                </a:lnTo>
                <a:lnTo>
                  <a:pt x="5767502" y="2713816"/>
                </a:lnTo>
                <a:lnTo>
                  <a:pt x="5749523" y="2747542"/>
                </a:lnTo>
                <a:lnTo>
                  <a:pt x="5734453" y="2784674"/>
                </a:lnTo>
                <a:lnTo>
                  <a:pt x="5722081" y="2825095"/>
                </a:lnTo>
                <a:lnTo>
                  <a:pt x="5712193" y="2868686"/>
                </a:lnTo>
                <a:lnTo>
                  <a:pt x="5704579" y="2915330"/>
                </a:lnTo>
                <a:lnTo>
                  <a:pt x="5699026" y="2964906"/>
                </a:lnTo>
                <a:lnTo>
                  <a:pt x="5695322" y="3017299"/>
                </a:lnTo>
                <a:lnTo>
                  <a:pt x="5693255" y="3072388"/>
                </a:lnTo>
                <a:lnTo>
                  <a:pt x="5692613" y="3130057"/>
                </a:lnTo>
                <a:lnTo>
                  <a:pt x="5693239" y="3188297"/>
                </a:lnTo>
                <a:lnTo>
                  <a:pt x="5695261" y="3243924"/>
                </a:lnTo>
                <a:lnTo>
                  <a:pt x="5698898" y="3296819"/>
                </a:lnTo>
                <a:lnTo>
                  <a:pt x="5704367" y="3346863"/>
                </a:lnTo>
                <a:lnTo>
                  <a:pt x="5711888" y="3393940"/>
                </a:lnTo>
                <a:lnTo>
                  <a:pt x="5721677" y="3437930"/>
                </a:lnTo>
                <a:lnTo>
                  <a:pt x="5733954" y="3478715"/>
                </a:lnTo>
                <a:lnTo>
                  <a:pt x="5748936" y="3516176"/>
                </a:lnTo>
                <a:lnTo>
                  <a:pt x="5766842" y="3550197"/>
                </a:lnTo>
                <a:lnTo>
                  <a:pt x="5812296" y="3607441"/>
                </a:lnTo>
                <a:lnTo>
                  <a:pt x="5872062" y="3649501"/>
                </a:lnTo>
                <a:lnTo>
                  <a:pt x="5907857" y="3664541"/>
                </a:lnTo>
                <a:lnTo>
                  <a:pt x="5947885" y="3675430"/>
                </a:lnTo>
                <a:lnTo>
                  <a:pt x="5992363" y="3682051"/>
                </a:lnTo>
                <a:lnTo>
                  <a:pt x="6041510" y="3684284"/>
                </a:lnTo>
                <a:lnTo>
                  <a:pt x="6041510" y="3781106"/>
                </a:lnTo>
                <a:lnTo>
                  <a:pt x="5987987" y="3779217"/>
                </a:lnTo>
                <a:lnTo>
                  <a:pt x="5938507" y="3773604"/>
                </a:lnTo>
                <a:lnTo>
                  <a:pt x="5892927" y="3764350"/>
                </a:lnTo>
                <a:lnTo>
                  <a:pt x="5851109" y="3751538"/>
                </a:lnTo>
                <a:lnTo>
                  <a:pt x="5812912" y="3735251"/>
                </a:lnTo>
                <a:lnTo>
                  <a:pt x="5778195" y="3715570"/>
                </a:lnTo>
                <a:lnTo>
                  <a:pt x="5746818" y="3692580"/>
                </a:lnTo>
                <a:lnTo>
                  <a:pt x="5718642" y="3666361"/>
                </a:lnTo>
                <a:lnTo>
                  <a:pt x="5693526" y="3636998"/>
                </a:lnTo>
                <a:lnTo>
                  <a:pt x="5671329" y="3604572"/>
                </a:lnTo>
                <a:lnTo>
                  <a:pt x="5651912" y="3569166"/>
                </a:lnTo>
                <a:lnTo>
                  <a:pt x="5635134" y="3530863"/>
                </a:lnTo>
                <a:lnTo>
                  <a:pt x="5620855" y="3489745"/>
                </a:lnTo>
                <a:lnTo>
                  <a:pt x="5608935" y="3445896"/>
                </a:lnTo>
                <a:lnTo>
                  <a:pt x="5599234" y="3399397"/>
                </a:lnTo>
                <a:lnTo>
                  <a:pt x="5591611" y="3350332"/>
                </a:lnTo>
                <a:lnTo>
                  <a:pt x="5585926" y="3298782"/>
                </a:lnTo>
                <a:lnTo>
                  <a:pt x="5582039" y="3244832"/>
                </a:lnTo>
                <a:lnTo>
                  <a:pt x="5579809" y="3188562"/>
                </a:lnTo>
                <a:lnTo>
                  <a:pt x="5579098" y="3130057"/>
                </a:lnTo>
                <a:lnTo>
                  <a:pt x="5579833" y="3071801"/>
                </a:lnTo>
                <a:lnTo>
                  <a:pt x="5582129" y="3015781"/>
                </a:lnTo>
                <a:lnTo>
                  <a:pt x="5586118" y="2962076"/>
                </a:lnTo>
                <a:lnTo>
                  <a:pt x="5591931" y="2910770"/>
                </a:lnTo>
                <a:lnTo>
                  <a:pt x="5599704" y="2861942"/>
                </a:lnTo>
                <a:lnTo>
                  <a:pt x="5609567" y="2815675"/>
                </a:lnTo>
                <a:lnTo>
                  <a:pt x="5621653" y="2772049"/>
                </a:lnTo>
                <a:lnTo>
                  <a:pt x="5636096" y="2731147"/>
                </a:lnTo>
                <a:lnTo>
                  <a:pt x="5653028" y="2693049"/>
                </a:lnTo>
                <a:lnTo>
                  <a:pt x="5672581" y="2657837"/>
                </a:lnTo>
                <a:lnTo>
                  <a:pt x="5694889" y="2625592"/>
                </a:lnTo>
                <a:lnTo>
                  <a:pt x="5720085" y="2596396"/>
                </a:lnTo>
                <a:lnTo>
                  <a:pt x="5748300" y="2570330"/>
                </a:lnTo>
                <a:lnTo>
                  <a:pt x="5779667" y="2547475"/>
                </a:lnTo>
                <a:lnTo>
                  <a:pt x="5814320" y="2527914"/>
                </a:lnTo>
                <a:lnTo>
                  <a:pt x="5852391" y="2511726"/>
                </a:lnTo>
                <a:lnTo>
                  <a:pt x="5894013" y="2498994"/>
                </a:lnTo>
                <a:lnTo>
                  <a:pt x="5939318" y="2489799"/>
                </a:lnTo>
                <a:lnTo>
                  <a:pt x="5988439" y="2484222"/>
                </a:lnTo>
                <a:close/>
                <a:moveTo>
                  <a:pt x="5337245" y="1851325"/>
                </a:moveTo>
                <a:lnTo>
                  <a:pt x="6242037" y="1851325"/>
                </a:lnTo>
                <a:lnTo>
                  <a:pt x="6242037" y="1958164"/>
                </a:lnTo>
                <a:lnTo>
                  <a:pt x="5337245" y="1958164"/>
                </a:lnTo>
                <a:close/>
                <a:moveTo>
                  <a:pt x="3825296" y="1851325"/>
                </a:moveTo>
                <a:lnTo>
                  <a:pt x="4730088" y="1851325"/>
                </a:lnTo>
                <a:lnTo>
                  <a:pt x="4730088" y="1958164"/>
                </a:lnTo>
                <a:lnTo>
                  <a:pt x="3825296" y="1958164"/>
                </a:lnTo>
                <a:close/>
                <a:moveTo>
                  <a:pt x="6849172" y="1681043"/>
                </a:moveTo>
                <a:lnTo>
                  <a:pt x="7326608" y="1681043"/>
                </a:lnTo>
                <a:lnTo>
                  <a:pt x="7326608" y="1786212"/>
                </a:lnTo>
                <a:lnTo>
                  <a:pt x="6849172" y="1786212"/>
                </a:lnTo>
                <a:close/>
                <a:moveTo>
                  <a:pt x="5337245" y="1502429"/>
                </a:moveTo>
                <a:lnTo>
                  <a:pt x="6242037" y="1502429"/>
                </a:lnTo>
                <a:lnTo>
                  <a:pt x="6242037" y="1609267"/>
                </a:lnTo>
                <a:lnTo>
                  <a:pt x="5337245" y="1609267"/>
                </a:lnTo>
                <a:close/>
                <a:moveTo>
                  <a:pt x="3825296" y="1502429"/>
                </a:moveTo>
                <a:lnTo>
                  <a:pt x="4730088" y="1502429"/>
                </a:lnTo>
                <a:lnTo>
                  <a:pt x="4730088" y="1609267"/>
                </a:lnTo>
                <a:lnTo>
                  <a:pt x="3825296" y="1609267"/>
                </a:lnTo>
                <a:close/>
                <a:moveTo>
                  <a:pt x="7037373" y="348896"/>
                </a:moveTo>
                <a:lnTo>
                  <a:pt x="7942165" y="348896"/>
                </a:lnTo>
                <a:lnTo>
                  <a:pt x="7942165" y="455734"/>
                </a:lnTo>
                <a:lnTo>
                  <a:pt x="7037373" y="455734"/>
                </a:lnTo>
                <a:close/>
                <a:moveTo>
                  <a:pt x="5525404" y="348896"/>
                </a:moveTo>
                <a:lnTo>
                  <a:pt x="6430196" y="348896"/>
                </a:lnTo>
                <a:lnTo>
                  <a:pt x="6430196" y="455734"/>
                </a:lnTo>
                <a:lnTo>
                  <a:pt x="5525404" y="455734"/>
                </a:lnTo>
                <a:close/>
                <a:moveTo>
                  <a:pt x="7037373" y="0"/>
                </a:moveTo>
                <a:lnTo>
                  <a:pt x="7942165" y="0"/>
                </a:lnTo>
                <a:lnTo>
                  <a:pt x="7942165" y="106839"/>
                </a:lnTo>
                <a:lnTo>
                  <a:pt x="7037373" y="106839"/>
                </a:lnTo>
                <a:close/>
                <a:moveTo>
                  <a:pt x="5525404" y="0"/>
                </a:moveTo>
                <a:lnTo>
                  <a:pt x="6430196" y="0"/>
                </a:lnTo>
                <a:lnTo>
                  <a:pt x="6430196" y="106839"/>
                </a:lnTo>
                <a:lnTo>
                  <a:pt x="5525404" y="106839"/>
                </a:lnTo>
                <a:close/>
              </a:path>
            </a:pathLst>
          </a:custGeom>
          <a:solidFill>
            <a:srgbClr val="88C66D"/>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267533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reaker I">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rgbClr val="21212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rgbClr val="21212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rgbClr val="212121"/>
                </a:solidFill>
              </a:defRPr>
            </a:lvl1pPr>
          </a:lstStyle>
          <a:p>
            <a:fld id="{C478D43B-6DB1-49ED-A3EC-43DFBB246817}" type="datetime2">
              <a:rPr lang="da-DK" smtClean="0"/>
              <a:pPr/>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rgbClr val="21212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rgbClr val="212121"/>
                </a:solidFill>
              </a:defRPr>
            </a:lvl1pPr>
          </a:lstStyle>
          <a:p>
            <a:fld id="{24C8C45C-947F-4981-8B3F-4F32E973C901}" type="slidenum">
              <a:rPr lang="da-DK" smtClean="0"/>
              <a:pPr/>
              <a:t>‹nr.›</a:t>
            </a:fld>
            <a:endParaRPr lang="da-DK"/>
          </a:p>
        </p:txBody>
      </p:sp>
      <p:sp>
        <p:nvSpPr>
          <p:cNvPr id="5" name="Mikro grafik 1">
            <a:extLst>
              <a:ext uri="{FF2B5EF4-FFF2-40B4-BE49-F238E27FC236}">
                <a16:creationId xmlns:a16="http://schemas.microsoft.com/office/drawing/2014/main" id="{8E8246C8-AEEC-66A0-3B85-75D6EBE031F7}"/>
              </a:ext>
            </a:extLst>
          </p:cNvPr>
          <p:cNvSpPr/>
          <p:nvPr userDrawn="1"/>
        </p:nvSpPr>
        <p:spPr>
          <a:xfrm>
            <a:off x="405001" y="915672"/>
            <a:ext cx="3748256" cy="3312156"/>
          </a:xfrm>
          <a:custGeom>
            <a:avLst/>
            <a:gdLst>
              <a:gd name="connsiteX0" fmla="*/ 5241587 w 8266922"/>
              <a:gd name="connsiteY0" fmla="*/ 7031344 h 7305087"/>
              <a:gd name="connsiteX1" fmla="*/ 5448586 w 8266922"/>
              <a:gd name="connsiteY1" fmla="*/ 7031344 h 7305087"/>
              <a:gd name="connsiteX2" fmla="*/ 5448586 w 8266922"/>
              <a:gd name="connsiteY2" fmla="*/ 7204957 h 7305087"/>
              <a:gd name="connsiteX3" fmla="*/ 5241587 w 8266922"/>
              <a:gd name="connsiteY3" fmla="*/ 7204957 h 7305087"/>
              <a:gd name="connsiteX4" fmla="*/ 2946862 w 8266922"/>
              <a:gd name="connsiteY4" fmla="*/ 7031344 h 7305087"/>
              <a:gd name="connsiteX5" fmla="*/ 3153861 w 8266922"/>
              <a:gd name="connsiteY5" fmla="*/ 7031344 h 7305087"/>
              <a:gd name="connsiteX6" fmla="*/ 3153861 w 8266922"/>
              <a:gd name="connsiteY6" fmla="*/ 7204957 h 7305087"/>
              <a:gd name="connsiteX7" fmla="*/ 2946862 w 8266922"/>
              <a:gd name="connsiteY7" fmla="*/ 7204957 h 7305087"/>
              <a:gd name="connsiteX8" fmla="*/ 4247643 w 8266922"/>
              <a:gd name="connsiteY8" fmla="*/ 6016037 h 7305087"/>
              <a:gd name="connsiteX9" fmla="*/ 4621582 w 8266922"/>
              <a:gd name="connsiteY9" fmla="*/ 6016037 h 7305087"/>
              <a:gd name="connsiteX10" fmla="*/ 4621582 w 8266922"/>
              <a:gd name="connsiteY10" fmla="*/ 6111287 h 7305087"/>
              <a:gd name="connsiteX11" fmla="*/ 4621582 w 8266922"/>
              <a:gd name="connsiteY11" fmla="*/ 7209837 h 7305087"/>
              <a:gd name="connsiteX12" fmla="*/ 4621582 w 8266922"/>
              <a:gd name="connsiteY12" fmla="*/ 7305087 h 7305087"/>
              <a:gd name="connsiteX13" fmla="*/ 4247643 w 8266922"/>
              <a:gd name="connsiteY13" fmla="*/ 7305087 h 7305087"/>
              <a:gd name="connsiteX14" fmla="*/ 4247643 w 8266922"/>
              <a:gd name="connsiteY14" fmla="*/ 7209837 h 7305087"/>
              <a:gd name="connsiteX15" fmla="*/ 4506393 w 8266922"/>
              <a:gd name="connsiteY15" fmla="*/ 7209837 h 7305087"/>
              <a:gd name="connsiteX16" fmla="*/ 4506393 w 8266922"/>
              <a:gd name="connsiteY16" fmla="*/ 6111287 h 7305087"/>
              <a:gd name="connsiteX17" fmla="*/ 4247643 w 8266922"/>
              <a:gd name="connsiteY17" fmla="*/ 6111287 h 7305087"/>
              <a:gd name="connsiteX18" fmla="*/ 3773921 w 8266922"/>
              <a:gd name="connsiteY18" fmla="*/ 6016037 h 7305087"/>
              <a:gd name="connsiteX19" fmla="*/ 4147860 w 8266922"/>
              <a:gd name="connsiteY19" fmla="*/ 6016037 h 7305087"/>
              <a:gd name="connsiteX20" fmla="*/ 4147860 w 8266922"/>
              <a:gd name="connsiteY20" fmla="*/ 6111287 h 7305087"/>
              <a:gd name="connsiteX21" fmla="*/ 3889111 w 8266922"/>
              <a:gd name="connsiteY21" fmla="*/ 6111287 h 7305087"/>
              <a:gd name="connsiteX22" fmla="*/ 3889111 w 8266922"/>
              <a:gd name="connsiteY22" fmla="*/ 7209837 h 7305087"/>
              <a:gd name="connsiteX23" fmla="*/ 4147860 w 8266922"/>
              <a:gd name="connsiteY23" fmla="*/ 7209837 h 7305087"/>
              <a:gd name="connsiteX24" fmla="*/ 4147860 w 8266922"/>
              <a:gd name="connsiteY24" fmla="*/ 7305087 h 7305087"/>
              <a:gd name="connsiteX25" fmla="*/ 3773921 w 8266922"/>
              <a:gd name="connsiteY25" fmla="*/ 7305087 h 7305087"/>
              <a:gd name="connsiteX26" fmla="*/ 3773921 w 8266922"/>
              <a:gd name="connsiteY26" fmla="*/ 7209837 h 7305087"/>
              <a:gd name="connsiteX27" fmla="*/ 3773921 w 8266922"/>
              <a:gd name="connsiteY27" fmla="*/ 6111287 h 7305087"/>
              <a:gd name="connsiteX28" fmla="*/ 6688042 w 8266922"/>
              <a:gd name="connsiteY28" fmla="*/ 5528924 h 7305087"/>
              <a:gd name="connsiteX29" fmla="*/ 6895043 w 8266922"/>
              <a:gd name="connsiteY29" fmla="*/ 5528924 h 7305087"/>
              <a:gd name="connsiteX30" fmla="*/ 6895043 w 8266922"/>
              <a:gd name="connsiteY30" fmla="*/ 5702536 h 7305087"/>
              <a:gd name="connsiteX31" fmla="*/ 6688042 w 8266922"/>
              <a:gd name="connsiteY31" fmla="*/ 5702536 h 7305087"/>
              <a:gd name="connsiteX32" fmla="*/ 3990746 w 8266922"/>
              <a:gd name="connsiteY32" fmla="*/ 5378675 h 7305087"/>
              <a:gd name="connsiteX33" fmla="*/ 4895538 w 8266922"/>
              <a:gd name="connsiteY33" fmla="*/ 5378675 h 7305087"/>
              <a:gd name="connsiteX34" fmla="*/ 4895538 w 8266922"/>
              <a:gd name="connsiteY34" fmla="*/ 5485512 h 7305087"/>
              <a:gd name="connsiteX35" fmla="*/ 3990746 w 8266922"/>
              <a:gd name="connsiteY35" fmla="*/ 5485512 h 7305087"/>
              <a:gd name="connsiteX36" fmla="*/ 1270097 w 8266922"/>
              <a:gd name="connsiteY36" fmla="*/ 5378675 h 7305087"/>
              <a:gd name="connsiteX37" fmla="*/ 2174890 w 8266922"/>
              <a:gd name="connsiteY37" fmla="*/ 5378675 h 7305087"/>
              <a:gd name="connsiteX38" fmla="*/ 2174890 w 8266922"/>
              <a:gd name="connsiteY38" fmla="*/ 5485512 h 7305087"/>
              <a:gd name="connsiteX39" fmla="*/ 1270097 w 8266922"/>
              <a:gd name="connsiteY39" fmla="*/ 5485512 h 7305087"/>
              <a:gd name="connsiteX40" fmla="*/ 3990746 w 8266922"/>
              <a:gd name="connsiteY40" fmla="*/ 5029777 h 7305087"/>
              <a:gd name="connsiteX41" fmla="*/ 4895538 w 8266922"/>
              <a:gd name="connsiteY41" fmla="*/ 5029777 h 7305087"/>
              <a:gd name="connsiteX42" fmla="*/ 4895538 w 8266922"/>
              <a:gd name="connsiteY42" fmla="*/ 5136615 h 7305087"/>
              <a:gd name="connsiteX43" fmla="*/ 3990746 w 8266922"/>
              <a:gd name="connsiteY43" fmla="*/ 5136615 h 7305087"/>
              <a:gd name="connsiteX44" fmla="*/ 1270097 w 8266922"/>
              <a:gd name="connsiteY44" fmla="*/ 5029777 h 7305087"/>
              <a:gd name="connsiteX45" fmla="*/ 2174890 w 8266922"/>
              <a:gd name="connsiteY45" fmla="*/ 5029777 h 7305087"/>
              <a:gd name="connsiteX46" fmla="*/ 2174890 w 8266922"/>
              <a:gd name="connsiteY46" fmla="*/ 5136615 h 7305087"/>
              <a:gd name="connsiteX47" fmla="*/ 1270097 w 8266922"/>
              <a:gd name="connsiteY47" fmla="*/ 5136615 h 7305087"/>
              <a:gd name="connsiteX48" fmla="*/ 6062007 w 8266922"/>
              <a:gd name="connsiteY48" fmla="*/ 4507277 h 7305087"/>
              <a:gd name="connsiteX49" fmla="*/ 6115077 w 8266922"/>
              <a:gd name="connsiteY49" fmla="*/ 4509153 h 7305087"/>
              <a:gd name="connsiteX50" fmla="*/ 6164198 w 8266922"/>
              <a:gd name="connsiteY50" fmla="*/ 4514730 h 7305087"/>
              <a:gd name="connsiteX51" fmla="*/ 6209503 w 8266922"/>
              <a:gd name="connsiteY51" fmla="*/ 4523925 h 7305087"/>
              <a:gd name="connsiteX52" fmla="*/ 6251125 w 8266922"/>
              <a:gd name="connsiteY52" fmla="*/ 4536657 h 7305087"/>
              <a:gd name="connsiteX53" fmla="*/ 6289196 w 8266922"/>
              <a:gd name="connsiteY53" fmla="*/ 4552845 h 7305087"/>
              <a:gd name="connsiteX54" fmla="*/ 6323849 w 8266922"/>
              <a:gd name="connsiteY54" fmla="*/ 4572406 h 7305087"/>
              <a:gd name="connsiteX55" fmla="*/ 6355216 w 8266922"/>
              <a:gd name="connsiteY55" fmla="*/ 4595261 h 7305087"/>
              <a:gd name="connsiteX56" fmla="*/ 6383431 w 8266922"/>
              <a:gd name="connsiteY56" fmla="*/ 4621327 h 7305087"/>
              <a:gd name="connsiteX57" fmla="*/ 6408627 w 8266922"/>
              <a:gd name="connsiteY57" fmla="*/ 4650523 h 7305087"/>
              <a:gd name="connsiteX58" fmla="*/ 6430935 w 8266922"/>
              <a:gd name="connsiteY58" fmla="*/ 4682768 h 7305087"/>
              <a:gd name="connsiteX59" fmla="*/ 6450488 w 8266922"/>
              <a:gd name="connsiteY59" fmla="*/ 4717980 h 7305087"/>
              <a:gd name="connsiteX60" fmla="*/ 6467420 w 8266922"/>
              <a:gd name="connsiteY60" fmla="*/ 4756077 h 7305087"/>
              <a:gd name="connsiteX61" fmla="*/ 6481863 w 8266922"/>
              <a:gd name="connsiteY61" fmla="*/ 4796980 h 7305087"/>
              <a:gd name="connsiteX62" fmla="*/ 6493950 w 8266922"/>
              <a:gd name="connsiteY62" fmla="*/ 4840605 h 7305087"/>
              <a:gd name="connsiteX63" fmla="*/ 6503813 w 8266922"/>
              <a:gd name="connsiteY63" fmla="*/ 4886873 h 7305087"/>
              <a:gd name="connsiteX64" fmla="*/ 6511585 w 8266922"/>
              <a:gd name="connsiteY64" fmla="*/ 4935701 h 7305087"/>
              <a:gd name="connsiteX65" fmla="*/ 6517399 w 8266922"/>
              <a:gd name="connsiteY65" fmla="*/ 4987008 h 7305087"/>
              <a:gd name="connsiteX66" fmla="*/ 6521387 w 8266922"/>
              <a:gd name="connsiteY66" fmla="*/ 5040712 h 7305087"/>
              <a:gd name="connsiteX67" fmla="*/ 6523683 w 8266922"/>
              <a:gd name="connsiteY67" fmla="*/ 5096732 h 7305087"/>
              <a:gd name="connsiteX68" fmla="*/ 6524419 w 8266922"/>
              <a:gd name="connsiteY68" fmla="*/ 5154988 h 7305087"/>
              <a:gd name="connsiteX69" fmla="*/ 6523719 w 8266922"/>
              <a:gd name="connsiteY69" fmla="*/ 5213493 h 7305087"/>
              <a:gd name="connsiteX70" fmla="*/ 6521522 w 8266922"/>
              <a:gd name="connsiteY70" fmla="*/ 5269763 h 7305087"/>
              <a:gd name="connsiteX71" fmla="*/ 6517686 w 8266922"/>
              <a:gd name="connsiteY71" fmla="*/ 5323713 h 7305087"/>
              <a:gd name="connsiteX72" fmla="*/ 6512065 w 8266922"/>
              <a:gd name="connsiteY72" fmla="*/ 5375263 h 7305087"/>
              <a:gd name="connsiteX73" fmla="*/ 6504517 w 8266922"/>
              <a:gd name="connsiteY73" fmla="*/ 5424328 h 7305087"/>
              <a:gd name="connsiteX74" fmla="*/ 6494896 w 8266922"/>
              <a:gd name="connsiteY74" fmla="*/ 5470827 h 7305087"/>
              <a:gd name="connsiteX75" fmla="*/ 6483059 w 8266922"/>
              <a:gd name="connsiteY75" fmla="*/ 5514676 h 7305087"/>
              <a:gd name="connsiteX76" fmla="*/ 6468862 w 8266922"/>
              <a:gd name="connsiteY76" fmla="*/ 5555794 h 7305087"/>
              <a:gd name="connsiteX77" fmla="*/ 6452162 w 8266922"/>
              <a:gd name="connsiteY77" fmla="*/ 5594097 h 7305087"/>
              <a:gd name="connsiteX78" fmla="*/ 6432813 w 8266922"/>
              <a:gd name="connsiteY78" fmla="*/ 5629503 h 7305087"/>
              <a:gd name="connsiteX79" fmla="*/ 6410672 w 8266922"/>
              <a:gd name="connsiteY79" fmla="*/ 5661929 h 7305087"/>
              <a:gd name="connsiteX80" fmla="*/ 6385595 w 8266922"/>
              <a:gd name="connsiteY80" fmla="*/ 5691293 h 7305087"/>
              <a:gd name="connsiteX81" fmla="*/ 6357438 w 8266922"/>
              <a:gd name="connsiteY81" fmla="*/ 5717511 h 7305087"/>
              <a:gd name="connsiteX82" fmla="*/ 6326057 w 8266922"/>
              <a:gd name="connsiteY82" fmla="*/ 5740502 h 7305087"/>
              <a:gd name="connsiteX83" fmla="*/ 6291309 w 8266922"/>
              <a:gd name="connsiteY83" fmla="*/ 5760183 h 7305087"/>
              <a:gd name="connsiteX84" fmla="*/ 6253048 w 8266922"/>
              <a:gd name="connsiteY84" fmla="*/ 5776470 h 7305087"/>
              <a:gd name="connsiteX85" fmla="*/ 6211131 w 8266922"/>
              <a:gd name="connsiteY85" fmla="*/ 5789282 h 7305087"/>
              <a:gd name="connsiteX86" fmla="*/ 6165415 w 8266922"/>
              <a:gd name="connsiteY86" fmla="*/ 5798536 h 7305087"/>
              <a:gd name="connsiteX87" fmla="*/ 6115755 w 8266922"/>
              <a:gd name="connsiteY87" fmla="*/ 5804149 h 7305087"/>
              <a:gd name="connsiteX88" fmla="*/ 6062007 w 8266922"/>
              <a:gd name="connsiteY88" fmla="*/ 5806038 h 7305087"/>
              <a:gd name="connsiteX89" fmla="*/ 6062007 w 8266922"/>
              <a:gd name="connsiteY89" fmla="*/ 5709215 h 7305087"/>
              <a:gd name="connsiteX90" fmla="*/ 6111692 w 8266922"/>
              <a:gd name="connsiteY90" fmla="*/ 5706982 h 7305087"/>
              <a:gd name="connsiteX91" fmla="*/ 6156613 w 8266922"/>
              <a:gd name="connsiteY91" fmla="*/ 5700361 h 7305087"/>
              <a:gd name="connsiteX92" fmla="*/ 6196995 w 8266922"/>
              <a:gd name="connsiteY92" fmla="*/ 5689472 h 7305087"/>
              <a:gd name="connsiteX93" fmla="*/ 6233066 w 8266922"/>
              <a:gd name="connsiteY93" fmla="*/ 5674432 h 7305087"/>
              <a:gd name="connsiteX94" fmla="*/ 6293177 w 8266922"/>
              <a:gd name="connsiteY94" fmla="*/ 5632372 h 7305087"/>
              <a:gd name="connsiteX95" fmla="*/ 6338757 w 8266922"/>
              <a:gd name="connsiteY95" fmla="*/ 5575128 h 7305087"/>
              <a:gd name="connsiteX96" fmla="*/ 6356662 w 8266922"/>
              <a:gd name="connsiteY96" fmla="*/ 5541107 h 7305087"/>
              <a:gd name="connsiteX97" fmla="*/ 6371614 w 8266922"/>
              <a:gd name="connsiteY97" fmla="*/ 5503645 h 7305087"/>
              <a:gd name="connsiteX98" fmla="*/ 6383838 w 8266922"/>
              <a:gd name="connsiteY98" fmla="*/ 5462861 h 7305087"/>
              <a:gd name="connsiteX99" fmla="*/ 6393561 w 8266922"/>
              <a:gd name="connsiteY99" fmla="*/ 5418871 h 7305087"/>
              <a:gd name="connsiteX100" fmla="*/ 6401008 w 8266922"/>
              <a:gd name="connsiteY100" fmla="*/ 5371794 h 7305087"/>
              <a:gd name="connsiteX101" fmla="*/ 6406407 w 8266922"/>
              <a:gd name="connsiteY101" fmla="*/ 5321750 h 7305087"/>
              <a:gd name="connsiteX102" fmla="*/ 6409983 w 8266922"/>
              <a:gd name="connsiteY102" fmla="*/ 5268855 h 7305087"/>
              <a:gd name="connsiteX103" fmla="*/ 6411962 w 8266922"/>
              <a:gd name="connsiteY103" fmla="*/ 5213228 h 7305087"/>
              <a:gd name="connsiteX104" fmla="*/ 6412572 w 8266922"/>
              <a:gd name="connsiteY104" fmla="*/ 5154988 h 7305087"/>
              <a:gd name="connsiteX105" fmla="*/ 6411930 w 8266922"/>
              <a:gd name="connsiteY105" fmla="*/ 5097319 h 7305087"/>
              <a:gd name="connsiteX106" fmla="*/ 6409860 w 8266922"/>
              <a:gd name="connsiteY106" fmla="*/ 5042230 h 7305087"/>
              <a:gd name="connsiteX107" fmla="*/ 6406150 w 8266922"/>
              <a:gd name="connsiteY107" fmla="*/ 4989837 h 7305087"/>
              <a:gd name="connsiteX108" fmla="*/ 6400584 w 8266922"/>
              <a:gd name="connsiteY108" fmla="*/ 4940261 h 7305087"/>
              <a:gd name="connsiteX109" fmla="*/ 6392949 w 8266922"/>
              <a:gd name="connsiteY109" fmla="*/ 4893617 h 7305087"/>
              <a:gd name="connsiteX110" fmla="*/ 6383031 w 8266922"/>
              <a:gd name="connsiteY110" fmla="*/ 4850025 h 7305087"/>
              <a:gd name="connsiteX111" fmla="*/ 6370615 w 8266922"/>
              <a:gd name="connsiteY111" fmla="*/ 4809604 h 7305087"/>
              <a:gd name="connsiteX112" fmla="*/ 6355488 w 8266922"/>
              <a:gd name="connsiteY112" fmla="*/ 4772472 h 7305087"/>
              <a:gd name="connsiteX113" fmla="*/ 6337435 w 8266922"/>
              <a:gd name="connsiteY113" fmla="*/ 4738746 h 7305087"/>
              <a:gd name="connsiteX114" fmla="*/ 6291697 w 8266922"/>
              <a:gd name="connsiteY114" fmla="*/ 4681987 h 7305087"/>
              <a:gd name="connsiteX115" fmla="*/ 6231688 w 8266922"/>
              <a:gd name="connsiteY115" fmla="*/ 4640273 h 7305087"/>
              <a:gd name="connsiteX116" fmla="*/ 6195796 w 8266922"/>
              <a:gd name="connsiteY116" fmla="*/ 4625355 h 7305087"/>
              <a:gd name="connsiteX117" fmla="*/ 6155695 w 8266922"/>
              <a:gd name="connsiteY117" fmla="*/ 4614552 h 7305087"/>
              <a:gd name="connsiteX118" fmla="*/ 6111170 w 8266922"/>
              <a:gd name="connsiteY118" fmla="*/ 4607983 h 7305087"/>
              <a:gd name="connsiteX119" fmla="*/ 6062007 w 8266922"/>
              <a:gd name="connsiteY119" fmla="*/ 4605768 h 7305087"/>
              <a:gd name="connsiteX120" fmla="*/ 5970138 w 8266922"/>
              <a:gd name="connsiteY120" fmla="*/ 4507277 h 7305087"/>
              <a:gd name="connsiteX121" fmla="*/ 5970138 w 8266922"/>
              <a:gd name="connsiteY121" fmla="*/ 4605768 h 7305087"/>
              <a:gd name="connsiteX122" fmla="*/ 5921252 w 8266922"/>
              <a:gd name="connsiteY122" fmla="*/ 4607983 h 7305087"/>
              <a:gd name="connsiteX123" fmla="*/ 5876971 w 8266922"/>
              <a:gd name="connsiteY123" fmla="*/ 4614552 h 7305087"/>
              <a:gd name="connsiteX124" fmla="*/ 5837085 w 8266922"/>
              <a:gd name="connsiteY124" fmla="*/ 4625355 h 7305087"/>
              <a:gd name="connsiteX125" fmla="*/ 5801379 w 8266922"/>
              <a:gd name="connsiteY125" fmla="*/ 4640273 h 7305087"/>
              <a:gd name="connsiteX126" fmla="*/ 5741664 w 8266922"/>
              <a:gd name="connsiteY126" fmla="*/ 4681987 h 7305087"/>
              <a:gd name="connsiteX127" fmla="*/ 5696130 w 8266922"/>
              <a:gd name="connsiteY127" fmla="*/ 4738746 h 7305087"/>
              <a:gd name="connsiteX128" fmla="*/ 5678151 w 8266922"/>
              <a:gd name="connsiteY128" fmla="*/ 4772472 h 7305087"/>
              <a:gd name="connsiteX129" fmla="*/ 5663081 w 8266922"/>
              <a:gd name="connsiteY129" fmla="*/ 4809604 h 7305087"/>
              <a:gd name="connsiteX130" fmla="*/ 5650709 w 8266922"/>
              <a:gd name="connsiteY130" fmla="*/ 4850025 h 7305087"/>
              <a:gd name="connsiteX131" fmla="*/ 5640821 w 8266922"/>
              <a:gd name="connsiteY131" fmla="*/ 4893617 h 7305087"/>
              <a:gd name="connsiteX132" fmla="*/ 5633207 w 8266922"/>
              <a:gd name="connsiteY132" fmla="*/ 4940261 h 7305087"/>
              <a:gd name="connsiteX133" fmla="*/ 5627654 w 8266922"/>
              <a:gd name="connsiteY133" fmla="*/ 4989837 h 7305087"/>
              <a:gd name="connsiteX134" fmla="*/ 5623950 w 8266922"/>
              <a:gd name="connsiteY134" fmla="*/ 5042230 h 7305087"/>
              <a:gd name="connsiteX135" fmla="*/ 5621883 w 8266922"/>
              <a:gd name="connsiteY135" fmla="*/ 5097319 h 7305087"/>
              <a:gd name="connsiteX136" fmla="*/ 5621241 w 8266922"/>
              <a:gd name="connsiteY136" fmla="*/ 5154988 h 7305087"/>
              <a:gd name="connsiteX137" fmla="*/ 5621867 w 8266922"/>
              <a:gd name="connsiteY137" fmla="*/ 5213228 h 7305087"/>
              <a:gd name="connsiteX138" fmla="*/ 5623889 w 8266922"/>
              <a:gd name="connsiteY138" fmla="*/ 5268855 h 7305087"/>
              <a:gd name="connsiteX139" fmla="*/ 5627526 w 8266922"/>
              <a:gd name="connsiteY139" fmla="*/ 5321750 h 7305087"/>
              <a:gd name="connsiteX140" fmla="*/ 5632995 w 8266922"/>
              <a:gd name="connsiteY140" fmla="*/ 5371794 h 7305087"/>
              <a:gd name="connsiteX141" fmla="*/ 5640516 w 8266922"/>
              <a:gd name="connsiteY141" fmla="*/ 5418871 h 7305087"/>
              <a:gd name="connsiteX142" fmla="*/ 5650305 w 8266922"/>
              <a:gd name="connsiteY142" fmla="*/ 5462861 h 7305087"/>
              <a:gd name="connsiteX143" fmla="*/ 5662582 w 8266922"/>
              <a:gd name="connsiteY143" fmla="*/ 5503645 h 7305087"/>
              <a:gd name="connsiteX144" fmla="*/ 5677564 w 8266922"/>
              <a:gd name="connsiteY144" fmla="*/ 5541107 h 7305087"/>
              <a:gd name="connsiteX145" fmla="*/ 5695470 w 8266922"/>
              <a:gd name="connsiteY145" fmla="*/ 5575128 h 7305087"/>
              <a:gd name="connsiteX146" fmla="*/ 5740924 w 8266922"/>
              <a:gd name="connsiteY146" fmla="*/ 5632372 h 7305087"/>
              <a:gd name="connsiteX147" fmla="*/ 5800690 w 8266922"/>
              <a:gd name="connsiteY147" fmla="*/ 5674432 h 7305087"/>
              <a:gd name="connsiteX148" fmla="*/ 5836485 w 8266922"/>
              <a:gd name="connsiteY148" fmla="*/ 5689472 h 7305087"/>
              <a:gd name="connsiteX149" fmla="*/ 5876513 w 8266922"/>
              <a:gd name="connsiteY149" fmla="*/ 5700361 h 7305087"/>
              <a:gd name="connsiteX150" fmla="*/ 5920991 w 8266922"/>
              <a:gd name="connsiteY150" fmla="*/ 5706982 h 7305087"/>
              <a:gd name="connsiteX151" fmla="*/ 5970138 w 8266922"/>
              <a:gd name="connsiteY151" fmla="*/ 5709215 h 7305087"/>
              <a:gd name="connsiteX152" fmla="*/ 5970138 w 8266922"/>
              <a:gd name="connsiteY152" fmla="*/ 5806038 h 7305087"/>
              <a:gd name="connsiteX153" fmla="*/ 5916615 w 8266922"/>
              <a:gd name="connsiteY153" fmla="*/ 5804149 h 7305087"/>
              <a:gd name="connsiteX154" fmla="*/ 5867135 w 8266922"/>
              <a:gd name="connsiteY154" fmla="*/ 5798536 h 7305087"/>
              <a:gd name="connsiteX155" fmla="*/ 5821555 w 8266922"/>
              <a:gd name="connsiteY155" fmla="*/ 5789282 h 7305087"/>
              <a:gd name="connsiteX156" fmla="*/ 5779737 w 8266922"/>
              <a:gd name="connsiteY156" fmla="*/ 5776470 h 7305087"/>
              <a:gd name="connsiteX157" fmla="*/ 5741540 w 8266922"/>
              <a:gd name="connsiteY157" fmla="*/ 5760183 h 7305087"/>
              <a:gd name="connsiteX158" fmla="*/ 5706823 w 8266922"/>
              <a:gd name="connsiteY158" fmla="*/ 5740502 h 7305087"/>
              <a:gd name="connsiteX159" fmla="*/ 5675446 w 8266922"/>
              <a:gd name="connsiteY159" fmla="*/ 5717511 h 7305087"/>
              <a:gd name="connsiteX160" fmla="*/ 5647270 w 8266922"/>
              <a:gd name="connsiteY160" fmla="*/ 5691293 h 7305087"/>
              <a:gd name="connsiteX161" fmla="*/ 5622154 w 8266922"/>
              <a:gd name="connsiteY161" fmla="*/ 5661929 h 7305087"/>
              <a:gd name="connsiteX162" fmla="*/ 5599957 w 8266922"/>
              <a:gd name="connsiteY162" fmla="*/ 5629503 h 7305087"/>
              <a:gd name="connsiteX163" fmla="*/ 5580540 w 8266922"/>
              <a:gd name="connsiteY163" fmla="*/ 5594097 h 7305087"/>
              <a:gd name="connsiteX164" fmla="*/ 5563762 w 8266922"/>
              <a:gd name="connsiteY164" fmla="*/ 5555794 h 7305087"/>
              <a:gd name="connsiteX165" fmla="*/ 5549483 w 8266922"/>
              <a:gd name="connsiteY165" fmla="*/ 5514676 h 7305087"/>
              <a:gd name="connsiteX166" fmla="*/ 5537563 w 8266922"/>
              <a:gd name="connsiteY166" fmla="*/ 5470827 h 7305087"/>
              <a:gd name="connsiteX167" fmla="*/ 5527862 w 8266922"/>
              <a:gd name="connsiteY167" fmla="*/ 5424328 h 7305087"/>
              <a:gd name="connsiteX168" fmla="*/ 5520239 w 8266922"/>
              <a:gd name="connsiteY168" fmla="*/ 5375263 h 7305087"/>
              <a:gd name="connsiteX169" fmla="*/ 5514554 w 8266922"/>
              <a:gd name="connsiteY169" fmla="*/ 5323713 h 7305087"/>
              <a:gd name="connsiteX170" fmla="*/ 5510667 w 8266922"/>
              <a:gd name="connsiteY170" fmla="*/ 5269763 h 7305087"/>
              <a:gd name="connsiteX171" fmla="*/ 5508437 w 8266922"/>
              <a:gd name="connsiteY171" fmla="*/ 5213493 h 7305087"/>
              <a:gd name="connsiteX172" fmla="*/ 5507726 w 8266922"/>
              <a:gd name="connsiteY172" fmla="*/ 5154988 h 7305087"/>
              <a:gd name="connsiteX173" fmla="*/ 5508461 w 8266922"/>
              <a:gd name="connsiteY173" fmla="*/ 5096732 h 7305087"/>
              <a:gd name="connsiteX174" fmla="*/ 5510757 w 8266922"/>
              <a:gd name="connsiteY174" fmla="*/ 5040712 h 7305087"/>
              <a:gd name="connsiteX175" fmla="*/ 5514746 w 8266922"/>
              <a:gd name="connsiteY175" fmla="*/ 4987008 h 7305087"/>
              <a:gd name="connsiteX176" fmla="*/ 5520559 w 8266922"/>
              <a:gd name="connsiteY176" fmla="*/ 4935701 h 7305087"/>
              <a:gd name="connsiteX177" fmla="*/ 5528332 w 8266922"/>
              <a:gd name="connsiteY177" fmla="*/ 4886873 h 7305087"/>
              <a:gd name="connsiteX178" fmla="*/ 5538195 w 8266922"/>
              <a:gd name="connsiteY178" fmla="*/ 4840605 h 7305087"/>
              <a:gd name="connsiteX179" fmla="*/ 5550281 w 8266922"/>
              <a:gd name="connsiteY179" fmla="*/ 4796980 h 7305087"/>
              <a:gd name="connsiteX180" fmla="*/ 5564724 w 8266922"/>
              <a:gd name="connsiteY180" fmla="*/ 4756077 h 7305087"/>
              <a:gd name="connsiteX181" fmla="*/ 5581656 w 8266922"/>
              <a:gd name="connsiteY181" fmla="*/ 4717980 h 7305087"/>
              <a:gd name="connsiteX182" fmla="*/ 5601209 w 8266922"/>
              <a:gd name="connsiteY182" fmla="*/ 4682768 h 7305087"/>
              <a:gd name="connsiteX183" fmla="*/ 5623517 w 8266922"/>
              <a:gd name="connsiteY183" fmla="*/ 4650523 h 7305087"/>
              <a:gd name="connsiteX184" fmla="*/ 5648713 w 8266922"/>
              <a:gd name="connsiteY184" fmla="*/ 4621327 h 7305087"/>
              <a:gd name="connsiteX185" fmla="*/ 5676928 w 8266922"/>
              <a:gd name="connsiteY185" fmla="*/ 4595261 h 7305087"/>
              <a:gd name="connsiteX186" fmla="*/ 5708295 w 8266922"/>
              <a:gd name="connsiteY186" fmla="*/ 4572406 h 7305087"/>
              <a:gd name="connsiteX187" fmla="*/ 5742948 w 8266922"/>
              <a:gd name="connsiteY187" fmla="*/ 4552845 h 7305087"/>
              <a:gd name="connsiteX188" fmla="*/ 5781019 w 8266922"/>
              <a:gd name="connsiteY188" fmla="*/ 4536657 h 7305087"/>
              <a:gd name="connsiteX189" fmla="*/ 5822641 w 8266922"/>
              <a:gd name="connsiteY189" fmla="*/ 4523925 h 7305087"/>
              <a:gd name="connsiteX190" fmla="*/ 5867946 w 8266922"/>
              <a:gd name="connsiteY190" fmla="*/ 4514730 h 7305087"/>
              <a:gd name="connsiteX191" fmla="*/ 5917067 w 8266922"/>
              <a:gd name="connsiteY191" fmla="*/ 4509153 h 7305087"/>
              <a:gd name="connsiteX192" fmla="*/ 2916306 w 8266922"/>
              <a:gd name="connsiteY192" fmla="*/ 4507277 h 7305087"/>
              <a:gd name="connsiteX193" fmla="*/ 2969376 w 8266922"/>
              <a:gd name="connsiteY193" fmla="*/ 4509153 h 7305087"/>
              <a:gd name="connsiteX194" fmla="*/ 3018497 w 8266922"/>
              <a:gd name="connsiteY194" fmla="*/ 4514730 h 7305087"/>
              <a:gd name="connsiteX195" fmla="*/ 3063803 w 8266922"/>
              <a:gd name="connsiteY195" fmla="*/ 4523925 h 7305087"/>
              <a:gd name="connsiteX196" fmla="*/ 3105426 w 8266922"/>
              <a:gd name="connsiteY196" fmla="*/ 4536657 h 7305087"/>
              <a:gd name="connsiteX197" fmla="*/ 3143497 w 8266922"/>
              <a:gd name="connsiteY197" fmla="*/ 4552845 h 7305087"/>
              <a:gd name="connsiteX198" fmla="*/ 3178150 w 8266922"/>
              <a:gd name="connsiteY198" fmla="*/ 4572406 h 7305087"/>
              <a:gd name="connsiteX199" fmla="*/ 3209516 w 8266922"/>
              <a:gd name="connsiteY199" fmla="*/ 4595261 h 7305087"/>
              <a:gd name="connsiteX200" fmla="*/ 3237732 w 8266922"/>
              <a:gd name="connsiteY200" fmla="*/ 4621327 h 7305087"/>
              <a:gd name="connsiteX201" fmla="*/ 3262928 w 8266922"/>
              <a:gd name="connsiteY201" fmla="*/ 4650523 h 7305087"/>
              <a:gd name="connsiteX202" fmla="*/ 3285236 w 8266922"/>
              <a:gd name="connsiteY202" fmla="*/ 4682768 h 7305087"/>
              <a:gd name="connsiteX203" fmla="*/ 3304789 w 8266922"/>
              <a:gd name="connsiteY203" fmla="*/ 4717980 h 7305087"/>
              <a:gd name="connsiteX204" fmla="*/ 3321718 w 8266922"/>
              <a:gd name="connsiteY204" fmla="*/ 4756077 h 7305087"/>
              <a:gd name="connsiteX205" fmla="*/ 3336161 w 8266922"/>
              <a:gd name="connsiteY205" fmla="*/ 4796980 h 7305087"/>
              <a:gd name="connsiteX206" fmla="*/ 3348248 w 8266922"/>
              <a:gd name="connsiteY206" fmla="*/ 4840605 h 7305087"/>
              <a:gd name="connsiteX207" fmla="*/ 3358111 w 8266922"/>
              <a:gd name="connsiteY207" fmla="*/ 4886873 h 7305087"/>
              <a:gd name="connsiteX208" fmla="*/ 3365883 w 8266922"/>
              <a:gd name="connsiteY208" fmla="*/ 4935701 h 7305087"/>
              <a:gd name="connsiteX209" fmla="*/ 3371697 w 8266922"/>
              <a:gd name="connsiteY209" fmla="*/ 4987008 h 7305087"/>
              <a:gd name="connsiteX210" fmla="*/ 3375685 w 8266922"/>
              <a:gd name="connsiteY210" fmla="*/ 5040712 h 7305087"/>
              <a:gd name="connsiteX211" fmla="*/ 3377981 w 8266922"/>
              <a:gd name="connsiteY211" fmla="*/ 5096732 h 7305087"/>
              <a:gd name="connsiteX212" fmla="*/ 3378717 w 8266922"/>
              <a:gd name="connsiteY212" fmla="*/ 5154988 h 7305087"/>
              <a:gd name="connsiteX213" fmla="*/ 3378017 w 8266922"/>
              <a:gd name="connsiteY213" fmla="*/ 5213493 h 7305087"/>
              <a:gd name="connsiteX214" fmla="*/ 3375820 w 8266922"/>
              <a:gd name="connsiteY214" fmla="*/ 5269763 h 7305087"/>
              <a:gd name="connsiteX215" fmla="*/ 3371984 w 8266922"/>
              <a:gd name="connsiteY215" fmla="*/ 5323713 h 7305087"/>
              <a:gd name="connsiteX216" fmla="*/ 3366363 w 8266922"/>
              <a:gd name="connsiteY216" fmla="*/ 5375263 h 7305087"/>
              <a:gd name="connsiteX217" fmla="*/ 3358815 w 8266922"/>
              <a:gd name="connsiteY217" fmla="*/ 5424328 h 7305087"/>
              <a:gd name="connsiteX218" fmla="*/ 3349194 w 8266922"/>
              <a:gd name="connsiteY218" fmla="*/ 5470827 h 7305087"/>
              <a:gd name="connsiteX219" fmla="*/ 3337357 w 8266922"/>
              <a:gd name="connsiteY219" fmla="*/ 5514676 h 7305087"/>
              <a:gd name="connsiteX220" fmla="*/ 3323160 w 8266922"/>
              <a:gd name="connsiteY220" fmla="*/ 5555794 h 7305087"/>
              <a:gd name="connsiteX221" fmla="*/ 3306462 w 8266922"/>
              <a:gd name="connsiteY221" fmla="*/ 5594097 h 7305087"/>
              <a:gd name="connsiteX222" fmla="*/ 3287114 w 8266922"/>
              <a:gd name="connsiteY222" fmla="*/ 5629503 h 7305087"/>
              <a:gd name="connsiteX223" fmla="*/ 3264973 w 8266922"/>
              <a:gd name="connsiteY223" fmla="*/ 5661929 h 7305087"/>
              <a:gd name="connsiteX224" fmla="*/ 3239895 w 8266922"/>
              <a:gd name="connsiteY224" fmla="*/ 5691293 h 7305087"/>
              <a:gd name="connsiteX225" fmla="*/ 3211738 w 8266922"/>
              <a:gd name="connsiteY225" fmla="*/ 5717511 h 7305087"/>
              <a:gd name="connsiteX226" fmla="*/ 3180357 w 8266922"/>
              <a:gd name="connsiteY226" fmla="*/ 5740502 h 7305087"/>
              <a:gd name="connsiteX227" fmla="*/ 3145609 w 8266922"/>
              <a:gd name="connsiteY227" fmla="*/ 5760183 h 7305087"/>
              <a:gd name="connsiteX228" fmla="*/ 3107348 w 8266922"/>
              <a:gd name="connsiteY228" fmla="*/ 5776470 h 7305087"/>
              <a:gd name="connsiteX229" fmla="*/ 3065431 w 8266922"/>
              <a:gd name="connsiteY229" fmla="*/ 5789282 h 7305087"/>
              <a:gd name="connsiteX230" fmla="*/ 3019716 w 8266922"/>
              <a:gd name="connsiteY230" fmla="*/ 5798536 h 7305087"/>
              <a:gd name="connsiteX231" fmla="*/ 2970054 w 8266922"/>
              <a:gd name="connsiteY231" fmla="*/ 5804149 h 7305087"/>
              <a:gd name="connsiteX232" fmla="*/ 2916306 w 8266922"/>
              <a:gd name="connsiteY232" fmla="*/ 5806038 h 7305087"/>
              <a:gd name="connsiteX233" fmla="*/ 2916306 w 8266922"/>
              <a:gd name="connsiteY233" fmla="*/ 5709215 h 7305087"/>
              <a:gd name="connsiteX234" fmla="*/ 2965992 w 8266922"/>
              <a:gd name="connsiteY234" fmla="*/ 5706982 h 7305087"/>
              <a:gd name="connsiteX235" fmla="*/ 3010913 w 8266922"/>
              <a:gd name="connsiteY235" fmla="*/ 5700361 h 7305087"/>
              <a:gd name="connsiteX236" fmla="*/ 3051294 w 8266922"/>
              <a:gd name="connsiteY236" fmla="*/ 5689472 h 7305087"/>
              <a:gd name="connsiteX237" fmla="*/ 3087367 w 8266922"/>
              <a:gd name="connsiteY237" fmla="*/ 5674432 h 7305087"/>
              <a:gd name="connsiteX238" fmla="*/ 3147477 w 8266922"/>
              <a:gd name="connsiteY238" fmla="*/ 5632372 h 7305087"/>
              <a:gd name="connsiteX239" fmla="*/ 3193057 w 8266922"/>
              <a:gd name="connsiteY239" fmla="*/ 5575128 h 7305087"/>
              <a:gd name="connsiteX240" fmla="*/ 3210963 w 8266922"/>
              <a:gd name="connsiteY240" fmla="*/ 5541107 h 7305087"/>
              <a:gd name="connsiteX241" fmla="*/ 3225916 w 8266922"/>
              <a:gd name="connsiteY241" fmla="*/ 5503645 h 7305087"/>
              <a:gd name="connsiteX242" fmla="*/ 3238139 w 8266922"/>
              <a:gd name="connsiteY242" fmla="*/ 5462861 h 7305087"/>
              <a:gd name="connsiteX243" fmla="*/ 3247862 w 8266922"/>
              <a:gd name="connsiteY243" fmla="*/ 5418871 h 7305087"/>
              <a:gd name="connsiteX244" fmla="*/ 3255309 w 8266922"/>
              <a:gd name="connsiteY244" fmla="*/ 5371794 h 7305087"/>
              <a:gd name="connsiteX245" fmla="*/ 3260708 w 8266922"/>
              <a:gd name="connsiteY245" fmla="*/ 5321750 h 7305087"/>
              <a:gd name="connsiteX246" fmla="*/ 3264284 w 8266922"/>
              <a:gd name="connsiteY246" fmla="*/ 5268855 h 7305087"/>
              <a:gd name="connsiteX247" fmla="*/ 3266263 w 8266922"/>
              <a:gd name="connsiteY247" fmla="*/ 5213228 h 7305087"/>
              <a:gd name="connsiteX248" fmla="*/ 3266872 w 8266922"/>
              <a:gd name="connsiteY248" fmla="*/ 5154988 h 7305087"/>
              <a:gd name="connsiteX249" fmla="*/ 3266231 w 8266922"/>
              <a:gd name="connsiteY249" fmla="*/ 5097319 h 7305087"/>
              <a:gd name="connsiteX250" fmla="*/ 3264161 w 8266922"/>
              <a:gd name="connsiteY250" fmla="*/ 5042230 h 7305087"/>
              <a:gd name="connsiteX251" fmla="*/ 3260451 w 8266922"/>
              <a:gd name="connsiteY251" fmla="*/ 4989837 h 7305087"/>
              <a:gd name="connsiteX252" fmla="*/ 3254885 w 8266922"/>
              <a:gd name="connsiteY252" fmla="*/ 4940261 h 7305087"/>
              <a:gd name="connsiteX253" fmla="*/ 3247250 w 8266922"/>
              <a:gd name="connsiteY253" fmla="*/ 4893617 h 7305087"/>
              <a:gd name="connsiteX254" fmla="*/ 3237332 w 8266922"/>
              <a:gd name="connsiteY254" fmla="*/ 4850025 h 7305087"/>
              <a:gd name="connsiteX255" fmla="*/ 3224916 w 8266922"/>
              <a:gd name="connsiteY255" fmla="*/ 4809604 h 7305087"/>
              <a:gd name="connsiteX256" fmla="*/ 3209789 w 8266922"/>
              <a:gd name="connsiteY256" fmla="*/ 4772472 h 7305087"/>
              <a:gd name="connsiteX257" fmla="*/ 3191735 w 8266922"/>
              <a:gd name="connsiteY257" fmla="*/ 4738746 h 7305087"/>
              <a:gd name="connsiteX258" fmla="*/ 3145998 w 8266922"/>
              <a:gd name="connsiteY258" fmla="*/ 4681987 h 7305087"/>
              <a:gd name="connsiteX259" fmla="*/ 3085988 w 8266922"/>
              <a:gd name="connsiteY259" fmla="*/ 4640273 h 7305087"/>
              <a:gd name="connsiteX260" fmla="*/ 3050095 w 8266922"/>
              <a:gd name="connsiteY260" fmla="*/ 4625355 h 7305087"/>
              <a:gd name="connsiteX261" fmla="*/ 3009995 w 8266922"/>
              <a:gd name="connsiteY261" fmla="*/ 4614552 h 7305087"/>
              <a:gd name="connsiteX262" fmla="*/ 2965470 w 8266922"/>
              <a:gd name="connsiteY262" fmla="*/ 4607983 h 7305087"/>
              <a:gd name="connsiteX263" fmla="*/ 2916306 w 8266922"/>
              <a:gd name="connsiteY263" fmla="*/ 4605768 h 7305087"/>
              <a:gd name="connsiteX264" fmla="*/ 2824439 w 8266922"/>
              <a:gd name="connsiteY264" fmla="*/ 4507277 h 7305087"/>
              <a:gd name="connsiteX265" fmla="*/ 2824439 w 8266922"/>
              <a:gd name="connsiteY265" fmla="*/ 4605768 h 7305087"/>
              <a:gd name="connsiteX266" fmla="*/ 2775553 w 8266922"/>
              <a:gd name="connsiteY266" fmla="*/ 4607983 h 7305087"/>
              <a:gd name="connsiteX267" fmla="*/ 2731271 w 8266922"/>
              <a:gd name="connsiteY267" fmla="*/ 4614552 h 7305087"/>
              <a:gd name="connsiteX268" fmla="*/ 2691385 w 8266922"/>
              <a:gd name="connsiteY268" fmla="*/ 4625355 h 7305087"/>
              <a:gd name="connsiteX269" fmla="*/ 2655680 w 8266922"/>
              <a:gd name="connsiteY269" fmla="*/ 4640273 h 7305087"/>
              <a:gd name="connsiteX270" fmla="*/ 2595965 w 8266922"/>
              <a:gd name="connsiteY270" fmla="*/ 4681987 h 7305087"/>
              <a:gd name="connsiteX271" fmla="*/ 2550430 w 8266922"/>
              <a:gd name="connsiteY271" fmla="*/ 4738746 h 7305087"/>
              <a:gd name="connsiteX272" fmla="*/ 2532451 w 8266922"/>
              <a:gd name="connsiteY272" fmla="*/ 4772472 h 7305087"/>
              <a:gd name="connsiteX273" fmla="*/ 2517381 w 8266922"/>
              <a:gd name="connsiteY273" fmla="*/ 4809604 h 7305087"/>
              <a:gd name="connsiteX274" fmla="*/ 2505009 w 8266922"/>
              <a:gd name="connsiteY274" fmla="*/ 4850025 h 7305087"/>
              <a:gd name="connsiteX275" fmla="*/ 2495121 w 8266922"/>
              <a:gd name="connsiteY275" fmla="*/ 4893617 h 7305087"/>
              <a:gd name="connsiteX276" fmla="*/ 2487508 w 8266922"/>
              <a:gd name="connsiteY276" fmla="*/ 4940261 h 7305087"/>
              <a:gd name="connsiteX277" fmla="*/ 2481955 w 8266922"/>
              <a:gd name="connsiteY277" fmla="*/ 4989837 h 7305087"/>
              <a:gd name="connsiteX278" fmla="*/ 2478251 w 8266922"/>
              <a:gd name="connsiteY278" fmla="*/ 5042230 h 7305087"/>
              <a:gd name="connsiteX279" fmla="*/ 2476183 w 8266922"/>
              <a:gd name="connsiteY279" fmla="*/ 5097319 h 7305087"/>
              <a:gd name="connsiteX280" fmla="*/ 2475541 w 8266922"/>
              <a:gd name="connsiteY280" fmla="*/ 5154988 h 7305087"/>
              <a:gd name="connsiteX281" fmla="*/ 2476168 w 8266922"/>
              <a:gd name="connsiteY281" fmla="*/ 5213228 h 7305087"/>
              <a:gd name="connsiteX282" fmla="*/ 2478189 w 8266922"/>
              <a:gd name="connsiteY282" fmla="*/ 5268855 h 7305087"/>
              <a:gd name="connsiteX283" fmla="*/ 2481827 w 8266922"/>
              <a:gd name="connsiteY283" fmla="*/ 5321750 h 7305087"/>
              <a:gd name="connsiteX284" fmla="*/ 2487296 w 8266922"/>
              <a:gd name="connsiteY284" fmla="*/ 5371794 h 7305087"/>
              <a:gd name="connsiteX285" fmla="*/ 2494816 w 8266922"/>
              <a:gd name="connsiteY285" fmla="*/ 5418871 h 7305087"/>
              <a:gd name="connsiteX286" fmla="*/ 2504605 w 8266922"/>
              <a:gd name="connsiteY286" fmla="*/ 5462861 h 7305087"/>
              <a:gd name="connsiteX287" fmla="*/ 2516882 w 8266922"/>
              <a:gd name="connsiteY287" fmla="*/ 5503645 h 7305087"/>
              <a:gd name="connsiteX288" fmla="*/ 2531865 w 8266922"/>
              <a:gd name="connsiteY288" fmla="*/ 5541107 h 7305087"/>
              <a:gd name="connsiteX289" fmla="*/ 2549770 w 8266922"/>
              <a:gd name="connsiteY289" fmla="*/ 5575128 h 7305087"/>
              <a:gd name="connsiteX290" fmla="*/ 2595224 w 8266922"/>
              <a:gd name="connsiteY290" fmla="*/ 5632372 h 7305087"/>
              <a:gd name="connsiteX291" fmla="*/ 2654990 w 8266922"/>
              <a:gd name="connsiteY291" fmla="*/ 5674432 h 7305087"/>
              <a:gd name="connsiteX292" fmla="*/ 2690785 w 8266922"/>
              <a:gd name="connsiteY292" fmla="*/ 5689472 h 7305087"/>
              <a:gd name="connsiteX293" fmla="*/ 2730814 w 8266922"/>
              <a:gd name="connsiteY293" fmla="*/ 5700361 h 7305087"/>
              <a:gd name="connsiteX294" fmla="*/ 2775291 w 8266922"/>
              <a:gd name="connsiteY294" fmla="*/ 5706982 h 7305087"/>
              <a:gd name="connsiteX295" fmla="*/ 2824439 w 8266922"/>
              <a:gd name="connsiteY295" fmla="*/ 5709215 h 7305087"/>
              <a:gd name="connsiteX296" fmla="*/ 2824439 w 8266922"/>
              <a:gd name="connsiteY296" fmla="*/ 5806038 h 7305087"/>
              <a:gd name="connsiteX297" fmla="*/ 2770915 w 8266922"/>
              <a:gd name="connsiteY297" fmla="*/ 5804149 h 7305087"/>
              <a:gd name="connsiteX298" fmla="*/ 2721436 w 8266922"/>
              <a:gd name="connsiteY298" fmla="*/ 5798536 h 7305087"/>
              <a:gd name="connsiteX299" fmla="*/ 2675855 w 8266922"/>
              <a:gd name="connsiteY299" fmla="*/ 5789282 h 7305087"/>
              <a:gd name="connsiteX300" fmla="*/ 2634037 w 8266922"/>
              <a:gd name="connsiteY300" fmla="*/ 5776470 h 7305087"/>
              <a:gd name="connsiteX301" fmla="*/ 2595840 w 8266922"/>
              <a:gd name="connsiteY301" fmla="*/ 5760183 h 7305087"/>
              <a:gd name="connsiteX302" fmla="*/ 2561122 w 8266922"/>
              <a:gd name="connsiteY302" fmla="*/ 5740502 h 7305087"/>
              <a:gd name="connsiteX303" fmla="*/ 2529747 w 8266922"/>
              <a:gd name="connsiteY303" fmla="*/ 5717511 h 7305087"/>
              <a:gd name="connsiteX304" fmla="*/ 2501571 w 8266922"/>
              <a:gd name="connsiteY304" fmla="*/ 5691293 h 7305087"/>
              <a:gd name="connsiteX305" fmla="*/ 2476454 w 8266922"/>
              <a:gd name="connsiteY305" fmla="*/ 5661929 h 7305087"/>
              <a:gd name="connsiteX306" fmla="*/ 2454257 w 8266922"/>
              <a:gd name="connsiteY306" fmla="*/ 5629503 h 7305087"/>
              <a:gd name="connsiteX307" fmla="*/ 2434840 w 8266922"/>
              <a:gd name="connsiteY307" fmla="*/ 5594097 h 7305087"/>
              <a:gd name="connsiteX308" fmla="*/ 2418062 w 8266922"/>
              <a:gd name="connsiteY308" fmla="*/ 5555794 h 7305087"/>
              <a:gd name="connsiteX309" fmla="*/ 2403783 w 8266922"/>
              <a:gd name="connsiteY309" fmla="*/ 5514676 h 7305087"/>
              <a:gd name="connsiteX310" fmla="*/ 2391863 w 8266922"/>
              <a:gd name="connsiteY310" fmla="*/ 5470827 h 7305087"/>
              <a:gd name="connsiteX311" fmla="*/ 2382162 w 8266922"/>
              <a:gd name="connsiteY311" fmla="*/ 5424328 h 7305087"/>
              <a:gd name="connsiteX312" fmla="*/ 2374539 w 8266922"/>
              <a:gd name="connsiteY312" fmla="*/ 5375263 h 7305087"/>
              <a:gd name="connsiteX313" fmla="*/ 2368854 w 8266922"/>
              <a:gd name="connsiteY313" fmla="*/ 5323713 h 7305087"/>
              <a:gd name="connsiteX314" fmla="*/ 2364967 w 8266922"/>
              <a:gd name="connsiteY314" fmla="*/ 5269763 h 7305087"/>
              <a:gd name="connsiteX315" fmla="*/ 2362736 w 8266922"/>
              <a:gd name="connsiteY315" fmla="*/ 5213493 h 7305087"/>
              <a:gd name="connsiteX316" fmla="*/ 2362026 w 8266922"/>
              <a:gd name="connsiteY316" fmla="*/ 5154988 h 7305087"/>
              <a:gd name="connsiteX317" fmla="*/ 2362760 w 8266922"/>
              <a:gd name="connsiteY317" fmla="*/ 5096732 h 7305087"/>
              <a:gd name="connsiteX318" fmla="*/ 2365057 w 8266922"/>
              <a:gd name="connsiteY318" fmla="*/ 5040712 h 7305087"/>
              <a:gd name="connsiteX319" fmla="*/ 2369046 w 8266922"/>
              <a:gd name="connsiteY319" fmla="*/ 4987008 h 7305087"/>
              <a:gd name="connsiteX320" fmla="*/ 2374859 w 8266922"/>
              <a:gd name="connsiteY320" fmla="*/ 4935701 h 7305087"/>
              <a:gd name="connsiteX321" fmla="*/ 2382632 w 8266922"/>
              <a:gd name="connsiteY321" fmla="*/ 4886873 h 7305087"/>
              <a:gd name="connsiteX322" fmla="*/ 2392495 w 8266922"/>
              <a:gd name="connsiteY322" fmla="*/ 4840605 h 7305087"/>
              <a:gd name="connsiteX323" fmla="*/ 2404581 w 8266922"/>
              <a:gd name="connsiteY323" fmla="*/ 4796980 h 7305087"/>
              <a:gd name="connsiteX324" fmla="*/ 2419024 w 8266922"/>
              <a:gd name="connsiteY324" fmla="*/ 4756077 h 7305087"/>
              <a:gd name="connsiteX325" fmla="*/ 2435956 w 8266922"/>
              <a:gd name="connsiteY325" fmla="*/ 4717980 h 7305087"/>
              <a:gd name="connsiteX326" fmla="*/ 2455509 w 8266922"/>
              <a:gd name="connsiteY326" fmla="*/ 4682768 h 7305087"/>
              <a:gd name="connsiteX327" fmla="*/ 2477817 w 8266922"/>
              <a:gd name="connsiteY327" fmla="*/ 4650523 h 7305087"/>
              <a:gd name="connsiteX328" fmla="*/ 2503013 w 8266922"/>
              <a:gd name="connsiteY328" fmla="*/ 4621327 h 7305087"/>
              <a:gd name="connsiteX329" fmla="*/ 2531228 w 8266922"/>
              <a:gd name="connsiteY329" fmla="*/ 4595261 h 7305087"/>
              <a:gd name="connsiteX330" fmla="*/ 2562596 w 8266922"/>
              <a:gd name="connsiteY330" fmla="*/ 4572406 h 7305087"/>
              <a:gd name="connsiteX331" fmla="*/ 2597248 w 8266922"/>
              <a:gd name="connsiteY331" fmla="*/ 4552845 h 7305087"/>
              <a:gd name="connsiteX332" fmla="*/ 2635318 w 8266922"/>
              <a:gd name="connsiteY332" fmla="*/ 4536657 h 7305087"/>
              <a:gd name="connsiteX333" fmla="*/ 2676942 w 8266922"/>
              <a:gd name="connsiteY333" fmla="*/ 4523925 h 7305087"/>
              <a:gd name="connsiteX334" fmla="*/ 2722247 w 8266922"/>
              <a:gd name="connsiteY334" fmla="*/ 4514730 h 7305087"/>
              <a:gd name="connsiteX335" fmla="*/ 2771367 w 8266922"/>
              <a:gd name="connsiteY335" fmla="*/ 4509153 h 7305087"/>
              <a:gd name="connsiteX336" fmla="*/ 2506783 w 8266922"/>
              <a:gd name="connsiteY336" fmla="*/ 4026496 h 7305087"/>
              <a:gd name="connsiteX337" fmla="*/ 2549012 w 8266922"/>
              <a:gd name="connsiteY337" fmla="*/ 4030174 h 7305087"/>
              <a:gd name="connsiteX338" fmla="*/ 2581695 w 8266922"/>
              <a:gd name="connsiteY338" fmla="*/ 4043398 h 7305087"/>
              <a:gd name="connsiteX339" fmla="*/ 2602796 w 8266922"/>
              <a:gd name="connsiteY339" fmla="*/ 4069456 h 7305087"/>
              <a:gd name="connsiteX340" fmla="*/ 2610283 w 8266922"/>
              <a:gd name="connsiteY340" fmla="*/ 4111633 h 7305087"/>
              <a:gd name="connsiteX341" fmla="*/ 2602796 w 8266922"/>
              <a:gd name="connsiteY341" fmla="*/ 4155741 h 7305087"/>
              <a:gd name="connsiteX342" fmla="*/ 2581695 w 8266922"/>
              <a:gd name="connsiteY342" fmla="*/ 4182790 h 7305087"/>
              <a:gd name="connsiteX343" fmla="*/ 2549012 w 8266922"/>
              <a:gd name="connsiteY343" fmla="*/ 4196380 h 7305087"/>
              <a:gd name="connsiteX344" fmla="*/ 2506783 w 8266922"/>
              <a:gd name="connsiteY344" fmla="*/ 4200110 h 7305087"/>
              <a:gd name="connsiteX345" fmla="*/ 2464554 w 8266922"/>
              <a:gd name="connsiteY345" fmla="*/ 4196380 h 7305087"/>
              <a:gd name="connsiteX346" fmla="*/ 2431870 w 8266922"/>
              <a:gd name="connsiteY346" fmla="*/ 4182790 h 7305087"/>
              <a:gd name="connsiteX347" fmla="*/ 2410769 w 8266922"/>
              <a:gd name="connsiteY347" fmla="*/ 4155741 h 7305087"/>
              <a:gd name="connsiteX348" fmla="*/ 2403283 w 8266922"/>
              <a:gd name="connsiteY348" fmla="*/ 4111633 h 7305087"/>
              <a:gd name="connsiteX349" fmla="*/ 2411003 w 8266922"/>
              <a:gd name="connsiteY349" fmla="*/ 4069456 h 7305087"/>
              <a:gd name="connsiteX350" fmla="*/ 2432496 w 8266922"/>
              <a:gd name="connsiteY350" fmla="*/ 4043398 h 7305087"/>
              <a:gd name="connsiteX351" fmla="*/ 2465257 w 8266922"/>
              <a:gd name="connsiteY351" fmla="*/ 4030174 h 7305087"/>
              <a:gd name="connsiteX352" fmla="*/ 2506783 w 8266922"/>
              <a:gd name="connsiteY352" fmla="*/ 3325365 h 7305087"/>
              <a:gd name="connsiteX353" fmla="*/ 2549012 w 8266922"/>
              <a:gd name="connsiteY353" fmla="*/ 3328834 h 7305087"/>
              <a:gd name="connsiteX354" fmla="*/ 2581695 w 8266922"/>
              <a:gd name="connsiteY354" fmla="*/ 3341849 h 7305087"/>
              <a:gd name="connsiteX355" fmla="*/ 2602796 w 8266922"/>
              <a:gd name="connsiteY355" fmla="*/ 3368324 h 7305087"/>
              <a:gd name="connsiteX356" fmla="*/ 2610283 w 8266922"/>
              <a:gd name="connsiteY356" fmla="*/ 3412171 h 7305087"/>
              <a:gd name="connsiteX357" fmla="*/ 2602796 w 8266922"/>
              <a:gd name="connsiteY357" fmla="*/ 3454609 h 7305087"/>
              <a:gd name="connsiteX358" fmla="*/ 2581695 w 8266922"/>
              <a:gd name="connsiteY358" fmla="*/ 3481240 h 7305087"/>
              <a:gd name="connsiteX359" fmla="*/ 2549012 w 8266922"/>
              <a:gd name="connsiteY359" fmla="*/ 3495038 h 7305087"/>
              <a:gd name="connsiteX360" fmla="*/ 2506783 w 8266922"/>
              <a:gd name="connsiteY360" fmla="*/ 3498977 h 7305087"/>
              <a:gd name="connsiteX361" fmla="*/ 2465519 w 8266922"/>
              <a:gd name="connsiteY361" fmla="*/ 3495038 h 7305087"/>
              <a:gd name="connsiteX362" fmla="*/ 2433331 w 8266922"/>
              <a:gd name="connsiteY362" fmla="*/ 3481240 h 7305087"/>
              <a:gd name="connsiteX363" fmla="*/ 2412411 w 8266922"/>
              <a:gd name="connsiteY363" fmla="*/ 3454609 h 7305087"/>
              <a:gd name="connsiteX364" fmla="*/ 2404952 w 8266922"/>
              <a:gd name="connsiteY364" fmla="*/ 3412171 h 7305087"/>
              <a:gd name="connsiteX365" fmla="*/ 2412411 w 8266922"/>
              <a:gd name="connsiteY365" fmla="*/ 3368324 h 7305087"/>
              <a:gd name="connsiteX366" fmla="*/ 2433331 w 8266922"/>
              <a:gd name="connsiteY366" fmla="*/ 3341849 h 7305087"/>
              <a:gd name="connsiteX367" fmla="*/ 2465519 w 8266922"/>
              <a:gd name="connsiteY367" fmla="*/ 3328834 h 7305087"/>
              <a:gd name="connsiteX368" fmla="*/ 3576931 w 8266922"/>
              <a:gd name="connsiteY368" fmla="*/ 3011218 h 7305087"/>
              <a:gd name="connsiteX369" fmla="*/ 3950858 w 8266922"/>
              <a:gd name="connsiteY369" fmla="*/ 3011218 h 7305087"/>
              <a:gd name="connsiteX370" fmla="*/ 3950858 w 8266922"/>
              <a:gd name="connsiteY370" fmla="*/ 3106468 h 7305087"/>
              <a:gd name="connsiteX371" fmla="*/ 3950858 w 8266922"/>
              <a:gd name="connsiteY371" fmla="*/ 4205018 h 7305087"/>
              <a:gd name="connsiteX372" fmla="*/ 3950858 w 8266922"/>
              <a:gd name="connsiteY372" fmla="*/ 4300268 h 7305087"/>
              <a:gd name="connsiteX373" fmla="*/ 3576931 w 8266922"/>
              <a:gd name="connsiteY373" fmla="*/ 4300268 h 7305087"/>
              <a:gd name="connsiteX374" fmla="*/ 3576931 w 8266922"/>
              <a:gd name="connsiteY374" fmla="*/ 4205018 h 7305087"/>
              <a:gd name="connsiteX375" fmla="*/ 3835681 w 8266922"/>
              <a:gd name="connsiteY375" fmla="*/ 4205018 h 7305087"/>
              <a:gd name="connsiteX376" fmla="*/ 3835681 w 8266922"/>
              <a:gd name="connsiteY376" fmla="*/ 3106468 h 7305087"/>
              <a:gd name="connsiteX377" fmla="*/ 3576931 w 8266922"/>
              <a:gd name="connsiteY377" fmla="*/ 3106468 h 7305087"/>
              <a:gd name="connsiteX378" fmla="*/ 1487809 w 8266922"/>
              <a:gd name="connsiteY378" fmla="*/ 3011218 h 7305087"/>
              <a:gd name="connsiteX379" fmla="*/ 1861748 w 8266922"/>
              <a:gd name="connsiteY379" fmla="*/ 3011218 h 7305087"/>
              <a:gd name="connsiteX380" fmla="*/ 1861748 w 8266922"/>
              <a:gd name="connsiteY380" fmla="*/ 3106468 h 7305087"/>
              <a:gd name="connsiteX381" fmla="*/ 1602998 w 8266922"/>
              <a:gd name="connsiteY381" fmla="*/ 3106468 h 7305087"/>
              <a:gd name="connsiteX382" fmla="*/ 1602998 w 8266922"/>
              <a:gd name="connsiteY382" fmla="*/ 4205018 h 7305087"/>
              <a:gd name="connsiteX383" fmla="*/ 1861748 w 8266922"/>
              <a:gd name="connsiteY383" fmla="*/ 4205018 h 7305087"/>
              <a:gd name="connsiteX384" fmla="*/ 1861748 w 8266922"/>
              <a:gd name="connsiteY384" fmla="*/ 4300268 h 7305087"/>
              <a:gd name="connsiteX385" fmla="*/ 1487809 w 8266922"/>
              <a:gd name="connsiteY385" fmla="*/ 4300268 h 7305087"/>
              <a:gd name="connsiteX386" fmla="*/ 1487809 w 8266922"/>
              <a:gd name="connsiteY386" fmla="*/ 4205018 h 7305087"/>
              <a:gd name="connsiteX387" fmla="*/ 1487809 w 8266922"/>
              <a:gd name="connsiteY387" fmla="*/ 3106468 h 7305087"/>
              <a:gd name="connsiteX388" fmla="*/ 7212302 w 8266922"/>
              <a:gd name="connsiteY388" fmla="*/ 3004847 h 7305087"/>
              <a:gd name="connsiteX389" fmla="*/ 7265372 w 8266922"/>
              <a:gd name="connsiteY389" fmla="*/ 3006723 h 7305087"/>
              <a:gd name="connsiteX390" fmla="*/ 7314493 w 8266922"/>
              <a:gd name="connsiteY390" fmla="*/ 3012300 h 7305087"/>
              <a:gd name="connsiteX391" fmla="*/ 7359798 w 8266922"/>
              <a:gd name="connsiteY391" fmla="*/ 3021495 h 7305087"/>
              <a:gd name="connsiteX392" fmla="*/ 7401420 w 8266922"/>
              <a:gd name="connsiteY392" fmla="*/ 3034227 h 7305087"/>
              <a:gd name="connsiteX393" fmla="*/ 7439491 w 8266922"/>
              <a:gd name="connsiteY393" fmla="*/ 3050415 h 7305087"/>
              <a:gd name="connsiteX394" fmla="*/ 7474144 w 8266922"/>
              <a:gd name="connsiteY394" fmla="*/ 3069977 h 7305087"/>
              <a:gd name="connsiteX395" fmla="*/ 7505511 w 8266922"/>
              <a:gd name="connsiteY395" fmla="*/ 3092831 h 7305087"/>
              <a:gd name="connsiteX396" fmla="*/ 7533726 w 8266922"/>
              <a:gd name="connsiteY396" fmla="*/ 3118897 h 7305087"/>
              <a:gd name="connsiteX397" fmla="*/ 7558922 w 8266922"/>
              <a:gd name="connsiteY397" fmla="*/ 3148093 h 7305087"/>
              <a:gd name="connsiteX398" fmla="*/ 7581230 w 8266922"/>
              <a:gd name="connsiteY398" fmla="*/ 3180338 h 7305087"/>
              <a:gd name="connsiteX399" fmla="*/ 7600783 w 8266922"/>
              <a:gd name="connsiteY399" fmla="*/ 3215550 h 7305087"/>
              <a:gd name="connsiteX400" fmla="*/ 7617715 w 8266922"/>
              <a:gd name="connsiteY400" fmla="*/ 3253648 h 7305087"/>
              <a:gd name="connsiteX401" fmla="*/ 7632158 w 8266922"/>
              <a:gd name="connsiteY401" fmla="*/ 3294551 h 7305087"/>
              <a:gd name="connsiteX402" fmla="*/ 7644245 w 8266922"/>
              <a:gd name="connsiteY402" fmla="*/ 3338176 h 7305087"/>
              <a:gd name="connsiteX403" fmla="*/ 7654108 w 8266922"/>
              <a:gd name="connsiteY403" fmla="*/ 3384443 h 7305087"/>
              <a:gd name="connsiteX404" fmla="*/ 7661880 w 8266922"/>
              <a:gd name="connsiteY404" fmla="*/ 3433271 h 7305087"/>
              <a:gd name="connsiteX405" fmla="*/ 7667694 w 8266922"/>
              <a:gd name="connsiteY405" fmla="*/ 3484578 h 7305087"/>
              <a:gd name="connsiteX406" fmla="*/ 7671682 w 8266922"/>
              <a:gd name="connsiteY406" fmla="*/ 3538282 h 7305087"/>
              <a:gd name="connsiteX407" fmla="*/ 7673978 w 8266922"/>
              <a:gd name="connsiteY407" fmla="*/ 3594302 h 7305087"/>
              <a:gd name="connsiteX408" fmla="*/ 7674714 w 8266922"/>
              <a:gd name="connsiteY408" fmla="*/ 3652558 h 7305087"/>
              <a:gd name="connsiteX409" fmla="*/ 7674014 w 8266922"/>
              <a:gd name="connsiteY409" fmla="*/ 3711063 h 7305087"/>
              <a:gd name="connsiteX410" fmla="*/ 7671817 w 8266922"/>
              <a:gd name="connsiteY410" fmla="*/ 3767333 h 7305087"/>
              <a:gd name="connsiteX411" fmla="*/ 7667981 w 8266922"/>
              <a:gd name="connsiteY411" fmla="*/ 3821283 h 7305087"/>
              <a:gd name="connsiteX412" fmla="*/ 7662360 w 8266922"/>
              <a:gd name="connsiteY412" fmla="*/ 3872833 h 7305087"/>
              <a:gd name="connsiteX413" fmla="*/ 7654812 w 8266922"/>
              <a:gd name="connsiteY413" fmla="*/ 3921898 h 7305087"/>
              <a:gd name="connsiteX414" fmla="*/ 7645191 w 8266922"/>
              <a:gd name="connsiteY414" fmla="*/ 3968397 h 7305087"/>
              <a:gd name="connsiteX415" fmla="*/ 7633354 w 8266922"/>
              <a:gd name="connsiteY415" fmla="*/ 4012246 h 7305087"/>
              <a:gd name="connsiteX416" fmla="*/ 7619157 w 8266922"/>
              <a:gd name="connsiteY416" fmla="*/ 4053364 h 7305087"/>
              <a:gd name="connsiteX417" fmla="*/ 7602457 w 8266922"/>
              <a:gd name="connsiteY417" fmla="*/ 4091667 h 7305087"/>
              <a:gd name="connsiteX418" fmla="*/ 7583108 w 8266922"/>
              <a:gd name="connsiteY418" fmla="*/ 4127073 h 7305087"/>
              <a:gd name="connsiteX419" fmla="*/ 7560967 w 8266922"/>
              <a:gd name="connsiteY419" fmla="*/ 4159499 h 7305087"/>
              <a:gd name="connsiteX420" fmla="*/ 7535890 w 8266922"/>
              <a:gd name="connsiteY420" fmla="*/ 4188862 h 7305087"/>
              <a:gd name="connsiteX421" fmla="*/ 7507733 w 8266922"/>
              <a:gd name="connsiteY421" fmla="*/ 4215081 h 7305087"/>
              <a:gd name="connsiteX422" fmla="*/ 7476352 w 8266922"/>
              <a:gd name="connsiteY422" fmla="*/ 4238071 h 7305087"/>
              <a:gd name="connsiteX423" fmla="*/ 7441604 w 8266922"/>
              <a:gd name="connsiteY423" fmla="*/ 4257752 h 7305087"/>
              <a:gd name="connsiteX424" fmla="*/ 7403343 w 8266922"/>
              <a:gd name="connsiteY424" fmla="*/ 4274039 h 7305087"/>
              <a:gd name="connsiteX425" fmla="*/ 7361426 w 8266922"/>
              <a:gd name="connsiteY425" fmla="*/ 4286851 h 7305087"/>
              <a:gd name="connsiteX426" fmla="*/ 7315710 w 8266922"/>
              <a:gd name="connsiteY426" fmla="*/ 4296105 h 7305087"/>
              <a:gd name="connsiteX427" fmla="*/ 7266050 w 8266922"/>
              <a:gd name="connsiteY427" fmla="*/ 4301718 h 7305087"/>
              <a:gd name="connsiteX428" fmla="*/ 7212302 w 8266922"/>
              <a:gd name="connsiteY428" fmla="*/ 4303607 h 7305087"/>
              <a:gd name="connsiteX429" fmla="*/ 7212302 w 8266922"/>
              <a:gd name="connsiteY429" fmla="*/ 4206785 h 7305087"/>
              <a:gd name="connsiteX430" fmla="*/ 7261987 w 8266922"/>
              <a:gd name="connsiteY430" fmla="*/ 4204552 h 7305087"/>
              <a:gd name="connsiteX431" fmla="*/ 7306907 w 8266922"/>
              <a:gd name="connsiteY431" fmla="*/ 4197931 h 7305087"/>
              <a:gd name="connsiteX432" fmla="*/ 7347290 w 8266922"/>
              <a:gd name="connsiteY432" fmla="*/ 4187042 h 7305087"/>
              <a:gd name="connsiteX433" fmla="*/ 7383361 w 8266922"/>
              <a:gd name="connsiteY433" fmla="*/ 4172002 h 7305087"/>
              <a:gd name="connsiteX434" fmla="*/ 7443472 w 8266922"/>
              <a:gd name="connsiteY434" fmla="*/ 4129942 h 7305087"/>
              <a:gd name="connsiteX435" fmla="*/ 7489051 w 8266922"/>
              <a:gd name="connsiteY435" fmla="*/ 4072698 h 7305087"/>
              <a:gd name="connsiteX436" fmla="*/ 7506957 w 8266922"/>
              <a:gd name="connsiteY436" fmla="*/ 4038677 h 7305087"/>
              <a:gd name="connsiteX437" fmla="*/ 7521909 w 8266922"/>
              <a:gd name="connsiteY437" fmla="*/ 4001216 h 7305087"/>
              <a:gd name="connsiteX438" fmla="*/ 7534133 w 8266922"/>
              <a:gd name="connsiteY438" fmla="*/ 3960431 h 7305087"/>
              <a:gd name="connsiteX439" fmla="*/ 7543856 w 8266922"/>
              <a:gd name="connsiteY439" fmla="*/ 3916441 h 7305087"/>
              <a:gd name="connsiteX440" fmla="*/ 7551303 w 8266922"/>
              <a:gd name="connsiteY440" fmla="*/ 3869364 h 7305087"/>
              <a:gd name="connsiteX441" fmla="*/ 7556702 w 8266922"/>
              <a:gd name="connsiteY441" fmla="*/ 3819320 h 7305087"/>
              <a:gd name="connsiteX442" fmla="*/ 7560278 w 8266922"/>
              <a:gd name="connsiteY442" fmla="*/ 3766425 h 7305087"/>
              <a:gd name="connsiteX443" fmla="*/ 7562257 w 8266922"/>
              <a:gd name="connsiteY443" fmla="*/ 3710798 h 7305087"/>
              <a:gd name="connsiteX444" fmla="*/ 7562867 w 8266922"/>
              <a:gd name="connsiteY444" fmla="*/ 3652558 h 7305087"/>
              <a:gd name="connsiteX445" fmla="*/ 7562225 w 8266922"/>
              <a:gd name="connsiteY445" fmla="*/ 3594889 h 7305087"/>
              <a:gd name="connsiteX446" fmla="*/ 7560155 w 8266922"/>
              <a:gd name="connsiteY446" fmla="*/ 3539800 h 7305087"/>
              <a:gd name="connsiteX447" fmla="*/ 7556445 w 8266922"/>
              <a:gd name="connsiteY447" fmla="*/ 3487407 h 7305087"/>
              <a:gd name="connsiteX448" fmla="*/ 7550879 w 8266922"/>
              <a:gd name="connsiteY448" fmla="*/ 3437831 h 7305087"/>
              <a:gd name="connsiteX449" fmla="*/ 7543244 w 8266922"/>
              <a:gd name="connsiteY449" fmla="*/ 3391187 h 7305087"/>
              <a:gd name="connsiteX450" fmla="*/ 7533326 w 8266922"/>
              <a:gd name="connsiteY450" fmla="*/ 3347596 h 7305087"/>
              <a:gd name="connsiteX451" fmla="*/ 7520910 w 8266922"/>
              <a:gd name="connsiteY451" fmla="*/ 3307175 h 7305087"/>
              <a:gd name="connsiteX452" fmla="*/ 7505783 w 8266922"/>
              <a:gd name="connsiteY452" fmla="*/ 3270043 h 7305087"/>
              <a:gd name="connsiteX453" fmla="*/ 7487730 w 8266922"/>
              <a:gd name="connsiteY453" fmla="*/ 3236317 h 7305087"/>
              <a:gd name="connsiteX454" fmla="*/ 7441992 w 8266922"/>
              <a:gd name="connsiteY454" fmla="*/ 3179558 h 7305087"/>
              <a:gd name="connsiteX455" fmla="*/ 7381983 w 8266922"/>
              <a:gd name="connsiteY455" fmla="*/ 3137845 h 7305087"/>
              <a:gd name="connsiteX456" fmla="*/ 7346091 w 8266922"/>
              <a:gd name="connsiteY456" fmla="*/ 3122926 h 7305087"/>
              <a:gd name="connsiteX457" fmla="*/ 7305990 w 8266922"/>
              <a:gd name="connsiteY457" fmla="*/ 3112123 h 7305087"/>
              <a:gd name="connsiteX458" fmla="*/ 7261465 w 8266922"/>
              <a:gd name="connsiteY458" fmla="*/ 3105555 h 7305087"/>
              <a:gd name="connsiteX459" fmla="*/ 7212302 w 8266922"/>
              <a:gd name="connsiteY459" fmla="*/ 3103339 h 7305087"/>
              <a:gd name="connsiteX460" fmla="*/ 6695380 w 8266922"/>
              <a:gd name="connsiteY460" fmla="*/ 3004847 h 7305087"/>
              <a:gd name="connsiteX461" fmla="*/ 6695380 w 8266922"/>
              <a:gd name="connsiteY461" fmla="*/ 3103339 h 7305087"/>
              <a:gd name="connsiteX462" fmla="*/ 6646494 w 8266922"/>
              <a:gd name="connsiteY462" fmla="*/ 3105555 h 7305087"/>
              <a:gd name="connsiteX463" fmla="*/ 6602213 w 8266922"/>
              <a:gd name="connsiteY463" fmla="*/ 3112123 h 7305087"/>
              <a:gd name="connsiteX464" fmla="*/ 6562327 w 8266922"/>
              <a:gd name="connsiteY464" fmla="*/ 3122926 h 7305087"/>
              <a:gd name="connsiteX465" fmla="*/ 6526621 w 8266922"/>
              <a:gd name="connsiteY465" fmla="*/ 3137845 h 7305087"/>
              <a:gd name="connsiteX466" fmla="*/ 6466906 w 8266922"/>
              <a:gd name="connsiteY466" fmla="*/ 3179558 h 7305087"/>
              <a:gd name="connsiteX467" fmla="*/ 6421372 w 8266922"/>
              <a:gd name="connsiteY467" fmla="*/ 3236317 h 7305087"/>
              <a:gd name="connsiteX468" fmla="*/ 6403393 w 8266922"/>
              <a:gd name="connsiteY468" fmla="*/ 3270043 h 7305087"/>
              <a:gd name="connsiteX469" fmla="*/ 6388323 w 8266922"/>
              <a:gd name="connsiteY469" fmla="*/ 3307175 h 7305087"/>
              <a:gd name="connsiteX470" fmla="*/ 6375951 w 8266922"/>
              <a:gd name="connsiteY470" fmla="*/ 3347596 h 7305087"/>
              <a:gd name="connsiteX471" fmla="*/ 6366063 w 8266922"/>
              <a:gd name="connsiteY471" fmla="*/ 3391187 h 7305087"/>
              <a:gd name="connsiteX472" fmla="*/ 6358449 w 8266922"/>
              <a:gd name="connsiteY472" fmla="*/ 3437831 h 7305087"/>
              <a:gd name="connsiteX473" fmla="*/ 6352896 w 8266922"/>
              <a:gd name="connsiteY473" fmla="*/ 3487407 h 7305087"/>
              <a:gd name="connsiteX474" fmla="*/ 6349192 w 8266922"/>
              <a:gd name="connsiteY474" fmla="*/ 3539800 h 7305087"/>
              <a:gd name="connsiteX475" fmla="*/ 6347125 w 8266922"/>
              <a:gd name="connsiteY475" fmla="*/ 3594889 h 7305087"/>
              <a:gd name="connsiteX476" fmla="*/ 6346483 w 8266922"/>
              <a:gd name="connsiteY476" fmla="*/ 3652558 h 7305087"/>
              <a:gd name="connsiteX477" fmla="*/ 6347109 w 8266922"/>
              <a:gd name="connsiteY477" fmla="*/ 3710798 h 7305087"/>
              <a:gd name="connsiteX478" fmla="*/ 6349131 w 8266922"/>
              <a:gd name="connsiteY478" fmla="*/ 3766425 h 7305087"/>
              <a:gd name="connsiteX479" fmla="*/ 6352768 w 8266922"/>
              <a:gd name="connsiteY479" fmla="*/ 3819320 h 7305087"/>
              <a:gd name="connsiteX480" fmla="*/ 6358237 w 8266922"/>
              <a:gd name="connsiteY480" fmla="*/ 3869364 h 7305087"/>
              <a:gd name="connsiteX481" fmla="*/ 6365758 w 8266922"/>
              <a:gd name="connsiteY481" fmla="*/ 3916441 h 7305087"/>
              <a:gd name="connsiteX482" fmla="*/ 6375547 w 8266922"/>
              <a:gd name="connsiteY482" fmla="*/ 3960431 h 7305087"/>
              <a:gd name="connsiteX483" fmla="*/ 6387824 w 8266922"/>
              <a:gd name="connsiteY483" fmla="*/ 4001216 h 7305087"/>
              <a:gd name="connsiteX484" fmla="*/ 6402806 w 8266922"/>
              <a:gd name="connsiteY484" fmla="*/ 4038677 h 7305087"/>
              <a:gd name="connsiteX485" fmla="*/ 6420712 w 8266922"/>
              <a:gd name="connsiteY485" fmla="*/ 4072698 h 7305087"/>
              <a:gd name="connsiteX486" fmla="*/ 6466166 w 8266922"/>
              <a:gd name="connsiteY486" fmla="*/ 4129942 h 7305087"/>
              <a:gd name="connsiteX487" fmla="*/ 6525932 w 8266922"/>
              <a:gd name="connsiteY487" fmla="*/ 4172002 h 7305087"/>
              <a:gd name="connsiteX488" fmla="*/ 6561727 w 8266922"/>
              <a:gd name="connsiteY488" fmla="*/ 4187042 h 7305087"/>
              <a:gd name="connsiteX489" fmla="*/ 6601755 w 8266922"/>
              <a:gd name="connsiteY489" fmla="*/ 4197931 h 7305087"/>
              <a:gd name="connsiteX490" fmla="*/ 6646233 w 8266922"/>
              <a:gd name="connsiteY490" fmla="*/ 4204552 h 7305087"/>
              <a:gd name="connsiteX491" fmla="*/ 6695380 w 8266922"/>
              <a:gd name="connsiteY491" fmla="*/ 4206785 h 7305087"/>
              <a:gd name="connsiteX492" fmla="*/ 6695380 w 8266922"/>
              <a:gd name="connsiteY492" fmla="*/ 4303607 h 7305087"/>
              <a:gd name="connsiteX493" fmla="*/ 6641857 w 8266922"/>
              <a:gd name="connsiteY493" fmla="*/ 4301718 h 7305087"/>
              <a:gd name="connsiteX494" fmla="*/ 6592377 w 8266922"/>
              <a:gd name="connsiteY494" fmla="*/ 4296105 h 7305087"/>
              <a:gd name="connsiteX495" fmla="*/ 6546797 w 8266922"/>
              <a:gd name="connsiteY495" fmla="*/ 4286851 h 7305087"/>
              <a:gd name="connsiteX496" fmla="*/ 6504979 w 8266922"/>
              <a:gd name="connsiteY496" fmla="*/ 4274039 h 7305087"/>
              <a:gd name="connsiteX497" fmla="*/ 6466782 w 8266922"/>
              <a:gd name="connsiteY497" fmla="*/ 4257752 h 7305087"/>
              <a:gd name="connsiteX498" fmla="*/ 6432065 w 8266922"/>
              <a:gd name="connsiteY498" fmla="*/ 4238071 h 7305087"/>
              <a:gd name="connsiteX499" fmla="*/ 6400688 w 8266922"/>
              <a:gd name="connsiteY499" fmla="*/ 4215081 h 7305087"/>
              <a:gd name="connsiteX500" fmla="*/ 6372512 w 8266922"/>
              <a:gd name="connsiteY500" fmla="*/ 4188862 h 7305087"/>
              <a:gd name="connsiteX501" fmla="*/ 6347396 w 8266922"/>
              <a:gd name="connsiteY501" fmla="*/ 4159499 h 7305087"/>
              <a:gd name="connsiteX502" fmla="*/ 6325199 w 8266922"/>
              <a:gd name="connsiteY502" fmla="*/ 4127073 h 7305087"/>
              <a:gd name="connsiteX503" fmla="*/ 6305782 w 8266922"/>
              <a:gd name="connsiteY503" fmla="*/ 4091667 h 7305087"/>
              <a:gd name="connsiteX504" fmla="*/ 6289004 w 8266922"/>
              <a:gd name="connsiteY504" fmla="*/ 4053364 h 7305087"/>
              <a:gd name="connsiteX505" fmla="*/ 6274725 w 8266922"/>
              <a:gd name="connsiteY505" fmla="*/ 4012246 h 7305087"/>
              <a:gd name="connsiteX506" fmla="*/ 6262805 w 8266922"/>
              <a:gd name="connsiteY506" fmla="*/ 3968397 h 7305087"/>
              <a:gd name="connsiteX507" fmla="*/ 6253104 w 8266922"/>
              <a:gd name="connsiteY507" fmla="*/ 3921898 h 7305087"/>
              <a:gd name="connsiteX508" fmla="*/ 6245481 w 8266922"/>
              <a:gd name="connsiteY508" fmla="*/ 3872833 h 7305087"/>
              <a:gd name="connsiteX509" fmla="*/ 6239796 w 8266922"/>
              <a:gd name="connsiteY509" fmla="*/ 3821283 h 7305087"/>
              <a:gd name="connsiteX510" fmla="*/ 6235909 w 8266922"/>
              <a:gd name="connsiteY510" fmla="*/ 3767333 h 7305087"/>
              <a:gd name="connsiteX511" fmla="*/ 6233679 w 8266922"/>
              <a:gd name="connsiteY511" fmla="*/ 3711063 h 7305087"/>
              <a:gd name="connsiteX512" fmla="*/ 6232968 w 8266922"/>
              <a:gd name="connsiteY512" fmla="*/ 3652558 h 7305087"/>
              <a:gd name="connsiteX513" fmla="*/ 6233703 w 8266922"/>
              <a:gd name="connsiteY513" fmla="*/ 3594302 h 7305087"/>
              <a:gd name="connsiteX514" fmla="*/ 6235999 w 8266922"/>
              <a:gd name="connsiteY514" fmla="*/ 3538282 h 7305087"/>
              <a:gd name="connsiteX515" fmla="*/ 6239988 w 8266922"/>
              <a:gd name="connsiteY515" fmla="*/ 3484578 h 7305087"/>
              <a:gd name="connsiteX516" fmla="*/ 6245801 w 8266922"/>
              <a:gd name="connsiteY516" fmla="*/ 3433271 h 7305087"/>
              <a:gd name="connsiteX517" fmla="*/ 6253574 w 8266922"/>
              <a:gd name="connsiteY517" fmla="*/ 3384443 h 7305087"/>
              <a:gd name="connsiteX518" fmla="*/ 6263437 w 8266922"/>
              <a:gd name="connsiteY518" fmla="*/ 3338176 h 7305087"/>
              <a:gd name="connsiteX519" fmla="*/ 6275523 w 8266922"/>
              <a:gd name="connsiteY519" fmla="*/ 3294551 h 7305087"/>
              <a:gd name="connsiteX520" fmla="*/ 6289966 w 8266922"/>
              <a:gd name="connsiteY520" fmla="*/ 3253648 h 7305087"/>
              <a:gd name="connsiteX521" fmla="*/ 6306898 w 8266922"/>
              <a:gd name="connsiteY521" fmla="*/ 3215550 h 7305087"/>
              <a:gd name="connsiteX522" fmla="*/ 6326451 w 8266922"/>
              <a:gd name="connsiteY522" fmla="*/ 3180338 h 7305087"/>
              <a:gd name="connsiteX523" fmla="*/ 6348759 w 8266922"/>
              <a:gd name="connsiteY523" fmla="*/ 3148093 h 7305087"/>
              <a:gd name="connsiteX524" fmla="*/ 6373955 w 8266922"/>
              <a:gd name="connsiteY524" fmla="*/ 3118897 h 7305087"/>
              <a:gd name="connsiteX525" fmla="*/ 6402170 w 8266922"/>
              <a:gd name="connsiteY525" fmla="*/ 3092831 h 7305087"/>
              <a:gd name="connsiteX526" fmla="*/ 6433537 w 8266922"/>
              <a:gd name="connsiteY526" fmla="*/ 3069977 h 7305087"/>
              <a:gd name="connsiteX527" fmla="*/ 6468190 w 8266922"/>
              <a:gd name="connsiteY527" fmla="*/ 3050415 h 7305087"/>
              <a:gd name="connsiteX528" fmla="*/ 6506261 w 8266922"/>
              <a:gd name="connsiteY528" fmla="*/ 3034227 h 7305087"/>
              <a:gd name="connsiteX529" fmla="*/ 6547883 w 8266922"/>
              <a:gd name="connsiteY529" fmla="*/ 3021495 h 7305087"/>
              <a:gd name="connsiteX530" fmla="*/ 6593188 w 8266922"/>
              <a:gd name="connsiteY530" fmla="*/ 3012300 h 7305087"/>
              <a:gd name="connsiteX531" fmla="*/ 6642309 w 8266922"/>
              <a:gd name="connsiteY531" fmla="*/ 3006723 h 7305087"/>
              <a:gd name="connsiteX532" fmla="*/ 5578527 w 8266922"/>
              <a:gd name="connsiteY532" fmla="*/ 3004847 h 7305087"/>
              <a:gd name="connsiteX533" fmla="*/ 5631597 w 8266922"/>
              <a:gd name="connsiteY533" fmla="*/ 3006723 h 7305087"/>
              <a:gd name="connsiteX534" fmla="*/ 5680718 w 8266922"/>
              <a:gd name="connsiteY534" fmla="*/ 3012300 h 7305087"/>
              <a:gd name="connsiteX535" fmla="*/ 5726023 w 8266922"/>
              <a:gd name="connsiteY535" fmla="*/ 3021495 h 7305087"/>
              <a:gd name="connsiteX536" fmla="*/ 5767645 w 8266922"/>
              <a:gd name="connsiteY536" fmla="*/ 3034227 h 7305087"/>
              <a:gd name="connsiteX537" fmla="*/ 5805716 w 8266922"/>
              <a:gd name="connsiteY537" fmla="*/ 3050415 h 7305087"/>
              <a:gd name="connsiteX538" fmla="*/ 5840369 w 8266922"/>
              <a:gd name="connsiteY538" fmla="*/ 3069977 h 7305087"/>
              <a:gd name="connsiteX539" fmla="*/ 5871736 w 8266922"/>
              <a:gd name="connsiteY539" fmla="*/ 3092831 h 7305087"/>
              <a:gd name="connsiteX540" fmla="*/ 5899951 w 8266922"/>
              <a:gd name="connsiteY540" fmla="*/ 3118897 h 7305087"/>
              <a:gd name="connsiteX541" fmla="*/ 5925147 w 8266922"/>
              <a:gd name="connsiteY541" fmla="*/ 3148093 h 7305087"/>
              <a:gd name="connsiteX542" fmla="*/ 5947455 w 8266922"/>
              <a:gd name="connsiteY542" fmla="*/ 3180338 h 7305087"/>
              <a:gd name="connsiteX543" fmla="*/ 5967008 w 8266922"/>
              <a:gd name="connsiteY543" fmla="*/ 3215550 h 7305087"/>
              <a:gd name="connsiteX544" fmla="*/ 5983940 w 8266922"/>
              <a:gd name="connsiteY544" fmla="*/ 3253648 h 7305087"/>
              <a:gd name="connsiteX545" fmla="*/ 5998383 w 8266922"/>
              <a:gd name="connsiteY545" fmla="*/ 3294551 h 7305087"/>
              <a:gd name="connsiteX546" fmla="*/ 6010470 w 8266922"/>
              <a:gd name="connsiteY546" fmla="*/ 3338176 h 7305087"/>
              <a:gd name="connsiteX547" fmla="*/ 6020333 w 8266922"/>
              <a:gd name="connsiteY547" fmla="*/ 3384443 h 7305087"/>
              <a:gd name="connsiteX548" fmla="*/ 6028105 w 8266922"/>
              <a:gd name="connsiteY548" fmla="*/ 3433271 h 7305087"/>
              <a:gd name="connsiteX549" fmla="*/ 6033919 w 8266922"/>
              <a:gd name="connsiteY549" fmla="*/ 3484578 h 7305087"/>
              <a:gd name="connsiteX550" fmla="*/ 6037907 w 8266922"/>
              <a:gd name="connsiteY550" fmla="*/ 3538282 h 7305087"/>
              <a:gd name="connsiteX551" fmla="*/ 6040203 w 8266922"/>
              <a:gd name="connsiteY551" fmla="*/ 3594302 h 7305087"/>
              <a:gd name="connsiteX552" fmla="*/ 6040939 w 8266922"/>
              <a:gd name="connsiteY552" fmla="*/ 3652558 h 7305087"/>
              <a:gd name="connsiteX553" fmla="*/ 6040239 w 8266922"/>
              <a:gd name="connsiteY553" fmla="*/ 3711063 h 7305087"/>
              <a:gd name="connsiteX554" fmla="*/ 6038042 w 8266922"/>
              <a:gd name="connsiteY554" fmla="*/ 3767333 h 7305087"/>
              <a:gd name="connsiteX555" fmla="*/ 6034206 w 8266922"/>
              <a:gd name="connsiteY555" fmla="*/ 3821283 h 7305087"/>
              <a:gd name="connsiteX556" fmla="*/ 6028585 w 8266922"/>
              <a:gd name="connsiteY556" fmla="*/ 3872833 h 7305087"/>
              <a:gd name="connsiteX557" fmla="*/ 6021037 w 8266922"/>
              <a:gd name="connsiteY557" fmla="*/ 3921898 h 7305087"/>
              <a:gd name="connsiteX558" fmla="*/ 6011416 w 8266922"/>
              <a:gd name="connsiteY558" fmla="*/ 3968397 h 7305087"/>
              <a:gd name="connsiteX559" fmla="*/ 5999579 w 8266922"/>
              <a:gd name="connsiteY559" fmla="*/ 4012246 h 7305087"/>
              <a:gd name="connsiteX560" fmla="*/ 5985382 w 8266922"/>
              <a:gd name="connsiteY560" fmla="*/ 4053364 h 7305087"/>
              <a:gd name="connsiteX561" fmla="*/ 5968682 w 8266922"/>
              <a:gd name="connsiteY561" fmla="*/ 4091667 h 7305087"/>
              <a:gd name="connsiteX562" fmla="*/ 5949333 w 8266922"/>
              <a:gd name="connsiteY562" fmla="*/ 4127073 h 7305087"/>
              <a:gd name="connsiteX563" fmla="*/ 5927192 w 8266922"/>
              <a:gd name="connsiteY563" fmla="*/ 4159499 h 7305087"/>
              <a:gd name="connsiteX564" fmla="*/ 5902115 w 8266922"/>
              <a:gd name="connsiteY564" fmla="*/ 4188862 h 7305087"/>
              <a:gd name="connsiteX565" fmla="*/ 5873958 w 8266922"/>
              <a:gd name="connsiteY565" fmla="*/ 4215081 h 7305087"/>
              <a:gd name="connsiteX566" fmla="*/ 5842577 w 8266922"/>
              <a:gd name="connsiteY566" fmla="*/ 4238071 h 7305087"/>
              <a:gd name="connsiteX567" fmla="*/ 5807829 w 8266922"/>
              <a:gd name="connsiteY567" fmla="*/ 4257752 h 7305087"/>
              <a:gd name="connsiteX568" fmla="*/ 5769568 w 8266922"/>
              <a:gd name="connsiteY568" fmla="*/ 4274039 h 7305087"/>
              <a:gd name="connsiteX569" fmla="*/ 5727651 w 8266922"/>
              <a:gd name="connsiteY569" fmla="*/ 4286851 h 7305087"/>
              <a:gd name="connsiteX570" fmla="*/ 5681935 w 8266922"/>
              <a:gd name="connsiteY570" fmla="*/ 4296105 h 7305087"/>
              <a:gd name="connsiteX571" fmla="*/ 5632275 w 8266922"/>
              <a:gd name="connsiteY571" fmla="*/ 4301718 h 7305087"/>
              <a:gd name="connsiteX572" fmla="*/ 5578527 w 8266922"/>
              <a:gd name="connsiteY572" fmla="*/ 4303607 h 7305087"/>
              <a:gd name="connsiteX573" fmla="*/ 5578527 w 8266922"/>
              <a:gd name="connsiteY573" fmla="*/ 4206785 h 7305087"/>
              <a:gd name="connsiteX574" fmla="*/ 5628212 w 8266922"/>
              <a:gd name="connsiteY574" fmla="*/ 4204552 h 7305087"/>
              <a:gd name="connsiteX575" fmla="*/ 5673133 w 8266922"/>
              <a:gd name="connsiteY575" fmla="*/ 4197931 h 7305087"/>
              <a:gd name="connsiteX576" fmla="*/ 5713515 w 8266922"/>
              <a:gd name="connsiteY576" fmla="*/ 4187042 h 7305087"/>
              <a:gd name="connsiteX577" fmla="*/ 5749586 w 8266922"/>
              <a:gd name="connsiteY577" fmla="*/ 4172002 h 7305087"/>
              <a:gd name="connsiteX578" fmla="*/ 5809697 w 8266922"/>
              <a:gd name="connsiteY578" fmla="*/ 4129942 h 7305087"/>
              <a:gd name="connsiteX579" fmla="*/ 5855277 w 8266922"/>
              <a:gd name="connsiteY579" fmla="*/ 4072698 h 7305087"/>
              <a:gd name="connsiteX580" fmla="*/ 5873182 w 8266922"/>
              <a:gd name="connsiteY580" fmla="*/ 4038677 h 7305087"/>
              <a:gd name="connsiteX581" fmla="*/ 5888134 w 8266922"/>
              <a:gd name="connsiteY581" fmla="*/ 4001216 h 7305087"/>
              <a:gd name="connsiteX582" fmla="*/ 5900358 w 8266922"/>
              <a:gd name="connsiteY582" fmla="*/ 3960431 h 7305087"/>
              <a:gd name="connsiteX583" fmla="*/ 5910081 w 8266922"/>
              <a:gd name="connsiteY583" fmla="*/ 3916441 h 7305087"/>
              <a:gd name="connsiteX584" fmla="*/ 5917528 w 8266922"/>
              <a:gd name="connsiteY584" fmla="*/ 3869364 h 7305087"/>
              <a:gd name="connsiteX585" fmla="*/ 5922927 w 8266922"/>
              <a:gd name="connsiteY585" fmla="*/ 3819320 h 7305087"/>
              <a:gd name="connsiteX586" fmla="*/ 5926503 w 8266922"/>
              <a:gd name="connsiteY586" fmla="*/ 3766425 h 7305087"/>
              <a:gd name="connsiteX587" fmla="*/ 5928482 w 8266922"/>
              <a:gd name="connsiteY587" fmla="*/ 3710798 h 7305087"/>
              <a:gd name="connsiteX588" fmla="*/ 5929092 w 8266922"/>
              <a:gd name="connsiteY588" fmla="*/ 3652558 h 7305087"/>
              <a:gd name="connsiteX589" fmla="*/ 5928450 w 8266922"/>
              <a:gd name="connsiteY589" fmla="*/ 3594889 h 7305087"/>
              <a:gd name="connsiteX590" fmla="*/ 5926380 w 8266922"/>
              <a:gd name="connsiteY590" fmla="*/ 3539800 h 7305087"/>
              <a:gd name="connsiteX591" fmla="*/ 5922670 w 8266922"/>
              <a:gd name="connsiteY591" fmla="*/ 3487407 h 7305087"/>
              <a:gd name="connsiteX592" fmla="*/ 5917104 w 8266922"/>
              <a:gd name="connsiteY592" fmla="*/ 3437831 h 7305087"/>
              <a:gd name="connsiteX593" fmla="*/ 5909469 w 8266922"/>
              <a:gd name="connsiteY593" fmla="*/ 3391187 h 7305087"/>
              <a:gd name="connsiteX594" fmla="*/ 5899551 w 8266922"/>
              <a:gd name="connsiteY594" fmla="*/ 3347596 h 7305087"/>
              <a:gd name="connsiteX595" fmla="*/ 5887135 w 8266922"/>
              <a:gd name="connsiteY595" fmla="*/ 3307175 h 7305087"/>
              <a:gd name="connsiteX596" fmla="*/ 5872008 w 8266922"/>
              <a:gd name="connsiteY596" fmla="*/ 3270043 h 7305087"/>
              <a:gd name="connsiteX597" fmla="*/ 5853955 w 8266922"/>
              <a:gd name="connsiteY597" fmla="*/ 3236317 h 7305087"/>
              <a:gd name="connsiteX598" fmla="*/ 5808217 w 8266922"/>
              <a:gd name="connsiteY598" fmla="*/ 3179558 h 7305087"/>
              <a:gd name="connsiteX599" fmla="*/ 5748208 w 8266922"/>
              <a:gd name="connsiteY599" fmla="*/ 3137845 h 7305087"/>
              <a:gd name="connsiteX600" fmla="*/ 5712316 w 8266922"/>
              <a:gd name="connsiteY600" fmla="*/ 3122926 h 7305087"/>
              <a:gd name="connsiteX601" fmla="*/ 5672215 w 8266922"/>
              <a:gd name="connsiteY601" fmla="*/ 3112123 h 7305087"/>
              <a:gd name="connsiteX602" fmla="*/ 5627690 w 8266922"/>
              <a:gd name="connsiteY602" fmla="*/ 3105555 h 7305087"/>
              <a:gd name="connsiteX603" fmla="*/ 5578527 w 8266922"/>
              <a:gd name="connsiteY603" fmla="*/ 3103339 h 7305087"/>
              <a:gd name="connsiteX604" fmla="*/ 5061625 w 8266922"/>
              <a:gd name="connsiteY604" fmla="*/ 3004847 h 7305087"/>
              <a:gd name="connsiteX605" fmla="*/ 5061625 w 8266922"/>
              <a:gd name="connsiteY605" fmla="*/ 3103339 h 7305087"/>
              <a:gd name="connsiteX606" fmla="*/ 5012739 w 8266922"/>
              <a:gd name="connsiteY606" fmla="*/ 3105555 h 7305087"/>
              <a:gd name="connsiteX607" fmla="*/ 4968459 w 8266922"/>
              <a:gd name="connsiteY607" fmla="*/ 3112123 h 7305087"/>
              <a:gd name="connsiteX608" fmla="*/ 4928572 w 8266922"/>
              <a:gd name="connsiteY608" fmla="*/ 3122926 h 7305087"/>
              <a:gd name="connsiteX609" fmla="*/ 4892867 w 8266922"/>
              <a:gd name="connsiteY609" fmla="*/ 3137845 h 7305087"/>
              <a:gd name="connsiteX610" fmla="*/ 4833152 w 8266922"/>
              <a:gd name="connsiteY610" fmla="*/ 3179558 h 7305087"/>
              <a:gd name="connsiteX611" fmla="*/ 4787618 w 8266922"/>
              <a:gd name="connsiteY611" fmla="*/ 3236317 h 7305087"/>
              <a:gd name="connsiteX612" fmla="*/ 4769639 w 8266922"/>
              <a:gd name="connsiteY612" fmla="*/ 3270043 h 7305087"/>
              <a:gd name="connsiteX613" fmla="*/ 4754569 w 8266922"/>
              <a:gd name="connsiteY613" fmla="*/ 3307175 h 7305087"/>
              <a:gd name="connsiteX614" fmla="*/ 4742197 w 8266922"/>
              <a:gd name="connsiteY614" fmla="*/ 3347596 h 7305087"/>
              <a:gd name="connsiteX615" fmla="*/ 4732309 w 8266922"/>
              <a:gd name="connsiteY615" fmla="*/ 3391187 h 7305087"/>
              <a:gd name="connsiteX616" fmla="*/ 4724695 w 8266922"/>
              <a:gd name="connsiteY616" fmla="*/ 3437831 h 7305087"/>
              <a:gd name="connsiteX617" fmla="*/ 4719142 w 8266922"/>
              <a:gd name="connsiteY617" fmla="*/ 3487407 h 7305087"/>
              <a:gd name="connsiteX618" fmla="*/ 4715437 w 8266922"/>
              <a:gd name="connsiteY618" fmla="*/ 3539800 h 7305087"/>
              <a:gd name="connsiteX619" fmla="*/ 4713370 w 8266922"/>
              <a:gd name="connsiteY619" fmla="*/ 3594889 h 7305087"/>
              <a:gd name="connsiteX620" fmla="*/ 4712728 w 8266922"/>
              <a:gd name="connsiteY620" fmla="*/ 3652558 h 7305087"/>
              <a:gd name="connsiteX621" fmla="*/ 4713354 w 8266922"/>
              <a:gd name="connsiteY621" fmla="*/ 3710798 h 7305087"/>
              <a:gd name="connsiteX622" fmla="*/ 4715376 w 8266922"/>
              <a:gd name="connsiteY622" fmla="*/ 3766425 h 7305087"/>
              <a:gd name="connsiteX623" fmla="*/ 4719014 w 8266922"/>
              <a:gd name="connsiteY623" fmla="*/ 3819320 h 7305087"/>
              <a:gd name="connsiteX624" fmla="*/ 4724483 w 8266922"/>
              <a:gd name="connsiteY624" fmla="*/ 3869364 h 7305087"/>
              <a:gd name="connsiteX625" fmla="*/ 4732004 w 8266922"/>
              <a:gd name="connsiteY625" fmla="*/ 3916441 h 7305087"/>
              <a:gd name="connsiteX626" fmla="*/ 4741793 w 8266922"/>
              <a:gd name="connsiteY626" fmla="*/ 3960431 h 7305087"/>
              <a:gd name="connsiteX627" fmla="*/ 4754070 w 8266922"/>
              <a:gd name="connsiteY627" fmla="*/ 4001216 h 7305087"/>
              <a:gd name="connsiteX628" fmla="*/ 4769052 w 8266922"/>
              <a:gd name="connsiteY628" fmla="*/ 4038677 h 7305087"/>
              <a:gd name="connsiteX629" fmla="*/ 4786958 w 8266922"/>
              <a:gd name="connsiteY629" fmla="*/ 4072698 h 7305087"/>
              <a:gd name="connsiteX630" fmla="*/ 4832412 w 8266922"/>
              <a:gd name="connsiteY630" fmla="*/ 4129942 h 7305087"/>
              <a:gd name="connsiteX631" fmla="*/ 4892178 w 8266922"/>
              <a:gd name="connsiteY631" fmla="*/ 4172002 h 7305087"/>
              <a:gd name="connsiteX632" fmla="*/ 4927973 w 8266922"/>
              <a:gd name="connsiteY632" fmla="*/ 4187042 h 7305087"/>
              <a:gd name="connsiteX633" fmla="*/ 4968000 w 8266922"/>
              <a:gd name="connsiteY633" fmla="*/ 4197931 h 7305087"/>
              <a:gd name="connsiteX634" fmla="*/ 5012478 w 8266922"/>
              <a:gd name="connsiteY634" fmla="*/ 4204552 h 7305087"/>
              <a:gd name="connsiteX635" fmla="*/ 5061625 w 8266922"/>
              <a:gd name="connsiteY635" fmla="*/ 4206785 h 7305087"/>
              <a:gd name="connsiteX636" fmla="*/ 5061625 w 8266922"/>
              <a:gd name="connsiteY636" fmla="*/ 4303607 h 7305087"/>
              <a:gd name="connsiteX637" fmla="*/ 5008102 w 8266922"/>
              <a:gd name="connsiteY637" fmla="*/ 4301718 h 7305087"/>
              <a:gd name="connsiteX638" fmla="*/ 4958622 w 8266922"/>
              <a:gd name="connsiteY638" fmla="*/ 4296105 h 7305087"/>
              <a:gd name="connsiteX639" fmla="*/ 4913043 w 8266922"/>
              <a:gd name="connsiteY639" fmla="*/ 4286851 h 7305087"/>
              <a:gd name="connsiteX640" fmla="*/ 4871225 w 8266922"/>
              <a:gd name="connsiteY640" fmla="*/ 4274039 h 7305087"/>
              <a:gd name="connsiteX641" fmla="*/ 4833027 w 8266922"/>
              <a:gd name="connsiteY641" fmla="*/ 4257752 h 7305087"/>
              <a:gd name="connsiteX642" fmla="*/ 4798310 w 8266922"/>
              <a:gd name="connsiteY642" fmla="*/ 4238071 h 7305087"/>
              <a:gd name="connsiteX643" fmla="*/ 4766934 w 8266922"/>
              <a:gd name="connsiteY643" fmla="*/ 4215081 h 7305087"/>
              <a:gd name="connsiteX644" fmla="*/ 4738758 w 8266922"/>
              <a:gd name="connsiteY644" fmla="*/ 4188862 h 7305087"/>
              <a:gd name="connsiteX645" fmla="*/ 4713641 w 8266922"/>
              <a:gd name="connsiteY645" fmla="*/ 4159499 h 7305087"/>
              <a:gd name="connsiteX646" fmla="*/ 4691444 w 8266922"/>
              <a:gd name="connsiteY646" fmla="*/ 4127073 h 7305087"/>
              <a:gd name="connsiteX647" fmla="*/ 4672027 w 8266922"/>
              <a:gd name="connsiteY647" fmla="*/ 4091667 h 7305087"/>
              <a:gd name="connsiteX648" fmla="*/ 4655249 w 8266922"/>
              <a:gd name="connsiteY648" fmla="*/ 4053364 h 7305087"/>
              <a:gd name="connsiteX649" fmla="*/ 4640970 w 8266922"/>
              <a:gd name="connsiteY649" fmla="*/ 4012246 h 7305087"/>
              <a:gd name="connsiteX650" fmla="*/ 4629050 w 8266922"/>
              <a:gd name="connsiteY650" fmla="*/ 3968397 h 7305087"/>
              <a:gd name="connsiteX651" fmla="*/ 4619349 w 8266922"/>
              <a:gd name="connsiteY651" fmla="*/ 3921898 h 7305087"/>
              <a:gd name="connsiteX652" fmla="*/ 4611726 w 8266922"/>
              <a:gd name="connsiteY652" fmla="*/ 3872833 h 7305087"/>
              <a:gd name="connsiteX653" fmla="*/ 4606041 w 8266922"/>
              <a:gd name="connsiteY653" fmla="*/ 3821283 h 7305087"/>
              <a:gd name="connsiteX654" fmla="*/ 4602154 w 8266922"/>
              <a:gd name="connsiteY654" fmla="*/ 3767333 h 7305087"/>
              <a:gd name="connsiteX655" fmla="*/ 4599924 w 8266922"/>
              <a:gd name="connsiteY655" fmla="*/ 3711063 h 7305087"/>
              <a:gd name="connsiteX656" fmla="*/ 4599213 w 8266922"/>
              <a:gd name="connsiteY656" fmla="*/ 3652558 h 7305087"/>
              <a:gd name="connsiteX657" fmla="*/ 4599948 w 8266922"/>
              <a:gd name="connsiteY657" fmla="*/ 3594302 h 7305087"/>
              <a:gd name="connsiteX658" fmla="*/ 4602244 w 8266922"/>
              <a:gd name="connsiteY658" fmla="*/ 3538282 h 7305087"/>
              <a:gd name="connsiteX659" fmla="*/ 4606233 w 8266922"/>
              <a:gd name="connsiteY659" fmla="*/ 3484578 h 7305087"/>
              <a:gd name="connsiteX660" fmla="*/ 4612046 w 8266922"/>
              <a:gd name="connsiteY660" fmla="*/ 3433271 h 7305087"/>
              <a:gd name="connsiteX661" fmla="*/ 4619819 w 8266922"/>
              <a:gd name="connsiteY661" fmla="*/ 3384443 h 7305087"/>
              <a:gd name="connsiteX662" fmla="*/ 4629682 w 8266922"/>
              <a:gd name="connsiteY662" fmla="*/ 3338176 h 7305087"/>
              <a:gd name="connsiteX663" fmla="*/ 4641768 w 8266922"/>
              <a:gd name="connsiteY663" fmla="*/ 3294551 h 7305087"/>
              <a:gd name="connsiteX664" fmla="*/ 4656211 w 8266922"/>
              <a:gd name="connsiteY664" fmla="*/ 3253648 h 7305087"/>
              <a:gd name="connsiteX665" fmla="*/ 4673143 w 8266922"/>
              <a:gd name="connsiteY665" fmla="*/ 3215550 h 7305087"/>
              <a:gd name="connsiteX666" fmla="*/ 4692696 w 8266922"/>
              <a:gd name="connsiteY666" fmla="*/ 3180338 h 7305087"/>
              <a:gd name="connsiteX667" fmla="*/ 4715004 w 8266922"/>
              <a:gd name="connsiteY667" fmla="*/ 3148093 h 7305087"/>
              <a:gd name="connsiteX668" fmla="*/ 4740200 w 8266922"/>
              <a:gd name="connsiteY668" fmla="*/ 3118897 h 7305087"/>
              <a:gd name="connsiteX669" fmla="*/ 4768415 w 8266922"/>
              <a:gd name="connsiteY669" fmla="*/ 3092831 h 7305087"/>
              <a:gd name="connsiteX670" fmla="*/ 4799783 w 8266922"/>
              <a:gd name="connsiteY670" fmla="*/ 3069977 h 7305087"/>
              <a:gd name="connsiteX671" fmla="*/ 4834436 w 8266922"/>
              <a:gd name="connsiteY671" fmla="*/ 3050415 h 7305087"/>
              <a:gd name="connsiteX672" fmla="*/ 4872507 w 8266922"/>
              <a:gd name="connsiteY672" fmla="*/ 3034227 h 7305087"/>
              <a:gd name="connsiteX673" fmla="*/ 4914128 w 8266922"/>
              <a:gd name="connsiteY673" fmla="*/ 3021495 h 7305087"/>
              <a:gd name="connsiteX674" fmla="*/ 4959433 w 8266922"/>
              <a:gd name="connsiteY674" fmla="*/ 3012300 h 7305087"/>
              <a:gd name="connsiteX675" fmla="*/ 5008555 w 8266922"/>
              <a:gd name="connsiteY675" fmla="*/ 3006723 h 7305087"/>
              <a:gd name="connsiteX676" fmla="*/ 887436 w 8266922"/>
              <a:gd name="connsiteY676" fmla="*/ 3004847 h 7305087"/>
              <a:gd name="connsiteX677" fmla="*/ 887436 w 8266922"/>
              <a:gd name="connsiteY677" fmla="*/ 3103339 h 7305087"/>
              <a:gd name="connsiteX678" fmla="*/ 838550 w 8266922"/>
              <a:gd name="connsiteY678" fmla="*/ 3105555 h 7305087"/>
              <a:gd name="connsiteX679" fmla="*/ 794269 w 8266922"/>
              <a:gd name="connsiteY679" fmla="*/ 3112123 h 7305087"/>
              <a:gd name="connsiteX680" fmla="*/ 754383 w 8266922"/>
              <a:gd name="connsiteY680" fmla="*/ 3122926 h 7305087"/>
              <a:gd name="connsiteX681" fmla="*/ 718677 w 8266922"/>
              <a:gd name="connsiteY681" fmla="*/ 3137845 h 7305087"/>
              <a:gd name="connsiteX682" fmla="*/ 658962 w 8266922"/>
              <a:gd name="connsiteY682" fmla="*/ 3179558 h 7305087"/>
              <a:gd name="connsiteX683" fmla="*/ 613427 w 8266922"/>
              <a:gd name="connsiteY683" fmla="*/ 3236317 h 7305087"/>
              <a:gd name="connsiteX684" fmla="*/ 595448 w 8266922"/>
              <a:gd name="connsiteY684" fmla="*/ 3270043 h 7305087"/>
              <a:gd name="connsiteX685" fmla="*/ 580378 w 8266922"/>
              <a:gd name="connsiteY685" fmla="*/ 3307175 h 7305087"/>
              <a:gd name="connsiteX686" fmla="*/ 568006 w 8266922"/>
              <a:gd name="connsiteY686" fmla="*/ 3347596 h 7305087"/>
              <a:gd name="connsiteX687" fmla="*/ 558118 w 8266922"/>
              <a:gd name="connsiteY687" fmla="*/ 3391187 h 7305087"/>
              <a:gd name="connsiteX688" fmla="*/ 550504 w 8266922"/>
              <a:gd name="connsiteY688" fmla="*/ 3437831 h 7305087"/>
              <a:gd name="connsiteX689" fmla="*/ 544951 w 8266922"/>
              <a:gd name="connsiteY689" fmla="*/ 3487407 h 7305087"/>
              <a:gd name="connsiteX690" fmla="*/ 541247 w 8266922"/>
              <a:gd name="connsiteY690" fmla="*/ 3539800 h 7305087"/>
              <a:gd name="connsiteX691" fmla="*/ 539180 w 8266922"/>
              <a:gd name="connsiteY691" fmla="*/ 3594889 h 7305087"/>
              <a:gd name="connsiteX692" fmla="*/ 538538 w 8266922"/>
              <a:gd name="connsiteY692" fmla="*/ 3652558 h 7305087"/>
              <a:gd name="connsiteX693" fmla="*/ 539164 w 8266922"/>
              <a:gd name="connsiteY693" fmla="*/ 3710798 h 7305087"/>
              <a:gd name="connsiteX694" fmla="*/ 541186 w 8266922"/>
              <a:gd name="connsiteY694" fmla="*/ 3766425 h 7305087"/>
              <a:gd name="connsiteX695" fmla="*/ 544823 w 8266922"/>
              <a:gd name="connsiteY695" fmla="*/ 3819320 h 7305087"/>
              <a:gd name="connsiteX696" fmla="*/ 550292 w 8266922"/>
              <a:gd name="connsiteY696" fmla="*/ 3869364 h 7305087"/>
              <a:gd name="connsiteX697" fmla="*/ 557813 w 8266922"/>
              <a:gd name="connsiteY697" fmla="*/ 3916441 h 7305087"/>
              <a:gd name="connsiteX698" fmla="*/ 567602 w 8266922"/>
              <a:gd name="connsiteY698" fmla="*/ 3960431 h 7305087"/>
              <a:gd name="connsiteX699" fmla="*/ 579880 w 8266922"/>
              <a:gd name="connsiteY699" fmla="*/ 4001216 h 7305087"/>
              <a:gd name="connsiteX700" fmla="*/ 594862 w 8266922"/>
              <a:gd name="connsiteY700" fmla="*/ 4038677 h 7305087"/>
              <a:gd name="connsiteX701" fmla="*/ 612768 w 8266922"/>
              <a:gd name="connsiteY701" fmla="*/ 4072698 h 7305087"/>
              <a:gd name="connsiteX702" fmla="*/ 658222 w 8266922"/>
              <a:gd name="connsiteY702" fmla="*/ 4129942 h 7305087"/>
              <a:gd name="connsiteX703" fmla="*/ 717988 w 8266922"/>
              <a:gd name="connsiteY703" fmla="*/ 4172002 h 7305087"/>
              <a:gd name="connsiteX704" fmla="*/ 753783 w 8266922"/>
              <a:gd name="connsiteY704" fmla="*/ 4187042 h 7305087"/>
              <a:gd name="connsiteX705" fmla="*/ 793811 w 8266922"/>
              <a:gd name="connsiteY705" fmla="*/ 4197931 h 7305087"/>
              <a:gd name="connsiteX706" fmla="*/ 838289 w 8266922"/>
              <a:gd name="connsiteY706" fmla="*/ 4204552 h 7305087"/>
              <a:gd name="connsiteX707" fmla="*/ 887436 w 8266922"/>
              <a:gd name="connsiteY707" fmla="*/ 4206785 h 7305087"/>
              <a:gd name="connsiteX708" fmla="*/ 887436 w 8266922"/>
              <a:gd name="connsiteY708" fmla="*/ 4303607 h 7305087"/>
              <a:gd name="connsiteX709" fmla="*/ 833914 w 8266922"/>
              <a:gd name="connsiteY709" fmla="*/ 4301718 h 7305087"/>
              <a:gd name="connsiteX710" fmla="*/ 784433 w 8266922"/>
              <a:gd name="connsiteY710" fmla="*/ 4296105 h 7305087"/>
              <a:gd name="connsiteX711" fmla="*/ 738854 w 8266922"/>
              <a:gd name="connsiteY711" fmla="*/ 4286851 h 7305087"/>
              <a:gd name="connsiteX712" fmla="*/ 697035 w 8266922"/>
              <a:gd name="connsiteY712" fmla="*/ 4274039 h 7305087"/>
              <a:gd name="connsiteX713" fmla="*/ 658838 w 8266922"/>
              <a:gd name="connsiteY713" fmla="*/ 4257752 h 7305087"/>
              <a:gd name="connsiteX714" fmla="*/ 624121 w 8266922"/>
              <a:gd name="connsiteY714" fmla="*/ 4238071 h 7305087"/>
              <a:gd name="connsiteX715" fmla="*/ 592745 w 8266922"/>
              <a:gd name="connsiteY715" fmla="*/ 4215081 h 7305087"/>
              <a:gd name="connsiteX716" fmla="*/ 564568 w 8266922"/>
              <a:gd name="connsiteY716" fmla="*/ 4188862 h 7305087"/>
              <a:gd name="connsiteX717" fmla="*/ 539451 w 8266922"/>
              <a:gd name="connsiteY717" fmla="*/ 4159499 h 7305087"/>
              <a:gd name="connsiteX718" fmla="*/ 517255 w 8266922"/>
              <a:gd name="connsiteY718" fmla="*/ 4127073 h 7305087"/>
              <a:gd name="connsiteX719" fmla="*/ 497837 w 8266922"/>
              <a:gd name="connsiteY719" fmla="*/ 4091667 h 7305087"/>
              <a:gd name="connsiteX720" fmla="*/ 481060 w 8266922"/>
              <a:gd name="connsiteY720" fmla="*/ 4053364 h 7305087"/>
              <a:gd name="connsiteX721" fmla="*/ 466781 w 8266922"/>
              <a:gd name="connsiteY721" fmla="*/ 4012246 h 7305087"/>
              <a:gd name="connsiteX722" fmla="*/ 454861 w 8266922"/>
              <a:gd name="connsiteY722" fmla="*/ 3968397 h 7305087"/>
              <a:gd name="connsiteX723" fmla="*/ 445159 w 8266922"/>
              <a:gd name="connsiteY723" fmla="*/ 3921898 h 7305087"/>
              <a:gd name="connsiteX724" fmla="*/ 437536 w 8266922"/>
              <a:gd name="connsiteY724" fmla="*/ 3872833 h 7305087"/>
              <a:gd name="connsiteX725" fmla="*/ 431851 w 8266922"/>
              <a:gd name="connsiteY725" fmla="*/ 3821283 h 7305087"/>
              <a:gd name="connsiteX726" fmla="*/ 427964 w 8266922"/>
              <a:gd name="connsiteY726" fmla="*/ 3767333 h 7305087"/>
              <a:gd name="connsiteX727" fmla="*/ 425734 w 8266922"/>
              <a:gd name="connsiteY727" fmla="*/ 3711063 h 7305087"/>
              <a:gd name="connsiteX728" fmla="*/ 425023 w 8266922"/>
              <a:gd name="connsiteY728" fmla="*/ 3652558 h 7305087"/>
              <a:gd name="connsiteX729" fmla="*/ 425758 w 8266922"/>
              <a:gd name="connsiteY729" fmla="*/ 3594302 h 7305087"/>
              <a:gd name="connsiteX730" fmla="*/ 428054 w 8266922"/>
              <a:gd name="connsiteY730" fmla="*/ 3538282 h 7305087"/>
              <a:gd name="connsiteX731" fmla="*/ 432043 w 8266922"/>
              <a:gd name="connsiteY731" fmla="*/ 3484578 h 7305087"/>
              <a:gd name="connsiteX732" fmla="*/ 437856 w 8266922"/>
              <a:gd name="connsiteY732" fmla="*/ 3433271 h 7305087"/>
              <a:gd name="connsiteX733" fmla="*/ 445629 w 8266922"/>
              <a:gd name="connsiteY733" fmla="*/ 3384443 h 7305087"/>
              <a:gd name="connsiteX734" fmla="*/ 455492 w 8266922"/>
              <a:gd name="connsiteY734" fmla="*/ 3338176 h 7305087"/>
              <a:gd name="connsiteX735" fmla="*/ 467578 w 8266922"/>
              <a:gd name="connsiteY735" fmla="*/ 3294551 h 7305087"/>
              <a:gd name="connsiteX736" fmla="*/ 482021 w 8266922"/>
              <a:gd name="connsiteY736" fmla="*/ 3253648 h 7305087"/>
              <a:gd name="connsiteX737" fmla="*/ 498953 w 8266922"/>
              <a:gd name="connsiteY737" fmla="*/ 3215550 h 7305087"/>
              <a:gd name="connsiteX738" fmla="*/ 518506 w 8266922"/>
              <a:gd name="connsiteY738" fmla="*/ 3180338 h 7305087"/>
              <a:gd name="connsiteX739" fmla="*/ 540814 w 8266922"/>
              <a:gd name="connsiteY739" fmla="*/ 3148093 h 7305087"/>
              <a:gd name="connsiteX740" fmla="*/ 566010 w 8266922"/>
              <a:gd name="connsiteY740" fmla="*/ 3118897 h 7305087"/>
              <a:gd name="connsiteX741" fmla="*/ 594226 w 8266922"/>
              <a:gd name="connsiteY741" fmla="*/ 3092831 h 7305087"/>
              <a:gd name="connsiteX742" fmla="*/ 625592 w 8266922"/>
              <a:gd name="connsiteY742" fmla="*/ 3069977 h 7305087"/>
              <a:gd name="connsiteX743" fmla="*/ 660246 w 8266922"/>
              <a:gd name="connsiteY743" fmla="*/ 3050415 h 7305087"/>
              <a:gd name="connsiteX744" fmla="*/ 698317 w 8266922"/>
              <a:gd name="connsiteY744" fmla="*/ 3034227 h 7305087"/>
              <a:gd name="connsiteX745" fmla="*/ 739939 w 8266922"/>
              <a:gd name="connsiteY745" fmla="*/ 3021495 h 7305087"/>
              <a:gd name="connsiteX746" fmla="*/ 785244 w 8266922"/>
              <a:gd name="connsiteY746" fmla="*/ 3012300 h 7305087"/>
              <a:gd name="connsiteX747" fmla="*/ 834365 w 8266922"/>
              <a:gd name="connsiteY747" fmla="*/ 3006723 h 7305087"/>
              <a:gd name="connsiteX748" fmla="*/ 7060934 w 8266922"/>
              <a:gd name="connsiteY748" fmla="*/ 2524077 h 7305087"/>
              <a:gd name="connsiteX749" fmla="*/ 7267935 w 8266922"/>
              <a:gd name="connsiteY749" fmla="*/ 2524077 h 7305087"/>
              <a:gd name="connsiteX750" fmla="*/ 7267935 w 8266922"/>
              <a:gd name="connsiteY750" fmla="*/ 2697690 h 7305087"/>
              <a:gd name="connsiteX751" fmla="*/ 7060934 w 8266922"/>
              <a:gd name="connsiteY751" fmla="*/ 2697690 h 7305087"/>
              <a:gd name="connsiteX752" fmla="*/ 2536338 w 8266922"/>
              <a:gd name="connsiteY752" fmla="*/ 2373825 h 7305087"/>
              <a:gd name="connsiteX753" fmla="*/ 3441128 w 8266922"/>
              <a:gd name="connsiteY753" fmla="*/ 2373825 h 7305087"/>
              <a:gd name="connsiteX754" fmla="*/ 3441128 w 8266922"/>
              <a:gd name="connsiteY754" fmla="*/ 2480664 h 7305087"/>
              <a:gd name="connsiteX755" fmla="*/ 2536338 w 8266922"/>
              <a:gd name="connsiteY755" fmla="*/ 2480664 h 7305087"/>
              <a:gd name="connsiteX756" fmla="*/ 1024388 w 8266922"/>
              <a:gd name="connsiteY756" fmla="*/ 2373825 h 7305087"/>
              <a:gd name="connsiteX757" fmla="*/ 1929180 w 8266922"/>
              <a:gd name="connsiteY757" fmla="*/ 2373825 h 7305087"/>
              <a:gd name="connsiteX758" fmla="*/ 1929180 w 8266922"/>
              <a:gd name="connsiteY758" fmla="*/ 2480664 h 7305087"/>
              <a:gd name="connsiteX759" fmla="*/ 1024388 w 8266922"/>
              <a:gd name="connsiteY759" fmla="*/ 2480664 h 7305087"/>
              <a:gd name="connsiteX760" fmla="*/ 2536338 w 8266922"/>
              <a:gd name="connsiteY760" fmla="*/ 2024932 h 7305087"/>
              <a:gd name="connsiteX761" fmla="*/ 3441128 w 8266922"/>
              <a:gd name="connsiteY761" fmla="*/ 2024932 h 7305087"/>
              <a:gd name="connsiteX762" fmla="*/ 3441128 w 8266922"/>
              <a:gd name="connsiteY762" fmla="*/ 2131770 h 7305087"/>
              <a:gd name="connsiteX763" fmla="*/ 2536338 w 8266922"/>
              <a:gd name="connsiteY763" fmla="*/ 2131770 h 7305087"/>
              <a:gd name="connsiteX764" fmla="*/ 1024388 w 8266922"/>
              <a:gd name="connsiteY764" fmla="*/ 2024932 h 7305087"/>
              <a:gd name="connsiteX765" fmla="*/ 1929180 w 8266922"/>
              <a:gd name="connsiteY765" fmla="*/ 2024932 h 7305087"/>
              <a:gd name="connsiteX766" fmla="*/ 1929180 w 8266922"/>
              <a:gd name="connsiteY766" fmla="*/ 2131770 h 7305087"/>
              <a:gd name="connsiteX767" fmla="*/ 1024388 w 8266922"/>
              <a:gd name="connsiteY767" fmla="*/ 2131770 h 7305087"/>
              <a:gd name="connsiteX768" fmla="*/ 6145468 w 8266922"/>
              <a:gd name="connsiteY768" fmla="*/ 1508808 h 7305087"/>
              <a:gd name="connsiteX769" fmla="*/ 6519394 w 8266922"/>
              <a:gd name="connsiteY769" fmla="*/ 1508808 h 7305087"/>
              <a:gd name="connsiteX770" fmla="*/ 6519394 w 8266922"/>
              <a:gd name="connsiteY770" fmla="*/ 1604058 h 7305087"/>
              <a:gd name="connsiteX771" fmla="*/ 6260644 w 8266922"/>
              <a:gd name="connsiteY771" fmla="*/ 1604058 h 7305087"/>
              <a:gd name="connsiteX772" fmla="*/ 6260644 w 8266922"/>
              <a:gd name="connsiteY772" fmla="*/ 2702607 h 7305087"/>
              <a:gd name="connsiteX773" fmla="*/ 6519394 w 8266922"/>
              <a:gd name="connsiteY773" fmla="*/ 2702607 h 7305087"/>
              <a:gd name="connsiteX774" fmla="*/ 6519394 w 8266922"/>
              <a:gd name="connsiteY774" fmla="*/ 2797857 h 7305087"/>
              <a:gd name="connsiteX775" fmla="*/ 6145468 w 8266922"/>
              <a:gd name="connsiteY775" fmla="*/ 2797857 h 7305087"/>
              <a:gd name="connsiteX776" fmla="*/ 6145468 w 8266922"/>
              <a:gd name="connsiteY776" fmla="*/ 2702607 h 7305087"/>
              <a:gd name="connsiteX777" fmla="*/ 6145468 w 8266922"/>
              <a:gd name="connsiteY777" fmla="*/ 1604058 h 7305087"/>
              <a:gd name="connsiteX778" fmla="*/ 7804510 w 8266922"/>
              <a:gd name="connsiteY778" fmla="*/ 1502430 h 7305087"/>
              <a:gd name="connsiteX779" fmla="*/ 7857580 w 8266922"/>
              <a:gd name="connsiteY779" fmla="*/ 1504306 h 7305087"/>
              <a:gd name="connsiteX780" fmla="*/ 7906701 w 8266922"/>
              <a:gd name="connsiteY780" fmla="*/ 1509883 h 7305087"/>
              <a:gd name="connsiteX781" fmla="*/ 7952006 w 8266922"/>
              <a:gd name="connsiteY781" fmla="*/ 1519078 h 7305087"/>
              <a:gd name="connsiteX782" fmla="*/ 7993628 w 8266922"/>
              <a:gd name="connsiteY782" fmla="*/ 1531810 h 7305087"/>
              <a:gd name="connsiteX783" fmla="*/ 8031699 w 8266922"/>
              <a:gd name="connsiteY783" fmla="*/ 1547998 h 7305087"/>
              <a:gd name="connsiteX784" fmla="*/ 8066352 w 8266922"/>
              <a:gd name="connsiteY784" fmla="*/ 1567559 h 7305087"/>
              <a:gd name="connsiteX785" fmla="*/ 8097719 w 8266922"/>
              <a:gd name="connsiteY785" fmla="*/ 1590414 h 7305087"/>
              <a:gd name="connsiteX786" fmla="*/ 8125934 w 8266922"/>
              <a:gd name="connsiteY786" fmla="*/ 1616479 h 7305087"/>
              <a:gd name="connsiteX787" fmla="*/ 8151130 w 8266922"/>
              <a:gd name="connsiteY787" fmla="*/ 1645676 h 7305087"/>
              <a:gd name="connsiteX788" fmla="*/ 8173438 w 8266922"/>
              <a:gd name="connsiteY788" fmla="*/ 1677921 h 7305087"/>
              <a:gd name="connsiteX789" fmla="*/ 8192991 w 8266922"/>
              <a:gd name="connsiteY789" fmla="*/ 1713133 h 7305087"/>
              <a:gd name="connsiteX790" fmla="*/ 8209923 w 8266922"/>
              <a:gd name="connsiteY790" fmla="*/ 1751231 h 7305087"/>
              <a:gd name="connsiteX791" fmla="*/ 8224366 w 8266922"/>
              <a:gd name="connsiteY791" fmla="*/ 1792133 h 7305087"/>
              <a:gd name="connsiteX792" fmla="*/ 8236453 w 8266922"/>
              <a:gd name="connsiteY792" fmla="*/ 1835759 h 7305087"/>
              <a:gd name="connsiteX793" fmla="*/ 8246316 w 8266922"/>
              <a:gd name="connsiteY793" fmla="*/ 1882026 h 7305087"/>
              <a:gd name="connsiteX794" fmla="*/ 8254088 w 8266922"/>
              <a:gd name="connsiteY794" fmla="*/ 1930854 h 7305087"/>
              <a:gd name="connsiteX795" fmla="*/ 8259902 w 8266922"/>
              <a:gd name="connsiteY795" fmla="*/ 1982160 h 7305087"/>
              <a:gd name="connsiteX796" fmla="*/ 8263890 w 8266922"/>
              <a:gd name="connsiteY796" fmla="*/ 2035865 h 7305087"/>
              <a:gd name="connsiteX797" fmla="*/ 8266186 w 8266922"/>
              <a:gd name="connsiteY797" fmla="*/ 2091886 h 7305087"/>
              <a:gd name="connsiteX798" fmla="*/ 8266922 w 8266922"/>
              <a:gd name="connsiteY798" fmla="*/ 2150141 h 7305087"/>
              <a:gd name="connsiteX799" fmla="*/ 8266222 w 8266922"/>
              <a:gd name="connsiteY799" fmla="*/ 2208645 h 7305087"/>
              <a:gd name="connsiteX800" fmla="*/ 8264025 w 8266922"/>
              <a:gd name="connsiteY800" fmla="*/ 2264915 h 7305087"/>
              <a:gd name="connsiteX801" fmla="*/ 8260189 w 8266922"/>
              <a:gd name="connsiteY801" fmla="*/ 2318865 h 7305087"/>
              <a:gd name="connsiteX802" fmla="*/ 8254568 w 8266922"/>
              <a:gd name="connsiteY802" fmla="*/ 2370415 h 7305087"/>
              <a:gd name="connsiteX803" fmla="*/ 8247020 w 8266922"/>
              <a:gd name="connsiteY803" fmla="*/ 2419480 h 7305087"/>
              <a:gd name="connsiteX804" fmla="*/ 8237399 w 8266922"/>
              <a:gd name="connsiteY804" fmla="*/ 2465979 h 7305087"/>
              <a:gd name="connsiteX805" fmla="*/ 8225562 w 8266922"/>
              <a:gd name="connsiteY805" fmla="*/ 2509828 h 7305087"/>
              <a:gd name="connsiteX806" fmla="*/ 8211365 w 8266922"/>
              <a:gd name="connsiteY806" fmla="*/ 2550946 h 7305087"/>
              <a:gd name="connsiteX807" fmla="*/ 8194665 w 8266922"/>
              <a:gd name="connsiteY807" fmla="*/ 2589249 h 7305087"/>
              <a:gd name="connsiteX808" fmla="*/ 8175316 w 8266922"/>
              <a:gd name="connsiteY808" fmla="*/ 2624655 h 7305087"/>
              <a:gd name="connsiteX809" fmla="*/ 8153175 w 8266922"/>
              <a:gd name="connsiteY809" fmla="*/ 2657081 h 7305087"/>
              <a:gd name="connsiteX810" fmla="*/ 8128098 w 8266922"/>
              <a:gd name="connsiteY810" fmla="*/ 2686444 h 7305087"/>
              <a:gd name="connsiteX811" fmla="*/ 8099941 w 8266922"/>
              <a:gd name="connsiteY811" fmla="*/ 2712663 h 7305087"/>
              <a:gd name="connsiteX812" fmla="*/ 8068560 w 8266922"/>
              <a:gd name="connsiteY812" fmla="*/ 2735653 h 7305087"/>
              <a:gd name="connsiteX813" fmla="*/ 8033812 w 8266922"/>
              <a:gd name="connsiteY813" fmla="*/ 2755334 h 7305087"/>
              <a:gd name="connsiteX814" fmla="*/ 7995551 w 8266922"/>
              <a:gd name="connsiteY814" fmla="*/ 2771621 h 7305087"/>
              <a:gd name="connsiteX815" fmla="*/ 7953634 w 8266922"/>
              <a:gd name="connsiteY815" fmla="*/ 2784433 h 7305087"/>
              <a:gd name="connsiteX816" fmla="*/ 7907918 w 8266922"/>
              <a:gd name="connsiteY816" fmla="*/ 2793687 h 7305087"/>
              <a:gd name="connsiteX817" fmla="*/ 7858258 w 8266922"/>
              <a:gd name="connsiteY817" fmla="*/ 2799300 h 7305087"/>
              <a:gd name="connsiteX818" fmla="*/ 7804510 w 8266922"/>
              <a:gd name="connsiteY818" fmla="*/ 2801189 h 7305087"/>
              <a:gd name="connsiteX819" fmla="*/ 7804510 w 8266922"/>
              <a:gd name="connsiteY819" fmla="*/ 2704367 h 7305087"/>
              <a:gd name="connsiteX820" fmla="*/ 7854195 w 8266922"/>
              <a:gd name="connsiteY820" fmla="*/ 2702134 h 7305087"/>
              <a:gd name="connsiteX821" fmla="*/ 7899116 w 8266922"/>
              <a:gd name="connsiteY821" fmla="*/ 2695513 h 7305087"/>
              <a:gd name="connsiteX822" fmla="*/ 7939498 w 8266922"/>
              <a:gd name="connsiteY822" fmla="*/ 2684624 h 7305087"/>
              <a:gd name="connsiteX823" fmla="*/ 7975569 w 8266922"/>
              <a:gd name="connsiteY823" fmla="*/ 2669584 h 7305087"/>
              <a:gd name="connsiteX824" fmla="*/ 8035680 w 8266922"/>
              <a:gd name="connsiteY824" fmla="*/ 2627524 h 7305087"/>
              <a:gd name="connsiteX825" fmla="*/ 8081260 w 8266922"/>
              <a:gd name="connsiteY825" fmla="*/ 2570280 h 7305087"/>
              <a:gd name="connsiteX826" fmla="*/ 8099165 w 8266922"/>
              <a:gd name="connsiteY826" fmla="*/ 2536259 h 7305087"/>
              <a:gd name="connsiteX827" fmla="*/ 8114117 w 8266922"/>
              <a:gd name="connsiteY827" fmla="*/ 2498797 h 7305087"/>
              <a:gd name="connsiteX828" fmla="*/ 8126341 w 8266922"/>
              <a:gd name="connsiteY828" fmla="*/ 2458012 h 7305087"/>
              <a:gd name="connsiteX829" fmla="*/ 8136064 w 8266922"/>
              <a:gd name="connsiteY829" fmla="*/ 2414022 h 7305087"/>
              <a:gd name="connsiteX830" fmla="*/ 8143511 w 8266922"/>
              <a:gd name="connsiteY830" fmla="*/ 2366946 h 7305087"/>
              <a:gd name="connsiteX831" fmla="*/ 8148910 w 8266922"/>
              <a:gd name="connsiteY831" fmla="*/ 2316901 h 7305087"/>
              <a:gd name="connsiteX832" fmla="*/ 8152486 w 8266922"/>
              <a:gd name="connsiteY832" fmla="*/ 2264006 h 7305087"/>
              <a:gd name="connsiteX833" fmla="*/ 8154465 w 8266922"/>
              <a:gd name="connsiteY833" fmla="*/ 2208380 h 7305087"/>
              <a:gd name="connsiteX834" fmla="*/ 8155075 w 8266922"/>
              <a:gd name="connsiteY834" fmla="*/ 2150141 h 7305087"/>
              <a:gd name="connsiteX835" fmla="*/ 8154433 w 8266922"/>
              <a:gd name="connsiteY835" fmla="*/ 2092472 h 7305087"/>
              <a:gd name="connsiteX836" fmla="*/ 8152363 w 8266922"/>
              <a:gd name="connsiteY836" fmla="*/ 2037383 h 7305087"/>
              <a:gd name="connsiteX837" fmla="*/ 8148653 w 8266922"/>
              <a:gd name="connsiteY837" fmla="*/ 1984990 h 7305087"/>
              <a:gd name="connsiteX838" fmla="*/ 8143087 w 8266922"/>
              <a:gd name="connsiteY838" fmla="*/ 1935414 h 7305087"/>
              <a:gd name="connsiteX839" fmla="*/ 8135452 w 8266922"/>
              <a:gd name="connsiteY839" fmla="*/ 1888770 h 7305087"/>
              <a:gd name="connsiteX840" fmla="*/ 8125534 w 8266922"/>
              <a:gd name="connsiteY840" fmla="*/ 1845179 h 7305087"/>
              <a:gd name="connsiteX841" fmla="*/ 8113118 w 8266922"/>
              <a:gd name="connsiteY841" fmla="*/ 1804759 h 7305087"/>
              <a:gd name="connsiteX842" fmla="*/ 8097991 w 8266922"/>
              <a:gd name="connsiteY842" fmla="*/ 1767626 h 7305087"/>
              <a:gd name="connsiteX843" fmla="*/ 8079938 w 8266922"/>
              <a:gd name="connsiteY843" fmla="*/ 1733900 h 7305087"/>
              <a:gd name="connsiteX844" fmla="*/ 8034200 w 8266922"/>
              <a:gd name="connsiteY844" fmla="*/ 1677141 h 7305087"/>
              <a:gd name="connsiteX845" fmla="*/ 7974191 w 8266922"/>
              <a:gd name="connsiteY845" fmla="*/ 1635428 h 7305087"/>
              <a:gd name="connsiteX846" fmla="*/ 7938299 w 8266922"/>
              <a:gd name="connsiteY846" fmla="*/ 1620509 h 7305087"/>
              <a:gd name="connsiteX847" fmla="*/ 7898198 w 8266922"/>
              <a:gd name="connsiteY847" fmla="*/ 1609705 h 7305087"/>
              <a:gd name="connsiteX848" fmla="*/ 7853673 w 8266922"/>
              <a:gd name="connsiteY848" fmla="*/ 1603138 h 7305087"/>
              <a:gd name="connsiteX849" fmla="*/ 7804510 w 8266922"/>
              <a:gd name="connsiteY849" fmla="*/ 1600921 h 7305087"/>
              <a:gd name="connsiteX850" fmla="*/ 5032599 w 8266922"/>
              <a:gd name="connsiteY850" fmla="*/ 1502430 h 7305087"/>
              <a:gd name="connsiteX851" fmla="*/ 5085669 w 8266922"/>
              <a:gd name="connsiteY851" fmla="*/ 1504306 h 7305087"/>
              <a:gd name="connsiteX852" fmla="*/ 5134790 w 8266922"/>
              <a:gd name="connsiteY852" fmla="*/ 1509883 h 7305087"/>
              <a:gd name="connsiteX853" fmla="*/ 5180096 w 8266922"/>
              <a:gd name="connsiteY853" fmla="*/ 1519078 h 7305087"/>
              <a:gd name="connsiteX854" fmla="*/ 5221718 w 8266922"/>
              <a:gd name="connsiteY854" fmla="*/ 1531810 h 7305087"/>
              <a:gd name="connsiteX855" fmla="*/ 5259789 w 8266922"/>
              <a:gd name="connsiteY855" fmla="*/ 1547998 h 7305087"/>
              <a:gd name="connsiteX856" fmla="*/ 5294442 w 8266922"/>
              <a:gd name="connsiteY856" fmla="*/ 1567559 h 7305087"/>
              <a:gd name="connsiteX857" fmla="*/ 5325809 w 8266922"/>
              <a:gd name="connsiteY857" fmla="*/ 1590414 h 7305087"/>
              <a:gd name="connsiteX858" fmla="*/ 5354024 w 8266922"/>
              <a:gd name="connsiteY858" fmla="*/ 1616479 h 7305087"/>
              <a:gd name="connsiteX859" fmla="*/ 5379220 w 8266922"/>
              <a:gd name="connsiteY859" fmla="*/ 1645676 h 7305087"/>
              <a:gd name="connsiteX860" fmla="*/ 5401528 w 8266922"/>
              <a:gd name="connsiteY860" fmla="*/ 1677921 h 7305087"/>
              <a:gd name="connsiteX861" fmla="*/ 5421081 w 8266922"/>
              <a:gd name="connsiteY861" fmla="*/ 1713133 h 7305087"/>
              <a:gd name="connsiteX862" fmla="*/ 5438013 w 8266922"/>
              <a:gd name="connsiteY862" fmla="*/ 1751231 h 7305087"/>
              <a:gd name="connsiteX863" fmla="*/ 5452456 w 8266922"/>
              <a:gd name="connsiteY863" fmla="*/ 1792133 h 7305087"/>
              <a:gd name="connsiteX864" fmla="*/ 5464543 w 8266922"/>
              <a:gd name="connsiteY864" fmla="*/ 1835759 h 7305087"/>
              <a:gd name="connsiteX865" fmla="*/ 5474406 w 8266922"/>
              <a:gd name="connsiteY865" fmla="*/ 1882026 h 7305087"/>
              <a:gd name="connsiteX866" fmla="*/ 5482178 w 8266922"/>
              <a:gd name="connsiteY866" fmla="*/ 1930854 h 7305087"/>
              <a:gd name="connsiteX867" fmla="*/ 5487992 w 8266922"/>
              <a:gd name="connsiteY867" fmla="*/ 1982160 h 7305087"/>
              <a:gd name="connsiteX868" fmla="*/ 5491980 w 8266922"/>
              <a:gd name="connsiteY868" fmla="*/ 2035865 h 7305087"/>
              <a:gd name="connsiteX869" fmla="*/ 5494276 w 8266922"/>
              <a:gd name="connsiteY869" fmla="*/ 2091886 h 7305087"/>
              <a:gd name="connsiteX870" fmla="*/ 5495012 w 8266922"/>
              <a:gd name="connsiteY870" fmla="*/ 2150141 h 7305087"/>
              <a:gd name="connsiteX871" fmla="*/ 5494312 w 8266922"/>
              <a:gd name="connsiteY871" fmla="*/ 2208645 h 7305087"/>
              <a:gd name="connsiteX872" fmla="*/ 5492115 w 8266922"/>
              <a:gd name="connsiteY872" fmla="*/ 2264915 h 7305087"/>
              <a:gd name="connsiteX873" fmla="*/ 5488279 w 8266922"/>
              <a:gd name="connsiteY873" fmla="*/ 2318865 h 7305087"/>
              <a:gd name="connsiteX874" fmla="*/ 5482658 w 8266922"/>
              <a:gd name="connsiteY874" fmla="*/ 2370415 h 7305087"/>
              <a:gd name="connsiteX875" fmla="*/ 5475110 w 8266922"/>
              <a:gd name="connsiteY875" fmla="*/ 2419480 h 7305087"/>
              <a:gd name="connsiteX876" fmla="*/ 5465489 w 8266922"/>
              <a:gd name="connsiteY876" fmla="*/ 2465979 h 7305087"/>
              <a:gd name="connsiteX877" fmla="*/ 5453652 w 8266922"/>
              <a:gd name="connsiteY877" fmla="*/ 2509828 h 7305087"/>
              <a:gd name="connsiteX878" fmla="*/ 5439455 w 8266922"/>
              <a:gd name="connsiteY878" fmla="*/ 2550946 h 7305087"/>
              <a:gd name="connsiteX879" fmla="*/ 5422755 w 8266922"/>
              <a:gd name="connsiteY879" fmla="*/ 2589249 h 7305087"/>
              <a:gd name="connsiteX880" fmla="*/ 5403406 w 8266922"/>
              <a:gd name="connsiteY880" fmla="*/ 2624655 h 7305087"/>
              <a:gd name="connsiteX881" fmla="*/ 5381265 w 8266922"/>
              <a:gd name="connsiteY881" fmla="*/ 2657081 h 7305087"/>
              <a:gd name="connsiteX882" fmla="*/ 5356188 w 8266922"/>
              <a:gd name="connsiteY882" fmla="*/ 2686444 h 7305087"/>
              <a:gd name="connsiteX883" fmla="*/ 5328031 w 8266922"/>
              <a:gd name="connsiteY883" fmla="*/ 2712663 h 7305087"/>
              <a:gd name="connsiteX884" fmla="*/ 5296650 w 8266922"/>
              <a:gd name="connsiteY884" fmla="*/ 2735653 h 7305087"/>
              <a:gd name="connsiteX885" fmla="*/ 5261902 w 8266922"/>
              <a:gd name="connsiteY885" fmla="*/ 2755334 h 7305087"/>
              <a:gd name="connsiteX886" fmla="*/ 5223641 w 8266922"/>
              <a:gd name="connsiteY886" fmla="*/ 2771621 h 7305087"/>
              <a:gd name="connsiteX887" fmla="*/ 5181724 w 8266922"/>
              <a:gd name="connsiteY887" fmla="*/ 2784433 h 7305087"/>
              <a:gd name="connsiteX888" fmla="*/ 5136007 w 8266922"/>
              <a:gd name="connsiteY888" fmla="*/ 2793687 h 7305087"/>
              <a:gd name="connsiteX889" fmla="*/ 5086347 w 8266922"/>
              <a:gd name="connsiteY889" fmla="*/ 2799300 h 7305087"/>
              <a:gd name="connsiteX890" fmla="*/ 5032599 w 8266922"/>
              <a:gd name="connsiteY890" fmla="*/ 2801189 h 7305087"/>
              <a:gd name="connsiteX891" fmla="*/ 5032599 w 8266922"/>
              <a:gd name="connsiteY891" fmla="*/ 2704367 h 7305087"/>
              <a:gd name="connsiteX892" fmla="*/ 5082284 w 8266922"/>
              <a:gd name="connsiteY892" fmla="*/ 2702134 h 7305087"/>
              <a:gd name="connsiteX893" fmla="*/ 5127205 w 8266922"/>
              <a:gd name="connsiteY893" fmla="*/ 2695513 h 7305087"/>
              <a:gd name="connsiteX894" fmla="*/ 5167588 w 8266922"/>
              <a:gd name="connsiteY894" fmla="*/ 2684624 h 7305087"/>
              <a:gd name="connsiteX895" fmla="*/ 5203659 w 8266922"/>
              <a:gd name="connsiteY895" fmla="*/ 2669584 h 7305087"/>
              <a:gd name="connsiteX896" fmla="*/ 5263770 w 8266922"/>
              <a:gd name="connsiteY896" fmla="*/ 2627524 h 7305087"/>
              <a:gd name="connsiteX897" fmla="*/ 5309350 w 8266922"/>
              <a:gd name="connsiteY897" fmla="*/ 2570280 h 7305087"/>
              <a:gd name="connsiteX898" fmla="*/ 5327255 w 8266922"/>
              <a:gd name="connsiteY898" fmla="*/ 2536259 h 7305087"/>
              <a:gd name="connsiteX899" fmla="*/ 5342207 w 8266922"/>
              <a:gd name="connsiteY899" fmla="*/ 2498797 h 7305087"/>
              <a:gd name="connsiteX900" fmla="*/ 5354431 w 8266922"/>
              <a:gd name="connsiteY900" fmla="*/ 2458012 h 7305087"/>
              <a:gd name="connsiteX901" fmla="*/ 5364154 w 8266922"/>
              <a:gd name="connsiteY901" fmla="*/ 2414022 h 7305087"/>
              <a:gd name="connsiteX902" fmla="*/ 5371601 w 8266922"/>
              <a:gd name="connsiteY902" fmla="*/ 2366946 h 7305087"/>
              <a:gd name="connsiteX903" fmla="*/ 5377000 w 8266922"/>
              <a:gd name="connsiteY903" fmla="*/ 2316901 h 7305087"/>
              <a:gd name="connsiteX904" fmla="*/ 5380576 w 8266922"/>
              <a:gd name="connsiteY904" fmla="*/ 2264006 h 7305087"/>
              <a:gd name="connsiteX905" fmla="*/ 5382555 w 8266922"/>
              <a:gd name="connsiteY905" fmla="*/ 2208380 h 7305087"/>
              <a:gd name="connsiteX906" fmla="*/ 5383165 w 8266922"/>
              <a:gd name="connsiteY906" fmla="*/ 2150141 h 7305087"/>
              <a:gd name="connsiteX907" fmla="*/ 5382523 w 8266922"/>
              <a:gd name="connsiteY907" fmla="*/ 2092472 h 7305087"/>
              <a:gd name="connsiteX908" fmla="*/ 5380453 w 8266922"/>
              <a:gd name="connsiteY908" fmla="*/ 2037383 h 7305087"/>
              <a:gd name="connsiteX909" fmla="*/ 5376743 w 8266922"/>
              <a:gd name="connsiteY909" fmla="*/ 1984990 h 7305087"/>
              <a:gd name="connsiteX910" fmla="*/ 5371177 w 8266922"/>
              <a:gd name="connsiteY910" fmla="*/ 1935414 h 7305087"/>
              <a:gd name="connsiteX911" fmla="*/ 5363542 w 8266922"/>
              <a:gd name="connsiteY911" fmla="*/ 1888770 h 7305087"/>
              <a:gd name="connsiteX912" fmla="*/ 5353624 w 8266922"/>
              <a:gd name="connsiteY912" fmla="*/ 1845179 h 7305087"/>
              <a:gd name="connsiteX913" fmla="*/ 5341208 w 8266922"/>
              <a:gd name="connsiteY913" fmla="*/ 1804759 h 7305087"/>
              <a:gd name="connsiteX914" fmla="*/ 5326081 w 8266922"/>
              <a:gd name="connsiteY914" fmla="*/ 1767626 h 7305087"/>
              <a:gd name="connsiteX915" fmla="*/ 5308028 w 8266922"/>
              <a:gd name="connsiteY915" fmla="*/ 1733900 h 7305087"/>
              <a:gd name="connsiteX916" fmla="*/ 5262290 w 8266922"/>
              <a:gd name="connsiteY916" fmla="*/ 1677141 h 7305087"/>
              <a:gd name="connsiteX917" fmla="*/ 5202281 w 8266922"/>
              <a:gd name="connsiteY917" fmla="*/ 1635428 h 7305087"/>
              <a:gd name="connsiteX918" fmla="*/ 5166389 w 8266922"/>
              <a:gd name="connsiteY918" fmla="*/ 1620509 h 7305087"/>
              <a:gd name="connsiteX919" fmla="*/ 5126287 w 8266922"/>
              <a:gd name="connsiteY919" fmla="*/ 1609705 h 7305087"/>
              <a:gd name="connsiteX920" fmla="*/ 5081762 w 8266922"/>
              <a:gd name="connsiteY920" fmla="*/ 1603138 h 7305087"/>
              <a:gd name="connsiteX921" fmla="*/ 5032599 w 8266922"/>
              <a:gd name="connsiteY921" fmla="*/ 1600921 h 7305087"/>
              <a:gd name="connsiteX922" fmla="*/ 4515699 w 8266922"/>
              <a:gd name="connsiteY922" fmla="*/ 1502430 h 7305087"/>
              <a:gd name="connsiteX923" fmla="*/ 4515699 w 8266922"/>
              <a:gd name="connsiteY923" fmla="*/ 1600921 h 7305087"/>
              <a:gd name="connsiteX924" fmla="*/ 4466813 w 8266922"/>
              <a:gd name="connsiteY924" fmla="*/ 1603138 h 7305087"/>
              <a:gd name="connsiteX925" fmla="*/ 4422532 w 8266922"/>
              <a:gd name="connsiteY925" fmla="*/ 1609705 h 7305087"/>
              <a:gd name="connsiteX926" fmla="*/ 4382646 w 8266922"/>
              <a:gd name="connsiteY926" fmla="*/ 1620509 h 7305087"/>
              <a:gd name="connsiteX927" fmla="*/ 4346940 w 8266922"/>
              <a:gd name="connsiteY927" fmla="*/ 1635428 h 7305087"/>
              <a:gd name="connsiteX928" fmla="*/ 4287225 w 8266922"/>
              <a:gd name="connsiteY928" fmla="*/ 1677141 h 7305087"/>
              <a:gd name="connsiteX929" fmla="*/ 4241691 w 8266922"/>
              <a:gd name="connsiteY929" fmla="*/ 1733900 h 7305087"/>
              <a:gd name="connsiteX930" fmla="*/ 4223712 w 8266922"/>
              <a:gd name="connsiteY930" fmla="*/ 1767626 h 7305087"/>
              <a:gd name="connsiteX931" fmla="*/ 4208642 w 8266922"/>
              <a:gd name="connsiteY931" fmla="*/ 1804759 h 7305087"/>
              <a:gd name="connsiteX932" fmla="*/ 4196270 w 8266922"/>
              <a:gd name="connsiteY932" fmla="*/ 1845179 h 7305087"/>
              <a:gd name="connsiteX933" fmla="*/ 4186382 w 8266922"/>
              <a:gd name="connsiteY933" fmla="*/ 1888770 h 7305087"/>
              <a:gd name="connsiteX934" fmla="*/ 4178768 w 8266922"/>
              <a:gd name="connsiteY934" fmla="*/ 1935414 h 7305087"/>
              <a:gd name="connsiteX935" fmla="*/ 4173215 w 8266922"/>
              <a:gd name="connsiteY935" fmla="*/ 1984990 h 7305087"/>
              <a:gd name="connsiteX936" fmla="*/ 4169510 w 8266922"/>
              <a:gd name="connsiteY936" fmla="*/ 2037383 h 7305087"/>
              <a:gd name="connsiteX937" fmla="*/ 4167443 w 8266922"/>
              <a:gd name="connsiteY937" fmla="*/ 2092472 h 7305087"/>
              <a:gd name="connsiteX938" fmla="*/ 4166801 w 8266922"/>
              <a:gd name="connsiteY938" fmla="*/ 2150141 h 7305087"/>
              <a:gd name="connsiteX939" fmla="*/ 4167427 w 8266922"/>
              <a:gd name="connsiteY939" fmla="*/ 2208380 h 7305087"/>
              <a:gd name="connsiteX940" fmla="*/ 4169449 w 8266922"/>
              <a:gd name="connsiteY940" fmla="*/ 2264006 h 7305087"/>
              <a:gd name="connsiteX941" fmla="*/ 4173087 w 8266922"/>
              <a:gd name="connsiteY941" fmla="*/ 2316901 h 7305087"/>
              <a:gd name="connsiteX942" fmla="*/ 4178556 w 8266922"/>
              <a:gd name="connsiteY942" fmla="*/ 2366946 h 7305087"/>
              <a:gd name="connsiteX943" fmla="*/ 4186077 w 8266922"/>
              <a:gd name="connsiteY943" fmla="*/ 2414022 h 7305087"/>
              <a:gd name="connsiteX944" fmla="*/ 4195866 w 8266922"/>
              <a:gd name="connsiteY944" fmla="*/ 2458012 h 7305087"/>
              <a:gd name="connsiteX945" fmla="*/ 4208143 w 8266922"/>
              <a:gd name="connsiteY945" fmla="*/ 2498797 h 7305087"/>
              <a:gd name="connsiteX946" fmla="*/ 4223125 w 8266922"/>
              <a:gd name="connsiteY946" fmla="*/ 2536259 h 7305087"/>
              <a:gd name="connsiteX947" fmla="*/ 4241031 w 8266922"/>
              <a:gd name="connsiteY947" fmla="*/ 2570280 h 7305087"/>
              <a:gd name="connsiteX948" fmla="*/ 4286485 w 8266922"/>
              <a:gd name="connsiteY948" fmla="*/ 2627524 h 7305087"/>
              <a:gd name="connsiteX949" fmla="*/ 4346251 w 8266922"/>
              <a:gd name="connsiteY949" fmla="*/ 2669584 h 7305087"/>
              <a:gd name="connsiteX950" fmla="*/ 4382046 w 8266922"/>
              <a:gd name="connsiteY950" fmla="*/ 2684624 h 7305087"/>
              <a:gd name="connsiteX951" fmla="*/ 4422074 w 8266922"/>
              <a:gd name="connsiteY951" fmla="*/ 2695513 h 7305087"/>
              <a:gd name="connsiteX952" fmla="*/ 4466552 w 8266922"/>
              <a:gd name="connsiteY952" fmla="*/ 2702134 h 7305087"/>
              <a:gd name="connsiteX953" fmla="*/ 4515699 w 8266922"/>
              <a:gd name="connsiteY953" fmla="*/ 2704367 h 7305087"/>
              <a:gd name="connsiteX954" fmla="*/ 4515699 w 8266922"/>
              <a:gd name="connsiteY954" fmla="*/ 2801189 h 7305087"/>
              <a:gd name="connsiteX955" fmla="*/ 4462176 w 8266922"/>
              <a:gd name="connsiteY955" fmla="*/ 2799300 h 7305087"/>
              <a:gd name="connsiteX956" fmla="*/ 4412696 w 8266922"/>
              <a:gd name="connsiteY956" fmla="*/ 2793687 h 7305087"/>
              <a:gd name="connsiteX957" fmla="*/ 4367116 w 8266922"/>
              <a:gd name="connsiteY957" fmla="*/ 2784433 h 7305087"/>
              <a:gd name="connsiteX958" fmla="*/ 4325298 w 8266922"/>
              <a:gd name="connsiteY958" fmla="*/ 2771621 h 7305087"/>
              <a:gd name="connsiteX959" fmla="*/ 4287101 w 8266922"/>
              <a:gd name="connsiteY959" fmla="*/ 2755334 h 7305087"/>
              <a:gd name="connsiteX960" fmla="*/ 4252384 w 8266922"/>
              <a:gd name="connsiteY960" fmla="*/ 2735653 h 7305087"/>
              <a:gd name="connsiteX961" fmla="*/ 4221007 w 8266922"/>
              <a:gd name="connsiteY961" fmla="*/ 2712663 h 7305087"/>
              <a:gd name="connsiteX962" fmla="*/ 4192831 w 8266922"/>
              <a:gd name="connsiteY962" fmla="*/ 2686444 h 7305087"/>
              <a:gd name="connsiteX963" fmla="*/ 4167714 w 8266922"/>
              <a:gd name="connsiteY963" fmla="*/ 2657081 h 7305087"/>
              <a:gd name="connsiteX964" fmla="*/ 4145517 w 8266922"/>
              <a:gd name="connsiteY964" fmla="*/ 2624655 h 7305087"/>
              <a:gd name="connsiteX965" fmla="*/ 4126100 w 8266922"/>
              <a:gd name="connsiteY965" fmla="*/ 2589249 h 7305087"/>
              <a:gd name="connsiteX966" fmla="*/ 4109322 w 8266922"/>
              <a:gd name="connsiteY966" fmla="*/ 2550946 h 7305087"/>
              <a:gd name="connsiteX967" fmla="*/ 4095043 w 8266922"/>
              <a:gd name="connsiteY967" fmla="*/ 2509828 h 7305087"/>
              <a:gd name="connsiteX968" fmla="*/ 4083123 w 8266922"/>
              <a:gd name="connsiteY968" fmla="*/ 2465979 h 7305087"/>
              <a:gd name="connsiteX969" fmla="*/ 4073422 w 8266922"/>
              <a:gd name="connsiteY969" fmla="*/ 2419480 h 7305087"/>
              <a:gd name="connsiteX970" fmla="*/ 4065799 w 8266922"/>
              <a:gd name="connsiteY970" fmla="*/ 2370415 h 7305087"/>
              <a:gd name="connsiteX971" fmla="*/ 4060114 w 8266922"/>
              <a:gd name="connsiteY971" fmla="*/ 2318865 h 7305087"/>
              <a:gd name="connsiteX972" fmla="*/ 4056227 w 8266922"/>
              <a:gd name="connsiteY972" fmla="*/ 2264915 h 7305087"/>
              <a:gd name="connsiteX973" fmla="*/ 4053997 w 8266922"/>
              <a:gd name="connsiteY973" fmla="*/ 2208645 h 7305087"/>
              <a:gd name="connsiteX974" fmla="*/ 4053286 w 8266922"/>
              <a:gd name="connsiteY974" fmla="*/ 2150141 h 7305087"/>
              <a:gd name="connsiteX975" fmla="*/ 4054021 w 8266922"/>
              <a:gd name="connsiteY975" fmla="*/ 2091886 h 7305087"/>
              <a:gd name="connsiteX976" fmla="*/ 4056317 w 8266922"/>
              <a:gd name="connsiteY976" fmla="*/ 2035865 h 7305087"/>
              <a:gd name="connsiteX977" fmla="*/ 4060306 w 8266922"/>
              <a:gd name="connsiteY977" fmla="*/ 1982160 h 7305087"/>
              <a:gd name="connsiteX978" fmla="*/ 4066119 w 8266922"/>
              <a:gd name="connsiteY978" fmla="*/ 1930854 h 7305087"/>
              <a:gd name="connsiteX979" fmla="*/ 4073892 w 8266922"/>
              <a:gd name="connsiteY979" fmla="*/ 1882026 h 7305087"/>
              <a:gd name="connsiteX980" fmla="*/ 4083755 w 8266922"/>
              <a:gd name="connsiteY980" fmla="*/ 1835759 h 7305087"/>
              <a:gd name="connsiteX981" fmla="*/ 4095841 w 8266922"/>
              <a:gd name="connsiteY981" fmla="*/ 1792133 h 7305087"/>
              <a:gd name="connsiteX982" fmla="*/ 4110284 w 8266922"/>
              <a:gd name="connsiteY982" fmla="*/ 1751231 h 7305087"/>
              <a:gd name="connsiteX983" fmla="*/ 4127216 w 8266922"/>
              <a:gd name="connsiteY983" fmla="*/ 1713133 h 7305087"/>
              <a:gd name="connsiteX984" fmla="*/ 4146769 w 8266922"/>
              <a:gd name="connsiteY984" fmla="*/ 1677921 h 7305087"/>
              <a:gd name="connsiteX985" fmla="*/ 4169077 w 8266922"/>
              <a:gd name="connsiteY985" fmla="*/ 1645676 h 7305087"/>
              <a:gd name="connsiteX986" fmla="*/ 4194274 w 8266922"/>
              <a:gd name="connsiteY986" fmla="*/ 1616479 h 7305087"/>
              <a:gd name="connsiteX987" fmla="*/ 4222489 w 8266922"/>
              <a:gd name="connsiteY987" fmla="*/ 1590414 h 7305087"/>
              <a:gd name="connsiteX988" fmla="*/ 4253856 w 8266922"/>
              <a:gd name="connsiteY988" fmla="*/ 1567559 h 7305087"/>
              <a:gd name="connsiteX989" fmla="*/ 4288509 w 8266922"/>
              <a:gd name="connsiteY989" fmla="*/ 1547998 h 7305087"/>
              <a:gd name="connsiteX990" fmla="*/ 4326580 w 8266922"/>
              <a:gd name="connsiteY990" fmla="*/ 1531810 h 7305087"/>
              <a:gd name="connsiteX991" fmla="*/ 4368202 w 8266922"/>
              <a:gd name="connsiteY991" fmla="*/ 1519078 h 7305087"/>
              <a:gd name="connsiteX992" fmla="*/ 4413507 w 8266922"/>
              <a:gd name="connsiteY992" fmla="*/ 1509883 h 7305087"/>
              <a:gd name="connsiteX993" fmla="*/ 4462628 w 8266922"/>
              <a:gd name="connsiteY993" fmla="*/ 1504306 h 7305087"/>
              <a:gd name="connsiteX994" fmla="*/ 462412 w 8266922"/>
              <a:gd name="connsiteY994" fmla="*/ 1502430 h 7305087"/>
              <a:gd name="connsiteX995" fmla="*/ 462412 w 8266922"/>
              <a:gd name="connsiteY995" fmla="*/ 1600921 h 7305087"/>
              <a:gd name="connsiteX996" fmla="*/ 413526 w 8266922"/>
              <a:gd name="connsiteY996" fmla="*/ 1603138 h 7305087"/>
              <a:gd name="connsiteX997" fmla="*/ 369246 w 8266922"/>
              <a:gd name="connsiteY997" fmla="*/ 1609705 h 7305087"/>
              <a:gd name="connsiteX998" fmla="*/ 329359 w 8266922"/>
              <a:gd name="connsiteY998" fmla="*/ 1620509 h 7305087"/>
              <a:gd name="connsiteX999" fmla="*/ 293653 w 8266922"/>
              <a:gd name="connsiteY999" fmla="*/ 1635428 h 7305087"/>
              <a:gd name="connsiteX1000" fmla="*/ 233938 w 8266922"/>
              <a:gd name="connsiteY1000" fmla="*/ 1677141 h 7305087"/>
              <a:gd name="connsiteX1001" fmla="*/ 188404 w 8266922"/>
              <a:gd name="connsiteY1001" fmla="*/ 1733900 h 7305087"/>
              <a:gd name="connsiteX1002" fmla="*/ 170425 w 8266922"/>
              <a:gd name="connsiteY1002" fmla="*/ 1767626 h 7305087"/>
              <a:gd name="connsiteX1003" fmla="*/ 155356 w 8266922"/>
              <a:gd name="connsiteY1003" fmla="*/ 1804759 h 7305087"/>
              <a:gd name="connsiteX1004" fmla="*/ 142983 w 8266922"/>
              <a:gd name="connsiteY1004" fmla="*/ 1845179 h 7305087"/>
              <a:gd name="connsiteX1005" fmla="*/ 133096 w 8266922"/>
              <a:gd name="connsiteY1005" fmla="*/ 1888770 h 7305087"/>
              <a:gd name="connsiteX1006" fmla="*/ 125482 w 8266922"/>
              <a:gd name="connsiteY1006" fmla="*/ 1935414 h 7305087"/>
              <a:gd name="connsiteX1007" fmla="*/ 119929 w 8266922"/>
              <a:gd name="connsiteY1007" fmla="*/ 1984990 h 7305087"/>
              <a:gd name="connsiteX1008" fmla="*/ 116225 w 8266922"/>
              <a:gd name="connsiteY1008" fmla="*/ 2037383 h 7305087"/>
              <a:gd name="connsiteX1009" fmla="*/ 114158 w 8266922"/>
              <a:gd name="connsiteY1009" fmla="*/ 2092472 h 7305087"/>
              <a:gd name="connsiteX1010" fmla="*/ 113516 w 8266922"/>
              <a:gd name="connsiteY1010" fmla="*/ 2150141 h 7305087"/>
              <a:gd name="connsiteX1011" fmla="*/ 114141 w 8266922"/>
              <a:gd name="connsiteY1011" fmla="*/ 2208380 h 7305087"/>
              <a:gd name="connsiteX1012" fmla="*/ 116163 w 8266922"/>
              <a:gd name="connsiteY1012" fmla="*/ 2264006 h 7305087"/>
              <a:gd name="connsiteX1013" fmla="*/ 119800 w 8266922"/>
              <a:gd name="connsiteY1013" fmla="*/ 2316901 h 7305087"/>
              <a:gd name="connsiteX1014" fmla="*/ 125270 w 8266922"/>
              <a:gd name="connsiteY1014" fmla="*/ 2366946 h 7305087"/>
              <a:gd name="connsiteX1015" fmla="*/ 132790 w 8266922"/>
              <a:gd name="connsiteY1015" fmla="*/ 2414022 h 7305087"/>
              <a:gd name="connsiteX1016" fmla="*/ 142580 w 8266922"/>
              <a:gd name="connsiteY1016" fmla="*/ 2458012 h 7305087"/>
              <a:gd name="connsiteX1017" fmla="*/ 154856 w 8266922"/>
              <a:gd name="connsiteY1017" fmla="*/ 2498797 h 7305087"/>
              <a:gd name="connsiteX1018" fmla="*/ 169838 w 8266922"/>
              <a:gd name="connsiteY1018" fmla="*/ 2536259 h 7305087"/>
              <a:gd name="connsiteX1019" fmla="*/ 187744 w 8266922"/>
              <a:gd name="connsiteY1019" fmla="*/ 2570280 h 7305087"/>
              <a:gd name="connsiteX1020" fmla="*/ 233198 w 8266922"/>
              <a:gd name="connsiteY1020" fmla="*/ 2627524 h 7305087"/>
              <a:gd name="connsiteX1021" fmla="*/ 292964 w 8266922"/>
              <a:gd name="connsiteY1021" fmla="*/ 2669584 h 7305087"/>
              <a:gd name="connsiteX1022" fmla="*/ 328759 w 8266922"/>
              <a:gd name="connsiteY1022" fmla="*/ 2684624 h 7305087"/>
              <a:gd name="connsiteX1023" fmla="*/ 368787 w 8266922"/>
              <a:gd name="connsiteY1023" fmla="*/ 2695513 h 7305087"/>
              <a:gd name="connsiteX1024" fmla="*/ 413265 w 8266922"/>
              <a:gd name="connsiteY1024" fmla="*/ 2702134 h 7305087"/>
              <a:gd name="connsiteX1025" fmla="*/ 462412 w 8266922"/>
              <a:gd name="connsiteY1025" fmla="*/ 2704367 h 7305087"/>
              <a:gd name="connsiteX1026" fmla="*/ 462412 w 8266922"/>
              <a:gd name="connsiteY1026" fmla="*/ 2801189 h 7305087"/>
              <a:gd name="connsiteX1027" fmla="*/ 408890 w 8266922"/>
              <a:gd name="connsiteY1027" fmla="*/ 2799300 h 7305087"/>
              <a:gd name="connsiteX1028" fmla="*/ 359409 w 8266922"/>
              <a:gd name="connsiteY1028" fmla="*/ 2793687 h 7305087"/>
              <a:gd name="connsiteX1029" fmla="*/ 313830 w 8266922"/>
              <a:gd name="connsiteY1029" fmla="*/ 2784433 h 7305087"/>
              <a:gd name="connsiteX1030" fmla="*/ 272011 w 8266922"/>
              <a:gd name="connsiteY1030" fmla="*/ 2771621 h 7305087"/>
              <a:gd name="connsiteX1031" fmla="*/ 233814 w 8266922"/>
              <a:gd name="connsiteY1031" fmla="*/ 2755334 h 7305087"/>
              <a:gd name="connsiteX1032" fmla="*/ 199097 w 8266922"/>
              <a:gd name="connsiteY1032" fmla="*/ 2735653 h 7305087"/>
              <a:gd name="connsiteX1033" fmla="*/ 167721 w 8266922"/>
              <a:gd name="connsiteY1033" fmla="*/ 2712663 h 7305087"/>
              <a:gd name="connsiteX1034" fmla="*/ 139544 w 8266922"/>
              <a:gd name="connsiteY1034" fmla="*/ 2686444 h 7305087"/>
              <a:gd name="connsiteX1035" fmla="*/ 114428 w 8266922"/>
              <a:gd name="connsiteY1035" fmla="*/ 2657081 h 7305087"/>
              <a:gd name="connsiteX1036" fmla="*/ 92232 w 8266922"/>
              <a:gd name="connsiteY1036" fmla="*/ 2624655 h 7305087"/>
              <a:gd name="connsiteX1037" fmla="*/ 72814 w 8266922"/>
              <a:gd name="connsiteY1037" fmla="*/ 2589249 h 7305087"/>
              <a:gd name="connsiteX1038" fmla="*/ 56037 w 8266922"/>
              <a:gd name="connsiteY1038" fmla="*/ 2550946 h 7305087"/>
              <a:gd name="connsiteX1039" fmla="*/ 41758 w 8266922"/>
              <a:gd name="connsiteY1039" fmla="*/ 2509828 h 7305087"/>
              <a:gd name="connsiteX1040" fmla="*/ 29838 w 8266922"/>
              <a:gd name="connsiteY1040" fmla="*/ 2465979 h 7305087"/>
              <a:gd name="connsiteX1041" fmla="*/ 20136 w 8266922"/>
              <a:gd name="connsiteY1041" fmla="*/ 2419480 h 7305087"/>
              <a:gd name="connsiteX1042" fmla="*/ 12513 w 8266922"/>
              <a:gd name="connsiteY1042" fmla="*/ 2370415 h 7305087"/>
              <a:gd name="connsiteX1043" fmla="*/ 6828 w 8266922"/>
              <a:gd name="connsiteY1043" fmla="*/ 2318865 h 7305087"/>
              <a:gd name="connsiteX1044" fmla="*/ 2941 w 8266922"/>
              <a:gd name="connsiteY1044" fmla="*/ 2264915 h 7305087"/>
              <a:gd name="connsiteX1045" fmla="*/ 711 w 8266922"/>
              <a:gd name="connsiteY1045" fmla="*/ 2208645 h 7305087"/>
              <a:gd name="connsiteX1046" fmla="*/ 0 w 8266922"/>
              <a:gd name="connsiteY1046" fmla="*/ 2150141 h 7305087"/>
              <a:gd name="connsiteX1047" fmla="*/ 735 w 8266922"/>
              <a:gd name="connsiteY1047" fmla="*/ 2091886 h 7305087"/>
              <a:gd name="connsiteX1048" fmla="*/ 3031 w 8266922"/>
              <a:gd name="connsiteY1048" fmla="*/ 2035865 h 7305087"/>
              <a:gd name="connsiteX1049" fmla="*/ 7020 w 8266922"/>
              <a:gd name="connsiteY1049" fmla="*/ 1982160 h 7305087"/>
              <a:gd name="connsiteX1050" fmla="*/ 12834 w 8266922"/>
              <a:gd name="connsiteY1050" fmla="*/ 1930854 h 7305087"/>
              <a:gd name="connsiteX1051" fmla="*/ 20606 w 8266922"/>
              <a:gd name="connsiteY1051" fmla="*/ 1882026 h 7305087"/>
              <a:gd name="connsiteX1052" fmla="*/ 30469 w 8266922"/>
              <a:gd name="connsiteY1052" fmla="*/ 1835759 h 7305087"/>
              <a:gd name="connsiteX1053" fmla="*/ 42555 w 8266922"/>
              <a:gd name="connsiteY1053" fmla="*/ 1792133 h 7305087"/>
              <a:gd name="connsiteX1054" fmla="*/ 56998 w 8266922"/>
              <a:gd name="connsiteY1054" fmla="*/ 1751231 h 7305087"/>
              <a:gd name="connsiteX1055" fmla="*/ 73930 w 8266922"/>
              <a:gd name="connsiteY1055" fmla="*/ 1713133 h 7305087"/>
              <a:gd name="connsiteX1056" fmla="*/ 93484 w 8266922"/>
              <a:gd name="connsiteY1056" fmla="*/ 1677921 h 7305087"/>
              <a:gd name="connsiteX1057" fmla="*/ 115792 w 8266922"/>
              <a:gd name="connsiteY1057" fmla="*/ 1645676 h 7305087"/>
              <a:gd name="connsiteX1058" fmla="*/ 140987 w 8266922"/>
              <a:gd name="connsiteY1058" fmla="*/ 1616479 h 7305087"/>
              <a:gd name="connsiteX1059" fmla="*/ 169202 w 8266922"/>
              <a:gd name="connsiteY1059" fmla="*/ 1590414 h 7305087"/>
              <a:gd name="connsiteX1060" fmla="*/ 200570 w 8266922"/>
              <a:gd name="connsiteY1060" fmla="*/ 1567559 h 7305087"/>
              <a:gd name="connsiteX1061" fmla="*/ 235222 w 8266922"/>
              <a:gd name="connsiteY1061" fmla="*/ 1547998 h 7305087"/>
              <a:gd name="connsiteX1062" fmla="*/ 273293 w 8266922"/>
              <a:gd name="connsiteY1062" fmla="*/ 1531810 h 7305087"/>
              <a:gd name="connsiteX1063" fmla="*/ 314915 w 8266922"/>
              <a:gd name="connsiteY1063" fmla="*/ 1519078 h 7305087"/>
              <a:gd name="connsiteX1064" fmla="*/ 360220 w 8266922"/>
              <a:gd name="connsiteY1064" fmla="*/ 1509883 h 7305087"/>
              <a:gd name="connsiteX1065" fmla="*/ 409342 w 8266922"/>
              <a:gd name="connsiteY1065" fmla="*/ 1504306 h 7305087"/>
              <a:gd name="connsiteX1066" fmla="*/ 5280527 w 8266922"/>
              <a:gd name="connsiteY1066" fmla="*/ 871409 h 7305087"/>
              <a:gd name="connsiteX1067" fmla="*/ 6185319 w 8266922"/>
              <a:gd name="connsiteY1067" fmla="*/ 871409 h 7305087"/>
              <a:gd name="connsiteX1068" fmla="*/ 6185319 w 8266922"/>
              <a:gd name="connsiteY1068" fmla="*/ 978246 h 7305087"/>
              <a:gd name="connsiteX1069" fmla="*/ 5280527 w 8266922"/>
              <a:gd name="connsiteY1069" fmla="*/ 978246 h 7305087"/>
              <a:gd name="connsiteX1070" fmla="*/ 1874462 w 8266922"/>
              <a:gd name="connsiteY1070" fmla="*/ 871408 h 7305087"/>
              <a:gd name="connsiteX1071" fmla="*/ 2779254 w 8266922"/>
              <a:gd name="connsiteY1071" fmla="*/ 871408 h 7305087"/>
              <a:gd name="connsiteX1072" fmla="*/ 2779254 w 8266922"/>
              <a:gd name="connsiteY1072" fmla="*/ 978246 h 7305087"/>
              <a:gd name="connsiteX1073" fmla="*/ 1874462 w 8266922"/>
              <a:gd name="connsiteY1073" fmla="*/ 978246 h 7305087"/>
              <a:gd name="connsiteX1074" fmla="*/ 5280527 w 8266922"/>
              <a:gd name="connsiteY1074" fmla="*/ 522512 h 7305087"/>
              <a:gd name="connsiteX1075" fmla="*/ 6185319 w 8266922"/>
              <a:gd name="connsiteY1075" fmla="*/ 522512 h 7305087"/>
              <a:gd name="connsiteX1076" fmla="*/ 6185319 w 8266922"/>
              <a:gd name="connsiteY1076" fmla="*/ 629349 h 7305087"/>
              <a:gd name="connsiteX1077" fmla="*/ 5280527 w 8266922"/>
              <a:gd name="connsiteY1077" fmla="*/ 629349 h 7305087"/>
              <a:gd name="connsiteX1078" fmla="*/ 1874462 w 8266922"/>
              <a:gd name="connsiteY1078" fmla="*/ 522511 h 7305087"/>
              <a:gd name="connsiteX1079" fmla="*/ 2779254 w 8266922"/>
              <a:gd name="connsiteY1079" fmla="*/ 522511 h 7305087"/>
              <a:gd name="connsiteX1080" fmla="*/ 2779254 w 8266922"/>
              <a:gd name="connsiteY1080" fmla="*/ 629349 h 7305087"/>
              <a:gd name="connsiteX1081" fmla="*/ 1874462 w 8266922"/>
              <a:gd name="connsiteY1081" fmla="*/ 629349 h 7305087"/>
              <a:gd name="connsiteX1082" fmla="*/ 4621539 w 8266922"/>
              <a:gd name="connsiteY1082" fmla="*/ 116859 h 7305087"/>
              <a:gd name="connsiteX1083" fmla="*/ 4740064 w 8266922"/>
              <a:gd name="connsiteY1083" fmla="*/ 116859 h 7305087"/>
              <a:gd name="connsiteX1084" fmla="*/ 4386160 w 8266922"/>
              <a:gd name="connsiteY1084" fmla="*/ 1185248 h 7305087"/>
              <a:gd name="connsiteX1085" fmla="*/ 4264297 w 8266922"/>
              <a:gd name="connsiteY1085" fmla="*/ 1185248 h 7305087"/>
              <a:gd name="connsiteX1086" fmla="*/ 3314617 w 8266922"/>
              <a:gd name="connsiteY1086" fmla="*/ 116858 h 7305087"/>
              <a:gd name="connsiteX1087" fmla="*/ 3439819 w 8266922"/>
              <a:gd name="connsiteY1087" fmla="*/ 116858 h 7305087"/>
              <a:gd name="connsiteX1088" fmla="*/ 3795392 w 8266922"/>
              <a:gd name="connsiteY1088" fmla="*/ 1185248 h 7305087"/>
              <a:gd name="connsiteX1089" fmla="*/ 3670190 w 8266922"/>
              <a:gd name="connsiteY1089" fmla="*/ 1185248 h 7305087"/>
              <a:gd name="connsiteX1090" fmla="*/ 1312489 w 8266922"/>
              <a:gd name="connsiteY1090" fmla="*/ 1 h 7305087"/>
              <a:gd name="connsiteX1091" fmla="*/ 1312489 w 8266922"/>
              <a:gd name="connsiteY1091" fmla="*/ 98493 h 7305087"/>
              <a:gd name="connsiteX1092" fmla="*/ 1263604 w 8266922"/>
              <a:gd name="connsiteY1092" fmla="*/ 100709 h 7305087"/>
              <a:gd name="connsiteX1093" fmla="*/ 1219322 w 8266922"/>
              <a:gd name="connsiteY1093" fmla="*/ 107277 h 7305087"/>
              <a:gd name="connsiteX1094" fmla="*/ 1179437 w 8266922"/>
              <a:gd name="connsiteY1094" fmla="*/ 118080 h 7305087"/>
              <a:gd name="connsiteX1095" fmla="*/ 1143731 w 8266922"/>
              <a:gd name="connsiteY1095" fmla="*/ 132999 h 7305087"/>
              <a:gd name="connsiteX1096" fmla="*/ 1084016 w 8266922"/>
              <a:gd name="connsiteY1096" fmla="*/ 174712 h 7305087"/>
              <a:gd name="connsiteX1097" fmla="*/ 1038482 w 8266922"/>
              <a:gd name="connsiteY1097" fmla="*/ 231471 h 7305087"/>
              <a:gd name="connsiteX1098" fmla="*/ 1020503 w 8266922"/>
              <a:gd name="connsiteY1098" fmla="*/ 265197 h 7305087"/>
              <a:gd name="connsiteX1099" fmla="*/ 1005433 w 8266922"/>
              <a:gd name="connsiteY1099" fmla="*/ 302330 h 7305087"/>
              <a:gd name="connsiteX1100" fmla="*/ 993061 w 8266922"/>
              <a:gd name="connsiteY1100" fmla="*/ 342750 h 7305087"/>
              <a:gd name="connsiteX1101" fmla="*/ 983172 w 8266922"/>
              <a:gd name="connsiteY1101" fmla="*/ 386342 h 7305087"/>
              <a:gd name="connsiteX1102" fmla="*/ 975559 w 8266922"/>
              <a:gd name="connsiteY1102" fmla="*/ 432985 h 7305087"/>
              <a:gd name="connsiteX1103" fmla="*/ 970006 w 8266922"/>
              <a:gd name="connsiteY1103" fmla="*/ 482562 h 7305087"/>
              <a:gd name="connsiteX1104" fmla="*/ 966302 w 8266922"/>
              <a:gd name="connsiteY1104" fmla="*/ 534954 h 7305087"/>
              <a:gd name="connsiteX1105" fmla="*/ 964235 w 8266922"/>
              <a:gd name="connsiteY1105" fmla="*/ 590043 h 7305087"/>
              <a:gd name="connsiteX1106" fmla="*/ 963593 w 8266922"/>
              <a:gd name="connsiteY1106" fmla="*/ 647712 h 7305087"/>
              <a:gd name="connsiteX1107" fmla="*/ 964219 w 8266922"/>
              <a:gd name="connsiteY1107" fmla="*/ 705953 h 7305087"/>
              <a:gd name="connsiteX1108" fmla="*/ 966241 w 8266922"/>
              <a:gd name="connsiteY1108" fmla="*/ 761579 h 7305087"/>
              <a:gd name="connsiteX1109" fmla="*/ 969878 w 8266922"/>
              <a:gd name="connsiteY1109" fmla="*/ 814474 h 7305087"/>
              <a:gd name="connsiteX1110" fmla="*/ 975347 w 8266922"/>
              <a:gd name="connsiteY1110" fmla="*/ 864518 h 7305087"/>
              <a:gd name="connsiteX1111" fmla="*/ 982868 w 8266922"/>
              <a:gd name="connsiteY1111" fmla="*/ 911596 h 7305087"/>
              <a:gd name="connsiteX1112" fmla="*/ 992658 w 8266922"/>
              <a:gd name="connsiteY1112" fmla="*/ 955586 h 7305087"/>
              <a:gd name="connsiteX1113" fmla="*/ 1004934 w 8266922"/>
              <a:gd name="connsiteY1113" fmla="*/ 996370 h 7305087"/>
              <a:gd name="connsiteX1114" fmla="*/ 1019916 w 8266922"/>
              <a:gd name="connsiteY1114" fmla="*/ 1033831 h 7305087"/>
              <a:gd name="connsiteX1115" fmla="*/ 1037822 w 8266922"/>
              <a:gd name="connsiteY1115" fmla="*/ 1067851 h 7305087"/>
              <a:gd name="connsiteX1116" fmla="*/ 1083276 w 8266922"/>
              <a:gd name="connsiteY1116" fmla="*/ 1125096 h 7305087"/>
              <a:gd name="connsiteX1117" fmla="*/ 1143042 w 8266922"/>
              <a:gd name="connsiteY1117" fmla="*/ 1167155 h 7305087"/>
              <a:gd name="connsiteX1118" fmla="*/ 1178837 w 8266922"/>
              <a:gd name="connsiteY1118" fmla="*/ 1182194 h 7305087"/>
              <a:gd name="connsiteX1119" fmla="*/ 1218864 w 8266922"/>
              <a:gd name="connsiteY1119" fmla="*/ 1193084 h 7305087"/>
              <a:gd name="connsiteX1120" fmla="*/ 1263342 w 8266922"/>
              <a:gd name="connsiteY1120" fmla="*/ 1199705 h 7305087"/>
              <a:gd name="connsiteX1121" fmla="*/ 1312489 w 8266922"/>
              <a:gd name="connsiteY1121" fmla="*/ 1201938 h 7305087"/>
              <a:gd name="connsiteX1122" fmla="*/ 1312489 w 8266922"/>
              <a:gd name="connsiteY1122" fmla="*/ 1298761 h 7305087"/>
              <a:gd name="connsiteX1123" fmla="*/ 1258966 w 8266922"/>
              <a:gd name="connsiteY1123" fmla="*/ 1296873 h 7305087"/>
              <a:gd name="connsiteX1124" fmla="*/ 1209487 w 8266922"/>
              <a:gd name="connsiteY1124" fmla="*/ 1291259 h 7305087"/>
              <a:gd name="connsiteX1125" fmla="*/ 1163908 w 8266922"/>
              <a:gd name="connsiteY1125" fmla="*/ 1282006 h 7305087"/>
              <a:gd name="connsiteX1126" fmla="*/ 1122089 w 8266922"/>
              <a:gd name="connsiteY1126" fmla="*/ 1269194 h 7305087"/>
              <a:gd name="connsiteX1127" fmla="*/ 1083893 w 8266922"/>
              <a:gd name="connsiteY1127" fmla="*/ 1252907 h 7305087"/>
              <a:gd name="connsiteX1128" fmla="*/ 1049176 w 8266922"/>
              <a:gd name="connsiteY1128" fmla="*/ 1233225 h 7305087"/>
              <a:gd name="connsiteX1129" fmla="*/ 1017798 w 8266922"/>
              <a:gd name="connsiteY1129" fmla="*/ 1210234 h 7305087"/>
              <a:gd name="connsiteX1130" fmla="*/ 989622 w 8266922"/>
              <a:gd name="connsiteY1130" fmla="*/ 1184015 h 7305087"/>
              <a:gd name="connsiteX1131" fmla="*/ 964506 w 8266922"/>
              <a:gd name="connsiteY1131" fmla="*/ 1154652 h 7305087"/>
              <a:gd name="connsiteX1132" fmla="*/ 942309 w 8266922"/>
              <a:gd name="connsiteY1132" fmla="*/ 1122226 h 7305087"/>
              <a:gd name="connsiteX1133" fmla="*/ 922891 w 8266922"/>
              <a:gd name="connsiteY1133" fmla="*/ 1086820 h 7305087"/>
              <a:gd name="connsiteX1134" fmla="*/ 906113 w 8266922"/>
              <a:gd name="connsiteY1134" fmla="*/ 1048518 h 7305087"/>
              <a:gd name="connsiteX1135" fmla="*/ 891835 w 8266922"/>
              <a:gd name="connsiteY1135" fmla="*/ 1007402 h 7305087"/>
              <a:gd name="connsiteX1136" fmla="*/ 879914 w 8266922"/>
              <a:gd name="connsiteY1136" fmla="*/ 963551 h 7305087"/>
              <a:gd name="connsiteX1137" fmla="*/ 870214 w 8266922"/>
              <a:gd name="connsiteY1137" fmla="*/ 917053 h 7305087"/>
              <a:gd name="connsiteX1138" fmla="*/ 862590 w 8266922"/>
              <a:gd name="connsiteY1138" fmla="*/ 867987 h 7305087"/>
              <a:gd name="connsiteX1139" fmla="*/ 856906 w 8266922"/>
              <a:gd name="connsiteY1139" fmla="*/ 816438 h 7305087"/>
              <a:gd name="connsiteX1140" fmla="*/ 853019 w 8266922"/>
              <a:gd name="connsiteY1140" fmla="*/ 762487 h 7305087"/>
              <a:gd name="connsiteX1141" fmla="*/ 850789 w 8266922"/>
              <a:gd name="connsiteY1141" fmla="*/ 706217 h 7305087"/>
              <a:gd name="connsiteX1142" fmla="*/ 850077 w 8266922"/>
              <a:gd name="connsiteY1142" fmla="*/ 647712 h 7305087"/>
              <a:gd name="connsiteX1143" fmla="*/ 850812 w 8266922"/>
              <a:gd name="connsiteY1143" fmla="*/ 589457 h 7305087"/>
              <a:gd name="connsiteX1144" fmla="*/ 853109 w 8266922"/>
              <a:gd name="connsiteY1144" fmla="*/ 533437 h 7305087"/>
              <a:gd name="connsiteX1145" fmla="*/ 857098 w 8266922"/>
              <a:gd name="connsiteY1145" fmla="*/ 479733 h 7305087"/>
              <a:gd name="connsiteX1146" fmla="*/ 862911 w 8266922"/>
              <a:gd name="connsiteY1146" fmla="*/ 428425 h 7305087"/>
              <a:gd name="connsiteX1147" fmla="*/ 870684 w 8266922"/>
              <a:gd name="connsiteY1147" fmla="*/ 379597 h 7305087"/>
              <a:gd name="connsiteX1148" fmla="*/ 880547 w 8266922"/>
              <a:gd name="connsiteY1148" fmla="*/ 333331 h 7305087"/>
              <a:gd name="connsiteX1149" fmla="*/ 892633 w 8266922"/>
              <a:gd name="connsiteY1149" fmla="*/ 289705 h 7305087"/>
              <a:gd name="connsiteX1150" fmla="*/ 907076 w 8266922"/>
              <a:gd name="connsiteY1150" fmla="*/ 248802 h 7305087"/>
              <a:gd name="connsiteX1151" fmla="*/ 924008 w 8266922"/>
              <a:gd name="connsiteY1151" fmla="*/ 210704 h 7305087"/>
              <a:gd name="connsiteX1152" fmla="*/ 943561 w 8266922"/>
              <a:gd name="connsiteY1152" fmla="*/ 175493 h 7305087"/>
              <a:gd name="connsiteX1153" fmla="*/ 965869 w 8266922"/>
              <a:gd name="connsiteY1153" fmla="*/ 143247 h 7305087"/>
              <a:gd name="connsiteX1154" fmla="*/ 991066 w 8266922"/>
              <a:gd name="connsiteY1154" fmla="*/ 114051 h 7305087"/>
              <a:gd name="connsiteX1155" fmla="*/ 1019280 w 8266922"/>
              <a:gd name="connsiteY1155" fmla="*/ 87986 h 7305087"/>
              <a:gd name="connsiteX1156" fmla="*/ 1050647 w 8266922"/>
              <a:gd name="connsiteY1156" fmla="*/ 65131 h 7305087"/>
              <a:gd name="connsiteX1157" fmla="*/ 1085300 w 8266922"/>
              <a:gd name="connsiteY1157" fmla="*/ 45570 h 7305087"/>
              <a:gd name="connsiteX1158" fmla="*/ 1123371 w 8266922"/>
              <a:gd name="connsiteY1158" fmla="*/ 29382 h 7305087"/>
              <a:gd name="connsiteX1159" fmla="*/ 1164993 w 8266922"/>
              <a:gd name="connsiteY1159" fmla="*/ 16650 h 7305087"/>
              <a:gd name="connsiteX1160" fmla="*/ 1210299 w 8266922"/>
              <a:gd name="connsiteY1160" fmla="*/ 7455 h 7305087"/>
              <a:gd name="connsiteX1161" fmla="*/ 1259419 w 8266922"/>
              <a:gd name="connsiteY1161" fmla="*/ 1877 h 7305087"/>
              <a:gd name="connsiteX1162" fmla="*/ 6747401 w 8266922"/>
              <a:gd name="connsiteY1162" fmla="*/ 0 h 7305087"/>
              <a:gd name="connsiteX1163" fmla="*/ 6800471 w 8266922"/>
              <a:gd name="connsiteY1163" fmla="*/ 1876 h 7305087"/>
              <a:gd name="connsiteX1164" fmla="*/ 6849592 w 8266922"/>
              <a:gd name="connsiteY1164" fmla="*/ 7453 h 7305087"/>
              <a:gd name="connsiteX1165" fmla="*/ 6894897 w 8266922"/>
              <a:gd name="connsiteY1165" fmla="*/ 16648 h 7305087"/>
              <a:gd name="connsiteX1166" fmla="*/ 6936519 w 8266922"/>
              <a:gd name="connsiteY1166" fmla="*/ 29380 h 7305087"/>
              <a:gd name="connsiteX1167" fmla="*/ 6974590 w 8266922"/>
              <a:gd name="connsiteY1167" fmla="*/ 45568 h 7305087"/>
              <a:gd name="connsiteX1168" fmla="*/ 7009243 w 8266922"/>
              <a:gd name="connsiteY1168" fmla="*/ 65130 h 7305087"/>
              <a:gd name="connsiteX1169" fmla="*/ 7040610 w 8266922"/>
              <a:gd name="connsiteY1169" fmla="*/ 87984 h 7305087"/>
              <a:gd name="connsiteX1170" fmla="*/ 7068825 w 8266922"/>
              <a:gd name="connsiteY1170" fmla="*/ 114050 h 7305087"/>
              <a:gd name="connsiteX1171" fmla="*/ 7094021 w 8266922"/>
              <a:gd name="connsiteY1171" fmla="*/ 143246 h 7305087"/>
              <a:gd name="connsiteX1172" fmla="*/ 7116329 w 8266922"/>
              <a:gd name="connsiteY1172" fmla="*/ 175491 h 7305087"/>
              <a:gd name="connsiteX1173" fmla="*/ 7135882 w 8266922"/>
              <a:gd name="connsiteY1173" fmla="*/ 210703 h 7305087"/>
              <a:gd name="connsiteX1174" fmla="*/ 7152814 w 8266922"/>
              <a:gd name="connsiteY1174" fmla="*/ 248801 h 7305087"/>
              <a:gd name="connsiteX1175" fmla="*/ 7167257 w 8266922"/>
              <a:gd name="connsiteY1175" fmla="*/ 289704 h 7305087"/>
              <a:gd name="connsiteX1176" fmla="*/ 7179344 w 8266922"/>
              <a:gd name="connsiteY1176" fmla="*/ 333329 h 7305087"/>
              <a:gd name="connsiteX1177" fmla="*/ 7189207 w 8266922"/>
              <a:gd name="connsiteY1177" fmla="*/ 379596 h 7305087"/>
              <a:gd name="connsiteX1178" fmla="*/ 7196979 w 8266922"/>
              <a:gd name="connsiteY1178" fmla="*/ 428424 h 7305087"/>
              <a:gd name="connsiteX1179" fmla="*/ 7202793 w 8266922"/>
              <a:gd name="connsiteY1179" fmla="*/ 479731 h 7305087"/>
              <a:gd name="connsiteX1180" fmla="*/ 7206781 w 8266922"/>
              <a:gd name="connsiteY1180" fmla="*/ 533435 h 7305087"/>
              <a:gd name="connsiteX1181" fmla="*/ 7209077 w 8266922"/>
              <a:gd name="connsiteY1181" fmla="*/ 589455 h 7305087"/>
              <a:gd name="connsiteX1182" fmla="*/ 7209813 w 8266922"/>
              <a:gd name="connsiteY1182" fmla="*/ 647711 h 7305087"/>
              <a:gd name="connsiteX1183" fmla="*/ 7209113 w 8266922"/>
              <a:gd name="connsiteY1183" fmla="*/ 706216 h 7305087"/>
              <a:gd name="connsiteX1184" fmla="*/ 7206916 w 8266922"/>
              <a:gd name="connsiteY1184" fmla="*/ 762486 h 7305087"/>
              <a:gd name="connsiteX1185" fmla="*/ 7203080 w 8266922"/>
              <a:gd name="connsiteY1185" fmla="*/ 816437 h 7305087"/>
              <a:gd name="connsiteX1186" fmla="*/ 7197459 w 8266922"/>
              <a:gd name="connsiteY1186" fmla="*/ 867986 h 7305087"/>
              <a:gd name="connsiteX1187" fmla="*/ 7189911 w 8266922"/>
              <a:gd name="connsiteY1187" fmla="*/ 917051 h 7305087"/>
              <a:gd name="connsiteX1188" fmla="*/ 7180290 w 8266922"/>
              <a:gd name="connsiteY1188" fmla="*/ 963550 h 7305087"/>
              <a:gd name="connsiteX1189" fmla="*/ 7168453 w 8266922"/>
              <a:gd name="connsiteY1189" fmla="*/ 1007400 h 7305087"/>
              <a:gd name="connsiteX1190" fmla="*/ 7154256 w 8266922"/>
              <a:gd name="connsiteY1190" fmla="*/ 1048517 h 7305087"/>
              <a:gd name="connsiteX1191" fmla="*/ 7137555 w 8266922"/>
              <a:gd name="connsiteY1191" fmla="*/ 1086819 h 7305087"/>
              <a:gd name="connsiteX1192" fmla="*/ 7118206 w 8266922"/>
              <a:gd name="connsiteY1192" fmla="*/ 1122225 h 7305087"/>
              <a:gd name="connsiteX1193" fmla="*/ 7096065 w 8266922"/>
              <a:gd name="connsiteY1193" fmla="*/ 1154652 h 7305087"/>
              <a:gd name="connsiteX1194" fmla="*/ 7070989 w 8266922"/>
              <a:gd name="connsiteY1194" fmla="*/ 1184015 h 7305087"/>
              <a:gd name="connsiteX1195" fmla="*/ 7042832 w 8266922"/>
              <a:gd name="connsiteY1195" fmla="*/ 1210234 h 7305087"/>
              <a:gd name="connsiteX1196" fmla="*/ 7011451 w 8266922"/>
              <a:gd name="connsiteY1196" fmla="*/ 1233224 h 7305087"/>
              <a:gd name="connsiteX1197" fmla="*/ 6976702 w 8266922"/>
              <a:gd name="connsiteY1197" fmla="*/ 1252906 h 7305087"/>
              <a:gd name="connsiteX1198" fmla="*/ 6938442 w 8266922"/>
              <a:gd name="connsiteY1198" fmla="*/ 1269193 h 7305087"/>
              <a:gd name="connsiteX1199" fmla="*/ 6896525 w 8266922"/>
              <a:gd name="connsiteY1199" fmla="*/ 1282004 h 7305087"/>
              <a:gd name="connsiteX1200" fmla="*/ 6850809 w 8266922"/>
              <a:gd name="connsiteY1200" fmla="*/ 1291259 h 7305087"/>
              <a:gd name="connsiteX1201" fmla="*/ 6801149 w 8266922"/>
              <a:gd name="connsiteY1201" fmla="*/ 1296872 h 7305087"/>
              <a:gd name="connsiteX1202" fmla="*/ 6747401 w 8266922"/>
              <a:gd name="connsiteY1202" fmla="*/ 1298760 h 7305087"/>
              <a:gd name="connsiteX1203" fmla="*/ 6747401 w 8266922"/>
              <a:gd name="connsiteY1203" fmla="*/ 1201937 h 7305087"/>
              <a:gd name="connsiteX1204" fmla="*/ 6797086 w 8266922"/>
              <a:gd name="connsiteY1204" fmla="*/ 1199704 h 7305087"/>
              <a:gd name="connsiteX1205" fmla="*/ 6842006 w 8266922"/>
              <a:gd name="connsiteY1205" fmla="*/ 1193083 h 7305087"/>
              <a:gd name="connsiteX1206" fmla="*/ 6882389 w 8266922"/>
              <a:gd name="connsiteY1206" fmla="*/ 1182194 h 7305087"/>
              <a:gd name="connsiteX1207" fmla="*/ 6918460 w 8266922"/>
              <a:gd name="connsiteY1207" fmla="*/ 1167155 h 7305087"/>
              <a:gd name="connsiteX1208" fmla="*/ 6978571 w 8266922"/>
              <a:gd name="connsiteY1208" fmla="*/ 1125095 h 7305087"/>
              <a:gd name="connsiteX1209" fmla="*/ 7024150 w 8266922"/>
              <a:gd name="connsiteY1209" fmla="*/ 1067850 h 7305087"/>
              <a:gd name="connsiteX1210" fmla="*/ 7042056 w 8266922"/>
              <a:gd name="connsiteY1210" fmla="*/ 1033830 h 7305087"/>
              <a:gd name="connsiteX1211" fmla="*/ 7057008 w 8266922"/>
              <a:gd name="connsiteY1211" fmla="*/ 996368 h 7305087"/>
              <a:gd name="connsiteX1212" fmla="*/ 7069232 w 8266922"/>
              <a:gd name="connsiteY1212" fmla="*/ 955584 h 7305087"/>
              <a:gd name="connsiteX1213" fmla="*/ 7078955 w 8266922"/>
              <a:gd name="connsiteY1213" fmla="*/ 911594 h 7305087"/>
              <a:gd name="connsiteX1214" fmla="*/ 7086402 w 8266922"/>
              <a:gd name="connsiteY1214" fmla="*/ 864517 h 7305087"/>
              <a:gd name="connsiteX1215" fmla="*/ 7091801 w 8266922"/>
              <a:gd name="connsiteY1215" fmla="*/ 814473 h 7305087"/>
              <a:gd name="connsiteX1216" fmla="*/ 7095377 w 8266922"/>
              <a:gd name="connsiteY1216" fmla="*/ 761578 h 7305087"/>
              <a:gd name="connsiteX1217" fmla="*/ 7097356 w 8266922"/>
              <a:gd name="connsiteY1217" fmla="*/ 705951 h 7305087"/>
              <a:gd name="connsiteX1218" fmla="*/ 7097966 w 8266922"/>
              <a:gd name="connsiteY1218" fmla="*/ 647711 h 7305087"/>
              <a:gd name="connsiteX1219" fmla="*/ 7097324 w 8266922"/>
              <a:gd name="connsiteY1219" fmla="*/ 590042 h 7305087"/>
              <a:gd name="connsiteX1220" fmla="*/ 7095254 w 8266922"/>
              <a:gd name="connsiteY1220" fmla="*/ 534953 h 7305087"/>
              <a:gd name="connsiteX1221" fmla="*/ 7091544 w 8266922"/>
              <a:gd name="connsiteY1221" fmla="*/ 482560 h 7305087"/>
              <a:gd name="connsiteX1222" fmla="*/ 7085978 w 8266922"/>
              <a:gd name="connsiteY1222" fmla="*/ 432984 h 7305087"/>
              <a:gd name="connsiteX1223" fmla="*/ 7078343 w 8266922"/>
              <a:gd name="connsiteY1223" fmla="*/ 386340 h 7305087"/>
              <a:gd name="connsiteX1224" fmla="*/ 7068425 w 8266922"/>
              <a:gd name="connsiteY1224" fmla="*/ 342749 h 7305087"/>
              <a:gd name="connsiteX1225" fmla="*/ 7056009 w 8266922"/>
              <a:gd name="connsiteY1225" fmla="*/ 302328 h 7305087"/>
              <a:gd name="connsiteX1226" fmla="*/ 7040882 w 8266922"/>
              <a:gd name="connsiteY1226" fmla="*/ 265196 h 7305087"/>
              <a:gd name="connsiteX1227" fmla="*/ 7022829 w 8266922"/>
              <a:gd name="connsiteY1227" fmla="*/ 231470 h 7305087"/>
              <a:gd name="connsiteX1228" fmla="*/ 6977091 w 8266922"/>
              <a:gd name="connsiteY1228" fmla="*/ 174711 h 7305087"/>
              <a:gd name="connsiteX1229" fmla="*/ 6917082 w 8266922"/>
              <a:gd name="connsiteY1229" fmla="*/ 132998 h 7305087"/>
              <a:gd name="connsiteX1230" fmla="*/ 6881190 w 8266922"/>
              <a:gd name="connsiteY1230" fmla="*/ 118079 h 7305087"/>
              <a:gd name="connsiteX1231" fmla="*/ 6841089 w 8266922"/>
              <a:gd name="connsiteY1231" fmla="*/ 107276 h 7305087"/>
              <a:gd name="connsiteX1232" fmla="*/ 6796564 w 8266922"/>
              <a:gd name="connsiteY1232" fmla="*/ 100708 h 7305087"/>
              <a:gd name="connsiteX1233" fmla="*/ 6747401 w 8266922"/>
              <a:gd name="connsiteY1233" fmla="*/ 98492 h 73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Lst>
            <a:rect l="l" t="t" r="r" b="b"/>
            <a:pathLst>
              <a:path w="8266922" h="7305087">
                <a:moveTo>
                  <a:pt x="5241587" y="7031344"/>
                </a:moveTo>
                <a:lnTo>
                  <a:pt x="5448586" y="7031344"/>
                </a:lnTo>
                <a:lnTo>
                  <a:pt x="5448586" y="7204957"/>
                </a:lnTo>
                <a:lnTo>
                  <a:pt x="5241587" y="7204957"/>
                </a:lnTo>
                <a:close/>
                <a:moveTo>
                  <a:pt x="2946862" y="7031344"/>
                </a:moveTo>
                <a:lnTo>
                  <a:pt x="3153861" y="7031344"/>
                </a:lnTo>
                <a:lnTo>
                  <a:pt x="3153861" y="7204957"/>
                </a:lnTo>
                <a:lnTo>
                  <a:pt x="2946862" y="7204957"/>
                </a:lnTo>
                <a:close/>
                <a:moveTo>
                  <a:pt x="4247643" y="6016037"/>
                </a:moveTo>
                <a:lnTo>
                  <a:pt x="4621582" y="6016037"/>
                </a:lnTo>
                <a:lnTo>
                  <a:pt x="4621582" y="6111287"/>
                </a:lnTo>
                <a:lnTo>
                  <a:pt x="4621582" y="7209837"/>
                </a:lnTo>
                <a:lnTo>
                  <a:pt x="4621582" y="7305087"/>
                </a:lnTo>
                <a:lnTo>
                  <a:pt x="4247643" y="7305087"/>
                </a:lnTo>
                <a:lnTo>
                  <a:pt x="4247643" y="7209837"/>
                </a:lnTo>
                <a:lnTo>
                  <a:pt x="4506393" y="7209837"/>
                </a:lnTo>
                <a:lnTo>
                  <a:pt x="4506393" y="6111287"/>
                </a:lnTo>
                <a:lnTo>
                  <a:pt x="4247643" y="6111287"/>
                </a:lnTo>
                <a:close/>
                <a:moveTo>
                  <a:pt x="3773921" y="6016037"/>
                </a:moveTo>
                <a:lnTo>
                  <a:pt x="4147860" y="6016037"/>
                </a:lnTo>
                <a:lnTo>
                  <a:pt x="4147860" y="6111287"/>
                </a:lnTo>
                <a:lnTo>
                  <a:pt x="3889111" y="6111287"/>
                </a:lnTo>
                <a:lnTo>
                  <a:pt x="3889111" y="7209837"/>
                </a:lnTo>
                <a:lnTo>
                  <a:pt x="4147860" y="7209837"/>
                </a:lnTo>
                <a:lnTo>
                  <a:pt x="4147860" y="7305087"/>
                </a:lnTo>
                <a:lnTo>
                  <a:pt x="3773921" y="7305087"/>
                </a:lnTo>
                <a:lnTo>
                  <a:pt x="3773921" y="7209837"/>
                </a:lnTo>
                <a:lnTo>
                  <a:pt x="3773921" y="6111287"/>
                </a:lnTo>
                <a:close/>
                <a:moveTo>
                  <a:pt x="6688042" y="5528924"/>
                </a:moveTo>
                <a:lnTo>
                  <a:pt x="6895043" y="5528924"/>
                </a:lnTo>
                <a:lnTo>
                  <a:pt x="6895043" y="5702536"/>
                </a:lnTo>
                <a:lnTo>
                  <a:pt x="6688042" y="5702536"/>
                </a:lnTo>
                <a:close/>
                <a:moveTo>
                  <a:pt x="3990746" y="5378675"/>
                </a:moveTo>
                <a:lnTo>
                  <a:pt x="4895538" y="5378675"/>
                </a:lnTo>
                <a:lnTo>
                  <a:pt x="4895538" y="5485512"/>
                </a:lnTo>
                <a:lnTo>
                  <a:pt x="3990746" y="5485512"/>
                </a:lnTo>
                <a:close/>
                <a:moveTo>
                  <a:pt x="1270097" y="5378675"/>
                </a:moveTo>
                <a:lnTo>
                  <a:pt x="2174890" y="5378675"/>
                </a:lnTo>
                <a:lnTo>
                  <a:pt x="2174890" y="5485512"/>
                </a:lnTo>
                <a:lnTo>
                  <a:pt x="1270097" y="5485512"/>
                </a:lnTo>
                <a:close/>
                <a:moveTo>
                  <a:pt x="3990746" y="5029777"/>
                </a:moveTo>
                <a:lnTo>
                  <a:pt x="4895538" y="5029777"/>
                </a:lnTo>
                <a:lnTo>
                  <a:pt x="4895538" y="5136615"/>
                </a:lnTo>
                <a:lnTo>
                  <a:pt x="3990746" y="5136615"/>
                </a:lnTo>
                <a:close/>
                <a:moveTo>
                  <a:pt x="1270097" y="5029777"/>
                </a:moveTo>
                <a:lnTo>
                  <a:pt x="2174890" y="5029777"/>
                </a:lnTo>
                <a:lnTo>
                  <a:pt x="2174890" y="5136615"/>
                </a:lnTo>
                <a:lnTo>
                  <a:pt x="1270097" y="5136615"/>
                </a:lnTo>
                <a:close/>
                <a:moveTo>
                  <a:pt x="6062007" y="4507277"/>
                </a:moveTo>
                <a:lnTo>
                  <a:pt x="6115077" y="4509153"/>
                </a:lnTo>
                <a:lnTo>
                  <a:pt x="6164198" y="4514730"/>
                </a:lnTo>
                <a:lnTo>
                  <a:pt x="6209503" y="4523925"/>
                </a:lnTo>
                <a:lnTo>
                  <a:pt x="6251125" y="4536657"/>
                </a:lnTo>
                <a:lnTo>
                  <a:pt x="6289196" y="4552845"/>
                </a:lnTo>
                <a:lnTo>
                  <a:pt x="6323849" y="4572406"/>
                </a:lnTo>
                <a:lnTo>
                  <a:pt x="6355216" y="4595261"/>
                </a:lnTo>
                <a:lnTo>
                  <a:pt x="6383431" y="4621327"/>
                </a:lnTo>
                <a:lnTo>
                  <a:pt x="6408627" y="4650523"/>
                </a:lnTo>
                <a:lnTo>
                  <a:pt x="6430935" y="4682768"/>
                </a:lnTo>
                <a:lnTo>
                  <a:pt x="6450488" y="4717980"/>
                </a:lnTo>
                <a:lnTo>
                  <a:pt x="6467420" y="4756077"/>
                </a:lnTo>
                <a:lnTo>
                  <a:pt x="6481863" y="4796980"/>
                </a:lnTo>
                <a:lnTo>
                  <a:pt x="6493950" y="4840605"/>
                </a:lnTo>
                <a:lnTo>
                  <a:pt x="6503813" y="4886873"/>
                </a:lnTo>
                <a:lnTo>
                  <a:pt x="6511585" y="4935701"/>
                </a:lnTo>
                <a:lnTo>
                  <a:pt x="6517399" y="4987008"/>
                </a:lnTo>
                <a:lnTo>
                  <a:pt x="6521387" y="5040712"/>
                </a:lnTo>
                <a:lnTo>
                  <a:pt x="6523683" y="5096732"/>
                </a:lnTo>
                <a:lnTo>
                  <a:pt x="6524419" y="5154988"/>
                </a:lnTo>
                <a:lnTo>
                  <a:pt x="6523719" y="5213493"/>
                </a:lnTo>
                <a:lnTo>
                  <a:pt x="6521522" y="5269763"/>
                </a:lnTo>
                <a:lnTo>
                  <a:pt x="6517686" y="5323713"/>
                </a:lnTo>
                <a:lnTo>
                  <a:pt x="6512065" y="5375263"/>
                </a:lnTo>
                <a:lnTo>
                  <a:pt x="6504517" y="5424328"/>
                </a:lnTo>
                <a:lnTo>
                  <a:pt x="6494896" y="5470827"/>
                </a:lnTo>
                <a:lnTo>
                  <a:pt x="6483059" y="5514676"/>
                </a:lnTo>
                <a:lnTo>
                  <a:pt x="6468862" y="5555794"/>
                </a:lnTo>
                <a:lnTo>
                  <a:pt x="6452162" y="5594097"/>
                </a:lnTo>
                <a:lnTo>
                  <a:pt x="6432813" y="5629503"/>
                </a:lnTo>
                <a:lnTo>
                  <a:pt x="6410672" y="5661929"/>
                </a:lnTo>
                <a:lnTo>
                  <a:pt x="6385595" y="5691293"/>
                </a:lnTo>
                <a:lnTo>
                  <a:pt x="6357438" y="5717511"/>
                </a:lnTo>
                <a:lnTo>
                  <a:pt x="6326057" y="5740502"/>
                </a:lnTo>
                <a:lnTo>
                  <a:pt x="6291309" y="5760183"/>
                </a:lnTo>
                <a:lnTo>
                  <a:pt x="6253048" y="5776470"/>
                </a:lnTo>
                <a:lnTo>
                  <a:pt x="6211131" y="5789282"/>
                </a:lnTo>
                <a:lnTo>
                  <a:pt x="6165415" y="5798536"/>
                </a:lnTo>
                <a:lnTo>
                  <a:pt x="6115755" y="5804149"/>
                </a:lnTo>
                <a:lnTo>
                  <a:pt x="6062007" y="5806038"/>
                </a:lnTo>
                <a:lnTo>
                  <a:pt x="6062007" y="5709215"/>
                </a:lnTo>
                <a:lnTo>
                  <a:pt x="6111692" y="5706982"/>
                </a:lnTo>
                <a:lnTo>
                  <a:pt x="6156613" y="5700361"/>
                </a:lnTo>
                <a:lnTo>
                  <a:pt x="6196995" y="5689472"/>
                </a:lnTo>
                <a:lnTo>
                  <a:pt x="6233066" y="5674432"/>
                </a:lnTo>
                <a:lnTo>
                  <a:pt x="6293177" y="5632372"/>
                </a:lnTo>
                <a:lnTo>
                  <a:pt x="6338757" y="5575128"/>
                </a:lnTo>
                <a:lnTo>
                  <a:pt x="6356662" y="5541107"/>
                </a:lnTo>
                <a:lnTo>
                  <a:pt x="6371614" y="5503645"/>
                </a:lnTo>
                <a:lnTo>
                  <a:pt x="6383838" y="5462861"/>
                </a:lnTo>
                <a:lnTo>
                  <a:pt x="6393561" y="5418871"/>
                </a:lnTo>
                <a:lnTo>
                  <a:pt x="6401008" y="5371794"/>
                </a:lnTo>
                <a:lnTo>
                  <a:pt x="6406407" y="5321750"/>
                </a:lnTo>
                <a:lnTo>
                  <a:pt x="6409983" y="5268855"/>
                </a:lnTo>
                <a:lnTo>
                  <a:pt x="6411962" y="5213228"/>
                </a:lnTo>
                <a:lnTo>
                  <a:pt x="6412572" y="5154988"/>
                </a:lnTo>
                <a:lnTo>
                  <a:pt x="6411930" y="5097319"/>
                </a:lnTo>
                <a:lnTo>
                  <a:pt x="6409860" y="5042230"/>
                </a:lnTo>
                <a:lnTo>
                  <a:pt x="6406150" y="4989837"/>
                </a:lnTo>
                <a:lnTo>
                  <a:pt x="6400584" y="4940261"/>
                </a:lnTo>
                <a:lnTo>
                  <a:pt x="6392949" y="4893617"/>
                </a:lnTo>
                <a:lnTo>
                  <a:pt x="6383031" y="4850025"/>
                </a:lnTo>
                <a:lnTo>
                  <a:pt x="6370615" y="4809604"/>
                </a:lnTo>
                <a:lnTo>
                  <a:pt x="6355488" y="4772472"/>
                </a:lnTo>
                <a:lnTo>
                  <a:pt x="6337435" y="4738746"/>
                </a:lnTo>
                <a:lnTo>
                  <a:pt x="6291697" y="4681987"/>
                </a:lnTo>
                <a:lnTo>
                  <a:pt x="6231688" y="4640273"/>
                </a:lnTo>
                <a:lnTo>
                  <a:pt x="6195796" y="4625355"/>
                </a:lnTo>
                <a:lnTo>
                  <a:pt x="6155695" y="4614552"/>
                </a:lnTo>
                <a:lnTo>
                  <a:pt x="6111170" y="4607983"/>
                </a:lnTo>
                <a:lnTo>
                  <a:pt x="6062007" y="4605768"/>
                </a:lnTo>
                <a:close/>
                <a:moveTo>
                  <a:pt x="5970138" y="4507277"/>
                </a:moveTo>
                <a:lnTo>
                  <a:pt x="5970138" y="4605768"/>
                </a:lnTo>
                <a:lnTo>
                  <a:pt x="5921252" y="4607983"/>
                </a:lnTo>
                <a:lnTo>
                  <a:pt x="5876971" y="4614552"/>
                </a:lnTo>
                <a:lnTo>
                  <a:pt x="5837085" y="4625355"/>
                </a:lnTo>
                <a:lnTo>
                  <a:pt x="5801379" y="4640273"/>
                </a:lnTo>
                <a:lnTo>
                  <a:pt x="5741664" y="4681987"/>
                </a:lnTo>
                <a:lnTo>
                  <a:pt x="5696130" y="4738746"/>
                </a:lnTo>
                <a:lnTo>
                  <a:pt x="5678151" y="4772472"/>
                </a:lnTo>
                <a:lnTo>
                  <a:pt x="5663081" y="4809604"/>
                </a:lnTo>
                <a:lnTo>
                  <a:pt x="5650709" y="4850025"/>
                </a:lnTo>
                <a:lnTo>
                  <a:pt x="5640821" y="4893617"/>
                </a:lnTo>
                <a:lnTo>
                  <a:pt x="5633207" y="4940261"/>
                </a:lnTo>
                <a:lnTo>
                  <a:pt x="5627654" y="4989837"/>
                </a:lnTo>
                <a:lnTo>
                  <a:pt x="5623950" y="5042230"/>
                </a:lnTo>
                <a:lnTo>
                  <a:pt x="5621883" y="5097319"/>
                </a:lnTo>
                <a:lnTo>
                  <a:pt x="5621241" y="5154988"/>
                </a:lnTo>
                <a:lnTo>
                  <a:pt x="5621867" y="5213228"/>
                </a:lnTo>
                <a:lnTo>
                  <a:pt x="5623889" y="5268855"/>
                </a:lnTo>
                <a:lnTo>
                  <a:pt x="5627526" y="5321750"/>
                </a:lnTo>
                <a:lnTo>
                  <a:pt x="5632995" y="5371794"/>
                </a:lnTo>
                <a:lnTo>
                  <a:pt x="5640516" y="5418871"/>
                </a:lnTo>
                <a:lnTo>
                  <a:pt x="5650305" y="5462861"/>
                </a:lnTo>
                <a:lnTo>
                  <a:pt x="5662582" y="5503645"/>
                </a:lnTo>
                <a:lnTo>
                  <a:pt x="5677564" y="5541107"/>
                </a:lnTo>
                <a:lnTo>
                  <a:pt x="5695470" y="5575128"/>
                </a:lnTo>
                <a:lnTo>
                  <a:pt x="5740924" y="5632372"/>
                </a:lnTo>
                <a:lnTo>
                  <a:pt x="5800690" y="5674432"/>
                </a:lnTo>
                <a:lnTo>
                  <a:pt x="5836485" y="5689472"/>
                </a:lnTo>
                <a:lnTo>
                  <a:pt x="5876513" y="5700361"/>
                </a:lnTo>
                <a:lnTo>
                  <a:pt x="5920991" y="5706982"/>
                </a:lnTo>
                <a:lnTo>
                  <a:pt x="5970138" y="5709215"/>
                </a:lnTo>
                <a:lnTo>
                  <a:pt x="5970138" y="5806038"/>
                </a:lnTo>
                <a:lnTo>
                  <a:pt x="5916615" y="5804149"/>
                </a:lnTo>
                <a:lnTo>
                  <a:pt x="5867135" y="5798536"/>
                </a:lnTo>
                <a:lnTo>
                  <a:pt x="5821555" y="5789282"/>
                </a:lnTo>
                <a:lnTo>
                  <a:pt x="5779737" y="5776470"/>
                </a:lnTo>
                <a:lnTo>
                  <a:pt x="5741540" y="5760183"/>
                </a:lnTo>
                <a:lnTo>
                  <a:pt x="5706823" y="5740502"/>
                </a:lnTo>
                <a:lnTo>
                  <a:pt x="5675446" y="5717511"/>
                </a:lnTo>
                <a:lnTo>
                  <a:pt x="5647270" y="5691293"/>
                </a:lnTo>
                <a:lnTo>
                  <a:pt x="5622154" y="5661929"/>
                </a:lnTo>
                <a:lnTo>
                  <a:pt x="5599957" y="5629503"/>
                </a:lnTo>
                <a:lnTo>
                  <a:pt x="5580540" y="5594097"/>
                </a:lnTo>
                <a:lnTo>
                  <a:pt x="5563762" y="5555794"/>
                </a:lnTo>
                <a:lnTo>
                  <a:pt x="5549483" y="5514676"/>
                </a:lnTo>
                <a:lnTo>
                  <a:pt x="5537563" y="5470827"/>
                </a:lnTo>
                <a:lnTo>
                  <a:pt x="5527862" y="5424328"/>
                </a:lnTo>
                <a:lnTo>
                  <a:pt x="5520239" y="5375263"/>
                </a:lnTo>
                <a:lnTo>
                  <a:pt x="5514554" y="5323713"/>
                </a:lnTo>
                <a:lnTo>
                  <a:pt x="5510667" y="5269763"/>
                </a:lnTo>
                <a:lnTo>
                  <a:pt x="5508437" y="5213493"/>
                </a:lnTo>
                <a:lnTo>
                  <a:pt x="5507726" y="5154988"/>
                </a:lnTo>
                <a:lnTo>
                  <a:pt x="5508461" y="5096732"/>
                </a:lnTo>
                <a:lnTo>
                  <a:pt x="5510757" y="5040712"/>
                </a:lnTo>
                <a:lnTo>
                  <a:pt x="5514746" y="4987008"/>
                </a:lnTo>
                <a:lnTo>
                  <a:pt x="5520559" y="4935701"/>
                </a:lnTo>
                <a:lnTo>
                  <a:pt x="5528332" y="4886873"/>
                </a:lnTo>
                <a:lnTo>
                  <a:pt x="5538195" y="4840605"/>
                </a:lnTo>
                <a:lnTo>
                  <a:pt x="5550281" y="4796980"/>
                </a:lnTo>
                <a:lnTo>
                  <a:pt x="5564724" y="4756077"/>
                </a:lnTo>
                <a:lnTo>
                  <a:pt x="5581656" y="4717980"/>
                </a:lnTo>
                <a:lnTo>
                  <a:pt x="5601209" y="4682768"/>
                </a:lnTo>
                <a:lnTo>
                  <a:pt x="5623517" y="4650523"/>
                </a:lnTo>
                <a:lnTo>
                  <a:pt x="5648713" y="4621327"/>
                </a:lnTo>
                <a:lnTo>
                  <a:pt x="5676928" y="4595261"/>
                </a:lnTo>
                <a:lnTo>
                  <a:pt x="5708295" y="4572406"/>
                </a:lnTo>
                <a:lnTo>
                  <a:pt x="5742948" y="4552845"/>
                </a:lnTo>
                <a:lnTo>
                  <a:pt x="5781019" y="4536657"/>
                </a:lnTo>
                <a:lnTo>
                  <a:pt x="5822641" y="4523925"/>
                </a:lnTo>
                <a:lnTo>
                  <a:pt x="5867946" y="4514730"/>
                </a:lnTo>
                <a:lnTo>
                  <a:pt x="5917067" y="4509153"/>
                </a:lnTo>
                <a:close/>
                <a:moveTo>
                  <a:pt x="2916306" y="4507277"/>
                </a:moveTo>
                <a:lnTo>
                  <a:pt x="2969376" y="4509153"/>
                </a:lnTo>
                <a:lnTo>
                  <a:pt x="3018497" y="4514730"/>
                </a:lnTo>
                <a:lnTo>
                  <a:pt x="3063803" y="4523925"/>
                </a:lnTo>
                <a:lnTo>
                  <a:pt x="3105426" y="4536657"/>
                </a:lnTo>
                <a:lnTo>
                  <a:pt x="3143497" y="4552845"/>
                </a:lnTo>
                <a:lnTo>
                  <a:pt x="3178150" y="4572406"/>
                </a:lnTo>
                <a:lnTo>
                  <a:pt x="3209516" y="4595261"/>
                </a:lnTo>
                <a:lnTo>
                  <a:pt x="3237732" y="4621327"/>
                </a:lnTo>
                <a:lnTo>
                  <a:pt x="3262928" y="4650523"/>
                </a:lnTo>
                <a:lnTo>
                  <a:pt x="3285236" y="4682768"/>
                </a:lnTo>
                <a:lnTo>
                  <a:pt x="3304789" y="4717980"/>
                </a:lnTo>
                <a:lnTo>
                  <a:pt x="3321718" y="4756077"/>
                </a:lnTo>
                <a:lnTo>
                  <a:pt x="3336161" y="4796980"/>
                </a:lnTo>
                <a:lnTo>
                  <a:pt x="3348248" y="4840605"/>
                </a:lnTo>
                <a:lnTo>
                  <a:pt x="3358111" y="4886873"/>
                </a:lnTo>
                <a:lnTo>
                  <a:pt x="3365883" y="4935701"/>
                </a:lnTo>
                <a:lnTo>
                  <a:pt x="3371697" y="4987008"/>
                </a:lnTo>
                <a:lnTo>
                  <a:pt x="3375685" y="5040712"/>
                </a:lnTo>
                <a:lnTo>
                  <a:pt x="3377981" y="5096732"/>
                </a:lnTo>
                <a:lnTo>
                  <a:pt x="3378717" y="5154988"/>
                </a:lnTo>
                <a:lnTo>
                  <a:pt x="3378017" y="5213493"/>
                </a:lnTo>
                <a:lnTo>
                  <a:pt x="3375820" y="5269763"/>
                </a:lnTo>
                <a:lnTo>
                  <a:pt x="3371984" y="5323713"/>
                </a:lnTo>
                <a:lnTo>
                  <a:pt x="3366363" y="5375263"/>
                </a:lnTo>
                <a:lnTo>
                  <a:pt x="3358815" y="5424328"/>
                </a:lnTo>
                <a:lnTo>
                  <a:pt x="3349194" y="5470827"/>
                </a:lnTo>
                <a:lnTo>
                  <a:pt x="3337357" y="5514676"/>
                </a:lnTo>
                <a:lnTo>
                  <a:pt x="3323160" y="5555794"/>
                </a:lnTo>
                <a:lnTo>
                  <a:pt x="3306462" y="5594097"/>
                </a:lnTo>
                <a:lnTo>
                  <a:pt x="3287114" y="5629503"/>
                </a:lnTo>
                <a:lnTo>
                  <a:pt x="3264973" y="5661929"/>
                </a:lnTo>
                <a:lnTo>
                  <a:pt x="3239895" y="5691293"/>
                </a:lnTo>
                <a:lnTo>
                  <a:pt x="3211738" y="5717511"/>
                </a:lnTo>
                <a:lnTo>
                  <a:pt x="3180357" y="5740502"/>
                </a:lnTo>
                <a:lnTo>
                  <a:pt x="3145609" y="5760183"/>
                </a:lnTo>
                <a:lnTo>
                  <a:pt x="3107348" y="5776470"/>
                </a:lnTo>
                <a:lnTo>
                  <a:pt x="3065431" y="5789282"/>
                </a:lnTo>
                <a:lnTo>
                  <a:pt x="3019716" y="5798536"/>
                </a:lnTo>
                <a:lnTo>
                  <a:pt x="2970054" y="5804149"/>
                </a:lnTo>
                <a:lnTo>
                  <a:pt x="2916306" y="5806038"/>
                </a:lnTo>
                <a:lnTo>
                  <a:pt x="2916306" y="5709215"/>
                </a:lnTo>
                <a:lnTo>
                  <a:pt x="2965992" y="5706982"/>
                </a:lnTo>
                <a:lnTo>
                  <a:pt x="3010913" y="5700361"/>
                </a:lnTo>
                <a:lnTo>
                  <a:pt x="3051294" y="5689472"/>
                </a:lnTo>
                <a:lnTo>
                  <a:pt x="3087367" y="5674432"/>
                </a:lnTo>
                <a:lnTo>
                  <a:pt x="3147477" y="5632372"/>
                </a:lnTo>
                <a:lnTo>
                  <a:pt x="3193057" y="5575128"/>
                </a:lnTo>
                <a:lnTo>
                  <a:pt x="3210963" y="5541107"/>
                </a:lnTo>
                <a:lnTo>
                  <a:pt x="3225916" y="5503645"/>
                </a:lnTo>
                <a:lnTo>
                  <a:pt x="3238139" y="5462861"/>
                </a:lnTo>
                <a:lnTo>
                  <a:pt x="3247862" y="5418871"/>
                </a:lnTo>
                <a:lnTo>
                  <a:pt x="3255309" y="5371794"/>
                </a:lnTo>
                <a:lnTo>
                  <a:pt x="3260708" y="5321750"/>
                </a:lnTo>
                <a:lnTo>
                  <a:pt x="3264284" y="5268855"/>
                </a:lnTo>
                <a:lnTo>
                  <a:pt x="3266263" y="5213228"/>
                </a:lnTo>
                <a:lnTo>
                  <a:pt x="3266872" y="5154988"/>
                </a:lnTo>
                <a:lnTo>
                  <a:pt x="3266231" y="5097319"/>
                </a:lnTo>
                <a:lnTo>
                  <a:pt x="3264161" y="5042230"/>
                </a:lnTo>
                <a:lnTo>
                  <a:pt x="3260451" y="4989837"/>
                </a:lnTo>
                <a:lnTo>
                  <a:pt x="3254885" y="4940261"/>
                </a:lnTo>
                <a:lnTo>
                  <a:pt x="3247250" y="4893617"/>
                </a:lnTo>
                <a:lnTo>
                  <a:pt x="3237332" y="4850025"/>
                </a:lnTo>
                <a:lnTo>
                  <a:pt x="3224916" y="4809604"/>
                </a:lnTo>
                <a:lnTo>
                  <a:pt x="3209789" y="4772472"/>
                </a:lnTo>
                <a:lnTo>
                  <a:pt x="3191735" y="4738746"/>
                </a:lnTo>
                <a:lnTo>
                  <a:pt x="3145998" y="4681987"/>
                </a:lnTo>
                <a:lnTo>
                  <a:pt x="3085988" y="4640273"/>
                </a:lnTo>
                <a:lnTo>
                  <a:pt x="3050095" y="4625355"/>
                </a:lnTo>
                <a:lnTo>
                  <a:pt x="3009995" y="4614552"/>
                </a:lnTo>
                <a:lnTo>
                  <a:pt x="2965470" y="4607983"/>
                </a:lnTo>
                <a:lnTo>
                  <a:pt x="2916306" y="4605768"/>
                </a:lnTo>
                <a:close/>
                <a:moveTo>
                  <a:pt x="2824439" y="4507277"/>
                </a:moveTo>
                <a:lnTo>
                  <a:pt x="2824439" y="4605768"/>
                </a:lnTo>
                <a:lnTo>
                  <a:pt x="2775553" y="4607983"/>
                </a:lnTo>
                <a:lnTo>
                  <a:pt x="2731271" y="4614552"/>
                </a:lnTo>
                <a:lnTo>
                  <a:pt x="2691385" y="4625355"/>
                </a:lnTo>
                <a:lnTo>
                  <a:pt x="2655680" y="4640273"/>
                </a:lnTo>
                <a:lnTo>
                  <a:pt x="2595965" y="4681987"/>
                </a:lnTo>
                <a:lnTo>
                  <a:pt x="2550430" y="4738746"/>
                </a:lnTo>
                <a:lnTo>
                  <a:pt x="2532451" y="4772472"/>
                </a:lnTo>
                <a:lnTo>
                  <a:pt x="2517381" y="4809604"/>
                </a:lnTo>
                <a:lnTo>
                  <a:pt x="2505009" y="4850025"/>
                </a:lnTo>
                <a:lnTo>
                  <a:pt x="2495121" y="4893617"/>
                </a:lnTo>
                <a:lnTo>
                  <a:pt x="2487508" y="4940261"/>
                </a:lnTo>
                <a:lnTo>
                  <a:pt x="2481955" y="4989837"/>
                </a:lnTo>
                <a:lnTo>
                  <a:pt x="2478251" y="5042230"/>
                </a:lnTo>
                <a:lnTo>
                  <a:pt x="2476183" y="5097319"/>
                </a:lnTo>
                <a:lnTo>
                  <a:pt x="2475541" y="5154988"/>
                </a:lnTo>
                <a:lnTo>
                  <a:pt x="2476168" y="5213228"/>
                </a:lnTo>
                <a:lnTo>
                  <a:pt x="2478189" y="5268855"/>
                </a:lnTo>
                <a:lnTo>
                  <a:pt x="2481827" y="5321750"/>
                </a:lnTo>
                <a:lnTo>
                  <a:pt x="2487296" y="5371794"/>
                </a:lnTo>
                <a:lnTo>
                  <a:pt x="2494816" y="5418871"/>
                </a:lnTo>
                <a:lnTo>
                  <a:pt x="2504605" y="5462861"/>
                </a:lnTo>
                <a:lnTo>
                  <a:pt x="2516882" y="5503645"/>
                </a:lnTo>
                <a:lnTo>
                  <a:pt x="2531865" y="5541107"/>
                </a:lnTo>
                <a:lnTo>
                  <a:pt x="2549770" y="5575128"/>
                </a:lnTo>
                <a:lnTo>
                  <a:pt x="2595224" y="5632372"/>
                </a:lnTo>
                <a:lnTo>
                  <a:pt x="2654990" y="5674432"/>
                </a:lnTo>
                <a:lnTo>
                  <a:pt x="2690785" y="5689472"/>
                </a:lnTo>
                <a:lnTo>
                  <a:pt x="2730814" y="5700361"/>
                </a:lnTo>
                <a:lnTo>
                  <a:pt x="2775291" y="5706982"/>
                </a:lnTo>
                <a:lnTo>
                  <a:pt x="2824439" y="5709215"/>
                </a:lnTo>
                <a:lnTo>
                  <a:pt x="2824439" y="5806038"/>
                </a:lnTo>
                <a:lnTo>
                  <a:pt x="2770915" y="5804149"/>
                </a:lnTo>
                <a:lnTo>
                  <a:pt x="2721436" y="5798536"/>
                </a:lnTo>
                <a:lnTo>
                  <a:pt x="2675855" y="5789282"/>
                </a:lnTo>
                <a:lnTo>
                  <a:pt x="2634037" y="5776470"/>
                </a:lnTo>
                <a:lnTo>
                  <a:pt x="2595840" y="5760183"/>
                </a:lnTo>
                <a:lnTo>
                  <a:pt x="2561122" y="5740502"/>
                </a:lnTo>
                <a:lnTo>
                  <a:pt x="2529747" y="5717511"/>
                </a:lnTo>
                <a:lnTo>
                  <a:pt x="2501571" y="5691293"/>
                </a:lnTo>
                <a:lnTo>
                  <a:pt x="2476454" y="5661929"/>
                </a:lnTo>
                <a:lnTo>
                  <a:pt x="2454257" y="5629503"/>
                </a:lnTo>
                <a:lnTo>
                  <a:pt x="2434840" y="5594097"/>
                </a:lnTo>
                <a:lnTo>
                  <a:pt x="2418062" y="5555794"/>
                </a:lnTo>
                <a:lnTo>
                  <a:pt x="2403783" y="5514676"/>
                </a:lnTo>
                <a:lnTo>
                  <a:pt x="2391863" y="5470827"/>
                </a:lnTo>
                <a:lnTo>
                  <a:pt x="2382162" y="5424328"/>
                </a:lnTo>
                <a:lnTo>
                  <a:pt x="2374539" y="5375263"/>
                </a:lnTo>
                <a:lnTo>
                  <a:pt x="2368854" y="5323713"/>
                </a:lnTo>
                <a:lnTo>
                  <a:pt x="2364967" y="5269763"/>
                </a:lnTo>
                <a:lnTo>
                  <a:pt x="2362736" y="5213493"/>
                </a:lnTo>
                <a:lnTo>
                  <a:pt x="2362026" y="5154988"/>
                </a:lnTo>
                <a:lnTo>
                  <a:pt x="2362760" y="5096732"/>
                </a:lnTo>
                <a:lnTo>
                  <a:pt x="2365057" y="5040712"/>
                </a:lnTo>
                <a:lnTo>
                  <a:pt x="2369046" y="4987008"/>
                </a:lnTo>
                <a:lnTo>
                  <a:pt x="2374859" y="4935701"/>
                </a:lnTo>
                <a:lnTo>
                  <a:pt x="2382632" y="4886873"/>
                </a:lnTo>
                <a:lnTo>
                  <a:pt x="2392495" y="4840605"/>
                </a:lnTo>
                <a:lnTo>
                  <a:pt x="2404581" y="4796980"/>
                </a:lnTo>
                <a:lnTo>
                  <a:pt x="2419024" y="4756077"/>
                </a:lnTo>
                <a:lnTo>
                  <a:pt x="2435956" y="4717980"/>
                </a:lnTo>
                <a:lnTo>
                  <a:pt x="2455509" y="4682768"/>
                </a:lnTo>
                <a:lnTo>
                  <a:pt x="2477817" y="4650523"/>
                </a:lnTo>
                <a:lnTo>
                  <a:pt x="2503013" y="4621327"/>
                </a:lnTo>
                <a:lnTo>
                  <a:pt x="2531228" y="4595261"/>
                </a:lnTo>
                <a:lnTo>
                  <a:pt x="2562596" y="4572406"/>
                </a:lnTo>
                <a:lnTo>
                  <a:pt x="2597248" y="4552845"/>
                </a:lnTo>
                <a:lnTo>
                  <a:pt x="2635318" y="4536657"/>
                </a:lnTo>
                <a:lnTo>
                  <a:pt x="2676942" y="4523925"/>
                </a:lnTo>
                <a:lnTo>
                  <a:pt x="2722247" y="4514730"/>
                </a:lnTo>
                <a:lnTo>
                  <a:pt x="2771367" y="4509153"/>
                </a:lnTo>
                <a:close/>
                <a:moveTo>
                  <a:pt x="2506783" y="4026496"/>
                </a:moveTo>
                <a:lnTo>
                  <a:pt x="2549012" y="4030174"/>
                </a:lnTo>
                <a:lnTo>
                  <a:pt x="2581695" y="4043398"/>
                </a:lnTo>
                <a:lnTo>
                  <a:pt x="2602796" y="4069456"/>
                </a:lnTo>
                <a:lnTo>
                  <a:pt x="2610283" y="4111633"/>
                </a:lnTo>
                <a:lnTo>
                  <a:pt x="2602796" y="4155741"/>
                </a:lnTo>
                <a:lnTo>
                  <a:pt x="2581695" y="4182790"/>
                </a:lnTo>
                <a:lnTo>
                  <a:pt x="2549012" y="4196380"/>
                </a:lnTo>
                <a:lnTo>
                  <a:pt x="2506783" y="4200110"/>
                </a:lnTo>
                <a:lnTo>
                  <a:pt x="2464554" y="4196380"/>
                </a:lnTo>
                <a:lnTo>
                  <a:pt x="2431870" y="4182790"/>
                </a:lnTo>
                <a:lnTo>
                  <a:pt x="2410769" y="4155741"/>
                </a:lnTo>
                <a:lnTo>
                  <a:pt x="2403283" y="4111633"/>
                </a:lnTo>
                <a:lnTo>
                  <a:pt x="2411003" y="4069456"/>
                </a:lnTo>
                <a:lnTo>
                  <a:pt x="2432496" y="4043398"/>
                </a:lnTo>
                <a:lnTo>
                  <a:pt x="2465257" y="4030174"/>
                </a:lnTo>
                <a:close/>
                <a:moveTo>
                  <a:pt x="2506783" y="3325365"/>
                </a:moveTo>
                <a:lnTo>
                  <a:pt x="2549012" y="3328834"/>
                </a:lnTo>
                <a:lnTo>
                  <a:pt x="2581695" y="3341849"/>
                </a:lnTo>
                <a:lnTo>
                  <a:pt x="2602796" y="3368324"/>
                </a:lnTo>
                <a:lnTo>
                  <a:pt x="2610283" y="3412171"/>
                </a:lnTo>
                <a:lnTo>
                  <a:pt x="2602796" y="3454609"/>
                </a:lnTo>
                <a:lnTo>
                  <a:pt x="2581695" y="3481240"/>
                </a:lnTo>
                <a:lnTo>
                  <a:pt x="2549012" y="3495038"/>
                </a:lnTo>
                <a:lnTo>
                  <a:pt x="2506783" y="3498977"/>
                </a:lnTo>
                <a:lnTo>
                  <a:pt x="2465519" y="3495038"/>
                </a:lnTo>
                <a:lnTo>
                  <a:pt x="2433331" y="3481240"/>
                </a:lnTo>
                <a:lnTo>
                  <a:pt x="2412411" y="3454609"/>
                </a:lnTo>
                <a:lnTo>
                  <a:pt x="2404952" y="3412171"/>
                </a:lnTo>
                <a:lnTo>
                  <a:pt x="2412411" y="3368324"/>
                </a:lnTo>
                <a:lnTo>
                  <a:pt x="2433331" y="3341849"/>
                </a:lnTo>
                <a:lnTo>
                  <a:pt x="2465519" y="3328834"/>
                </a:lnTo>
                <a:close/>
                <a:moveTo>
                  <a:pt x="3576931" y="3011218"/>
                </a:moveTo>
                <a:lnTo>
                  <a:pt x="3950858" y="3011218"/>
                </a:lnTo>
                <a:lnTo>
                  <a:pt x="3950858" y="3106468"/>
                </a:lnTo>
                <a:lnTo>
                  <a:pt x="3950858" y="4205018"/>
                </a:lnTo>
                <a:lnTo>
                  <a:pt x="3950858" y="4300268"/>
                </a:lnTo>
                <a:lnTo>
                  <a:pt x="3576931" y="4300268"/>
                </a:lnTo>
                <a:lnTo>
                  <a:pt x="3576931" y="4205018"/>
                </a:lnTo>
                <a:lnTo>
                  <a:pt x="3835681" y="4205018"/>
                </a:lnTo>
                <a:lnTo>
                  <a:pt x="3835681" y="3106468"/>
                </a:lnTo>
                <a:lnTo>
                  <a:pt x="3576931" y="3106468"/>
                </a:lnTo>
                <a:close/>
                <a:moveTo>
                  <a:pt x="1487809" y="3011218"/>
                </a:moveTo>
                <a:lnTo>
                  <a:pt x="1861748" y="3011218"/>
                </a:lnTo>
                <a:lnTo>
                  <a:pt x="1861748" y="3106468"/>
                </a:lnTo>
                <a:lnTo>
                  <a:pt x="1602998" y="3106468"/>
                </a:lnTo>
                <a:lnTo>
                  <a:pt x="1602998" y="4205018"/>
                </a:lnTo>
                <a:lnTo>
                  <a:pt x="1861748" y="4205018"/>
                </a:lnTo>
                <a:lnTo>
                  <a:pt x="1861748" y="4300268"/>
                </a:lnTo>
                <a:lnTo>
                  <a:pt x="1487809" y="4300268"/>
                </a:lnTo>
                <a:lnTo>
                  <a:pt x="1487809" y="4205018"/>
                </a:lnTo>
                <a:lnTo>
                  <a:pt x="1487809" y="3106468"/>
                </a:lnTo>
                <a:close/>
                <a:moveTo>
                  <a:pt x="7212302" y="3004847"/>
                </a:moveTo>
                <a:lnTo>
                  <a:pt x="7265372" y="3006723"/>
                </a:lnTo>
                <a:lnTo>
                  <a:pt x="7314493" y="3012300"/>
                </a:lnTo>
                <a:lnTo>
                  <a:pt x="7359798" y="3021495"/>
                </a:lnTo>
                <a:lnTo>
                  <a:pt x="7401420" y="3034227"/>
                </a:lnTo>
                <a:lnTo>
                  <a:pt x="7439491" y="3050415"/>
                </a:lnTo>
                <a:lnTo>
                  <a:pt x="7474144" y="3069977"/>
                </a:lnTo>
                <a:lnTo>
                  <a:pt x="7505511" y="3092831"/>
                </a:lnTo>
                <a:lnTo>
                  <a:pt x="7533726" y="3118897"/>
                </a:lnTo>
                <a:lnTo>
                  <a:pt x="7558922" y="3148093"/>
                </a:lnTo>
                <a:lnTo>
                  <a:pt x="7581230" y="3180338"/>
                </a:lnTo>
                <a:lnTo>
                  <a:pt x="7600783" y="3215550"/>
                </a:lnTo>
                <a:lnTo>
                  <a:pt x="7617715" y="3253648"/>
                </a:lnTo>
                <a:lnTo>
                  <a:pt x="7632158" y="3294551"/>
                </a:lnTo>
                <a:lnTo>
                  <a:pt x="7644245" y="3338176"/>
                </a:lnTo>
                <a:lnTo>
                  <a:pt x="7654108" y="3384443"/>
                </a:lnTo>
                <a:lnTo>
                  <a:pt x="7661880" y="3433271"/>
                </a:lnTo>
                <a:lnTo>
                  <a:pt x="7667694" y="3484578"/>
                </a:lnTo>
                <a:lnTo>
                  <a:pt x="7671682" y="3538282"/>
                </a:lnTo>
                <a:lnTo>
                  <a:pt x="7673978" y="3594302"/>
                </a:lnTo>
                <a:lnTo>
                  <a:pt x="7674714" y="3652558"/>
                </a:lnTo>
                <a:lnTo>
                  <a:pt x="7674014" y="3711063"/>
                </a:lnTo>
                <a:lnTo>
                  <a:pt x="7671817" y="3767333"/>
                </a:lnTo>
                <a:lnTo>
                  <a:pt x="7667981" y="3821283"/>
                </a:lnTo>
                <a:lnTo>
                  <a:pt x="7662360" y="3872833"/>
                </a:lnTo>
                <a:lnTo>
                  <a:pt x="7654812" y="3921898"/>
                </a:lnTo>
                <a:lnTo>
                  <a:pt x="7645191" y="3968397"/>
                </a:lnTo>
                <a:lnTo>
                  <a:pt x="7633354" y="4012246"/>
                </a:lnTo>
                <a:lnTo>
                  <a:pt x="7619157" y="4053364"/>
                </a:lnTo>
                <a:lnTo>
                  <a:pt x="7602457" y="4091667"/>
                </a:lnTo>
                <a:lnTo>
                  <a:pt x="7583108" y="4127073"/>
                </a:lnTo>
                <a:lnTo>
                  <a:pt x="7560967" y="4159499"/>
                </a:lnTo>
                <a:lnTo>
                  <a:pt x="7535890" y="4188862"/>
                </a:lnTo>
                <a:lnTo>
                  <a:pt x="7507733" y="4215081"/>
                </a:lnTo>
                <a:lnTo>
                  <a:pt x="7476352" y="4238071"/>
                </a:lnTo>
                <a:lnTo>
                  <a:pt x="7441604" y="4257752"/>
                </a:lnTo>
                <a:lnTo>
                  <a:pt x="7403343" y="4274039"/>
                </a:lnTo>
                <a:lnTo>
                  <a:pt x="7361426" y="4286851"/>
                </a:lnTo>
                <a:lnTo>
                  <a:pt x="7315710" y="4296105"/>
                </a:lnTo>
                <a:lnTo>
                  <a:pt x="7266050" y="4301718"/>
                </a:lnTo>
                <a:lnTo>
                  <a:pt x="7212302" y="4303607"/>
                </a:lnTo>
                <a:lnTo>
                  <a:pt x="7212302" y="4206785"/>
                </a:lnTo>
                <a:lnTo>
                  <a:pt x="7261987" y="4204552"/>
                </a:lnTo>
                <a:lnTo>
                  <a:pt x="7306907" y="4197931"/>
                </a:lnTo>
                <a:lnTo>
                  <a:pt x="7347290" y="4187042"/>
                </a:lnTo>
                <a:lnTo>
                  <a:pt x="7383361" y="4172002"/>
                </a:lnTo>
                <a:lnTo>
                  <a:pt x="7443472" y="4129942"/>
                </a:lnTo>
                <a:lnTo>
                  <a:pt x="7489051" y="4072698"/>
                </a:lnTo>
                <a:lnTo>
                  <a:pt x="7506957" y="4038677"/>
                </a:lnTo>
                <a:lnTo>
                  <a:pt x="7521909" y="4001216"/>
                </a:lnTo>
                <a:lnTo>
                  <a:pt x="7534133" y="3960431"/>
                </a:lnTo>
                <a:lnTo>
                  <a:pt x="7543856" y="3916441"/>
                </a:lnTo>
                <a:lnTo>
                  <a:pt x="7551303" y="3869364"/>
                </a:lnTo>
                <a:lnTo>
                  <a:pt x="7556702" y="3819320"/>
                </a:lnTo>
                <a:lnTo>
                  <a:pt x="7560278" y="3766425"/>
                </a:lnTo>
                <a:lnTo>
                  <a:pt x="7562257" y="3710798"/>
                </a:lnTo>
                <a:lnTo>
                  <a:pt x="7562867" y="3652558"/>
                </a:lnTo>
                <a:lnTo>
                  <a:pt x="7562225" y="3594889"/>
                </a:lnTo>
                <a:lnTo>
                  <a:pt x="7560155" y="3539800"/>
                </a:lnTo>
                <a:lnTo>
                  <a:pt x="7556445" y="3487407"/>
                </a:lnTo>
                <a:lnTo>
                  <a:pt x="7550879" y="3437831"/>
                </a:lnTo>
                <a:lnTo>
                  <a:pt x="7543244" y="3391187"/>
                </a:lnTo>
                <a:lnTo>
                  <a:pt x="7533326" y="3347596"/>
                </a:lnTo>
                <a:lnTo>
                  <a:pt x="7520910" y="3307175"/>
                </a:lnTo>
                <a:lnTo>
                  <a:pt x="7505783" y="3270043"/>
                </a:lnTo>
                <a:lnTo>
                  <a:pt x="7487730" y="3236317"/>
                </a:lnTo>
                <a:lnTo>
                  <a:pt x="7441992" y="3179558"/>
                </a:lnTo>
                <a:lnTo>
                  <a:pt x="7381983" y="3137845"/>
                </a:lnTo>
                <a:lnTo>
                  <a:pt x="7346091" y="3122926"/>
                </a:lnTo>
                <a:lnTo>
                  <a:pt x="7305990" y="3112123"/>
                </a:lnTo>
                <a:lnTo>
                  <a:pt x="7261465" y="3105555"/>
                </a:lnTo>
                <a:lnTo>
                  <a:pt x="7212302" y="3103339"/>
                </a:lnTo>
                <a:close/>
                <a:moveTo>
                  <a:pt x="6695380" y="3004847"/>
                </a:moveTo>
                <a:lnTo>
                  <a:pt x="6695380" y="3103339"/>
                </a:lnTo>
                <a:lnTo>
                  <a:pt x="6646494" y="3105555"/>
                </a:lnTo>
                <a:lnTo>
                  <a:pt x="6602213" y="3112123"/>
                </a:lnTo>
                <a:lnTo>
                  <a:pt x="6562327" y="3122926"/>
                </a:lnTo>
                <a:lnTo>
                  <a:pt x="6526621" y="3137845"/>
                </a:lnTo>
                <a:lnTo>
                  <a:pt x="6466906" y="3179558"/>
                </a:lnTo>
                <a:lnTo>
                  <a:pt x="6421372" y="3236317"/>
                </a:lnTo>
                <a:lnTo>
                  <a:pt x="6403393" y="3270043"/>
                </a:lnTo>
                <a:lnTo>
                  <a:pt x="6388323" y="3307175"/>
                </a:lnTo>
                <a:lnTo>
                  <a:pt x="6375951" y="3347596"/>
                </a:lnTo>
                <a:lnTo>
                  <a:pt x="6366063" y="3391187"/>
                </a:lnTo>
                <a:lnTo>
                  <a:pt x="6358449" y="3437831"/>
                </a:lnTo>
                <a:lnTo>
                  <a:pt x="6352896" y="3487407"/>
                </a:lnTo>
                <a:lnTo>
                  <a:pt x="6349192" y="3539800"/>
                </a:lnTo>
                <a:lnTo>
                  <a:pt x="6347125" y="3594889"/>
                </a:lnTo>
                <a:lnTo>
                  <a:pt x="6346483" y="3652558"/>
                </a:lnTo>
                <a:lnTo>
                  <a:pt x="6347109" y="3710798"/>
                </a:lnTo>
                <a:lnTo>
                  <a:pt x="6349131" y="3766425"/>
                </a:lnTo>
                <a:lnTo>
                  <a:pt x="6352768" y="3819320"/>
                </a:lnTo>
                <a:lnTo>
                  <a:pt x="6358237" y="3869364"/>
                </a:lnTo>
                <a:lnTo>
                  <a:pt x="6365758" y="3916441"/>
                </a:lnTo>
                <a:lnTo>
                  <a:pt x="6375547" y="3960431"/>
                </a:lnTo>
                <a:lnTo>
                  <a:pt x="6387824" y="4001216"/>
                </a:lnTo>
                <a:lnTo>
                  <a:pt x="6402806" y="4038677"/>
                </a:lnTo>
                <a:lnTo>
                  <a:pt x="6420712" y="4072698"/>
                </a:lnTo>
                <a:lnTo>
                  <a:pt x="6466166" y="4129942"/>
                </a:lnTo>
                <a:lnTo>
                  <a:pt x="6525932" y="4172002"/>
                </a:lnTo>
                <a:lnTo>
                  <a:pt x="6561727" y="4187042"/>
                </a:lnTo>
                <a:lnTo>
                  <a:pt x="6601755" y="4197931"/>
                </a:lnTo>
                <a:lnTo>
                  <a:pt x="6646233" y="4204552"/>
                </a:lnTo>
                <a:lnTo>
                  <a:pt x="6695380" y="4206785"/>
                </a:lnTo>
                <a:lnTo>
                  <a:pt x="6695380" y="4303607"/>
                </a:lnTo>
                <a:lnTo>
                  <a:pt x="6641857" y="4301718"/>
                </a:lnTo>
                <a:lnTo>
                  <a:pt x="6592377" y="4296105"/>
                </a:lnTo>
                <a:lnTo>
                  <a:pt x="6546797" y="4286851"/>
                </a:lnTo>
                <a:lnTo>
                  <a:pt x="6504979" y="4274039"/>
                </a:lnTo>
                <a:lnTo>
                  <a:pt x="6466782" y="4257752"/>
                </a:lnTo>
                <a:lnTo>
                  <a:pt x="6432065" y="4238071"/>
                </a:lnTo>
                <a:lnTo>
                  <a:pt x="6400688" y="4215081"/>
                </a:lnTo>
                <a:lnTo>
                  <a:pt x="6372512" y="4188862"/>
                </a:lnTo>
                <a:lnTo>
                  <a:pt x="6347396" y="4159499"/>
                </a:lnTo>
                <a:lnTo>
                  <a:pt x="6325199" y="4127073"/>
                </a:lnTo>
                <a:lnTo>
                  <a:pt x="6305782" y="4091667"/>
                </a:lnTo>
                <a:lnTo>
                  <a:pt x="6289004" y="4053364"/>
                </a:lnTo>
                <a:lnTo>
                  <a:pt x="6274725" y="4012246"/>
                </a:lnTo>
                <a:lnTo>
                  <a:pt x="6262805" y="3968397"/>
                </a:lnTo>
                <a:lnTo>
                  <a:pt x="6253104" y="3921898"/>
                </a:lnTo>
                <a:lnTo>
                  <a:pt x="6245481" y="3872833"/>
                </a:lnTo>
                <a:lnTo>
                  <a:pt x="6239796" y="3821283"/>
                </a:lnTo>
                <a:lnTo>
                  <a:pt x="6235909" y="3767333"/>
                </a:lnTo>
                <a:lnTo>
                  <a:pt x="6233679" y="3711063"/>
                </a:lnTo>
                <a:lnTo>
                  <a:pt x="6232968" y="3652558"/>
                </a:lnTo>
                <a:lnTo>
                  <a:pt x="6233703" y="3594302"/>
                </a:lnTo>
                <a:lnTo>
                  <a:pt x="6235999" y="3538282"/>
                </a:lnTo>
                <a:lnTo>
                  <a:pt x="6239988" y="3484578"/>
                </a:lnTo>
                <a:lnTo>
                  <a:pt x="6245801" y="3433271"/>
                </a:lnTo>
                <a:lnTo>
                  <a:pt x="6253574" y="3384443"/>
                </a:lnTo>
                <a:lnTo>
                  <a:pt x="6263437" y="3338176"/>
                </a:lnTo>
                <a:lnTo>
                  <a:pt x="6275523" y="3294551"/>
                </a:lnTo>
                <a:lnTo>
                  <a:pt x="6289966" y="3253648"/>
                </a:lnTo>
                <a:lnTo>
                  <a:pt x="6306898" y="3215550"/>
                </a:lnTo>
                <a:lnTo>
                  <a:pt x="6326451" y="3180338"/>
                </a:lnTo>
                <a:lnTo>
                  <a:pt x="6348759" y="3148093"/>
                </a:lnTo>
                <a:lnTo>
                  <a:pt x="6373955" y="3118897"/>
                </a:lnTo>
                <a:lnTo>
                  <a:pt x="6402170" y="3092831"/>
                </a:lnTo>
                <a:lnTo>
                  <a:pt x="6433537" y="3069977"/>
                </a:lnTo>
                <a:lnTo>
                  <a:pt x="6468190" y="3050415"/>
                </a:lnTo>
                <a:lnTo>
                  <a:pt x="6506261" y="3034227"/>
                </a:lnTo>
                <a:lnTo>
                  <a:pt x="6547883" y="3021495"/>
                </a:lnTo>
                <a:lnTo>
                  <a:pt x="6593188" y="3012300"/>
                </a:lnTo>
                <a:lnTo>
                  <a:pt x="6642309" y="3006723"/>
                </a:lnTo>
                <a:close/>
                <a:moveTo>
                  <a:pt x="5578527" y="3004847"/>
                </a:moveTo>
                <a:lnTo>
                  <a:pt x="5631597" y="3006723"/>
                </a:lnTo>
                <a:lnTo>
                  <a:pt x="5680718" y="3012300"/>
                </a:lnTo>
                <a:lnTo>
                  <a:pt x="5726023" y="3021495"/>
                </a:lnTo>
                <a:lnTo>
                  <a:pt x="5767645" y="3034227"/>
                </a:lnTo>
                <a:lnTo>
                  <a:pt x="5805716" y="3050415"/>
                </a:lnTo>
                <a:lnTo>
                  <a:pt x="5840369" y="3069977"/>
                </a:lnTo>
                <a:lnTo>
                  <a:pt x="5871736" y="3092831"/>
                </a:lnTo>
                <a:lnTo>
                  <a:pt x="5899951" y="3118897"/>
                </a:lnTo>
                <a:lnTo>
                  <a:pt x="5925147" y="3148093"/>
                </a:lnTo>
                <a:lnTo>
                  <a:pt x="5947455" y="3180338"/>
                </a:lnTo>
                <a:lnTo>
                  <a:pt x="5967008" y="3215550"/>
                </a:lnTo>
                <a:lnTo>
                  <a:pt x="5983940" y="3253648"/>
                </a:lnTo>
                <a:lnTo>
                  <a:pt x="5998383" y="3294551"/>
                </a:lnTo>
                <a:lnTo>
                  <a:pt x="6010470" y="3338176"/>
                </a:lnTo>
                <a:lnTo>
                  <a:pt x="6020333" y="3384443"/>
                </a:lnTo>
                <a:lnTo>
                  <a:pt x="6028105" y="3433271"/>
                </a:lnTo>
                <a:lnTo>
                  <a:pt x="6033919" y="3484578"/>
                </a:lnTo>
                <a:lnTo>
                  <a:pt x="6037907" y="3538282"/>
                </a:lnTo>
                <a:lnTo>
                  <a:pt x="6040203" y="3594302"/>
                </a:lnTo>
                <a:lnTo>
                  <a:pt x="6040939" y="3652558"/>
                </a:lnTo>
                <a:lnTo>
                  <a:pt x="6040239" y="3711063"/>
                </a:lnTo>
                <a:lnTo>
                  <a:pt x="6038042" y="3767333"/>
                </a:lnTo>
                <a:lnTo>
                  <a:pt x="6034206" y="3821283"/>
                </a:lnTo>
                <a:lnTo>
                  <a:pt x="6028585" y="3872833"/>
                </a:lnTo>
                <a:lnTo>
                  <a:pt x="6021037" y="3921898"/>
                </a:lnTo>
                <a:lnTo>
                  <a:pt x="6011416" y="3968397"/>
                </a:lnTo>
                <a:lnTo>
                  <a:pt x="5999579" y="4012246"/>
                </a:lnTo>
                <a:lnTo>
                  <a:pt x="5985382" y="4053364"/>
                </a:lnTo>
                <a:lnTo>
                  <a:pt x="5968682" y="4091667"/>
                </a:lnTo>
                <a:lnTo>
                  <a:pt x="5949333" y="4127073"/>
                </a:lnTo>
                <a:lnTo>
                  <a:pt x="5927192" y="4159499"/>
                </a:lnTo>
                <a:lnTo>
                  <a:pt x="5902115" y="4188862"/>
                </a:lnTo>
                <a:lnTo>
                  <a:pt x="5873958" y="4215081"/>
                </a:lnTo>
                <a:lnTo>
                  <a:pt x="5842577" y="4238071"/>
                </a:lnTo>
                <a:lnTo>
                  <a:pt x="5807829" y="4257752"/>
                </a:lnTo>
                <a:lnTo>
                  <a:pt x="5769568" y="4274039"/>
                </a:lnTo>
                <a:lnTo>
                  <a:pt x="5727651" y="4286851"/>
                </a:lnTo>
                <a:lnTo>
                  <a:pt x="5681935" y="4296105"/>
                </a:lnTo>
                <a:lnTo>
                  <a:pt x="5632275" y="4301718"/>
                </a:lnTo>
                <a:lnTo>
                  <a:pt x="5578527" y="4303607"/>
                </a:lnTo>
                <a:lnTo>
                  <a:pt x="5578527" y="4206785"/>
                </a:lnTo>
                <a:lnTo>
                  <a:pt x="5628212" y="4204552"/>
                </a:lnTo>
                <a:lnTo>
                  <a:pt x="5673133" y="4197931"/>
                </a:lnTo>
                <a:lnTo>
                  <a:pt x="5713515" y="4187042"/>
                </a:lnTo>
                <a:lnTo>
                  <a:pt x="5749586" y="4172002"/>
                </a:lnTo>
                <a:lnTo>
                  <a:pt x="5809697" y="4129942"/>
                </a:lnTo>
                <a:lnTo>
                  <a:pt x="5855277" y="4072698"/>
                </a:lnTo>
                <a:lnTo>
                  <a:pt x="5873182" y="4038677"/>
                </a:lnTo>
                <a:lnTo>
                  <a:pt x="5888134" y="4001216"/>
                </a:lnTo>
                <a:lnTo>
                  <a:pt x="5900358" y="3960431"/>
                </a:lnTo>
                <a:lnTo>
                  <a:pt x="5910081" y="3916441"/>
                </a:lnTo>
                <a:lnTo>
                  <a:pt x="5917528" y="3869364"/>
                </a:lnTo>
                <a:lnTo>
                  <a:pt x="5922927" y="3819320"/>
                </a:lnTo>
                <a:lnTo>
                  <a:pt x="5926503" y="3766425"/>
                </a:lnTo>
                <a:lnTo>
                  <a:pt x="5928482" y="3710798"/>
                </a:lnTo>
                <a:lnTo>
                  <a:pt x="5929092" y="3652558"/>
                </a:lnTo>
                <a:lnTo>
                  <a:pt x="5928450" y="3594889"/>
                </a:lnTo>
                <a:lnTo>
                  <a:pt x="5926380" y="3539800"/>
                </a:lnTo>
                <a:lnTo>
                  <a:pt x="5922670" y="3487407"/>
                </a:lnTo>
                <a:lnTo>
                  <a:pt x="5917104" y="3437831"/>
                </a:lnTo>
                <a:lnTo>
                  <a:pt x="5909469" y="3391187"/>
                </a:lnTo>
                <a:lnTo>
                  <a:pt x="5899551" y="3347596"/>
                </a:lnTo>
                <a:lnTo>
                  <a:pt x="5887135" y="3307175"/>
                </a:lnTo>
                <a:lnTo>
                  <a:pt x="5872008" y="3270043"/>
                </a:lnTo>
                <a:lnTo>
                  <a:pt x="5853955" y="3236317"/>
                </a:lnTo>
                <a:lnTo>
                  <a:pt x="5808217" y="3179558"/>
                </a:lnTo>
                <a:lnTo>
                  <a:pt x="5748208" y="3137845"/>
                </a:lnTo>
                <a:lnTo>
                  <a:pt x="5712316" y="3122926"/>
                </a:lnTo>
                <a:lnTo>
                  <a:pt x="5672215" y="3112123"/>
                </a:lnTo>
                <a:lnTo>
                  <a:pt x="5627690" y="3105555"/>
                </a:lnTo>
                <a:lnTo>
                  <a:pt x="5578527" y="3103339"/>
                </a:lnTo>
                <a:close/>
                <a:moveTo>
                  <a:pt x="5061625" y="3004847"/>
                </a:moveTo>
                <a:lnTo>
                  <a:pt x="5061625" y="3103339"/>
                </a:lnTo>
                <a:lnTo>
                  <a:pt x="5012739" y="3105555"/>
                </a:lnTo>
                <a:lnTo>
                  <a:pt x="4968459" y="3112123"/>
                </a:lnTo>
                <a:lnTo>
                  <a:pt x="4928572" y="3122926"/>
                </a:lnTo>
                <a:lnTo>
                  <a:pt x="4892867" y="3137845"/>
                </a:lnTo>
                <a:lnTo>
                  <a:pt x="4833152" y="3179558"/>
                </a:lnTo>
                <a:lnTo>
                  <a:pt x="4787618" y="3236317"/>
                </a:lnTo>
                <a:lnTo>
                  <a:pt x="4769639" y="3270043"/>
                </a:lnTo>
                <a:lnTo>
                  <a:pt x="4754569" y="3307175"/>
                </a:lnTo>
                <a:lnTo>
                  <a:pt x="4742197" y="3347596"/>
                </a:lnTo>
                <a:lnTo>
                  <a:pt x="4732309" y="3391187"/>
                </a:lnTo>
                <a:lnTo>
                  <a:pt x="4724695" y="3437831"/>
                </a:lnTo>
                <a:lnTo>
                  <a:pt x="4719142" y="3487407"/>
                </a:lnTo>
                <a:lnTo>
                  <a:pt x="4715437" y="3539800"/>
                </a:lnTo>
                <a:lnTo>
                  <a:pt x="4713370" y="3594889"/>
                </a:lnTo>
                <a:lnTo>
                  <a:pt x="4712728" y="3652558"/>
                </a:lnTo>
                <a:lnTo>
                  <a:pt x="4713354" y="3710798"/>
                </a:lnTo>
                <a:lnTo>
                  <a:pt x="4715376" y="3766425"/>
                </a:lnTo>
                <a:lnTo>
                  <a:pt x="4719014" y="3819320"/>
                </a:lnTo>
                <a:lnTo>
                  <a:pt x="4724483" y="3869364"/>
                </a:lnTo>
                <a:lnTo>
                  <a:pt x="4732004" y="3916441"/>
                </a:lnTo>
                <a:lnTo>
                  <a:pt x="4741793" y="3960431"/>
                </a:lnTo>
                <a:lnTo>
                  <a:pt x="4754070" y="4001216"/>
                </a:lnTo>
                <a:lnTo>
                  <a:pt x="4769052" y="4038677"/>
                </a:lnTo>
                <a:lnTo>
                  <a:pt x="4786958" y="4072698"/>
                </a:lnTo>
                <a:lnTo>
                  <a:pt x="4832412" y="4129942"/>
                </a:lnTo>
                <a:lnTo>
                  <a:pt x="4892178" y="4172002"/>
                </a:lnTo>
                <a:lnTo>
                  <a:pt x="4927973" y="4187042"/>
                </a:lnTo>
                <a:lnTo>
                  <a:pt x="4968000" y="4197931"/>
                </a:lnTo>
                <a:lnTo>
                  <a:pt x="5012478" y="4204552"/>
                </a:lnTo>
                <a:lnTo>
                  <a:pt x="5061625" y="4206785"/>
                </a:lnTo>
                <a:lnTo>
                  <a:pt x="5061625" y="4303607"/>
                </a:lnTo>
                <a:lnTo>
                  <a:pt x="5008102" y="4301718"/>
                </a:lnTo>
                <a:lnTo>
                  <a:pt x="4958622" y="4296105"/>
                </a:lnTo>
                <a:lnTo>
                  <a:pt x="4913043" y="4286851"/>
                </a:lnTo>
                <a:lnTo>
                  <a:pt x="4871225" y="4274039"/>
                </a:lnTo>
                <a:lnTo>
                  <a:pt x="4833027" y="4257752"/>
                </a:lnTo>
                <a:lnTo>
                  <a:pt x="4798310" y="4238071"/>
                </a:lnTo>
                <a:lnTo>
                  <a:pt x="4766934" y="4215081"/>
                </a:lnTo>
                <a:lnTo>
                  <a:pt x="4738758" y="4188862"/>
                </a:lnTo>
                <a:lnTo>
                  <a:pt x="4713641" y="4159499"/>
                </a:lnTo>
                <a:lnTo>
                  <a:pt x="4691444" y="4127073"/>
                </a:lnTo>
                <a:lnTo>
                  <a:pt x="4672027" y="4091667"/>
                </a:lnTo>
                <a:lnTo>
                  <a:pt x="4655249" y="4053364"/>
                </a:lnTo>
                <a:lnTo>
                  <a:pt x="4640970" y="4012246"/>
                </a:lnTo>
                <a:lnTo>
                  <a:pt x="4629050" y="3968397"/>
                </a:lnTo>
                <a:lnTo>
                  <a:pt x="4619349" y="3921898"/>
                </a:lnTo>
                <a:lnTo>
                  <a:pt x="4611726" y="3872833"/>
                </a:lnTo>
                <a:lnTo>
                  <a:pt x="4606041" y="3821283"/>
                </a:lnTo>
                <a:lnTo>
                  <a:pt x="4602154" y="3767333"/>
                </a:lnTo>
                <a:lnTo>
                  <a:pt x="4599924" y="3711063"/>
                </a:lnTo>
                <a:lnTo>
                  <a:pt x="4599213" y="3652558"/>
                </a:lnTo>
                <a:lnTo>
                  <a:pt x="4599948" y="3594302"/>
                </a:lnTo>
                <a:lnTo>
                  <a:pt x="4602244" y="3538282"/>
                </a:lnTo>
                <a:lnTo>
                  <a:pt x="4606233" y="3484578"/>
                </a:lnTo>
                <a:lnTo>
                  <a:pt x="4612046" y="3433271"/>
                </a:lnTo>
                <a:lnTo>
                  <a:pt x="4619819" y="3384443"/>
                </a:lnTo>
                <a:lnTo>
                  <a:pt x="4629682" y="3338176"/>
                </a:lnTo>
                <a:lnTo>
                  <a:pt x="4641768" y="3294551"/>
                </a:lnTo>
                <a:lnTo>
                  <a:pt x="4656211" y="3253648"/>
                </a:lnTo>
                <a:lnTo>
                  <a:pt x="4673143" y="3215550"/>
                </a:lnTo>
                <a:lnTo>
                  <a:pt x="4692696" y="3180338"/>
                </a:lnTo>
                <a:lnTo>
                  <a:pt x="4715004" y="3148093"/>
                </a:lnTo>
                <a:lnTo>
                  <a:pt x="4740200" y="3118897"/>
                </a:lnTo>
                <a:lnTo>
                  <a:pt x="4768415" y="3092831"/>
                </a:lnTo>
                <a:lnTo>
                  <a:pt x="4799783" y="3069977"/>
                </a:lnTo>
                <a:lnTo>
                  <a:pt x="4834436" y="3050415"/>
                </a:lnTo>
                <a:lnTo>
                  <a:pt x="4872507" y="3034227"/>
                </a:lnTo>
                <a:lnTo>
                  <a:pt x="4914128" y="3021495"/>
                </a:lnTo>
                <a:lnTo>
                  <a:pt x="4959433" y="3012300"/>
                </a:lnTo>
                <a:lnTo>
                  <a:pt x="5008555" y="3006723"/>
                </a:lnTo>
                <a:close/>
                <a:moveTo>
                  <a:pt x="887436" y="3004847"/>
                </a:moveTo>
                <a:lnTo>
                  <a:pt x="887436" y="3103339"/>
                </a:lnTo>
                <a:lnTo>
                  <a:pt x="838550" y="3105555"/>
                </a:lnTo>
                <a:lnTo>
                  <a:pt x="794269" y="3112123"/>
                </a:lnTo>
                <a:lnTo>
                  <a:pt x="754383" y="3122926"/>
                </a:lnTo>
                <a:lnTo>
                  <a:pt x="718677" y="3137845"/>
                </a:lnTo>
                <a:lnTo>
                  <a:pt x="658962" y="3179558"/>
                </a:lnTo>
                <a:lnTo>
                  <a:pt x="613427" y="3236317"/>
                </a:lnTo>
                <a:lnTo>
                  <a:pt x="595448" y="3270043"/>
                </a:lnTo>
                <a:lnTo>
                  <a:pt x="580378" y="3307175"/>
                </a:lnTo>
                <a:lnTo>
                  <a:pt x="568006" y="3347596"/>
                </a:lnTo>
                <a:lnTo>
                  <a:pt x="558118" y="3391187"/>
                </a:lnTo>
                <a:lnTo>
                  <a:pt x="550504" y="3437831"/>
                </a:lnTo>
                <a:lnTo>
                  <a:pt x="544951" y="3487407"/>
                </a:lnTo>
                <a:lnTo>
                  <a:pt x="541247" y="3539800"/>
                </a:lnTo>
                <a:lnTo>
                  <a:pt x="539180" y="3594889"/>
                </a:lnTo>
                <a:lnTo>
                  <a:pt x="538538" y="3652558"/>
                </a:lnTo>
                <a:lnTo>
                  <a:pt x="539164" y="3710798"/>
                </a:lnTo>
                <a:lnTo>
                  <a:pt x="541186" y="3766425"/>
                </a:lnTo>
                <a:lnTo>
                  <a:pt x="544823" y="3819320"/>
                </a:lnTo>
                <a:lnTo>
                  <a:pt x="550292" y="3869364"/>
                </a:lnTo>
                <a:lnTo>
                  <a:pt x="557813" y="3916441"/>
                </a:lnTo>
                <a:lnTo>
                  <a:pt x="567602" y="3960431"/>
                </a:lnTo>
                <a:lnTo>
                  <a:pt x="579880" y="4001216"/>
                </a:lnTo>
                <a:lnTo>
                  <a:pt x="594862" y="4038677"/>
                </a:lnTo>
                <a:lnTo>
                  <a:pt x="612768" y="4072698"/>
                </a:lnTo>
                <a:lnTo>
                  <a:pt x="658222" y="4129942"/>
                </a:lnTo>
                <a:lnTo>
                  <a:pt x="717988" y="4172002"/>
                </a:lnTo>
                <a:lnTo>
                  <a:pt x="753783" y="4187042"/>
                </a:lnTo>
                <a:lnTo>
                  <a:pt x="793811" y="4197931"/>
                </a:lnTo>
                <a:lnTo>
                  <a:pt x="838289" y="4204552"/>
                </a:lnTo>
                <a:lnTo>
                  <a:pt x="887436" y="4206785"/>
                </a:lnTo>
                <a:lnTo>
                  <a:pt x="887436" y="4303607"/>
                </a:lnTo>
                <a:lnTo>
                  <a:pt x="833914" y="4301718"/>
                </a:lnTo>
                <a:lnTo>
                  <a:pt x="784433" y="4296105"/>
                </a:lnTo>
                <a:lnTo>
                  <a:pt x="738854" y="4286851"/>
                </a:lnTo>
                <a:lnTo>
                  <a:pt x="697035" y="4274039"/>
                </a:lnTo>
                <a:lnTo>
                  <a:pt x="658838" y="4257752"/>
                </a:lnTo>
                <a:lnTo>
                  <a:pt x="624121" y="4238071"/>
                </a:lnTo>
                <a:lnTo>
                  <a:pt x="592745" y="4215081"/>
                </a:lnTo>
                <a:lnTo>
                  <a:pt x="564568" y="4188862"/>
                </a:lnTo>
                <a:lnTo>
                  <a:pt x="539451" y="4159499"/>
                </a:lnTo>
                <a:lnTo>
                  <a:pt x="517255" y="4127073"/>
                </a:lnTo>
                <a:lnTo>
                  <a:pt x="497837" y="4091667"/>
                </a:lnTo>
                <a:lnTo>
                  <a:pt x="481060" y="4053364"/>
                </a:lnTo>
                <a:lnTo>
                  <a:pt x="466781" y="4012246"/>
                </a:lnTo>
                <a:lnTo>
                  <a:pt x="454861" y="3968397"/>
                </a:lnTo>
                <a:lnTo>
                  <a:pt x="445159" y="3921898"/>
                </a:lnTo>
                <a:lnTo>
                  <a:pt x="437536" y="3872833"/>
                </a:lnTo>
                <a:lnTo>
                  <a:pt x="431851" y="3821283"/>
                </a:lnTo>
                <a:lnTo>
                  <a:pt x="427964" y="3767333"/>
                </a:lnTo>
                <a:lnTo>
                  <a:pt x="425734" y="3711063"/>
                </a:lnTo>
                <a:lnTo>
                  <a:pt x="425023" y="3652558"/>
                </a:lnTo>
                <a:lnTo>
                  <a:pt x="425758" y="3594302"/>
                </a:lnTo>
                <a:lnTo>
                  <a:pt x="428054" y="3538282"/>
                </a:lnTo>
                <a:lnTo>
                  <a:pt x="432043" y="3484578"/>
                </a:lnTo>
                <a:lnTo>
                  <a:pt x="437856" y="3433271"/>
                </a:lnTo>
                <a:lnTo>
                  <a:pt x="445629" y="3384443"/>
                </a:lnTo>
                <a:lnTo>
                  <a:pt x="455492" y="3338176"/>
                </a:lnTo>
                <a:lnTo>
                  <a:pt x="467578" y="3294551"/>
                </a:lnTo>
                <a:lnTo>
                  <a:pt x="482021" y="3253648"/>
                </a:lnTo>
                <a:lnTo>
                  <a:pt x="498953" y="3215550"/>
                </a:lnTo>
                <a:lnTo>
                  <a:pt x="518506" y="3180338"/>
                </a:lnTo>
                <a:lnTo>
                  <a:pt x="540814" y="3148093"/>
                </a:lnTo>
                <a:lnTo>
                  <a:pt x="566010" y="3118897"/>
                </a:lnTo>
                <a:lnTo>
                  <a:pt x="594226" y="3092831"/>
                </a:lnTo>
                <a:lnTo>
                  <a:pt x="625592" y="3069977"/>
                </a:lnTo>
                <a:lnTo>
                  <a:pt x="660246" y="3050415"/>
                </a:lnTo>
                <a:lnTo>
                  <a:pt x="698317" y="3034227"/>
                </a:lnTo>
                <a:lnTo>
                  <a:pt x="739939" y="3021495"/>
                </a:lnTo>
                <a:lnTo>
                  <a:pt x="785244" y="3012300"/>
                </a:lnTo>
                <a:lnTo>
                  <a:pt x="834365" y="3006723"/>
                </a:lnTo>
                <a:close/>
                <a:moveTo>
                  <a:pt x="7060934" y="2524077"/>
                </a:moveTo>
                <a:lnTo>
                  <a:pt x="7267935" y="2524077"/>
                </a:lnTo>
                <a:lnTo>
                  <a:pt x="7267935" y="2697690"/>
                </a:lnTo>
                <a:lnTo>
                  <a:pt x="7060934" y="2697690"/>
                </a:lnTo>
                <a:close/>
                <a:moveTo>
                  <a:pt x="2536338" y="2373825"/>
                </a:moveTo>
                <a:lnTo>
                  <a:pt x="3441128" y="2373825"/>
                </a:lnTo>
                <a:lnTo>
                  <a:pt x="3441128" y="2480664"/>
                </a:lnTo>
                <a:lnTo>
                  <a:pt x="2536338" y="2480664"/>
                </a:lnTo>
                <a:close/>
                <a:moveTo>
                  <a:pt x="1024388" y="2373825"/>
                </a:moveTo>
                <a:lnTo>
                  <a:pt x="1929180" y="2373825"/>
                </a:lnTo>
                <a:lnTo>
                  <a:pt x="1929180" y="2480664"/>
                </a:lnTo>
                <a:lnTo>
                  <a:pt x="1024388" y="2480664"/>
                </a:lnTo>
                <a:close/>
                <a:moveTo>
                  <a:pt x="2536338" y="2024932"/>
                </a:moveTo>
                <a:lnTo>
                  <a:pt x="3441128" y="2024932"/>
                </a:lnTo>
                <a:lnTo>
                  <a:pt x="3441128" y="2131770"/>
                </a:lnTo>
                <a:lnTo>
                  <a:pt x="2536338" y="2131770"/>
                </a:lnTo>
                <a:close/>
                <a:moveTo>
                  <a:pt x="1024388" y="2024932"/>
                </a:moveTo>
                <a:lnTo>
                  <a:pt x="1929180" y="2024932"/>
                </a:lnTo>
                <a:lnTo>
                  <a:pt x="1929180" y="2131770"/>
                </a:lnTo>
                <a:lnTo>
                  <a:pt x="1024388" y="2131770"/>
                </a:lnTo>
                <a:close/>
                <a:moveTo>
                  <a:pt x="6145468" y="1508808"/>
                </a:moveTo>
                <a:lnTo>
                  <a:pt x="6519394" y="1508808"/>
                </a:lnTo>
                <a:lnTo>
                  <a:pt x="6519394" y="1604058"/>
                </a:lnTo>
                <a:lnTo>
                  <a:pt x="6260644" y="1604058"/>
                </a:lnTo>
                <a:lnTo>
                  <a:pt x="6260644" y="2702607"/>
                </a:lnTo>
                <a:lnTo>
                  <a:pt x="6519394" y="2702607"/>
                </a:lnTo>
                <a:lnTo>
                  <a:pt x="6519394" y="2797857"/>
                </a:lnTo>
                <a:lnTo>
                  <a:pt x="6145468" y="2797857"/>
                </a:lnTo>
                <a:lnTo>
                  <a:pt x="6145468" y="2702607"/>
                </a:lnTo>
                <a:lnTo>
                  <a:pt x="6145468" y="1604058"/>
                </a:lnTo>
                <a:close/>
                <a:moveTo>
                  <a:pt x="7804510" y="1502430"/>
                </a:moveTo>
                <a:lnTo>
                  <a:pt x="7857580" y="1504306"/>
                </a:lnTo>
                <a:lnTo>
                  <a:pt x="7906701" y="1509883"/>
                </a:lnTo>
                <a:lnTo>
                  <a:pt x="7952006" y="1519078"/>
                </a:lnTo>
                <a:lnTo>
                  <a:pt x="7993628" y="1531810"/>
                </a:lnTo>
                <a:lnTo>
                  <a:pt x="8031699" y="1547998"/>
                </a:lnTo>
                <a:lnTo>
                  <a:pt x="8066352" y="1567559"/>
                </a:lnTo>
                <a:lnTo>
                  <a:pt x="8097719" y="1590414"/>
                </a:lnTo>
                <a:lnTo>
                  <a:pt x="8125934" y="1616479"/>
                </a:lnTo>
                <a:lnTo>
                  <a:pt x="8151130" y="1645676"/>
                </a:lnTo>
                <a:lnTo>
                  <a:pt x="8173438" y="1677921"/>
                </a:lnTo>
                <a:lnTo>
                  <a:pt x="8192991" y="1713133"/>
                </a:lnTo>
                <a:lnTo>
                  <a:pt x="8209923" y="1751231"/>
                </a:lnTo>
                <a:lnTo>
                  <a:pt x="8224366" y="1792133"/>
                </a:lnTo>
                <a:lnTo>
                  <a:pt x="8236453" y="1835759"/>
                </a:lnTo>
                <a:lnTo>
                  <a:pt x="8246316" y="1882026"/>
                </a:lnTo>
                <a:lnTo>
                  <a:pt x="8254088" y="1930854"/>
                </a:lnTo>
                <a:lnTo>
                  <a:pt x="8259902" y="1982160"/>
                </a:lnTo>
                <a:lnTo>
                  <a:pt x="8263890" y="2035865"/>
                </a:lnTo>
                <a:lnTo>
                  <a:pt x="8266186" y="2091886"/>
                </a:lnTo>
                <a:lnTo>
                  <a:pt x="8266922" y="2150141"/>
                </a:lnTo>
                <a:lnTo>
                  <a:pt x="8266222" y="2208645"/>
                </a:lnTo>
                <a:lnTo>
                  <a:pt x="8264025" y="2264915"/>
                </a:lnTo>
                <a:lnTo>
                  <a:pt x="8260189" y="2318865"/>
                </a:lnTo>
                <a:lnTo>
                  <a:pt x="8254568" y="2370415"/>
                </a:lnTo>
                <a:lnTo>
                  <a:pt x="8247020" y="2419480"/>
                </a:lnTo>
                <a:lnTo>
                  <a:pt x="8237399" y="2465979"/>
                </a:lnTo>
                <a:lnTo>
                  <a:pt x="8225562" y="2509828"/>
                </a:lnTo>
                <a:lnTo>
                  <a:pt x="8211365" y="2550946"/>
                </a:lnTo>
                <a:lnTo>
                  <a:pt x="8194665" y="2589249"/>
                </a:lnTo>
                <a:lnTo>
                  <a:pt x="8175316" y="2624655"/>
                </a:lnTo>
                <a:lnTo>
                  <a:pt x="8153175" y="2657081"/>
                </a:lnTo>
                <a:lnTo>
                  <a:pt x="8128098" y="2686444"/>
                </a:lnTo>
                <a:lnTo>
                  <a:pt x="8099941" y="2712663"/>
                </a:lnTo>
                <a:lnTo>
                  <a:pt x="8068560" y="2735653"/>
                </a:lnTo>
                <a:lnTo>
                  <a:pt x="8033812" y="2755334"/>
                </a:lnTo>
                <a:lnTo>
                  <a:pt x="7995551" y="2771621"/>
                </a:lnTo>
                <a:lnTo>
                  <a:pt x="7953634" y="2784433"/>
                </a:lnTo>
                <a:lnTo>
                  <a:pt x="7907918" y="2793687"/>
                </a:lnTo>
                <a:lnTo>
                  <a:pt x="7858258" y="2799300"/>
                </a:lnTo>
                <a:lnTo>
                  <a:pt x="7804510" y="2801189"/>
                </a:lnTo>
                <a:lnTo>
                  <a:pt x="7804510" y="2704367"/>
                </a:lnTo>
                <a:lnTo>
                  <a:pt x="7854195" y="2702134"/>
                </a:lnTo>
                <a:lnTo>
                  <a:pt x="7899116" y="2695513"/>
                </a:lnTo>
                <a:lnTo>
                  <a:pt x="7939498" y="2684624"/>
                </a:lnTo>
                <a:lnTo>
                  <a:pt x="7975569" y="2669584"/>
                </a:lnTo>
                <a:lnTo>
                  <a:pt x="8035680" y="2627524"/>
                </a:lnTo>
                <a:lnTo>
                  <a:pt x="8081260" y="2570280"/>
                </a:lnTo>
                <a:lnTo>
                  <a:pt x="8099165" y="2536259"/>
                </a:lnTo>
                <a:lnTo>
                  <a:pt x="8114117" y="2498797"/>
                </a:lnTo>
                <a:lnTo>
                  <a:pt x="8126341" y="2458012"/>
                </a:lnTo>
                <a:lnTo>
                  <a:pt x="8136064" y="2414022"/>
                </a:lnTo>
                <a:lnTo>
                  <a:pt x="8143511" y="2366946"/>
                </a:lnTo>
                <a:lnTo>
                  <a:pt x="8148910" y="2316901"/>
                </a:lnTo>
                <a:lnTo>
                  <a:pt x="8152486" y="2264006"/>
                </a:lnTo>
                <a:lnTo>
                  <a:pt x="8154465" y="2208380"/>
                </a:lnTo>
                <a:lnTo>
                  <a:pt x="8155075" y="2150141"/>
                </a:lnTo>
                <a:lnTo>
                  <a:pt x="8154433" y="2092472"/>
                </a:lnTo>
                <a:lnTo>
                  <a:pt x="8152363" y="2037383"/>
                </a:lnTo>
                <a:lnTo>
                  <a:pt x="8148653" y="1984990"/>
                </a:lnTo>
                <a:lnTo>
                  <a:pt x="8143087" y="1935414"/>
                </a:lnTo>
                <a:lnTo>
                  <a:pt x="8135452" y="1888770"/>
                </a:lnTo>
                <a:lnTo>
                  <a:pt x="8125534" y="1845179"/>
                </a:lnTo>
                <a:lnTo>
                  <a:pt x="8113118" y="1804759"/>
                </a:lnTo>
                <a:lnTo>
                  <a:pt x="8097991" y="1767626"/>
                </a:lnTo>
                <a:lnTo>
                  <a:pt x="8079938" y="1733900"/>
                </a:lnTo>
                <a:lnTo>
                  <a:pt x="8034200" y="1677141"/>
                </a:lnTo>
                <a:lnTo>
                  <a:pt x="7974191" y="1635428"/>
                </a:lnTo>
                <a:lnTo>
                  <a:pt x="7938299" y="1620509"/>
                </a:lnTo>
                <a:lnTo>
                  <a:pt x="7898198" y="1609705"/>
                </a:lnTo>
                <a:lnTo>
                  <a:pt x="7853673" y="1603138"/>
                </a:lnTo>
                <a:lnTo>
                  <a:pt x="7804510" y="1600921"/>
                </a:lnTo>
                <a:close/>
                <a:moveTo>
                  <a:pt x="5032599" y="1502430"/>
                </a:moveTo>
                <a:lnTo>
                  <a:pt x="5085669" y="1504306"/>
                </a:lnTo>
                <a:lnTo>
                  <a:pt x="5134790" y="1509883"/>
                </a:lnTo>
                <a:lnTo>
                  <a:pt x="5180096" y="1519078"/>
                </a:lnTo>
                <a:lnTo>
                  <a:pt x="5221718" y="1531810"/>
                </a:lnTo>
                <a:lnTo>
                  <a:pt x="5259789" y="1547998"/>
                </a:lnTo>
                <a:lnTo>
                  <a:pt x="5294442" y="1567559"/>
                </a:lnTo>
                <a:lnTo>
                  <a:pt x="5325809" y="1590414"/>
                </a:lnTo>
                <a:lnTo>
                  <a:pt x="5354024" y="1616479"/>
                </a:lnTo>
                <a:lnTo>
                  <a:pt x="5379220" y="1645676"/>
                </a:lnTo>
                <a:lnTo>
                  <a:pt x="5401528" y="1677921"/>
                </a:lnTo>
                <a:lnTo>
                  <a:pt x="5421081" y="1713133"/>
                </a:lnTo>
                <a:lnTo>
                  <a:pt x="5438013" y="1751231"/>
                </a:lnTo>
                <a:lnTo>
                  <a:pt x="5452456" y="1792133"/>
                </a:lnTo>
                <a:lnTo>
                  <a:pt x="5464543" y="1835759"/>
                </a:lnTo>
                <a:lnTo>
                  <a:pt x="5474406" y="1882026"/>
                </a:lnTo>
                <a:lnTo>
                  <a:pt x="5482178" y="1930854"/>
                </a:lnTo>
                <a:lnTo>
                  <a:pt x="5487992" y="1982160"/>
                </a:lnTo>
                <a:lnTo>
                  <a:pt x="5491980" y="2035865"/>
                </a:lnTo>
                <a:lnTo>
                  <a:pt x="5494276" y="2091886"/>
                </a:lnTo>
                <a:lnTo>
                  <a:pt x="5495012" y="2150141"/>
                </a:lnTo>
                <a:lnTo>
                  <a:pt x="5494312" y="2208645"/>
                </a:lnTo>
                <a:lnTo>
                  <a:pt x="5492115" y="2264915"/>
                </a:lnTo>
                <a:lnTo>
                  <a:pt x="5488279" y="2318865"/>
                </a:lnTo>
                <a:lnTo>
                  <a:pt x="5482658" y="2370415"/>
                </a:lnTo>
                <a:lnTo>
                  <a:pt x="5475110" y="2419480"/>
                </a:lnTo>
                <a:lnTo>
                  <a:pt x="5465489" y="2465979"/>
                </a:lnTo>
                <a:lnTo>
                  <a:pt x="5453652" y="2509828"/>
                </a:lnTo>
                <a:lnTo>
                  <a:pt x="5439455" y="2550946"/>
                </a:lnTo>
                <a:lnTo>
                  <a:pt x="5422755" y="2589249"/>
                </a:lnTo>
                <a:lnTo>
                  <a:pt x="5403406" y="2624655"/>
                </a:lnTo>
                <a:lnTo>
                  <a:pt x="5381265" y="2657081"/>
                </a:lnTo>
                <a:lnTo>
                  <a:pt x="5356188" y="2686444"/>
                </a:lnTo>
                <a:lnTo>
                  <a:pt x="5328031" y="2712663"/>
                </a:lnTo>
                <a:lnTo>
                  <a:pt x="5296650" y="2735653"/>
                </a:lnTo>
                <a:lnTo>
                  <a:pt x="5261902" y="2755334"/>
                </a:lnTo>
                <a:lnTo>
                  <a:pt x="5223641" y="2771621"/>
                </a:lnTo>
                <a:lnTo>
                  <a:pt x="5181724" y="2784433"/>
                </a:lnTo>
                <a:lnTo>
                  <a:pt x="5136007" y="2793687"/>
                </a:lnTo>
                <a:lnTo>
                  <a:pt x="5086347" y="2799300"/>
                </a:lnTo>
                <a:lnTo>
                  <a:pt x="5032599" y="2801189"/>
                </a:lnTo>
                <a:lnTo>
                  <a:pt x="5032599" y="2704367"/>
                </a:lnTo>
                <a:lnTo>
                  <a:pt x="5082284" y="2702134"/>
                </a:lnTo>
                <a:lnTo>
                  <a:pt x="5127205" y="2695513"/>
                </a:lnTo>
                <a:lnTo>
                  <a:pt x="5167588" y="2684624"/>
                </a:lnTo>
                <a:lnTo>
                  <a:pt x="5203659" y="2669584"/>
                </a:lnTo>
                <a:lnTo>
                  <a:pt x="5263770" y="2627524"/>
                </a:lnTo>
                <a:lnTo>
                  <a:pt x="5309350" y="2570280"/>
                </a:lnTo>
                <a:lnTo>
                  <a:pt x="5327255" y="2536259"/>
                </a:lnTo>
                <a:lnTo>
                  <a:pt x="5342207" y="2498797"/>
                </a:lnTo>
                <a:lnTo>
                  <a:pt x="5354431" y="2458012"/>
                </a:lnTo>
                <a:lnTo>
                  <a:pt x="5364154" y="2414022"/>
                </a:lnTo>
                <a:lnTo>
                  <a:pt x="5371601" y="2366946"/>
                </a:lnTo>
                <a:lnTo>
                  <a:pt x="5377000" y="2316901"/>
                </a:lnTo>
                <a:lnTo>
                  <a:pt x="5380576" y="2264006"/>
                </a:lnTo>
                <a:lnTo>
                  <a:pt x="5382555" y="2208380"/>
                </a:lnTo>
                <a:lnTo>
                  <a:pt x="5383165" y="2150141"/>
                </a:lnTo>
                <a:lnTo>
                  <a:pt x="5382523" y="2092472"/>
                </a:lnTo>
                <a:lnTo>
                  <a:pt x="5380453" y="2037383"/>
                </a:lnTo>
                <a:lnTo>
                  <a:pt x="5376743" y="1984990"/>
                </a:lnTo>
                <a:lnTo>
                  <a:pt x="5371177" y="1935414"/>
                </a:lnTo>
                <a:lnTo>
                  <a:pt x="5363542" y="1888770"/>
                </a:lnTo>
                <a:lnTo>
                  <a:pt x="5353624" y="1845179"/>
                </a:lnTo>
                <a:lnTo>
                  <a:pt x="5341208" y="1804759"/>
                </a:lnTo>
                <a:lnTo>
                  <a:pt x="5326081" y="1767626"/>
                </a:lnTo>
                <a:lnTo>
                  <a:pt x="5308028" y="1733900"/>
                </a:lnTo>
                <a:lnTo>
                  <a:pt x="5262290" y="1677141"/>
                </a:lnTo>
                <a:lnTo>
                  <a:pt x="5202281" y="1635428"/>
                </a:lnTo>
                <a:lnTo>
                  <a:pt x="5166389" y="1620509"/>
                </a:lnTo>
                <a:lnTo>
                  <a:pt x="5126287" y="1609705"/>
                </a:lnTo>
                <a:lnTo>
                  <a:pt x="5081762" y="1603138"/>
                </a:lnTo>
                <a:lnTo>
                  <a:pt x="5032599" y="1600921"/>
                </a:lnTo>
                <a:close/>
                <a:moveTo>
                  <a:pt x="4515699" y="1502430"/>
                </a:moveTo>
                <a:lnTo>
                  <a:pt x="4515699" y="1600921"/>
                </a:lnTo>
                <a:lnTo>
                  <a:pt x="4466813" y="1603138"/>
                </a:lnTo>
                <a:lnTo>
                  <a:pt x="4422532" y="1609705"/>
                </a:lnTo>
                <a:lnTo>
                  <a:pt x="4382646" y="1620509"/>
                </a:lnTo>
                <a:lnTo>
                  <a:pt x="4346940" y="1635428"/>
                </a:lnTo>
                <a:lnTo>
                  <a:pt x="4287225" y="1677141"/>
                </a:lnTo>
                <a:lnTo>
                  <a:pt x="4241691" y="1733900"/>
                </a:lnTo>
                <a:lnTo>
                  <a:pt x="4223712" y="1767626"/>
                </a:lnTo>
                <a:lnTo>
                  <a:pt x="4208642" y="1804759"/>
                </a:lnTo>
                <a:lnTo>
                  <a:pt x="4196270" y="1845179"/>
                </a:lnTo>
                <a:lnTo>
                  <a:pt x="4186382" y="1888770"/>
                </a:lnTo>
                <a:lnTo>
                  <a:pt x="4178768" y="1935414"/>
                </a:lnTo>
                <a:lnTo>
                  <a:pt x="4173215" y="1984990"/>
                </a:lnTo>
                <a:lnTo>
                  <a:pt x="4169510" y="2037383"/>
                </a:lnTo>
                <a:lnTo>
                  <a:pt x="4167443" y="2092472"/>
                </a:lnTo>
                <a:lnTo>
                  <a:pt x="4166801" y="2150141"/>
                </a:lnTo>
                <a:lnTo>
                  <a:pt x="4167427" y="2208380"/>
                </a:lnTo>
                <a:lnTo>
                  <a:pt x="4169449" y="2264006"/>
                </a:lnTo>
                <a:lnTo>
                  <a:pt x="4173087" y="2316901"/>
                </a:lnTo>
                <a:lnTo>
                  <a:pt x="4178556" y="2366946"/>
                </a:lnTo>
                <a:lnTo>
                  <a:pt x="4186077" y="2414022"/>
                </a:lnTo>
                <a:lnTo>
                  <a:pt x="4195866" y="2458012"/>
                </a:lnTo>
                <a:lnTo>
                  <a:pt x="4208143" y="2498797"/>
                </a:lnTo>
                <a:lnTo>
                  <a:pt x="4223125" y="2536259"/>
                </a:lnTo>
                <a:lnTo>
                  <a:pt x="4241031" y="2570280"/>
                </a:lnTo>
                <a:lnTo>
                  <a:pt x="4286485" y="2627524"/>
                </a:lnTo>
                <a:lnTo>
                  <a:pt x="4346251" y="2669584"/>
                </a:lnTo>
                <a:lnTo>
                  <a:pt x="4382046" y="2684624"/>
                </a:lnTo>
                <a:lnTo>
                  <a:pt x="4422074" y="2695513"/>
                </a:lnTo>
                <a:lnTo>
                  <a:pt x="4466552" y="2702134"/>
                </a:lnTo>
                <a:lnTo>
                  <a:pt x="4515699" y="2704367"/>
                </a:lnTo>
                <a:lnTo>
                  <a:pt x="4515699" y="2801189"/>
                </a:lnTo>
                <a:lnTo>
                  <a:pt x="4462176" y="2799300"/>
                </a:lnTo>
                <a:lnTo>
                  <a:pt x="4412696" y="2793687"/>
                </a:lnTo>
                <a:lnTo>
                  <a:pt x="4367116" y="2784433"/>
                </a:lnTo>
                <a:lnTo>
                  <a:pt x="4325298" y="2771621"/>
                </a:lnTo>
                <a:lnTo>
                  <a:pt x="4287101" y="2755334"/>
                </a:lnTo>
                <a:lnTo>
                  <a:pt x="4252384" y="2735653"/>
                </a:lnTo>
                <a:lnTo>
                  <a:pt x="4221007" y="2712663"/>
                </a:lnTo>
                <a:lnTo>
                  <a:pt x="4192831" y="2686444"/>
                </a:lnTo>
                <a:lnTo>
                  <a:pt x="4167714" y="2657081"/>
                </a:lnTo>
                <a:lnTo>
                  <a:pt x="4145517" y="2624655"/>
                </a:lnTo>
                <a:lnTo>
                  <a:pt x="4126100" y="2589249"/>
                </a:lnTo>
                <a:lnTo>
                  <a:pt x="4109322" y="2550946"/>
                </a:lnTo>
                <a:lnTo>
                  <a:pt x="4095043" y="2509828"/>
                </a:lnTo>
                <a:lnTo>
                  <a:pt x="4083123" y="2465979"/>
                </a:lnTo>
                <a:lnTo>
                  <a:pt x="4073422" y="2419480"/>
                </a:lnTo>
                <a:lnTo>
                  <a:pt x="4065799" y="2370415"/>
                </a:lnTo>
                <a:lnTo>
                  <a:pt x="4060114" y="2318865"/>
                </a:lnTo>
                <a:lnTo>
                  <a:pt x="4056227" y="2264915"/>
                </a:lnTo>
                <a:lnTo>
                  <a:pt x="4053997" y="2208645"/>
                </a:lnTo>
                <a:lnTo>
                  <a:pt x="4053286" y="2150141"/>
                </a:lnTo>
                <a:lnTo>
                  <a:pt x="4054021" y="2091886"/>
                </a:lnTo>
                <a:lnTo>
                  <a:pt x="4056317" y="2035865"/>
                </a:lnTo>
                <a:lnTo>
                  <a:pt x="4060306" y="1982160"/>
                </a:lnTo>
                <a:lnTo>
                  <a:pt x="4066119" y="1930854"/>
                </a:lnTo>
                <a:lnTo>
                  <a:pt x="4073892" y="1882026"/>
                </a:lnTo>
                <a:lnTo>
                  <a:pt x="4083755" y="1835759"/>
                </a:lnTo>
                <a:lnTo>
                  <a:pt x="4095841" y="1792133"/>
                </a:lnTo>
                <a:lnTo>
                  <a:pt x="4110284" y="1751231"/>
                </a:lnTo>
                <a:lnTo>
                  <a:pt x="4127216" y="1713133"/>
                </a:lnTo>
                <a:lnTo>
                  <a:pt x="4146769" y="1677921"/>
                </a:lnTo>
                <a:lnTo>
                  <a:pt x="4169077" y="1645676"/>
                </a:lnTo>
                <a:lnTo>
                  <a:pt x="4194274" y="1616479"/>
                </a:lnTo>
                <a:lnTo>
                  <a:pt x="4222489" y="1590414"/>
                </a:lnTo>
                <a:lnTo>
                  <a:pt x="4253856" y="1567559"/>
                </a:lnTo>
                <a:lnTo>
                  <a:pt x="4288509" y="1547998"/>
                </a:lnTo>
                <a:lnTo>
                  <a:pt x="4326580" y="1531810"/>
                </a:lnTo>
                <a:lnTo>
                  <a:pt x="4368202" y="1519078"/>
                </a:lnTo>
                <a:lnTo>
                  <a:pt x="4413507" y="1509883"/>
                </a:lnTo>
                <a:lnTo>
                  <a:pt x="4462628" y="1504306"/>
                </a:lnTo>
                <a:close/>
                <a:moveTo>
                  <a:pt x="462412" y="1502430"/>
                </a:moveTo>
                <a:lnTo>
                  <a:pt x="462412" y="1600921"/>
                </a:lnTo>
                <a:lnTo>
                  <a:pt x="413526" y="1603138"/>
                </a:lnTo>
                <a:lnTo>
                  <a:pt x="369246" y="1609705"/>
                </a:lnTo>
                <a:lnTo>
                  <a:pt x="329359" y="1620509"/>
                </a:lnTo>
                <a:lnTo>
                  <a:pt x="293653" y="1635428"/>
                </a:lnTo>
                <a:lnTo>
                  <a:pt x="233938" y="1677141"/>
                </a:lnTo>
                <a:lnTo>
                  <a:pt x="188404" y="1733900"/>
                </a:lnTo>
                <a:lnTo>
                  <a:pt x="170425" y="1767626"/>
                </a:lnTo>
                <a:lnTo>
                  <a:pt x="155356" y="1804759"/>
                </a:lnTo>
                <a:lnTo>
                  <a:pt x="142983" y="1845179"/>
                </a:lnTo>
                <a:lnTo>
                  <a:pt x="133096" y="1888770"/>
                </a:lnTo>
                <a:lnTo>
                  <a:pt x="125482" y="1935414"/>
                </a:lnTo>
                <a:lnTo>
                  <a:pt x="119929" y="1984990"/>
                </a:lnTo>
                <a:lnTo>
                  <a:pt x="116225" y="2037383"/>
                </a:lnTo>
                <a:lnTo>
                  <a:pt x="114158" y="2092472"/>
                </a:lnTo>
                <a:lnTo>
                  <a:pt x="113516" y="2150141"/>
                </a:lnTo>
                <a:lnTo>
                  <a:pt x="114141" y="2208380"/>
                </a:lnTo>
                <a:lnTo>
                  <a:pt x="116163" y="2264006"/>
                </a:lnTo>
                <a:lnTo>
                  <a:pt x="119800" y="2316901"/>
                </a:lnTo>
                <a:lnTo>
                  <a:pt x="125270" y="2366946"/>
                </a:lnTo>
                <a:lnTo>
                  <a:pt x="132790" y="2414022"/>
                </a:lnTo>
                <a:lnTo>
                  <a:pt x="142580" y="2458012"/>
                </a:lnTo>
                <a:lnTo>
                  <a:pt x="154856" y="2498797"/>
                </a:lnTo>
                <a:lnTo>
                  <a:pt x="169838" y="2536259"/>
                </a:lnTo>
                <a:lnTo>
                  <a:pt x="187744" y="2570280"/>
                </a:lnTo>
                <a:lnTo>
                  <a:pt x="233198" y="2627524"/>
                </a:lnTo>
                <a:lnTo>
                  <a:pt x="292964" y="2669584"/>
                </a:lnTo>
                <a:lnTo>
                  <a:pt x="328759" y="2684624"/>
                </a:lnTo>
                <a:lnTo>
                  <a:pt x="368787" y="2695513"/>
                </a:lnTo>
                <a:lnTo>
                  <a:pt x="413265" y="2702134"/>
                </a:lnTo>
                <a:lnTo>
                  <a:pt x="462412" y="2704367"/>
                </a:lnTo>
                <a:lnTo>
                  <a:pt x="462412" y="2801189"/>
                </a:lnTo>
                <a:lnTo>
                  <a:pt x="408890" y="2799300"/>
                </a:lnTo>
                <a:lnTo>
                  <a:pt x="359409" y="2793687"/>
                </a:lnTo>
                <a:lnTo>
                  <a:pt x="313830" y="2784433"/>
                </a:lnTo>
                <a:lnTo>
                  <a:pt x="272011" y="2771621"/>
                </a:lnTo>
                <a:lnTo>
                  <a:pt x="233814" y="2755334"/>
                </a:lnTo>
                <a:lnTo>
                  <a:pt x="199097" y="2735653"/>
                </a:lnTo>
                <a:lnTo>
                  <a:pt x="167721" y="2712663"/>
                </a:lnTo>
                <a:lnTo>
                  <a:pt x="139544" y="2686444"/>
                </a:lnTo>
                <a:lnTo>
                  <a:pt x="114428" y="2657081"/>
                </a:lnTo>
                <a:lnTo>
                  <a:pt x="92232" y="2624655"/>
                </a:lnTo>
                <a:lnTo>
                  <a:pt x="72814" y="2589249"/>
                </a:lnTo>
                <a:lnTo>
                  <a:pt x="56037" y="2550946"/>
                </a:lnTo>
                <a:lnTo>
                  <a:pt x="41758" y="2509828"/>
                </a:lnTo>
                <a:lnTo>
                  <a:pt x="29838" y="2465979"/>
                </a:lnTo>
                <a:lnTo>
                  <a:pt x="20136" y="2419480"/>
                </a:lnTo>
                <a:lnTo>
                  <a:pt x="12513" y="2370415"/>
                </a:lnTo>
                <a:lnTo>
                  <a:pt x="6828" y="2318865"/>
                </a:lnTo>
                <a:lnTo>
                  <a:pt x="2941" y="2264915"/>
                </a:lnTo>
                <a:lnTo>
                  <a:pt x="711" y="2208645"/>
                </a:lnTo>
                <a:lnTo>
                  <a:pt x="0" y="2150141"/>
                </a:lnTo>
                <a:lnTo>
                  <a:pt x="735" y="2091886"/>
                </a:lnTo>
                <a:lnTo>
                  <a:pt x="3031" y="2035865"/>
                </a:lnTo>
                <a:lnTo>
                  <a:pt x="7020" y="1982160"/>
                </a:lnTo>
                <a:lnTo>
                  <a:pt x="12834" y="1930854"/>
                </a:lnTo>
                <a:lnTo>
                  <a:pt x="20606" y="1882026"/>
                </a:lnTo>
                <a:lnTo>
                  <a:pt x="30469" y="1835759"/>
                </a:lnTo>
                <a:lnTo>
                  <a:pt x="42555" y="1792133"/>
                </a:lnTo>
                <a:lnTo>
                  <a:pt x="56998" y="1751231"/>
                </a:lnTo>
                <a:lnTo>
                  <a:pt x="73930" y="1713133"/>
                </a:lnTo>
                <a:lnTo>
                  <a:pt x="93484" y="1677921"/>
                </a:lnTo>
                <a:lnTo>
                  <a:pt x="115792" y="1645676"/>
                </a:lnTo>
                <a:lnTo>
                  <a:pt x="140987" y="1616479"/>
                </a:lnTo>
                <a:lnTo>
                  <a:pt x="169202" y="1590414"/>
                </a:lnTo>
                <a:lnTo>
                  <a:pt x="200570" y="1567559"/>
                </a:lnTo>
                <a:lnTo>
                  <a:pt x="235222" y="1547998"/>
                </a:lnTo>
                <a:lnTo>
                  <a:pt x="273293" y="1531810"/>
                </a:lnTo>
                <a:lnTo>
                  <a:pt x="314915" y="1519078"/>
                </a:lnTo>
                <a:lnTo>
                  <a:pt x="360220" y="1509883"/>
                </a:lnTo>
                <a:lnTo>
                  <a:pt x="409342" y="1504306"/>
                </a:lnTo>
                <a:close/>
                <a:moveTo>
                  <a:pt x="5280527" y="871409"/>
                </a:moveTo>
                <a:lnTo>
                  <a:pt x="6185319" y="871409"/>
                </a:lnTo>
                <a:lnTo>
                  <a:pt x="6185319" y="978246"/>
                </a:lnTo>
                <a:lnTo>
                  <a:pt x="5280527" y="978246"/>
                </a:lnTo>
                <a:close/>
                <a:moveTo>
                  <a:pt x="1874462" y="871408"/>
                </a:moveTo>
                <a:lnTo>
                  <a:pt x="2779254" y="871408"/>
                </a:lnTo>
                <a:lnTo>
                  <a:pt x="2779254" y="978246"/>
                </a:lnTo>
                <a:lnTo>
                  <a:pt x="1874462" y="978246"/>
                </a:lnTo>
                <a:close/>
                <a:moveTo>
                  <a:pt x="5280527" y="522512"/>
                </a:moveTo>
                <a:lnTo>
                  <a:pt x="6185319" y="522512"/>
                </a:lnTo>
                <a:lnTo>
                  <a:pt x="6185319" y="629349"/>
                </a:lnTo>
                <a:lnTo>
                  <a:pt x="5280527" y="629349"/>
                </a:lnTo>
                <a:close/>
                <a:moveTo>
                  <a:pt x="1874462" y="522511"/>
                </a:moveTo>
                <a:lnTo>
                  <a:pt x="2779254" y="522511"/>
                </a:lnTo>
                <a:lnTo>
                  <a:pt x="2779254" y="629349"/>
                </a:lnTo>
                <a:lnTo>
                  <a:pt x="1874462" y="629349"/>
                </a:lnTo>
                <a:close/>
                <a:moveTo>
                  <a:pt x="4621539" y="116859"/>
                </a:moveTo>
                <a:lnTo>
                  <a:pt x="4740064" y="116859"/>
                </a:lnTo>
                <a:lnTo>
                  <a:pt x="4386160" y="1185248"/>
                </a:lnTo>
                <a:lnTo>
                  <a:pt x="4264297" y="1185248"/>
                </a:lnTo>
                <a:close/>
                <a:moveTo>
                  <a:pt x="3314617" y="116858"/>
                </a:moveTo>
                <a:lnTo>
                  <a:pt x="3439819" y="116858"/>
                </a:lnTo>
                <a:lnTo>
                  <a:pt x="3795392" y="1185248"/>
                </a:lnTo>
                <a:lnTo>
                  <a:pt x="3670190" y="1185248"/>
                </a:lnTo>
                <a:close/>
                <a:moveTo>
                  <a:pt x="1312489" y="1"/>
                </a:moveTo>
                <a:lnTo>
                  <a:pt x="1312489" y="98493"/>
                </a:lnTo>
                <a:lnTo>
                  <a:pt x="1263604" y="100709"/>
                </a:lnTo>
                <a:lnTo>
                  <a:pt x="1219322" y="107277"/>
                </a:lnTo>
                <a:lnTo>
                  <a:pt x="1179437" y="118080"/>
                </a:lnTo>
                <a:lnTo>
                  <a:pt x="1143731" y="132999"/>
                </a:lnTo>
                <a:lnTo>
                  <a:pt x="1084016" y="174712"/>
                </a:lnTo>
                <a:lnTo>
                  <a:pt x="1038482" y="231471"/>
                </a:lnTo>
                <a:lnTo>
                  <a:pt x="1020503" y="265197"/>
                </a:lnTo>
                <a:lnTo>
                  <a:pt x="1005433" y="302330"/>
                </a:lnTo>
                <a:lnTo>
                  <a:pt x="993061" y="342750"/>
                </a:lnTo>
                <a:lnTo>
                  <a:pt x="983172" y="386342"/>
                </a:lnTo>
                <a:lnTo>
                  <a:pt x="975559" y="432985"/>
                </a:lnTo>
                <a:lnTo>
                  <a:pt x="970006" y="482562"/>
                </a:lnTo>
                <a:lnTo>
                  <a:pt x="966302" y="534954"/>
                </a:lnTo>
                <a:lnTo>
                  <a:pt x="964235" y="590043"/>
                </a:lnTo>
                <a:lnTo>
                  <a:pt x="963593" y="647712"/>
                </a:lnTo>
                <a:lnTo>
                  <a:pt x="964219" y="705953"/>
                </a:lnTo>
                <a:lnTo>
                  <a:pt x="966241" y="761579"/>
                </a:lnTo>
                <a:lnTo>
                  <a:pt x="969878" y="814474"/>
                </a:lnTo>
                <a:lnTo>
                  <a:pt x="975347" y="864518"/>
                </a:lnTo>
                <a:lnTo>
                  <a:pt x="982868" y="911596"/>
                </a:lnTo>
                <a:lnTo>
                  <a:pt x="992658" y="955586"/>
                </a:lnTo>
                <a:lnTo>
                  <a:pt x="1004934" y="996370"/>
                </a:lnTo>
                <a:lnTo>
                  <a:pt x="1019916" y="1033831"/>
                </a:lnTo>
                <a:lnTo>
                  <a:pt x="1037822" y="1067851"/>
                </a:lnTo>
                <a:lnTo>
                  <a:pt x="1083276" y="1125096"/>
                </a:lnTo>
                <a:lnTo>
                  <a:pt x="1143042" y="1167155"/>
                </a:lnTo>
                <a:lnTo>
                  <a:pt x="1178837" y="1182194"/>
                </a:lnTo>
                <a:lnTo>
                  <a:pt x="1218864" y="1193084"/>
                </a:lnTo>
                <a:lnTo>
                  <a:pt x="1263342" y="1199705"/>
                </a:lnTo>
                <a:lnTo>
                  <a:pt x="1312489" y="1201938"/>
                </a:lnTo>
                <a:lnTo>
                  <a:pt x="1312489" y="1298761"/>
                </a:lnTo>
                <a:lnTo>
                  <a:pt x="1258966" y="1296873"/>
                </a:lnTo>
                <a:lnTo>
                  <a:pt x="1209487" y="1291259"/>
                </a:lnTo>
                <a:lnTo>
                  <a:pt x="1163908" y="1282006"/>
                </a:lnTo>
                <a:lnTo>
                  <a:pt x="1122089" y="1269194"/>
                </a:lnTo>
                <a:lnTo>
                  <a:pt x="1083893" y="1252907"/>
                </a:lnTo>
                <a:lnTo>
                  <a:pt x="1049176" y="1233225"/>
                </a:lnTo>
                <a:lnTo>
                  <a:pt x="1017798" y="1210234"/>
                </a:lnTo>
                <a:lnTo>
                  <a:pt x="989622" y="1184015"/>
                </a:lnTo>
                <a:lnTo>
                  <a:pt x="964506" y="1154652"/>
                </a:lnTo>
                <a:lnTo>
                  <a:pt x="942309" y="1122226"/>
                </a:lnTo>
                <a:lnTo>
                  <a:pt x="922891" y="1086820"/>
                </a:lnTo>
                <a:lnTo>
                  <a:pt x="906113" y="1048518"/>
                </a:lnTo>
                <a:lnTo>
                  <a:pt x="891835" y="1007402"/>
                </a:lnTo>
                <a:lnTo>
                  <a:pt x="879914" y="963551"/>
                </a:lnTo>
                <a:lnTo>
                  <a:pt x="870214" y="917053"/>
                </a:lnTo>
                <a:lnTo>
                  <a:pt x="862590" y="867987"/>
                </a:lnTo>
                <a:lnTo>
                  <a:pt x="856906" y="816438"/>
                </a:lnTo>
                <a:lnTo>
                  <a:pt x="853019" y="762487"/>
                </a:lnTo>
                <a:lnTo>
                  <a:pt x="850789" y="706217"/>
                </a:lnTo>
                <a:lnTo>
                  <a:pt x="850077" y="647712"/>
                </a:lnTo>
                <a:lnTo>
                  <a:pt x="850812" y="589457"/>
                </a:lnTo>
                <a:lnTo>
                  <a:pt x="853109" y="533437"/>
                </a:lnTo>
                <a:lnTo>
                  <a:pt x="857098" y="479733"/>
                </a:lnTo>
                <a:lnTo>
                  <a:pt x="862911" y="428425"/>
                </a:lnTo>
                <a:lnTo>
                  <a:pt x="870684" y="379597"/>
                </a:lnTo>
                <a:lnTo>
                  <a:pt x="880547" y="333331"/>
                </a:lnTo>
                <a:lnTo>
                  <a:pt x="892633" y="289705"/>
                </a:lnTo>
                <a:lnTo>
                  <a:pt x="907076" y="248802"/>
                </a:lnTo>
                <a:lnTo>
                  <a:pt x="924008" y="210704"/>
                </a:lnTo>
                <a:lnTo>
                  <a:pt x="943561" y="175493"/>
                </a:lnTo>
                <a:lnTo>
                  <a:pt x="965869" y="143247"/>
                </a:lnTo>
                <a:lnTo>
                  <a:pt x="991066" y="114051"/>
                </a:lnTo>
                <a:lnTo>
                  <a:pt x="1019280" y="87986"/>
                </a:lnTo>
                <a:lnTo>
                  <a:pt x="1050647" y="65131"/>
                </a:lnTo>
                <a:lnTo>
                  <a:pt x="1085300" y="45570"/>
                </a:lnTo>
                <a:lnTo>
                  <a:pt x="1123371" y="29382"/>
                </a:lnTo>
                <a:lnTo>
                  <a:pt x="1164993" y="16650"/>
                </a:lnTo>
                <a:lnTo>
                  <a:pt x="1210299" y="7455"/>
                </a:lnTo>
                <a:lnTo>
                  <a:pt x="1259419" y="1877"/>
                </a:lnTo>
                <a:close/>
                <a:moveTo>
                  <a:pt x="6747401" y="0"/>
                </a:moveTo>
                <a:lnTo>
                  <a:pt x="6800471" y="1876"/>
                </a:lnTo>
                <a:lnTo>
                  <a:pt x="6849592" y="7453"/>
                </a:lnTo>
                <a:lnTo>
                  <a:pt x="6894897" y="16648"/>
                </a:lnTo>
                <a:lnTo>
                  <a:pt x="6936519" y="29380"/>
                </a:lnTo>
                <a:lnTo>
                  <a:pt x="6974590" y="45568"/>
                </a:lnTo>
                <a:lnTo>
                  <a:pt x="7009243" y="65130"/>
                </a:lnTo>
                <a:lnTo>
                  <a:pt x="7040610" y="87984"/>
                </a:lnTo>
                <a:lnTo>
                  <a:pt x="7068825" y="114050"/>
                </a:lnTo>
                <a:lnTo>
                  <a:pt x="7094021" y="143246"/>
                </a:lnTo>
                <a:lnTo>
                  <a:pt x="7116329" y="175491"/>
                </a:lnTo>
                <a:lnTo>
                  <a:pt x="7135882" y="210703"/>
                </a:lnTo>
                <a:lnTo>
                  <a:pt x="7152814" y="248801"/>
                </a:lnTo>
                <a:lnTo>
                  <a:pt x="7167257" y="289704"/>
                </a:lnTo>
                <a:lnTo>
                  <a:pt x="7179344" y="333329"/>
                </a:lnTo>
                <a:lnTo>
                  <a:pt x="7189207" y="379596"/>
                </a:lnTo>
                <a:lnTo>
                  <a:pt x="7196979" y="428424"/>
                </a:lnTo>
                <a:lnTo>
                  <a:pt x="7202793" y="479731"/>
                </a:lnTo>
                <a:lnTo>
                  <a:pt x="7206781" y="533435"/>
                </a:lnTo>
                <a:lnTo>
                  <a:pt x="7209077" y="589455"/>
                </a:lnTo>
                <a:lnTo>
                  <a:pt x="7209813" y="647711"/>
                </a:lnTo>
                <a:lnTo>
                  <a:pt x="7209113" y="706216"/>
                </a:lnTo>
                <a:lnTo>
                  <a:pt x="7206916" y="762486"/>
                </a:lnTo>
                <a:lnTo>
                  <a:pt x="7203080" y="816437"/>
                </a:lnTo>
                <a:lnTo>
                  <a:pt x="7197459" y="867986"/>
                </a:lnTo>
                <a:lnTo>
                  <a:pt x="7189911" y="917051"/>
                </a:lnTo>
                <a:lnTo>
                  <a:pt x="7180290" y="963550"/>
                </a:lnTo>
                <a:lnTo>
                  <a:pt x="7168453" y="1007400"/>
                </a:lnTo>
                <a:lnTo>
                  <a:pt x="7154256" y="1048517"/>
                </a:lnTo>
                <a:lnTo>
                  <a:pt x="7137555" y="1086819"/>
                </a:lnTo>
                <a:lnTo>
                  <a:pt x="7118206" y="1122225"/>
                </a:lnTo>
                <a:lnTo>
                  <a:pt x="7096065" y="1154652"/>
                </a:lnTo>
                <a:lnTo>
                  <a:pt x="7070989" y="1184015"/>
                </a:lnTo>
                <a:lnTo>
                  <a:pt x="7042832" y="1210234"/>
                </a:lnTo>
                <a:lnTo>
                  <a:pt x="7011451" y="1233224"/>
                </a:lnTo>
                <a:lnTo>
                  <a:pt x="6976702" y="1252906"/>
                </a:lnTo>
                <a:lnTo>
                  <a:pt x="6938442" y="1269193"/>
                </a:lnTo>
                <a:lnTo>
                  <a:pt x="6896525" y="1282004"/>
                </a:lnTo>
                <a:lnTo>
                  <a:pt x="6850809" y="1291259"/>
                </a:lnTo>
                <a:lnTo>
                  <a:pt x="6801149" y="1296872"/>
                </a:lnTo>
                <a:lnTo>
                  <a:pt x="6747401" y="1298760"/>
                </a:lnTo>
                <a:lnTo>
                  <a:pt x="6747401" y="1201937"/>
                </a:lnTo>
                <a:lnTo>
                  <a:pt x="6797086" y="1199704"/>
                </a:lnTo>
                <a:lnTo>
                  <a:pt x="6842006" y="1193083"/>
                </a:lnTo>
                <a:lnTo>
                  <a:pt x="6882389" y="1182194"/>
                </a:lnTo>
                <a:lnTo>
                  <a:pt x="6918460" y="1167155"/>
                </a:lnTo>
                <a:lnTo>
                  <a:pt x="6978571" y="1125095"/>
                </a:lnTo>
                <a:lnTo>
                  <a:pt x="7024150" y="1067850"/>
                </a:lnTo>
                <a:lnTo>
                  <a:pt x="7042056" y="1033830"/>
                </a:lnTo>
                <a:lnTo>
                  <a:pt x="7057008" y="996368"/>
                </a:lnTo>
                <a:lnTo>
                  <a:pt x="7069232" y="955584"/>
                </a:lnTo>
                <a:lnTo>
                  <a:pt x="7078955" y="911594"/>
                </a:lnTo>
                <a:lnTo>
                  <a:pt x="7086402" y="864517"/>
                </a:lnTo>
                <a:lnTo>
                  <a:pt x="7091801" y="814473"/>
                </a:lnTo>
                <a:lnTo>
                  <a:pt x="7095377" y="761578"/>
                </a:lnTo>
                <a:lnTo>
                  <a:pt x="7097356" y="705951"/>
                </a:lnTo>
                <a:lnTo>
                  <a:pt x="7097966" y="647711"/>
                </a:lnTo>
                <a:lnTo>
                  <a:pt x="7097324" y="590042"/>
                </a:lnTo>
                <a:lnTo>
                  <a:pt x="7095254" y="534953"/>
                </a:lnTo>
                <a:lnTo>
                  <a:pt x="7091544" y="482560"/>
                </a:lnTo>
                <a:lnTo>
                  <a:pt x="7085978" y="432984"/>
                </a:lnTo>
                <a:lnTo>
                  <a:pt x="7078343" y="386340"/>
                </a:lnTo>
                <a:lnTo>
                  <a:pt x="7068425" y="342749"/>
                </a:lnTo>
                <a:lnTo>
                  <a:pt x="7056009" y="302328"/>
                </a:lnTo>
                <a:lnTo>
                  <a:pt x="7040882" y="265196"/>
                </a:lnTo>
                <a:lnTo>
                  <a:pt x="7022829" y="231470"/>
                </a:lnTo>
                <a:lnTo>
                  <a:pt x="6977091" y="174711"/>
                </a:lnTo>
                <a:lnTo>
                  <a:pt x="6917082" y="132998"/>
                </a:lnTo>
                <a:lnTo>
                  <a:pt x="6881190" y="118079"/>
                </a:lnTo>
                <a:lnTo>
                  <a:pt x="6841089" y="107276"/>
                </a:lnTo>
                <a:lnTo>
                  <a:pt x="6796564" y="100708"/>
                </a:lnTo>
                <a:lnTo>
                  <a:pt x="6747401" y="98492"/>
                </a:lnTo>
                <a:close/>
              </a:path>
            </a:pathLst>
          </a:custGeom>
          <a:solidFill>
            <a:srgbClr val="4D7836"/>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3860254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reaker J">
    <p:bg>
      <p:bgRef idx="1001">
        <a:schemeClr val="bg1"/>
      </p:bgRef>
    </p:bg>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C478D43B-6DB1-49ED-A3EC-43DFBB246817}" type="datetime2">
              <a:rPr lang="da-DK" smtClean="0"/>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5" name="Mikro grafik 1">
            <a:extLst>
              <a:ext uri="{FF2B5EF4-FFF2-40B4-BE49-F238E27FC236}">
                <a16:creationId xmlns:a16="http://schemas.microsoft.com/office/drawing/2014/main" id="{8E8246C8-AEEC-66A0-3B85-75D6EBE031F7}"/>
              </a:ext>
            </a:extLst>
          </p:cNvPr>
          <p:cNvSpPr/>
          <p:nvPr userDrawn="1"/>
        </p:nvSpPr>
        <p:spPr>
          <a:xfrm>
            <a:off x="405001" y="915672"/>
            <a:ext cx="3748256" cy="3312156"/>
          </a:xfrm>
          <a:custGeom>
            <a:avLst/>
            <a:gdLst>
              <a:gd name="connsiteX0" fmla="*/ 5241587 w 8266922"/>
              <a:gd name="connsiteY0" fmla="*/ 7031344 h 7305087"/>
              <a:gd name="connsiteX1" fmla="*/ 5448586 w 8266922"/>
              <a:gd name="connsiteY1" fmla="*/ 7031344 h 7305087"/>
              <a:gd name="connsiteX2" fmla="*/ 5448586 w 8266922"/>
              <a:gd name="connsiteY2" fmla="*/ 7204957 h 7305087"/>
              <a:gd name="connsiteX3" fmla="*/ 5241587 w 8266922"/>
              <a:gd name="connsiteY3" fmla="*/ 7204957 h 7305087"/>
              <a:gd name="connsiteX4" fmla="*/ 2946862 w 8266922"/>
              <a:gd name="connsiteY4" fmla="*/ 7031344 h 7305087"/>
              <a:gd name="connsiteX5" fmla="*/ 3153861 w 8266922"/>
              <a:gd name="connsiteY5" fmla="*/ 7031344 h 7305087"/>
              <a:gd name="connsiteX6" fmla="*/ 3153861 w 8266922"/>
              <a:gd name="connsiteY6" fmla="*/ 7204957 h 7305087"/>
              <a:gd name="connsiteX7" fmla="*/ 2946862 w 8266922"/>
              <a:gd name="connsiteY7" fmla="*/ 7204957 h 7305087"/>
              <a:gd name="connsiteX8" fmla="*/ 4247643 w 8266922"/>
              <a:gd name="connsiteY8" fmla="*/ 6016037 h 7305087"/>
              <a:gd name="connsiteX9" fmla="*/ 4621582 w 8266922"/>
              <a:gd name="connsiteY9" fmla="*/ 6016037 h 7305087"/>
              <a:gd name="connsiteX10" fmla="*/ 4621582 w 8266922"/>
              <a:gd name="connsiteY10" fmla="*/ 6111287 h 7305087"/>
              <a:gd name="connsiteX11" fmla="*/ 4621582 w 8266922"/>
              <a:gd name="connsiteY11" fmla="*/ 7209837 h 7305087"/>
              <a:gd name="connsiteX12" fmla="*/ 4621582 w 8266922"/>
              <a:gd name="connsiteY12" fmla="*/ 7305087 h 7305087"/>
              <a:gd name="connsiteX13" fmla="*/ 4247643 w 8266922"/>
              <a:gd name="connsiteY13" fmla="*/ 7305087 h 7305087"/>
              <a:gd name="connsiteX14" fmla="*/ 4247643 w 8266922"/>
              <a:gd name="connsiteY14" fmla="*/ 7209837 h 7305087"/>
              <a:gd name="connsiteX15" fmla="*/ 4506393 w 8266922"/>
              <a:gd name="connsiteY15" fmla="*/ 7209837 h 7305087"/>
              <a:gd name="connsiteX16" fmla="*/ 4506393 w 8266922"/>
              <a:gd name="connsiteY16" fmla="*/ 6111287 h 7305087"/>
              <a:gd name="connsiteX17" fmla="*/ 4247643 w 8266922"/>
              <a:gd name="connsiteY17" fmla="*/ 6111287 h 7305087"/>
              <a:gd name="connsiteX18" fmla="*/ 3773921 w 8266922"/>
              <a:gd name="connsiteY18" fmla="*/ 6016037 h 7305087"/>
              <a:gd name="connsiteX19" fmla="*/ 4147860 w 8266922"/>
              <a:gd name="connsiteY19" fmla="*/ 6016037 h 7305087"/>
              <a:gd name="connsiteX20" fmla="*/ 4147860 w 8266922"/>
              <a:gd name="connsiteY20" fmla="*/ 6111287 h 7305087"/>
              <a:gd name="connsiteX21" fmla="*/ 3889111 w 8266922"/>
              <a:gd name="connsiteY21" fmla="*/ 6111287 h 7305087"/>
              <a:gd name="connsiteX22" fmla="*/ 3889111 w 8266922"/>
              <a:gd name="connsiteY22" fmla="*/ 7209837 h 7305087"/>
              <a:gd name="connsiteX23" fmla="*/ 4147860 w 8266922"/>
              <a:gd name="connsiteY23" fmla="*/ 7209837 h 7305087"/>
              <a:gd name="connsiteX24" fmla="*/ 4147860 w 8266922"/>
              <a:gd name="connsiteY24" fmla="*/ 7305087 h 7305087"/>
              <a:gd name="connsiteX25" fmla="*/ 3773921 w 8266922"/>
              <a:gd name="connsiteY25" fmla="*/ 7305087 h 7305087"/>
              <a:gd name="connsiteX26" fmla="*/ 3773921 w 8266922"/>
              <a:gd name="connsiteY26" fmla="*/ 7209837 h 7305087"/>
              <a:gd name="connsiteX27" fmla="*/ 3773921 w 8266922"/>
              <a:gd name="connsiteY27" fmla="*/ 6111287 h 7305087"/>
              <a:gd name="connsiteX28" fmla="*/ 6688042 w 8266922"/>
              <a:gd name="connsiteY28" fmla="*/ 5528924 h 7305087"/>
              <a:gd name="connsiteX29" fmla="*/ 6895043 w 8266922"/>
              <a:gd name="connsiteY29" fmla="*/ 5528924 h 7305087"/>
              <a:gd name="connsiteX30" fmla="*/ 6895043 w 8266922"/>
              <a:gd name="connsiteY30" fmla="*/ 5702536 h 7305087"/>
              <a:gd name="connsiteX31" fmla="*/ 6688042 w 8266922"/>
              <a:gd name="connsiteY31" fmla="*/ 5702536 h 7305087"/>
              <a:gd name="connsiteX32" fmla="*/ 3990746 w 8266922"/>
              <a:gd name="connsiteY32" fmla="*/ 5378675 h 7305087"/>
              <a:gd name="connsiteX33" fmla="*/ 4895538 w 8266922"/>
              <a:gd name="connsiteY33" fmla="*/ 5378675 h 7305087"/>
              <a:gd name="connsiteX34" fmla="*/ 4895538 w 8266922"/>
              <a:gd name="connsiteY34" fmla="*/ 5485512 h 7305087"/>
              <a:gd name="connsiteX35" fmla="*/ 3990746 w 8266922"/>
              <a:gd name="connsiteY35" fmla="*/ 5485512 h 7305087"/>
              <a:gd name="connsiteX36" fmla="*/ 1270097 w 8266922"/>
              <a:gd name="connsiteY36" fmla="*/ 5378675 h 7305087"/>
              <a:gd name="connsiteX37" fmla="*/ 2174890 w 8266922"/>
              <a:gd name="connsiteY37" fmla="*/ 5378675 h 7305087"/>
              <a:gd name="connsiteX38" fmla="*/ 2174890 w 8266922"/>
              <a:gd name="connsiteY38" fmla="*/ 5485512 h 7305087"/>
              <a:gd name="connsiteX39" fmla="*/ 1270097 w 8266922"/>
              <a:gd name="connsiteY39" fmla="*/ 5485512 h 7305087"/>
              <a:gd name="connsiteX40" fmla="*/ 3990746 w 8266922"/>
              <a:gd name="connsiteY40" fmla="*/ 5029777 h 7305087"/>
              <a:gd name="connsiteX41" fmla="*/ 4895538 w 8266922"/>
              <a:gd name="connsiteY41" fmla="*/ 5029777 h 7305087"/>
              <a:gd name="connsiteX42" fmla="*/ 4895538 w 8266922"/>
              <a:gd name="connsiteY42" fmla="*/ 5136615 h 7305087"/>
              <a:gd name="connsiteX43" fmla="*/ 3990746 w 8266922"/>
              <a:gd name="connsiteY43" fmla="*/ 5136615 h 7305087"/>
              <a:gd name="connsiteX44" fmla="*/ 1270097 w 8266922"/>
              <a:gd name="connsiteY44" fmla="*/ 5029777 h 7305087"/>
              <a:gd name="connsiteX45" fmla="*/ 2174890 w 8266922"/>
              <a:gd name="connsiteY45" fmla="*/ 5029777 h 7305087"/>
              <a:gd name="connsiteX46" fmla="*/ 2174890 w 8266922"/>
              <a:gd name="connsiteY46" fmla="*/ 5136615 h 7305087"/>
              <a:gd name="connsiteX47" fmla="*/ 1270097 w 8266922"/>
              <a:gd name="connsiteY47" fmla="*/ 5136615 h 7305087"/>
              <a:gd name="connsiteX48" fmla="*/ 6062007 w 8266922"/>
              <a:gd name="connsiteY48" fmla="*/ 4507277 h 7305087"/>
              <a:gd name="connsiteX49" fmla="*/ 6115077 w 8266922"/>
              <a:gd name="connsiteY49" fmla="*/ 4509153 h 7305087"/>
              <a:gd name="connsiteX50" fmla="*/ 6164198 w 8266922"/>
              <a:gd name="connsiteY50" fmla="*/ 4514730 h 7305087"/>
              <a:gd name="connsiteX51" fmla="*/ 6209503 w 8266922"/>
              <a:gd name="connsiteY51" fmla="*/ 4523925 h 7305087"/>
              <a:gd name="connsiteX52" fmla="*/ 6251125 w 8266922"/>
              <a:gd name="connsiteY52" fmla="*/ 4536657 h 7305087"/>
              <a:gd name="connsiteX53" fmla="*/ 6289196 w 8266922"/>
              <a:gd name="connsiteY53" fmla="*/ 4552845 h 7305087"/>
              <a:gd name="connsiteX54" fmla="*/ 6323849 w 8266922"/>
              <a:gd name="connsiteY54" fmla="*/ 4572406 h 7305087"/>
              <a:gd name="connsiteX55" fmla="*/ 6355216 w 8266922"/>
              <a:gd name="connsiteY55" fmla="*/ 4595261 h 7305087"/>
              <a:gd name="connsiteX56" fmla="*/ 6383431 w 8266922"/>
              <a:gd name="connsiteY56" fmla="*/ 4621327 h 7305087"/>
              <a:gd name="connsiteX57" fmla="*/ 6408627 w 8266922"/>
              <a:gd name="connsiteY57" fmla="*/ 4650523 h 7305087"/>
              <a:gd name="connsiteX58" fmla="*/ 6430935 w 8266922"/>
              <a:gd name="connsiteY58" fmla="*/ 4682768 h 7305087"/>
              <a:gd name="connsiteX59" fmla="*/ 6450488 w 8266922"/>
              <a:gd name="connsiteY59" fmla="*/ 4717980 h 7305087"/>
              <a:gd name="connsiteX60" fmla="*/ 6467420 w 8266922"/>
              <a:gd name="connsiteY60" fmla="*/ 4756077 h 7305087"/>
              <a:gd name="connsiteX61" fmla="*/ 6481863 w 8266922"/>
              <a:gd name="connsiteY61" fmla="*/ 4796980 h 7305087"/>
              <a:gd name="connsiteX62" fmla="*/ 6493950 w 8266922"/>
              <a:gd name="connsiteY62" fmla="*/ 4840605 h 7305087"/>
              <a:gd name="connsiteX63" fmla="*/ 6503813 w 8266922"/>
              <a:gd name="connsiteY63" fmla="*/ 4886873 h 7305087"/>
              <a:gd name="connsiteX64" fmla="*/ 6511585 w 8266922"/>
              <a:gd name="connsiteY64" fmla="*/ 4935701 h 7305087"/>
              <a:gd name="connsiteX65" fmla="*/ 6517399 w 8266922"/>
              <a:gd name="connsiteY65" fmla="*/ 4987008 h 7305087"/>
              <a:gd name="connsiteX66" fmla="*/ 6521387 w 8266922"/>
              <a:gd name="connsiteY66" fmla="*/ 5040712 h 7305087"/>
              <a:gd name="connsiteX67" fmla="*/ 6523683 w 8266922"/>
              <a:gd name="connsiteY67" fmla="*/ 5096732 h 7305087"/>
              <a:gd name="connsiteX68" fmla="*/ 6524419 w 8266922"/>
              <a:gd name="connsiteY68" fmla="*/ 5154988 h 7305087"/>
              <a:gd name="connsiteX69" fmla="*/ 6523719 w 8266922"/>
              <a:gd name="connsiteY69" fmla="*/ 5213493 h 7305087"/>
              <a:gd name="connsiteX70" fmla="*/ 6521522 w 8266922"/>
              <a:gd name="connsiteY70" fmla="*/ 5269763 h 7305087"/>
              <a:gd name="connsiteX71" fmla="*/ 6517686 w 8266922"/>
              <a:gd name="connsiteY71" fmla="*/ 5323713 h 7305087"/>
              <a:gd name="connsiteX72" fmla="*/ 6512065 w 8266922"/>
              <a:gd name="connsiteY72" fmla="*/ 5375263 h 7305087"/>
              <a:gd name="connsiteX73" fmla="*/ 6504517 w 8266922"/>
              <a:gd name="connsiteY73" fmla="*/ 5424328 h 7305087"/>
              <a:gd name="connsiteX74" fmla="*/ 6494896 w 8266922"/>
              <a:gd name="connsiteY74" fmla="*/ 5470827 h 7305087"/>
              <a:gd name="connsiteX75" fmla="*/ 6483059 w 8266922"/>
              <a:gd name="connsiteY75" fmla="*/ 5514676 h 7305087"/>
              <a:gd name="connsiteX76" fmla="*/ 6468862 w 8266922"/>
              <a:gd name="connsiteY76" fmla="*/ 5555794 h 7305087"/>
              <a:gd name="connsiteX77" fmla="*/ 6452162 w 8266922"/>
              <a:gd name="connsiteY77" fmla="*/ 5594097 h 7305087"/>
              <a:gd name="connsiteX78" fmla="*/ 6432813 w 8266922"/>
              <a:gd name="connsiteY78" fmla="*/ 5629503 h 7305087"/>
              <a:gd name="connsiteX79" fmla="*/ 6410672 w 8266922"/>
              <a:gd name="connsiteY79" fmla="*/ 5661929 h 7305087"/>
              <a:gd name="connsiteX80" fmla="*/ 6385595 w 8266922"/>
              <a:gd name="connsiteY80" fmla="*/ 5691293 h 7305087"/>
              <a:gd name="connsiteX81" fmla="*/ 6357438 w 8266922"/>
              <a:gd name="connsiteY81" fmla="*/ 5717511 h 7305087"/>
              <a:gd name="connsiteX82" fmla="*/ 6326057 w 8266922"/>
              <a:gd name="connsiteY82" fmla="*/ 5740502 h 7305087"/>
              <a:gd name="connsiteX83" fmla="*/ 6291309 w 8266922"/>
              <a:gd name="connsiteY83" fmla="*/ 5760183 h 7305087"/>
              <a:gd name="connsiteX84" fmla="*/ 6253048 w 8266922"/>
              <a:gd name="connsiteY84" fmla="*/ 5776470 h 7305087"/>
              <a:gd name="connsiteX85" fmla="*/ 6211131 w 8266922"/>
              <a:gd name="connsiteY85" fmla="*/ 5789282 h 7305087"/>
              <a:gd name="connsiteX86" fmla="*/ 6165415 w 8266922"/>
              <a:gd name="connsiteY86" fmla="*/ 5798536 h 7305087"/>
              <a:gd name="connsiteX87" fmla="*/ 6115755 w 8266922"/>
              <a:gd name="connsiteY87" fmla="*/ 5804149 h 7305087"/>
              <a:gd name="connsiteX88" fmla="*/ 6062007 w 8266922"/>
              <a:gd name="connsiteY88" fmla="*/ 5806038 h 7305087"/>
              <a:gd name="connsiteX89" fmla="*/ 6062007 w 8266922"/>
              <a:gd name="connsiteY89" fmla="*/ 5709215 h 7305087"/>
              <a:gd name="connsiteX90" fmla="*/ 6111692 w 8266922"/>
              <a:gd name="connsiteY90" fmla="*/ 5706982 h 7305087"/>
              <a:gd name="connsiteX91" fmla="*/ 6156613 w 8266922"/>
              <a:gd name="connsiteY91" fmla="*/ 5700361 h 7305087"/>
              <a:gd name="connsiteX92" fmla="*/ 6196995 w 8266922"/>
              <a:gd name="connsiteY92" fmla="*/ 5689472 h 7305087"/>
              <a:gd name="connsiteX93" fmla="*/ 6233066 w 8266922"/>
              <a:gd name="connsiteY93" fmla="*/ 5674432 h 7305087"/>
              <a:gd name="connsiteX94" fmla="*/ 6293177 w 8266922"/>
              <a:gd name="connsiteY94" fmla="*/ 5632372 h 7305087"/>
              <a:gd name="connsiteX95" fmla="*/ 6338757 w 8266922"/>
              <a:gd name="connsiteY95" fmla="*/ 5575128 h 7305087"/>
              <a:gd name="connsiteX96" fmla="*/ 6356662 w 8266922"/>
              <a:gd name="connsiteY96" fmla="*/ 5541107 h 7305087"/>
              <a:gd name="connsiteX97" fmla="*/ 6371614 w 8266922"/>
              <a:gd name="connsiteY97" fmla="*/ 5503645 h 7305087"/>
              <a:gd name="connsiteX98" fmla="*/ 6383838 w 8266922"/>
              <a:gd name="connsiteY98" fmla="*/ 5462861 h 7305087"/>
              <a:gd name="connsiteX99" fmla="*/ 6393561 w 8266922"/>
              <a:gd name="connsiteY99" fmla="*/ 5418871 h 7305087"/>
              <a:gd name="connsiteX100" fmla="*/ 6401008 w 8266922"/>
              <a:gd name="connsiteY100" fmla="*/ 5371794 h 7305087"/>
              <a:gd name="connsiteX101" fmla="*/ 6406407 w 8266922"/>
              <a:gd name="connsiteY101" fmla="*/ 5321750 h 7305087"/>
              <a:gd name="connsiteX102" fmla="*/ 6409983 w 8266922"/>
              <a:gd name="connsiteY102" fmla="*/ 5268855 h 7305087"/>
              <a:gd name="connsiteX103" fmla="*/ 6411962 w 8266922"/>
              <a:gd name="connsiteY103" fmla="*/ 5213228 h 7305087"/>
              <a:gd name="connsiteX104" fmla="*/ 6412572 w 8266922"/>
              <a:gd name="connsiteY104" fmla="*/ 5154988 h 7305087"/>
              <a:gd name="connsiteX105" fmla="*/ 6411930 w 8266922"/>
              <a:gd name="connsiteY105" fmla="*/ 5097319 h 7305087"/>
              <a:gd name="connsiteX106" fmla="*/ 6409860 w 8266922"/>
              <a:gd name="connsiteY106" fmla="*/ 5042230 h 7305087"/>
              <a:gd name="connsiteX107" fmla="*/ 6406150 w 8266922"/>
              <a:gd name="connsiteY107" fmla="*/ 4989837 h 7305087"/>
              <a:gd name="connsiteX108" fmla="*/ 6400584 w 8266922"/>
              <a:gd name="connsiteY108" fmla="*/ 4940261 h 7305087"/>
              <a:gd name="connsiteX109" fmla="*/ 6392949 w 8266922"/>
              <a:gd name="connsiteY109" fmla="*/ 4893617 h 7305087"/>
              <a:gd name="connsiteX110" fmla="*/ 6383031 w 8266922"/>
              <a:gd name="connsiteY110" fmla="*/ 4850025 h 7305087"/>
              <a:gd name="connsiteX111" fmla="*/ 6370615 w 8266922"/>
              <a:gd name="connsiteY111" fmla="*/ 4809604 h 7305087"/>
              <a:gd name="connsiteX112" fmla="*/ 6355488 w 8266922"/>
              <a:gd name="connsiteY112" fmla="*/ 4772472 h 7305087"/>
              <a:gd name="connsiteX113" fmla="*/ 6337435 w 8266922"/>
              <a:gd name="connsiteY113" fmla="*/ 4738746 h 7305087"/>
              <a:gd name="connsiteX114" fmla="*/ 6291697 w 8266922"/>
              <a:gd name="connsiteY114" fmla="*/ 4681987 h 7305087"/>
              <a:gd name="connsiteX115" fmla="*/ 6231688 w 8266922"/>
              <a:gd name="connsiteY115" fmla="*/ 4640273 h 7305087"/>
              <a:gd name="connsiteX116" fmla="*/ 6195796 w 8266922"/>
              <a:gd name="connsiteY116" fmla="*/ 4625355 h 7305087"/>
              <a:gd name="connsiteX117" fmla="*/ 6155695 w 8266922"/>
              <a:gd name="connsiteY117" fmla="*/ 4614552 h 7305087"/>
              <a:gd name="connsiteX118" fmla="*/ 6111170 w 8266922"/>
              <a:gd name="connsiteY118" fmla="*/ 4607983 h 7305087"/>
              <a:gd name="connsiteX119" fmla="*/ 6062007 w 8266922"/>
              <a:gd name="connsiteY119" fmla="*/ 4605768 h 7305087"/>
              <a:gd name="connsiteX120" fmla="*/ 5970138 w 8266922"/>
              <a:gd name="connsiteY120" fmla="*/ 4507277 h 7305087"/>
              <a:gd name="connsiteX121" fmla="*/ 5970138 w 8266922"/>
              <a:gd name="connsiteY121" fmla="*/ 4605768 h 7305087"/>
              <a:gd name="connsiteX122" fmla="*/ 5921252 w 8266922"/>
              <a:gd name="connsiteY122" fmla="*/ 4607983 h 7305087"/>
              <a:gd name="connsiteX123" fmla="*/ 5876971 w 8266922"/>
              <a:gd name="connsiteY123" fmla="*/ 4614552 h 7305087"/>
              <a:gd name="connsiteX124" fmla="*/ 5837085 w 8266922"/>
              <a:gd name="connsiteY124" fmla="*/ 4625355 h 7305087"/>
              <a:gd name="connsiteX125" fmla="*/ 5801379 w 8266922"/>
              <a:gd name="connsiteY125" fmla="*/ 4640273 h 7305087"/>
              <a:gd name="connsiteX126" fmla="*/ 5741664 w 8266922"/>
              <a:gd name="connsiteY126" fmla="*/ 4681987 h 7305087"/>
              <a:gd name="connsiteX127" fmla="*/ 5696130 w 8266922"/>
              <a:gd name="connsiteY127" fmla="*/ 4738746 h 7305087"/>
              <a:gd name="connsiteX128" fmla="*/ 5678151 w 8266922"/>
              <a:gd name="connsiteY128" fmla="*/ 4772472 h 7305087"/>
              <a:gd name="connsiteX129" fmla="*/ 5663081 w 8266922"/>
              <a:gd name="connsiteY129" fmla="*/ 4809604 h 7305087"/>
              <a:gd name="connsiteX130" fmla="*/ 5650709 w 8266922"/>
              <a:gd name="connsiteY130" fmla="*/ 4850025 h 7305087"/>
              <a:gd name="connsiteX131" fmla="*/ 5640821 w 8266922"/>
              <a:gd name="connsiteY131" fmla="*/ 4893617 h 7305087"/>
              <a:gd name="connsiteX132" fmla="*/ 5633207 w 8266922"/>
              <a:gd name="connsiteY132" fmla="*/ 4940261 h 7305087"/>
              <a:gd name="connsiteX133" fmla="*/ 5627654 w 8266922"/>
              <a:gd name="connsiteY133" fmla="*/ 4989837 h 7305087"/>
              <a:gd name="connsiteX134" fmla="*/ 5623950 w 8266922"/>
              <a:gd name="connsiteY134" fmla="*/ 5042230 h 7305087"/>
              <a:gd name="connsiteX135" fmla="*/ 5621883 w 8266922"/>
              <a:gd name="connsiteY135" fmla="*/ 5097319 h 7305087"/>
              <a:gd name="connsiteX136" fmla="*/ 5621241 w 8266922"/>
              <a:gd name="connsiteY136" fmla="*/ 5154988 h 7305087"/>
              <a:gd name="connsiteX137" fmla="*/ 5621867 w 8266922"/>
              <a:gd name="connsiteY137" fmla="*/ 5213228 h 7305087"/>
              <a:gd name="connsiteX138" fmla="*/ 5623889 w 8266922"/>
              <a:gd name="connsiteY138" fmla="*/ 5268855 h 7305087"/>
              <a:gd name="connsiteX139" fmla="*/ 5627526 w 8266922"/>
              <a:gd name="connsiteY139" fmla="*/ 5321750 h 7305087"/>
              <a:gd name="connsiteX140" fmla="*/ 5632995 w 8266922"/>
              <a:gd name="connsiteY140" fmla="*/ 5371794 h 7305087"/>
              <a:gd name="connsiteX141" fmla="*/ 5640516 w 8266922"/>
              <a:gd name="connsiteY141" fmla="*/ 5418871 h 7305087"/>
              <a:gd name="connsiteX142" fmla="*/ 5650305 w 8266922"/>
              <a:gd name="connsiteY142" fmla="*/ 5462861 h 7305087"/>
              <a:gd name="connsiteX143" fmla="*/ 5662582 w 8266922"/>
              <a:gd name="connsiteY143" fmla="*/ 5503645 h 7305087"/>
              <a:gd name="connsiteX144" fmla="*/ 5677564 w 8266922"/>
              <a:gd name="connsiteY144" fmla="*/ 5541107 h 7305087"/>
              <a:gd name="connsiteX145" fmla="*/ 5695470 w 8266922"/>
              <a:gd name="connsiteY145" fmla="*/ 5575128 h 7305087"/>
              <a:gd name="connsiteX146" fmla="*/ 5740924 w 8266922"/>
              <a:gd name="connsiteY146" fmla="*/ 5632372 h 7305087"/>
              <a:gd name="connsiteX147" fmla="*/ 5800690 w 8266922"/>
              <a:gd name="connsiteY147" fmla="*/ 5674432 h 7305087"/>
              <a:gd name="connsiteX148" fmla="*/ 5836485 w 8266922"/>
              <a:gd name="connsiteY148" fmla="*/ 5689472 h 7305087"/>
              <a:gd name="connsiteX149" fmla="*/ 5876513 w 8266922"/>
              <a:gd name="connsiteY149" fmla="*/ 5700361 h 7305087"/>
              <a:gd name="connsiteX150" fmla="*/ 5920991 w 8266922"/>
              <a:gd name="connsiteY150" fmla="*/ 5706982 h 7305087"/>
              <a:gd name="connsiteX151" fmla="*/ 5970138 w 8266922"/>
              <a:gd name="connsiteY151" fmla="*/ 5709215 h 7305087"/>
              <a:gd name="connsiteX152" fmla="*/ 5970138 w 8266922"/>
              <a:gd name="connsiteY152" fmla="*/ 5806038 h 7305087"/>
              <a:gd name="connsiteX153" fmla="*/ 5916615 w 8266922"/>
              <a:gd name="connsiteY153" fmla="*/ 5804149 h 7305087"/>
              <a:gd name="connsiteX154" fmla="*/ 5867135 w 8266922"/>
              <a:gd name="connsiteY154" fmla="*/ 5798536 h 7305087"/>
              <a:gd name="connsiteX155" fmla="*/ 5821555 w 8266922"/>
              <a:gd name="connsiteY155" fmla="*/ 5789282 h 7305087"/>
              <a:gd name="connsiteX156" fmla="*/ 5779737 w 8266922"/>
              <a:gd name="connsiteY156" fmla="*/ 5776470 h 7305087"/>
              <a:gd name="connsiteX157" fmla="*/ 5741540 w 8266922"/>
              <a:gd name="connsiteY157" fmla="*/ 5760183 h 7305087"/>
              <a:gd name="connsiteX158" fmla="*/ 5706823 w 8266922"/>
              <a:gd name="connsiteY158" fmla="*/ 5740502 h 7305087"/>
              <a:gd name="connsiteX159" fmla="*/ 5675446 w 8266922"/>
              <a:gd name="connsiteY159" fmla="*/ 5717511 h 7305087"/>
              <a:gd name="connsiteX160" fmla="*/ 5647270 w 8266922"/>
              <a:gd name="connsiteY160" fmla="*/ 5691293 h 7305087"/>
              <a:gd name="connsiteX161" fmla="*/ 5622154 w 8266922"/>
              <a:gd name="connsiteY161" fmla="*/ 5661929 h 7305087"/>
              <a:gd name="connsiteX162" fmla="*/ 5599957 w 8266922"/>
              <a:gd name="connsiteY162" fmla="*/ 5629503 h 7305087"/>
              <a:gd name="connsiteX163" fmla="*/ 5580540 w 8266922"/>
              <a:gd name="connsiteY163" fmla="*/ 5594097 h 7305087"/>
              <a:gd name="connsiteX164" fmla="*/ 5563762 w 8266922"/>
              <a:gd name="connsiteY164" fmla="*/ 5555794 h 7305087"/>
              <a:gd name="connsiteX165" fmla="*/ 5549483 w 8266922"/>
              <a:gd name="connsiteY165" fmla="*/ 5514676 h 7305087"/>
              <a:gd name="connsiteX166" fmla="*/ 5537563 w 8266922"/>
              <a:gd name="connsiteY166" fmla="*/ 5470827 h 7305087"/>
              <a:gd name="connsiteX167" fmla="*/ 5527862 w 8266922"/>
              <a:gd name="connsiteY167" fmla="*/ 5424328 h 7305087"/>
              <a:gd name="connsiteX168" fmla="*/ 5520239 w 8266922"/>
              <a:gd name="connsiteY168" fmla="*/ 5375263 h 7305087"/>
              <a:gd name="connsiteX169" fmla="*/ 5514554 w 8266922"/>
              <a:gd name="connsiteY169" fmla="*/ 5323713 h 7305087"/>
              <a:gd name="connsiteX170" fmla="*/ 5510667 w 8266922"/>
              <a:gd name="connsiteY170" fmla="*/ 5269763 h 7305087"/>
              <a:gd name="connsiteX171" fmla="*/ 5508437 w 8266922"/>
              <a:gd name="connsiteY171" fmla="*/ 5213493 h 7305087"/>
              <a:gd name="connsiteX172" fmla="*/ 5507726 w 8266922"/>
              <a:gd name="connsiteY172" fmla="*/ 5154988 h 7305087"/>
              <a:gd name="connsiteX173" fmla="*/ 5508461 w 8266922"/>
              <a:gd name="connsiteY173" fmla="*/ 5096732 h 7305087"/>
              <a:gd name="connsiteX174" fmla="*/ 5510757 w 8266922"/>
              <a:gd name="connsiteY174" fmla="*/ 5040712 h 7305087"/>
              <a:gd name="connsiteX175" fmla="*/ 5514746 w 8266922"/>
              <a:gd name="connsiteY175" fmla="*/ 4987008 h 7305087"/>
              <a:gd name="connsiteX176" fmla="*/ 5520559 w 8266922"/>
              <a:gd name="connsiteY176" fmla="*/ 4935701 h 7305087"/>
              <a:gd name="connsiteX177" fmla="*/ 5528332 w 8266922"/>
              <a:gd name="connsiteY177" fmla="*/ 4886873 h 7305087"/>
              <a:gd name="connsiteX178" fmla="*/ 5538195 w 8266922"/>
              <a:gd name="connsiteY178" fmla="*/ 4840605 h 7305087"/>
              <a:gd name="connsiteX179" fmla="*/ 5550281 w 8266922"/>
              <a:gd name="connsiteY179" fmla="*/ 4796980 h 7305087"/>
              <a:gd name="connsiteX180" fmla="*/ 5564724 w 8266922"/>
              <a:gd name="connsiteY180" fmla="*/ 4756077 h 7305087"/>
              <a:gd name="connsiteX181" fmla="*/ 5581656 w 8266922"/>
              <a:gd name="connsiteY181" fmla="*/ 4717980 h 7305087"/>
              <a:gd name="connsiteX182" fmla="*/ 5601209 w 8266922"/>
              <a:gd name="connsiteY182" fmla="*/ 4682768 h 7305087"/>
              <a:gd name="connsiteX183" fmla="*/ 5623517 w 8266922"/>
              <a:gd name="connsiteY183" fmla="*/ 4650523 h 7305087"/>
              <a:gd name="connsiteX184" fmla="*/ 5648713 w 8266922"/>
              <a:gd name="connsiteY184" fmla="*/ 4621327 h 7305087"/>
              <a:gd name="connsiteX185" fmla="*/ 5676928 w 8266922"/>
              <a:gd name="connsiteY185" fmla="*/ 4595261 h 7305087"/>
              <a:gd name="connsiteX186" fmla="*/ 5708295 w 8266922"/>
              <a:gd name="connsiteY186" fmla="*/ 4572406 h 7305087"/>
              <a:gd name="connsiteX187" fmla="*/ 5742948 w 8266922"/>
              <a:gd name="connsiteY187" fmla="*/ 4552845 h 7305087"/>
              <a:gd name="connsiteX188" fmla="*/ 5781019 w 8266922"/>
              <a:gd name="connsiteY188" fmla="*/ 4536657 h 7305087"/>
              <a:gd name="connsiteX189" fmla="*/ 5822641 w 8266922"/>
              <a:gd name="connsiteY189" fmla="*/ 4523925 h 7305087"/>
              <a:gd name="connsiteX190" fmla="*/ 5867946 w 8266922"/>
              <a:gd name="connsiteY190" fmla="*/ 4514730 h 7305087"/>
              <a:gd name="connsiteX191" fmla="*/ 5917067 w 8266922"/>
              <a:gd name="connsiteY191" fmla="*/ 4509153 h 7305087"/>
              <a:gd name="connsiteX192" fmla="*/ 2916306 w 8266922"/>
              <a:gd name="connsiteY192" fmla="*/ 4507277 h 7305087"/>
              <a:gd name="connsiteX193" fmla="*/ 2969376 w 8266922"/>
              <a:gd name="connsiteY193" fmla="*/ 4509153 h 7305087"/>
              <a:gd name="connsiteX194" fmla="*/ 3018497 w 8266922"/>
              <a:gd name="connsiteY194" fmla="*/ 4514730 h 7305087"/>
              <a:gd name="connsiteX195" fmla="*/ 3063803 w 8266922"/>
              <a:gd name="connsiteY195" fmla="*/ 4523925 h 7305087"/>
              <a:gd name="connsiteX196" fmla="*/ 3105426 w 8266922"/>
              <a:gd name="connsiteY196" fmla="*/ 4536657 h 7305087"/>
              <a:gd name="connsiteX197" fmla="*/ 3143497 w 8266922"/>
              <a:gd name="connsiteY197" fmla="*/ 4552845 h 7305087"/>
              <a:gd name="connsiteX198" fmla="*/ 3178150 w 8266922"/>
              <a:gd name="connsiteY198" fmla="*/ 4572406 h 7305087"/>
              <a:gd name="connsiteX199" fmla="*/ 3209516 w 8266922"/>
              <a:gd name="connsiteY199" fmla="*/ 4595261 h 7305087"/>
              <a:gd name="connsiteX200" fmla="*/ 3237732 w 8266922"/>
              <a:gd name="connsiteY200" fmla="*/ 4621327 h 7305087"/>
              <a:gd name="connsiteX201" fmla="*/ 3262928 w 8266922"/>
              <a:gd name="connsiteY201" fmla="*/ 4650523 h 7305087"/>
              <a:gd name="connsiteX202" fmla="*/ 3285236 w 8266922"/>
              <a:gd name="connsiteY202" fmla="*/ 4682768 h 7305087"/>
              <a:gd name="connsiteX203" fmla="*/ 3304789 w 8266922"/>
              <a:gd name="connsiteY203" fmla="*/ 4717980 h 7305087"/>
              <a:gd name="connsiteX204" fmla="*/ 3321718 w 8266922"/>
              <a:gd name="connsiteY204" fmla="*/ 4756077 h 7305087"/>
              <a:gd name="connsiteX205" fmla="*/ 3336161 w 8266922"/>
              <a:gd name="connsiteY205" fmla="*/ 4796980 h 7305087"/>
              <a:gd name="connsiteX206" fmla="*/ 3348248 w 8266922"/>
              <a:gd name="connsiteY206" fmla="*/ 4840605 h 7305087"/>
              <a:gd name="connsiteX207" fmla="*/ 3358111 w 8266922"/>
              <a:gd name="connsiteY207" fmla="*/ 4886873 h 7305087"/>
              <a:gd name="connsiteX208" fmla="*/ 3365883 w 8266922"/>
              <a:gd name="connsiteY208" fmla="*/ 4935701 h 7305087"/>
              <a:gd name="connsiteX209" fmla="*/ 3371697 w 8266922"/>
              <a:gd name="connsiteY209" fmla="*/ 4987008 h 7305087"/>
              <a:gd name="connsiteX210" fmla="*/ 3375685 w 8266922"/>
              <a:gd name="connsiteY210" fmla="*/ 5040712 h 7305087"/>
              <a:gd name="connsiteX211" fmla="*/ 3377981 w 8266922"/>
              <a:gd name="connsiteY211" fmla="*/ 5096732 h 7305087"/>
              <a:gd name="connsiteX212" fmla="*/ 3378717 w 8266922"/>
              <a:gd name="connsiteY212" fmla="*/ 5154988 h 7305087"/>
              <a:gd name="connsiteX213" fmla="*/ 3378017 w 8266922"/>
              <a:gd name="connsiteY213" fmla="*/ 5213493 h 7305087"/>
              <a:gd name="connsiteX214" fmla="*/ 3375820 w 8266922"/>
              <a:gd name="connsiteY214" fmla="*/ 5269763 h 7305087"/>
              <a:gd name="connsiteX215" fmla="*/ 3371984 w 8266922"/>
              <a:gd name="connsiteY215" fmla="*/ 5323713 h 7305087"/>
              <a:gd name="connsiteX216" fmla="*/ 3366363 w 8266922"/>
              <a:gd name="connsiteY216" fmla="*/ 5375263 h 7305087"/>
              <a:gd name="connsiteX217" fmla="*/ 3358815 w 8266922"/>
              <a:gd name="connsiteY217" fmla="*/ 5424328 h 7305087"/>
              <a:gd name="connsiteX218" fmla="*/ 3349194 w 8266922"/>
              <a:gd name="connsiteY218" fmla="*/ 5470827 h 7305087"/>
              <a:gd name="connsiteX219" fmla="*/ 3337357 w 8266922"/>
              <a:gd name="connsiteY219" fmla="*/ 5514676 h 7305087"/>
              <a:gd name="connsiteX220" fmla="*/ 3323160 w 8266922"/>
              <a:gd name="connsiteY220" fmla="*/ 5555794 h 7305087"/>
              <a:gd name="connsiteX221" fmla="*/ 3306462 w 8266922"/>
              <a:gd name="connsiteY221" fmla="*/ 5594097 h 7305087"/>
              <a:gd name="connsiteX222" fmla="*/ 3287114 w 8266922"/>
              <a:gd name="connsiteY222" fmla="*/ 5629503 h 7305087"/>
              <a:gd name="connsiteX223" fmla="*/ 3264973 w 8266922"/>
              <a:gd name="connsiteY223" fmla="*/ 5661929 h 7305087"/>
              <a:gd name="connsiteX224" fmla="*/ 3239895 w 8266922"/>
              <a:gd name="connsiteY224" fmla="*/ 5691293 h 7305087"/>
              <a:gd name="connsiteX225" fmla="*/ 3211738 w 8266922"/>
              <a:gd name="connsiteY225" fmla="*/ 5717511 h 7305087"/>
              <a:gd name="connsiteX226" fmla="*/ 3180357 w 8266922"/>
              <a:gd name="connsiteY226" fmla="*/ 5740502 h 7305087"/>
              <a:gd name="connsiteX227" fmla="*/ 3145609 w 8266922"/>
              <a:gd name="connsiteY227" fmla="*/ 5760183 h 7305087"/>
              <a:gd name="connsiteX228" fmla="*/ 3107348 w 8266922"/>
              <a:gd name="connsiteY228" fmla="*/ 5776470 h 7305087"/>
              <a:gd name="connsiteX229" fmla="*/ 3065431 w 8266922"/>
              <a:gd name="connsiteY229" fmla="*/ 5789282 h 7305087"/>
              <a:gd name="connsiteX230" fmla="*/ 3019716 w 8266922"/>
              <a:gd name="connsiteY230" fmla="*/ 5798536 h 7305087"/>
              <a:gd name="connsiteX231" fmla="*/ 2970054 w 8266922"/>
              <a:gd name="connsiteY231" fmla="*/ 5804149 h 7305087"/>
              <a:gd name="connsiteX232" fmla="*/ 2916306 w 8266922"/>
              <a:gd name="connsiteY232" fmla="*/ 5806038 h 7305087"/>
              <a:gd name="connsiteX233" fmla="*/ 2916306 w 8266922"/>
              <a:gd name="connsiteY233" fmla="*/ 5709215 h 7305087"/>
              <a:gd name="connsiteX234" fmla="*/ 2965992 w 8266922"/>
              <a:gd name="connsiteY234" fmla="*/ 5706982 h 7305087"/>
              <a:gd name="connsiteX235" fmla="*/ 3010913 w 8266922"/>
              <a:gd name="connsiteY235" fmla="*/ 5700361 h 7305087"/>
              <a:gd name="connsiteX236" fmla="*/ 3051294 w 8266922"/>
              <a:gd name="connsiteY236" fmla="*/ 5689472 h 7305087"/>
              <a:gd name="connsiteX237" fmla="*/ 3087367 w 8266922"/>
              <a:gd name="connsiteY237" fmla="*/ 5674432 h 7305087"/>
              <a:gd name="connsiteX238" fmla="*/ 3147477 w 8266922"/>
              <a:gd name="connsiteY238" fmla="*/ 5632372 h 7305087"/>
              <a:gd name="connsiteX239" fmla="*/ 3193057 w 8266922"/>
              <a:gd name="connsiteY239" fmla="*/ 5575128 h 7305087"/>
              <a:gd name="connsiteX240" fmla="*/ 3210963 w 8266922"/>
              <a:gd name="connsiteY240" fmla="*/ 5541107 h 7305087"/>
              <a:gd name="connsiteX241" fmla="*/ 3225916 w 8266922"/>
              <a:gd name="connsiteY241" fmla="*/ 5503645 h 7305087"/>
              <a:gd name="connsiteX242" fmla="*/ 3238139 w 8266922"/>
              <a:gd name="connsiteY242" fmla="*/ 5462861 h 7305087"/>
              <a:gd name="connsiteX243" fmla="*/ 3247862 w 8266922"/>
              <a:gd name="connsiteY243" fmla="*/ 5418871 h 7305087"/>
              <a:gd name="connsiteX244" fmla="*/ 3255309 w 8266922"/>
              <a:gd name="connsiteY244" fmla="*/ 5371794 h 7305087"/>
              <a:gd name="connsiteX245" fmla="*/ 3260708 w 8266922"/>
              <a:gd name="connsiteY245" fmla="*/ 5321750 h 7305087"/>
              <a:gd name="connsiteX246" fmla="*/ 3264284 w 8266922"/>
              <a:gd name="connsiteY246" fmla="*/ 5268855 h 7305087"/>
              <a:gd name="connsiteX247" fmla="*/ 3266263 w 8266922"/>
              <a:gd name="connsiteY247" fmla="*/ 5213228 h 7305087"/>
              <a:gd name="connsiteX248" fmla="*/ 3266872 w 8266922"/>
              <a:gd name="connsiteY248" fmla="*/ 5154988 h 7305087"/>
              <a:gd name="connsiteX249" fmla="*/ 3266231 w 8266922"/>
              <a:gd name="connsiteY249" fmla="*/ 5097319 h 7305087"/>
              <a:gd name="connsiteX250" fmla="*/ 3264161 w 8266922"/>
              <a:gd name="connsiteY250" fmla="*/ 5042230 h 7305087"/>
              <a:gd name="connsiteX251" fmla="*/ 3260451 w 8266922"/>
              <a:gd name="connsiteY251" fmla="*/ 4989837 h 7305087"/>
              <a:gd name="connsiteX252" fmla="*/ 3254885 w 8266922"/>
              <a:gd name="connsiteY252" fmla="*/ 4940261 h 7305087"/>
              <a:gd name="connsiteX253" fmla="*/ 3247250 w 8266922"/>
              <a:gd name="connsiteY253" fmla="*/ 4893617 h 7305087"/>
              <a:gd name="connsiteX254" fmla="*/ 3237332 w 8266922"/>
              <a:gd name="connsiteY254" fmla="*/ 4850025 h 7305087"/>
              <a:gd name="connsiteX255" fmla="*/ 3224916 w 8266922"/>
              <a:gd name="connsiteY255" fmla="*/ 4809604 h 7305087"/>
              <a:gd name="connsiteX256" fmla="*/ 3209789 w 8266922"/>
              <a:gd name="connsiteY256" fmla="*/ 4772472 h 7305087"/>
              <a:gd name="connsiteX257" fmla="*/ 3191735 w 8266922"/>
              <a:gd name="connsiteY257" fmla="*/ 4738746 h 7305087"/>
              <a:gd name="connsiteX258" fmla="*/ 3145998 w 8266922"/>
              <a:gd name="connsiteY258" fmla="*/ 4681987 h 7305087"/>
              <a:gd name="connsiteX259" fmla="*/ 3085988 w 8266922"/>
              <a:gd name="connsiteY259" fmla="*/ 4640273 h 7305087"/>
              <a:gd name="connsiteX260" fmla="*/ 3050095 w 8266922"/>
              <a:gd name="connsiteY260" fmla="*/ 4625355 h 7305087"/>
              <a:gd name="connsiteX261" fmla="*/ 3009995 w 8266922"/>
              <a:gd name="connsiteY261" fmla="*/ 4614552 h 7305087"/>
              <a:gd name="connsiteX262" fmla="*/ 2965470 w 8266922"/>
              <a:gd name="connsiteY262" fmla="*/ 4607983 h 7305087"/>
              <a:gd name="connsiteX263" fmla="*/ 2916306 w 8266922"/>
              <a:gd name="connsiteY263" fmla="*/ 4605768 h 7305087"/>
              <a:gd name="connsiteX264" fmla="*/ 2824439 w 8266922"/>
              <a:gd name="connsiteY264" fmla="*/ 4507277 h 7305087"/>
              <a:gd name="connsiteX265" fmla="*/ 2824439 w 8266922"/>
              <a:gd name="connsiteY265" fmla="*/ 4605768 h 7305087"/>
              <a:gd name="connsiteX266" fmla="*/ 2775553 w 8266922"/>
              <a:gd name="connsiteY266" fmla="*/ 4607983 h 7305087"/>
              <a:gd name="connsiteX267" fmla="*/ 2731271 w 8266922"/>
              <a:gd name="connsiteY267" fmla="*/ 4614552 h 7305087"/>
              <a:gd name="connsiteX268" fmla="*/ 2691385 w 8266922"/>
              <a:gd name="connsiteY268" fmla="*/ 4625355 h 7305087"/>
              <a:gd name="connsiteX269" fmla="*/ 2655680 w 8266922"/>
              <a:gd name="connsiteY269" fmla="*/ 4640273 h 7305087"/>
              <a:gd name="connsiteX270" fmla="*/ 2595965 w 8266922"/>
              <a:gd name="connsiteY270" fmla="*/ 4681987 h 7305087"/>
              <a:gd name="connsiteX271" fmla="*/ 2550430 w 8266922"/>
              <a:gd name="connsiteY271" fmla="*/ 4738746 h 7305087"/>
              <a:gd name="connsiteX272" fmla="*/ 2532451 w 8266922"/>
              <a:gd name="connsiteY272" fmla="*/ 4772472 h 7305087"/>
              <a:gd name="connsiteX273" fmla="*/ 2517381 w 8266922"/>
              <a:gd name="connsiteY273" fmla="*/ 4809604 h 7305087"/>
              <a:gd name="connsiteX274" fmla="*/ 2505009 w 8266922"/>
              <a:gd name="connsiteY274" fmla="*/ 4850025 h 7305087"/>
              <a:gd name="connsiteX275" fmla="*/ 2495121 w 8266922"/>
              <a:gd name="connsiteY275" fmla="*/ 4893617 h 7305087"/>
              <a:gd name="connsiteX276" fmla="*/ 2487508 w 8266922"/>
              <a:gd name="connsiteY276" fmla="*/ 4940261 h 7305087"/>
              <a:gd name="connsiteX277" fmla="*/ 2481955 w 8266922"/>
              <a:gd name="connsiteY277" fmla="*/ 4989837 h 7305087"/>
              <a:gd name="connsiteX278" fmla="*/ 2478251 w 8266922"/>
              <a:gd name="connsiteY278" fmla="*/ 5042230 h 7305087"/>
              <a:gd name="connsiteX279" fmla="*/ 2476183 w 8266922"/>
              <a:gd name="connsiteY279" fmla="*/ 5097319 h 7305087"/>
              <a:gd name="connsiteX280" fmla="*/ 2475541 w 8266922"/>
              <a:gd name="connsiteY280" fmla="*/ 5154988 h 7305087"/>
              <a:gd name="connsiteX281" fmla="*/ 2476168 w 8266922"/>
              <a:gd name="connsiteY281" fmla="*/ 5213228 h 7305087"/>
              <a:gd name="connsiteX282" fmla="*/ 2478189 w 8266922"/>
              <a:gd name="connsiteY282" fmla="*/ 5268855 h 7305087"/>
              <a:gd name="connsiteX283" fmla="*/ 2481827 w 8266922"/>
              <a:gd name="connsiteY283" fmla="*/ 5321750 h 7305087"/>
              <a:gd name="connsiteX284" fmla="*/ 2487296 w 8266922"/>
              <a:gd name="connsiteY284" fmla="*/ 5371794 h 7305087"/>
              <a:gd name="connsiteX285" fmla="*/ 2494816 w 8266922"/>
              <a:gd name="connsiteY285" fmla="*/ 5418871 h 7305087"/>
              <a:gd name="connsiteX286" fmla="*/ 2504605 w 8266922"/>
              <a:gd name="connsiteY286" fmla="*/ 5462861 h 7305087"/>
              <a:gd name="connsiteX287" fmla="*/ 2516882 w 8266922"/>
              <a:gd name="connsiteY287" fmla="*/ 5503645 h 7305087"/>
              <a:gd name="connsiteX288" fmla="*/ 2531865 w 8266922"/>
              <a:gd name="connsiteY288" fmla="*/ 5541107 h 7305087"/>
              <a:gd name="connsiteX289" fmla="*/ 2549770 w 8266922"/>
              <a:gd name="connsiteY289" fmla="*/ 5575128 h 7305087"/>
              <a:gd name="connsiteX290" fmla="*/ 2595224 w 8266922"/>
              <a:gd name="connsiteY290" fmla="*/ 5632372 h 7305087"/>
              <a:gd name="connsiteX291" fmla="*/ 2654990 w 8266922"/>
              <a:gd name="connsiteY291" fmla="*/ 5674432 h 7305087"/>
              <a:gd name="connsiteX292" fmla="*/ 2690785 w 8266922"/>
              <a:gd name="connsiteY292" fmla="*/ 5689472 h 7305087"/>
              <a:gd name="connsiteX293" fmla="*/ 2730814 w 8266922"/>
              <a:gd name="connsiteY293" fmla="*/ 5700361 h 7305087"/>
              <a:gd name="connsiteX294" fmla="*/ 2775291 w 8266922"/>
              <a:gd name="connsiteY294" fmla="*/ 5706982 h 7305087"/>
              <a:gd name="connsiteX295" fmla="*/ 2824439 w 8266922"/>
              <a:gd name="connsiteY295" fmla="*/ 5709215 h 7305087"/>
              <a:gd name="connsiteX296" fmla="*/ 2824439 w 8266922"/>
              <a:gd name="connsiteY296" fmla="*/ 5806038 h 7305087"/>
              <a:gd name="connsiteX297" fmla="*/ 2770915 w 8266922"/>
              <a:gd name="connsiteY297" fmla="*/ 5804149 h 7305087"/>
              <a:gd name="connsiteX298" fmla="*/ 2721436 w 8266922"/>
              <a:gd name="connsiteY298" fmla="*/ 5798536 h 7305087"/>
              <a:gd name="connsiteX299" fmla="*/ 2675855 w 8266922"/>
              <a:gd name="connsiteY299" fmla="*/ 5789282 h 7305087"/>
              <a:gd name="connsiteX300" fmla="*/ 2634037 w 8266922"/>
              <a:gd name="connsiteY300" fmla="*/ 5776470 h 7305087"/>
              <a:gd name="connsiteX301" fmla="*/ 2595840 w 8266922"/>
              <a:gd name="connsiteY301" fmla="*/ 5760183 h 7305087"/>
              <a:gd name="connsiteX302" fmla="*/ 2561122 w 8266922"/>
              <a:gd name="connsiteY302" fmla="*/ 5740502 h 7305087"/>
              <a:gd name="connsiteX303" fmla="*/ 2529747 w 8266922"/>
              <a:gd name="connsiteY303" fmla="*/ 5717511 h 7305087"/>
              <a:gd name="connsiteX304" fmla="*/ 2501571 w 8266922"/>
              <a:gd name="connsiteY304" fmla="*/ 5691293 h 7305087"/>
              <a:gd name="connsiteX305" fmla="*/ 2476454 w 8266922"/>
              <a:gd name="connsiteY305" fmla="*/ 5661929 h 7305087"/>
              <a:gd name="connsiteX306" fmla="*/ 2454257 w 8266922"/>
              <a:gd name="connsiteY306" fmla="*/ 5629503 h 7305087"/>
              <a:gd name="connsiteX307" fmla="*/ 2434840 w 8266922"/>
              <a:gd name="connsiteY307" fmla="*/ 5594097 h 7305087"/>
              <a:gd name="connsiteX308" fmla="*/ 2418062 w 8266922"/>
              <a:gd name="connsiteY308" fmla="*/ 5555794 h 7305087"/>
              <a:gd name="connsiteX309" fmla="*/ 2403783 w 8266922"/>
              <a:gd name="connsiteY309" fmla="*/ 5514676 h 7305087"/>
              <a:gd name="connsiteX310" fmla="*/ 2391863 w 8266922"/>
              <a:gd name="connsiteY310" fmla="*/ 5470827 h 7305087"/>
              <a:gd name="connsiteX311" fmla="*/ 2382162 w 8266922"/>
              <a:gd name="connsiteY311" fmla="*/ 5424328 h 7305087"/>
              <a:gd name="connsiteX312" fmla="*/ 2374539 w 8266922"/>
              <a:gd name="connsiteY312" fmla="*/ 5375263 h 7305087"/>
              <a:gd name="connsiteX313" fmla="*/ 2368854 w 8266922"/>
              <a:gd name="connsiteY313" fmla="*/ 5323713 h 7305087"/>
              <a:gd name="connsiteX314" fmla="*/ 2364967 w 8266922"/>
              <a:gd name="connsiteY314" fmla="*/ 5269763 h 7305087"/>
              <a:gd name="connsiteX315" fmla="*/ 2362736 w 8266922"/>
              <a:gd name="connsiteY315" fmla="*/ 5213493 h 7305087"/>
              <a:gd name="connsiteX316" fmla="*/ 2362026 w 8266922"/>
              <a:gd name="connsiteY316" fmla="*/ 5154988 h 7305087"/>
              <a:gd name="connsiteX317" fmla="*/ 2362760 w 8266922"/>
              <a:gd name="connsiteY317" fmla="*/ 5096732 h 7305087"/>
              <a:gd name="connsiteX318" fmla="*/ 2365057 w 8266922"/>
              <a:gd name="connsiteY318" fmla="*/ 5040712 h 7305087"/>
              <a:gd name="connsiteX319" fmla="*/ 2369046 w 8266922"/>
              <a:gd name="connsiteY319" fmla="*/ 4987008 h 7305087"/>
              <a:gd name="connsiteX320" fmla="*/ 2374859 w 8266922"/>
              <a:gd name="connsiteY320" fmla="*/ 4935701 h 7305087"/>
              <a:gd name="connsiteX321" fmla="*/ 2382632 w 8266922"/>
              <a:gd name="connsiteY321" fmla="*/ 4886873 h 7305087"/>
              <a:gd name="connsiteX322" fmla="*/ 2392495 w 8266922"/>
              <a:gd name="connsiteY322" fmla="*/ 4840605 h 7305087"/>
              <a:gd name="connsiteX323" fmla="*/ 2404581 w 8266922"/>
              <a:gd name="connsiteY323" fmla="*/ 4796980 h 7305087"/>
              <a:gd name="connsiteX324" fmla="*/ 2419024 w 8266922"/>
              <a:gd name="connsiteY324" fmla="*/ 4756077 h 7305087"/>
              <a:gd name="connsiteX325" fmla="*/ 2435956 w 8266922"/>
              <a:gd name="connsiteY325" fmla="*/ 4717980 h 7305087"/>
              <a:gd name="connsiteX326" fmla="*/ 2455509 w 8266922"/>
              <a:gd name="connsiteY326" fmla="*/ 4682768 h 7305087"/>
              <a:gd name="connsiteX327" fmla="*/ 2477817 w 8266922"/>
              <a:gd name="connsiteY327" fmla="*/ 4650523 h 7305087"/>
              <a:gd name="connsiteX328" fmla="*/ 2503013 w 8266922"/>
              <a:gd name="connsiteY328" fmla="*/ 4621327 h 7305087"/>
              <a:gd name="connsiteX329" fmla="*/ 2531228 w 8266922"/>
              <a:gd name="connsiteY329" fmla="*/ 4595261 h 7305087"/>
              <a:gd name="connsiteX330" fmla="*/ 2562596 w 8266922"/>
              <a:gd name="connsiteY330" fmla="*/ 4572406 h 7305087"/>
              <a:gd name="connsiteX331" fmla="*/ 2597248 w 8266922"/>
              <a:gd name="connsiteY331" fmla="*/ 4552845 h 7305087"/>
              <a:gd name="connsiteX332" fmla="*/ 2635318 w 8266922"/>
              <a:gd name="connsiteY332" fmla="*/ 4536657 h 7305087"/>
              <a:gd name="connsiteX333" fmla="*/ 2676942 w 8266922"/>
              <a:gd name="connsiteY333" fmla="*/ 4523925 h 7305087"/>
              <a:gd name="connsiteX334" fmla="*/ 2722247 w 8266922"/>
              <a:gd name="connsiteY334" fmla="*/ 4514730 h 7305087"/>
              <a:gd name="connsiteX335" fmla="*/ 2771367 w 8266922"/>
              <a:gd name="connsiteY335" fmla="*/ 4509153 h 7305087"/>
              <a:gd name="connsiteX336" fmla="*/ 2506783 w 8266922"/>
              <a:gd name="connsiteY336" fmla="*/ 4026496 h 7305087"/>
              <a:gd name="connsiteX337" fmla="*/ 2549012 w 8266922"/>
              <a:gd name="connsiteY337" fmla="*/ 4030174 h 7305087"/>
              <a:gd name="connsiteX338" fmla="*/ 2581695 w 8266922"/>
              <a:gd name="connsiteY338" fmla="*/ 4043398 h 7305087"/>
              <a:gd name="connsiteX339" fmla="*/ 2602796 w 8266922"/>
              <a:gd name="connsiteY339" fmla="*/ 4069456 h 7305087"/>
              <a:gd name="connsiteX340" fmla="*/ 2610283 w 8266922"/>
              <a:gd name="connsiteY340" fmla="*/ 4111633 h 7305087"/>
              <a:gd name="connsiteX341" fmla="*/ 2602796 w 8266922"/>
              <a:gd name="connsiteY341" fmla="*/ 4155741 h 7305087"/>
              <a:gd name="connsiteX342" fmla="*/ 2581695 w 8266922"/>
              <a:gd name="connsiteY342" fmla="*/ 4182790 h 7305087"/>
              <a:gd name="connsiteX343" fmla="*/ 2549012 w 8266922"/>
              <a:gd name="connsiteY343" fmla="*/ 4196380 h 7305087"/>
              <a:gd name="connsiteX344" fmla="*/ 2506783 w 8266922"/>
              <a:gd name="connsiteY344" fmla="*/ 4200110 h 7305087"/>
              <a:gd name="connsiteX345" fmla="*/ 2464554 w 8266922"/>
              <a:gd name="connsiteY345" fmla="*/ 4196380 h 7305087"/>
              <a:gd name="connsiteX346" fmla="*/ 2431870 w 8266922"/>
              <a:gd name="connsiteY346" fmla="*/ 4182790 h 7305087"/>
              <a:gd name="connsiteX347" fmla="*/ 2410769 w 8266922"/>
              <a:gd name="connsiteY347" fmla="*/ 4155741 h 7305087"/>
              <a:gd name="connsiteX348" fmla="*/ 2403283 w 8266922"/>
              <a:gd name="connsiteY348" fmla="*/ 4111633 h 7305087"/>
              <a:gd name="connsiteX349" fmla="*/ 2411003 w 8266922"/>
              <a:gd name="connsiteY349" fmla="*/ 4069456 h 7305087"/>
              <a:gd name="connsiteX350" fmla="*/ 2432496 w 8266922"/>
              <a:gd name="connsiteY350" fmla="*/ 4043398 h 7305087"/>
              <a:gd name="connsiteX351" fmla="*/ 2465257 w 8266922"/>
              <a:gd name="connsiteY351" fmla="*/ 4030174 h 7305087"/>
              <a:gd name="connsiteX352" fmla="*/ 2506783 w 8266922"/>
              <a:gd name="connsiteY352" fmla="*/ 3325365 h 7305087"/>
              <a:gd name="connsiteX353" fmla="*/ 2549012 w 8266922"/>
              <a:gd name="connsiteY353" fmla="*/ 3328834 h 7305087"/>
              <a:gd name="connsiteX354" fmla="*/ 2581695 w 8266922"/>
              <a:gd name="connsiteY354" fmla="*/ 3341849 h 7305087"/>
              <a:gd name="connsiteX355" fmla="*/ 2602796 w 8266922"/>
              <a:gd name="connsiteY355" fmla="*/ 3368324 h 7305087"/>
              <a:gd name="connsiteX356" fmla="*/ 2610283 w 8266922"/>
              <a:gd name="connsiteY356" fmla="*/ 3412171 h 7305087"/>
              <a:gd name="connsiteX357" fmla="*/ 2602796 w 8266922"/>
              <a:gd name="connsiteY357" fmla="*/ 3454609 h 7305087"/>
              <a:gd name="connsiteX358" fmla="*/ 2581695 w 8266922"/>
              <a:gd name="connsiteY358" fmla="*/ 3481240 h 7305087"/>
              <a:gd name="connsiteX359" fmla="*/ 2549012 w 8266922"/>
              <a:gd name="connsiteY359" fmla="*/ 3495038 h 7305087"/>
              <a:gd name="connsiteX360" fmla="*/ 2506783 w 8266922"/>
              <a:gd name="connsiteY360" fmla="*/ 3498977 h 7305087"/>
              <a:gd name="connsiteX361" fmla="*/ 2465519 w 8266922"/>
              <a:gd name="connsiteY361" fmla="*/ 3495038 h 7305087"/>
              <a:gd name="connsiteX362" fmla="*/ 2433331 w 8266922"/>
              <a:gd name="connsiteY362" fmla="*/ 3481240 h 7305087"/>
              <a:gd name="connsiteX363" fmla="*/ 2412411 w 8266922"/>
              <a:gd name="connsiteY363" fmla="*/ 3454609 h 7305087"/>
              <a:gd name="connsiteX364" fmla="*/ 2404952 w 8266922"/>
              <a:gd name="connsiteY364" fmla="*/ 3412171 h 7305087"/>
              <a:gd name="connsiteX365" fmla="*/ 2412411 w 8266922"/>
              <a:gd name="connsiteY365" fmla="*/ 3368324 h 7305087"/>
              <a:gd name="connsiteX366" fmla="*/ 2433331 w 8266922"/>
              <a:gd name="connsiteY366" fmla="*/ 3341849 h 7305087"/>
              <a:gd name="connsiteX367" fmla="*/ 2465519 w 8266922"/>
              <a:gd name="connsiteY367" fmla="*/ 3328834 h 7305087"/>
              <a:gd name="connsiteX368" fmla="*/ 3576931 w 8266922"/>
              <a:gd name="connsiteY368" fmla="*/ 3011218 h 7305087"/>
              <a:gd name="connsiteX369" fmla="*/ 3950858 w 8266922"/>
              <a:gd name="connsiteY369" fmla="*/ 3011218 h 7305087"/>
              <a:gd name="connsiteX370" fmla="*/ 3950858 w 8266922"/>
              <a:gd name="connsiteY370" fmla="*/ 3106468 h 7305087"/>
              <a:gd name="connsiteX371" fmla="*/ 3950858 w 8266922"/>
              <a:gd name="connsiteY371" fmla="*/ 4205018 h 7305087"/>
              <a:gd name="connsiteX372" fmla="*/ 3950858 w 8266922"/>
              <a:gd name="connsiteY372" fmla="*/ 4300268 h 7305087"/>
              <a:gd name="connsiteX373" fmla="*/ 3576931 w 8266922"/>
              <a:gd name="connsiteY373" fmla="*/ 4300268 h 7305087"/>
              <a:gd name="connsiteX374" fmla="*/ 3576931 w 8266922"/>
              <a:gd name="connsiteY374" fmla="*/ 4205018 h 7305087"/>
              <a:gd name="connsiteX375" fmla="*/ 3835681 w 8266922"/>
              <a:gd name="connsiteY375" fmla="*/ 4205018 h 7305087"/>
              <a:gd name="connsiteX376" fmla="*/ 3835681 w 8266922"/>
              <a:gd name="connsiteY376" fmla="*/ 3106468 h 7305087"/>
              <a:gd name="connsiteX377" fmla="*/ 3576931 w 8266922"/>
              <a:gd name="connsiteY377" fmla="*/ 3106468 h 7305087"/>
              <a:gd name="connsiteX378" fmla="*/ 1487809 w 8266922"/>
              <a:gd name="connsiteY378" fmla="*/ 3011218 h 7305087"/>
              <a:gd name="connsiteX379" fmla="*/ 1861748 w 8266922"/>
              <a:gd name="connsiteY379" fmla="*/ 3011218 h 7305087"/>
              <a:gd name="connsiteX380" fmla="*/ 1861748 w 8266922"/>
              <a:gd name="connsiteY380" fmla="*/ 3106468 h 7305087"/>
              <a:gd name="connsiteX381" fmla="*/ 1602998 w 8266922"/>
              <a:gd name="connsiteY381" fmla="*/ 3106468 h 7305087"/>
              <a:gd name="connsiteX382" fmla="*/ 1602998 w 8266922"/>
              <a:gd name="connsiteY382" fmla="*/ 4205018 h 7305087"/>
              <a:gd name="connsiteX383" fmla="*/ 1861748 w 8266922"/>
              <a:gd name="connsiteY383" fmla="*/ 4205018 h 7305087"/>
              <a:gd name="connsiteX384" fmla="*/ 1861748 w 8266922"/>
              <a:gd name="connsiteY384" fmla="*/ 4300268 h 7305087"/>
              <a:gd name="connsiteX385" fmla="*/ 1487809 w 8266922"/>
              <a:gd name="connsiteY385" fmla="*/ 4300268 h 7305087"/>
              <a:gd name="connsiteX386" fmla="*/ 1487809 w 8266922"/>
              <a:gd name="connsiteY386" fmla="*/ 4205018 h 7305087"/>
              <a:gd name="connsiteX387" fmla="*/ 1487809 w 8266922"/>
              <a:gd name="connsiteY387" fmla="*/ 3106468 h 7305087"/>
              <a:gd name="connsiteX388" fmla="*/ 7212302 w 8266922"/>
              <a:gd name="connsiteY388" fmla="*/ 3004847 h 7305087"/>
              <a:gd name="connsiteX389" fmla="*/ 7265372 w 8266922"/>
              <a:gd name="connsiteY389" fmla="*/ 3006723 h 7305087"/>
              <a:gd name="connsiteX390" fmla="*/ 7314493 w 8266922"/>
              <a:gd name="connsiteY390" fmla="*/ 3012300 h 7305087"/>
              <a:gd name="connsiteX391" fmla="*/ 7359798 w 8266922"/>
              <a:gd name="connsiteY391" fmla="*/ 3021495 h 7305087"/>
              <a:gd name="connsiteX392" fmla="*/ 7401420 w 8266922"/>
              <a:gd name="connsiteY392" fmla="*/ 3034227 h 7305087"/>
              <a:gd name="connsiteX393" fmla="*/ 7439491 w 8266922"/>
              <a:gd name="connsiteY393" fmla="*/ 3050415 h 7305087"/>
              <a:gd name="connsiteX394" fmla="*/ 7474144 w 8266922"/>
              <a:gd name="connsiteY394" fmla="*/ 3069977 h 7305087"/>
              <a:gd name="connsiteX395" fmla="*/ 7505511 w 8266922"/>
              <a:gd name="connsiteY395" fmla="*/ 3092831 h 7305087"/>
              <a:gd name="connsiteX396" fmla="*/ 7533726 w 8266922"/>
              <a:gd name="connsiteY396" fmla="*/ 3118897 h 7305087"/>
              <a:gd name="connsiteX397" fmla="*/ 7558922 w 8266922"/>
              <a:gd name="connsiteY397" fmla="*/ 3148093 h 7305087"/>
              <a:gd name="connsiteX398" fmla="*/ 7581230 w 8266922"/>
              <a:gd name="connsiteY398" fmla="*/ 3180338 h 7305087"/>
              <a:gd name="connsiteX399" fmla="*/ 7600783 w 8266922"/>
              <a:gd name="connsiteY399" fmla="*/ 3215550 h 7305087"/>
              <a:gd name="connsiteX400" fmla="*/ 7617715 w 8266922"/>
              <a:gd name="connsiteY400" fmla="*/ 3253648 h 7305087"/>
              <a:gd name="connsiteX401" fmla="*/ 7632158 w 8266922"/>
              <a:gd name="connsiteY401" fmla="*/ 3294551 h 7305087"/>
              <a:gd name="connsiteX402" fmla="*/ 7644245 w 8266922"/>
              <a:gd name="connsiteY402" fmla="*/ 3338176 h 7305087"/>
              <a:gd name="connsiteX403" fmla="*/ 7654108 w 8266922"/>
              <a:gd name="connsiteY403" fmla="*/ 3384443 h 7305087"/>
              <a:gd name="connsiteX404" fmla="*/ 7661880 w 8266922"/>
              <a:gd name="connsiteY404" fmla="*/ 3433271 h 7305087"/>
              <a:gd name="connsiteX405" fmla="*/ 7667694 w 8266922"/>
              <a:gd name="connsiteY405" fmla="*/ 3484578 h 7305087"/>
              <a:gd name="connsiteX406" fmla="*/ 7671682 w 8266922"/>
              <a:gd name="connsiteY406" fmla="*/ 3538282 h 7305087"/>
              <a:gd name="connsiteX407" fmla="*/ 7673978 w 8266922"/>
              <a:gd name="connsiteY407" fmla="*/ 3594302 h 7305087"/>
              <a:gd name="connsiteX408" fmla="*/ 7674714 w 8266922"/>
              <a:gd name="connsiteY408" fmla="*/ 3652558 h 7305087"/>
              <a:gd name="connsiteX409" fmla="*/ 7674014 w 8266922"/>
              <a:gd name="connsiteY409" fmla="*/ 3711063 h 7305087"/>
              <a:gd name="connsiteX410" fmla="*/ 7671817 w 8266922"/>
              <a:gd name="connsiteY410" fmla="*/ 3767333 h 7305087"/>
              <a:gd name="connsiteX411" fmla="*/ 7667981 w 8266922"/>
              <a:gd name="connsiteY411" fmla="*/ 3821283 h 7305087"/>
              <a:gd name="connsiteX412" fmla="*/ 7662360 w 8266922"/>
              <a:gd name="connsiteY412" fmla="*/ 3872833 h 7305087"/>
              <a:gd name="connsiteX413" fmla="*/ 7654812 w 8266922"/>
              <a:gd name="connsiteY413" fmla="*/ 3921898 h 7305087"/>
              <a:gd name="connsiteX414" fmla="*/ 7645191 w 8266922"/>
              <a:gd name="connsiteY414" fmla="*/ 3968397 h 7305087"/>
              <a:gd name="connsiteX415" fmla="*/ 7633354 w 8266922"/>
              <a:gd name="connsiteY415" fmla="*/ 4012246 h 7305087"/>
              <a:gd name="connsiteX416" fmla="*/ 7619157 w 8266922"/>
              <a:gd name="connsiteY416" fmla="*/ 4053364 h 7305087"/>
              <a:gd name="connsiteX417" fmla="*/ 7602457 w 8266922"/>
              <a:gd name="connsiteY417" fmla="*/ 4091667 h 7305087"/>
              <a:gd name="connsiteX418" fmla="*/ 7583108 w 8266922"/>
              <a:gd name="connsiteY418" fmla="*/ 4127073 h 7305087"/>
              <a:gd name="connsiteX419" fmla="*/ 7560967 w 8266922"/>
              <a:gd name="connsiteY419" fmla="*/ 4159499 h 7305087"/>
              <a:gd name="connsiteX420" fmla="*/ 7535890 w 8266922"/>
              <a:gd name="connsiteY420" fmla="*/ 4188862 h 7305087"/>
              <a:gd name="connsiteX421" fmla="*/ 7507733 w 8266922"/>
              <a:gd name="connsiteY421" fmla="*/ 4215081 h 7305087"/>
              <a:gd name="connsiteX422" fmla="*/ 7476352 w 8266922"/>
              <a:gd name="connsiteY422" fmla="*/ 4238071 h 7305087"/>
              <a:gd name="connsiteX423" fmla="*/ 7441604 w 8266922"/>
              <a:gd name="connsiteY423" fmla="*/ 4257752 h 7305087"/>
              <a:gd name="connsiteX424" fmla="*/ 7403343 w 8266922"/>
              <a:gd name="connsiteY424" fmla="*/ 4274039 h 7305087"/>
              <a:gd name="connsiteX425" fmla="*/ 7361426 w 8266922"/>
              <a:gd name="connsiteY425" fmla="*/ 4286851 h 7305087"/>
              <a:gd name="connsiteX426" fmla="*/ 7315710 w 8266922"/>
              <a:gd name="connsiteY426" fmla="*/ 4296105 h 7305087"/>
              <a:gd name="connsiteX427" fmla="*/ 7266050 w 8266922"/>
              <a:gd name="connsiteY427" fmla="*/ 4301718 h 7305087"/>
              <a:gd name="connsiteX428" fmla="*/ 7212302 w 8266922"/>
              <a:gd name="connsiteY428" fmla="*/ 4303607 h 7305087"/>
              <a:gd name="connsiteX429" fmla="*/ 7212302 w 8266922"/>
              <a:gd name="connsiteY429" fmla="*/ 4206785 h 7305087"/>
              <a:gd name="connsiteX430" fmla="*/ 7261987 w 8266922"/>
              <a:gd name="connsiteY430" fmla="*/ 4204552 h 7305087"/>
              <a:gd name="connsiteX431" fmla="*/ 7306907 w 8266922"/>
              <a:gd name="connsiteY431" fmla="*/ 4197931 h 7305087"/>
              <a:gd name="connsiteX432" fmla="*/ 7347290 w 8266922"/>
              <a:gd name="connsiteY432" fmla="*/ 4187042 h 7305087"/>
              <a:gd name="connsiteX433" fmla="*/ 7383361 w 8266922"/>
              <a:gd name="connsiteY433" fmla="*/ 4172002 h 7305087"/>
              <a:gd name="connsiteX434" fmla="*/ 7443472 w 8266922"/>
              <a:gd name="connsiteY434" fmla="*/ 4129942 h 7305087"/>
              <a:gd name="connsiteX435" fmla="*/ 7489051 w 8266922"/>
              <a:gd name="connsiteY435" fmla="*/ 4072698 h 7305087"/>
              <a:gd name="connsiteX436" fmla="*/ 7506957 w 8266922"/>
              <a:gd name="connsiteY436" fmla="*/ 4038677 h 7305087"/>
              <a:gd name="connsiteX437" fmla="*/ 7521909 w 8266922"/>
              <a:gd name="connsiteY437" fmla="*/ 4001216 h 7305087"/>
              <a:gd name="connsiteX438" fmla="*/ 7534133 w 8266922"/>
              <a:gd name="connsiteY438" fmla="*/ 3960431 h 7305087"/>
              <a:gd name="connsiteX439" fmla="*/ 7543856 w 8266922"/>
              <a:gd name="connsiteY439" fmla="*/ 3916441 h 7305087"/>
              <a:gd name="connsiteX440" fmla="*/ 7551303 w 8266922"/>
              <a:gd name="connsiteY440" fmla="*/ 3869364 h 7305087"/>
              <a:gd name="connsiteX441" fmla="*/ 7556702 w 8266922"/>
              <a:gd name="connsiteY441" fmla="*/ 3819320 h 7305087"/>
              <a:gd name="connsiteX442" fmla="*/ 7560278 w 8266922"/>
              <a:gd name="connsiteY442" fmla="*/ 3766425 h 7305087"/>
              <a:gd name="connsiteX443" fmla="*/ 7562257 w 8266922"/>
              <a:gd name="connsiteY443" fmla="*/ 3710798 h 7305087"/>
              <a:gd name="connsiteX444" fmla="*/ 7562867 w 8266922"/>
              <a:gd name="connsiteY444" fmla="*/ 3652558 h 7305087"/>
              <a:gd name="connsiteX445" fmla="*/ 7562225 w 8266922"/>
              <a:gd name="connsiteY445" fmla="*/ 3594889 h 7305087"/>
              <a:gd name="connsiteX446" fmla="*/ 7560155 w 8266922"/>
              <a:gd name="connsiteY446" fmla="*/ 3539800 h 7305087"/>
              <a:gd name="connsiteX447" fmla="*/ 7556445 w 8266922"/>
              <a:gd name="connsiteY447" fmla="*/ 3487407 h 7305087"/>
              <a:gd name="connsiteX448" fmla="*/ 7550879 w 8266922"/>
              <a:gd name="connsiteY448" fmla="*/ 3437831 h 7305087"/>
              <a:gd name="connsiteX449" fmla="*/ 7543244 w 8266922"/>
              <a:gd name="connsiteY449" fmla="*/ 3391187 h 7305087"/>
              <a:gd name="connsiteX450" fmla="*/ 7533326 w 8266922"/>
              <a:gd name="connsiteY450" fmla="*/ 3347596 h 7305087"/>
              <a:gd name="connsiteX451" fmla="*/ 7520910 w 8266922"/>
              <a:gd name="connsiteY451" fmla="*/ 3307175 h 7305087"/>
              <a:gd name="connsiteX452" fmla="*/ 7505783 w 8266922"/>
              <a:gd name="connsiteY452" fmla="*/ 3270043 h 7305087"/>
              <a:gd name="connsiteX453" fmla="*/ 7487730 w 8266922"/>
              <a:gd name="connsiteY453" fmla="*/ 3236317 h 7305087"/>
              <a:gd name="connsiteX454" fmla="*/ 7441992 w 8266922"/>
              <a:gd name="connsiteY454" fmla="*/ 3179558 h 7305087"/>
              <a:gd name="connsiteX455" fmla="*/ 7381983 w 8266922"/>
              <a:gd name="connsiteY455" fmla="*/ 3137845 h 7305087"/>
              <a:gd name="connsiteX456" fmla="*/ 7346091 w 8266922"/>
              <a:gd name="connsiteY456" fmla="*/ 3122926 h 7305087"/>
              <a:gd name="connsiteX457" fmla="*/ 7305990 w 8266922"/>
              <a:gd name="connsiteY457" fmla="*/ 3112123 h 7305087"/>
              <a:gd name="connsiteX458" fmla="*/ 7261465 w 8266922"/>
              <a:gd name="connsiteY458" fmla="*/ 3105555 h 7305087"/>
              <a:gd name="connsiteX459" fmla="*/ 7212302 w 8266922"/>
              <a:gd name="connsiteY459" fmla="*/ 3103339 h 7305087"/>
              <a:gd name="connsiteX460" fmla="*/ 6695380 w 8266922"/>
              <a:gd name="connsiteY460" fmla="*/ 3004847 h 7305087"/>
              <a:gd name="connsiteX461" fmla="*/ 6695380 w 8266922"/>
              <a:gd name="connsiteY461" fmla="*/ 3103339 h 7305087"/>
              <a:gd name="connsiteX462" fmla="*/ 6646494 w 8266922"/>
              <a:gd name="connsiteY462" fmla="*/ 3105555 h 7305087"/>
              <a:gd name="connsiteX463" fmla="*/ 6602213 w 8266922"/>
              <a:gd name="connsiteY463" fmla="*/ 3112123 h 7305087"/>
              <a:gd name="connsiteX464" fmla="*/ 6562327 w 8266922"/>
              <a:gd name="connsiteY464" fmla="*/ 3122926 h 7305087"/>
              <a:gd name="connsiteX465" fmla="*/ 6526621 w 8266922"/>
              <a:gd name="connsiteY465" fmla="*/ 3137845 h 7305087"/>
              <a:gd name="connsiteX466" fmla="*/ 6466906 w 8266922"/>
              <a:gd name="connsiteY466" fmla="*/ 3179558 h 7305087"/>
              <a:gd name="connsiteX467" fmla="*/ 6421372 w 8266922"/>
              <a:gd name="connsiteY467" fmla="*/ 3236317 h 7305087"/>
              <a:gd name="connsiteX468" fmla="*/ 6403393 w 8266922"/>
              <a:gd name="connsiteY468" fmla="*/ 3270043 h 7305087"/>
              <a:gd name="connsiteX469" fmla="*/ 6388323 w 8266922"/>
              <a:gd name="connsiteY469" fmla="*/ 3307175 h 7305087"/>
              <a:gd name="connsiteX470" fmla="*/ 6375951 w 8266922"/>
              <a:gd name="connsiteY470" fmla="*/ 3347596 h 7305087"/>
              <a:gd name="connsiteX471" fmla="*/ 6366063 w 8266922"/>
              <a:gd name="connsiteY471" fmla="*/ 3391187 h 7305087"/>
              <a:gd name="connsiteX472" fmla="*/ 6358449 w 8266922"/>
              <a:gd name="connsiteY472" fmla="*/ 3437831 h 7305087"/>
              <a:gd name="connsiteX473" fmla="*/ 6352896 w 8266922"/>
              <a:gd name="connsiteY473" fmla="*/ 3487407 h 7305087"/>
              <a:gd name="connsiteX474" fmla="*/ 6349192 w 8266922"/>
              <a:gd name="connsiteY474" fmla="*/ 3539800 h 7305087"/>
              <a:gd name="connsiteX475" fmla="*/ 6347125 w 8266922"/>
              <a:gd name="connsiteY475" fmla="*/ 3594889 h 7305087"/>
              <a:gd name="connsiteX476" fmla="*/ 6346483 w 8266922"/>
              <a:gd name="connsiteY476" fmla="*/ 3652558 h 7305087"/>
              <a:gd name="connsiteX477" fmla="*/ 6347109 w 8266922"/>
              <a:gd name="connsiteY477" fmla="*/ 3710798 h 7305087"/>
              <a:gd name="connsiteX478" fmla="*/ 6349131 w 8266922"/>
              <a:gd name="connsiteY478" fmla="*/ 3766425 h 7305087"/>
              <a:gd name="connsiteX479" fmla="*/ 6352768 w 8266922"/>
              <a:gd name="connsiteY479" fmla="*/ 3819320 h 7305087"/>
              <a:gd name="connsiteX480" fmla="*/ 6358237 w 8266922"/>
              <a:gd name="connsiteY480" fmla="*/ 3869364 h 7305087"/>
              <a:gd name="connsiteX481" fmla="*/ 6365758 w 8266922"/>
              <a:gd name="connsiteY481" fmla="*/ 3916441 h 7305087"/>
              <a:gd name="connsiteX482" fmla="*/ 6375547 w 8266922"/>
              <a:gd name="connsiteY482" fmla="*/ 3960431 h 7305087"/>
              <a:gd name="connsiteX483" fmla="*/ 6387824 w 8266922"/>
              <a:gd name="connsiteY483" fmla="*/ 4001216 h 7305087"/>
              <a:gd name="connsiteX484" fmla="*/ 6402806 w 8266922"/>
              <a:gd name="connsiteY484" fmla="*/ 4038677 h 7305087"/>
              <a:gd name="connsiteX485" fmla="*/ 6420712 w 8266922"/>
              <a:gd name="connsiteY485" fmla="*/ 4072698 h 7305087"/>
              <a:gd name="connsiteX486" fmla="*/ 6466166 w 8266922"/>
              <a:gd name="connsiteY486" fmla="*/ 4129942 h 7305087"/>
              <a:gd name="connsiteX487" fmla="*/ 6525932 w 8266922"/>
              <a:gd name="connsiteY487" fmla="*/ 4172002 h 7305087"/>
              <a:gd name="connsiteX488" fmla="*/ 6561727 w 8266922"/>
              <a:gd name="connsiteY488" fmla="*/ 4187042 h 7305087"/>
              <a:gd name="connsiteX489" fmla="*/ 6601755 w 8266922"/>
              <a:gd name="connsiteY489" fmla="*/ 4197931 h 7305087"/>
              <a:gd name="connsiteX490" fmla="*/ 6646233 w 8266922"/>
              <a:gd name="connsiteY490" fmla="*/ 4204552 h 7305087"/>
              <a:gd name="connsiteX491" fmla="*/ 6695380 w 8266922"/>
              <a:gd name="connsiteY491" fmla="*/ 4206785 h 7305087"/>
              <a:gd name="connsiteX492" fmla="*/ 6695380 w 8266922"/>
              <a:gd name="connsiteY492" fmla="*/ 4303607 h 7305087"/>
              <a:gd name="connsiteX493" fmla="*/ 6641857 w 8266922"/>
              <a:gd name="connsiteY493" fmla="*/ 4301718 h 7305087"/>
              <a:gd name="connsiteX494" fmla="*/ 6592377 w 8266922"/>
              <a:gd name="connsiteY494" fmla="*/ 4296105 h 7305087"/>
              <a:gd name="connsiteX495" fmla="*/ 6546797 w 8266922"/>
              <a:gd name="connsiteY495" fmla="*/ 4286851 h 7305087"/>
              <a:gd name="connsiteX496" fmla="*/ 6504979 w 8266922"/>
              <a:gd name="connsiteY496" fmla="*/ 4274039 h 7305087"/>
              <a:gd name="connsiteX497" fmla="*/ 6466782 w 8266922"/>
              <a:gd name="connsiteY497" fmla="*/ 4257752 h 7305087"/>
              <a:gd name="connsiteX498" fmla="*/ 6432065 w 8266922"/>
              <a:gd name="connsiteY498" fmla="*/ 4238071 h 7305087"/>
              <a:gd name="connsiteX499" fmla="*/ 6400688 w 8266922"/>
              <a:gd name="connsiteY499" fmla="*/ 4215081 h 7305087"/>
              <a:gd name="connsiteX500" fmla="*/ 6372512 w 8266922"/>
              <a:gd name="connsiteY500" fmla="*/ 4188862 h 7305087"/>
              <a:gd name="connsiteX501" fmla="*/ 6347396 w 8266922"/>
              <a:gd name="connsiteY501" fmla="*/ 4159499 h 7305087"/>
              <a:gd name="connsiteX502" fmla="*/ 6325199 w 8266922"/>
              <a:gd name="connsiteY502" fmla="*/ 4127073 h 7305087"/>
              <a:gd name="connsiteX503" fmla="*/ 6305782 w 8266922"/>
              <a:gd name="connsiteY503" fmla="*/ 4091667 h 7305087"/>
              <a:gd name="connsiteX504" fmla="*/ 6289004 w 8266922"/>
              <a:gd name="connsiteY504" fmla="*/ 4053364 h 7305087"/>
              <a:gd name="connsiteX505" fmla="*/ 6274725 w 8266922"/>
              <a:gd name="connsiteY505" fmla="*/ 4012246 h 7305087"/>
              <a:gd name="connsiteX506" fmla="*/ 6262805 w 8266922"/>
              <a:gd name="connsiteY506" fmla="*/ 3968397 h 7305087"/>
              <a:gd name="connsiteX507" fmla="*/ 6253104 w 8266922"/>
              <a:gd name="connsiteY507" fmla="*/ 3921898 h 7305087"/>
              <a:gd name="connsiteX508" fmla="*/ 6245481 w 8266922"/>
              <a:gd name="connsiteY508" fmla="*/ 3872833 h 7305087"/>
              <a:gd name="connsiteX509" fmla="*/ 6239796 w 8266922"/>
              <a:gd name="connsiteY509" fmla="*/ 3821283 h 7305087"/>
              <a:gd name="connsiteX510" fmla="*/ 6235909 w 8266922"/>
              <a:gd name="connsiteY510" fmla="*/ 3767333 h 7305087"/>
              <a:gd name="connsiteX511" fmla="*/ 6233679 w 8266922"/>
              <a:gd name="connsiteY511" fmla="*/ 3711063 h 7305087"/>
              <a:gd name="connsiteX512" fmla="*/ 6232968 w 8266922"/>
              <a:gd name="connsiteY512" fmla="*/ 3652558 h 7305087"/>
              <a:gd name="connsiteX513" fmla="*/ 6233703 w 8266922"/>
              <a:gd name="connsiteY513" fmla="*/ 3594302 h 7305087"/>
              <a:gd name="connsiteX514" fmla="*/ 6235999 w 8266922"/>
              <a:gd name="connsiteY514" fmla="*/ 3538282 h 7305087"/>
              <a:gd name="connsiteX515" fmla="*/ 6239988 w 8266922"/>
              <a:gd name="connsiteY515" fmla="*/ 3484578 h 7305087"/>
              <a:gd name="connsiteX516" fmla="*/ 6245801 w 8266922"/>
              <a:gd name="connsiteY516" fmla="*/ 3433271 h 7305087"/>
              <a:gd name="connsiteX517" fmla="*/ 6253574 w 8266922"/>
              <a:gd name="connsiteY517" fmla="*/ 3384443 h 7305087"/>
              <a:gd name="connsiteX518" fmla="*/ 6263437 w 8266922"/>
              <a:gd name="connsiteY518" fmla="*/ 3338176 h 7305087"/>
              <a:gd name="connsiteX519" fmla="*/ 6275523 w 8266922"/>
              <a:gd name="connsiteY519" fmla="*/ 3294551 h 7305087"/>
              <a:gd name="connsiteX520" fmla="*/ 6289966 w 8266922"/>
              <a:gd name="connsiteY520" fmla="*/ 3253648 h 7305087"/>
              <a:gd name="connsiteX521" fmla="*/ 6306898 w 8266922"/>
              <a:gd name="connsiteY521" fmla="*/ 3215550 h 7305087"/>
              <a:gd name="connsiteX522" fmla="*/ 6326451 w 8266922"/>
              <a:gd name="connsiteY522" fmla="*/ 3180338 h 7305087"/>
              <a:gd name="connsiteX523" fmla="*/ 6348759 w 8266922"/>
              <a:gd name="connsiteY523" fmla="*/ 3148093 h 7305087"/>
              <a:gd name="connsiteX524" fmla="*/ 6373955 w 8266922"/>
              <a:gd name="connsiteY524" fmla="*/ 3118897 h 7305087"/>
              <a:gd name="connsiteX525" fmla="*/ 6402170 w 8266922"/>
              <a:gd name="connsiteY525" fmla="*/ 3092831 h 7305087"/>
              <a:gd name="connsiteX526" fmla="*/ 6433537 w 8266922"/>
              <a:gd name="connsiteY526" fmla="*/ 3069977 h 7305087"/>
              <a:gd name="connsiteX527" fmla="*/ 6468190 w 8266922"/>
              <a:gd name="connsiteY527" fmla="*/ 3050415 h 7305087"/>
              <a:gd name="connsiteX528" fmla="*/ 6506261 w 8266922"/>
              <a:gd name="connsiteY528" fmla="*/ 3034227 h 7305087"/>
              <a:gd name="connsiteX529" fmla="*/ 6547883 w 8266922"/>
              <a:gd name="connsiteY529" fmla="*/ 3021495 h 7305087"/>
              <a:gd name="connsiteX530" fmla="*/ 6593188 w 8266922"/>
              <a:gd name="connsiteY530" fmla="*/ 3012300 h 7305087"/>
              <a:gd name="connsiteX531" fmla="*/ 6642309 w 8266922"/>
              <a:gd name="connsiteY531" fmla="*/ 3006723 h 7305087"/>
              <a:gd name="connsiteX532" fmla="*/ 5578527 w 8266922"/>
              <a:gd name="connsiteY532" fmla="*/ 3004847 h 7305087"/>
              <a:gd name="connsiteX533" fmla="*/ 5631597 w 8266922"/>
              <a:gd name="connsiteY533" fmla="*/ 3006723 h 7305087"/>
              <a:gd name="connsiteX534" fmla="*/ 5680718 w 8266922"/>
              <a:gd name="connsiteY534" fmla="*/ 3012300 h 7305087"/>
              <a:gd name="connsiteX535" fmla="*/ 5726023 w 8266922"/>
              <a:gd name="connsiteY535" fmla="*/ 3021495 h 7305087"/>
              <a:gd name="connsiteX536" fmla="*/ 5767645 w 8266922"/>
              <a:gd name="connsiteY536" fmla="*/ 3034227 h 7305087"/>
              <a:gd name="connsiteX537" fmla="*/ 5805716 w 8266922"/>
              <a:gd name="connsiteY537" fmla="*/ 3050415 h 7305087"/>
              <a:gd name="connsiteX538" fmla="*/ 5840369 w 8266922"/>
              <a:gd name="connsiteY538" fmla="*/ 3069977 h 7305087"/>
              <a:gd name="connsiteX539" fmla="*/ 5871736 w 8266922"/>
              <a:gd name="connsiteY539" fmla="*/ 3092831 h 7305087"/>
              <a:gd name="connsiteX540" fmla="*/ 5899951 w 8266922"/>
              <a:gd name="connsiteY540" fmla="*/ 3118897 h 7305087"/>
              <a:gd name="connsiteX541" fmla="*/ 5925147 w 8266922"/>
              <a:gd name="connsiteY541" fmla="*/ 3148093 h 7305087"/>
              <a:gd name="connsiteX542" fmla="*/ 5947455 w 8266922"/>
              <a:gd name="connsiteY542" fmla="*/ 3180338 h 7305087"/>
              <a:gd name="connsiteX543" fmla="*/ 5967008 w 8266922"/>
              <a:gd name="connsiteY543" fmla="*/ 3215550 h 7305087"/>
              <a:gd name="connsiteX544" fmla="*/ 5983940 w 8266922"/>
              <a:gd name="connsiteY544" fmla="*/ 3253648 h 7305087"/>
              <a:gd name="connsiteX545" fmla="*/ 5998383 w 8266922"/>
              <a:gd name="connsiteY545" fmla="*/ 3294551 h 7305087"/>
              <a:gd name="connsiteX546" fmla="*/ 6010470 w 8266922"/>
              <a:gd name="connsiteY546" fmla="*/ 3338176 h 7305087"/>
              <a:gd name="connsiteX547" fmla="*/ 6020333 w 8266922"/>
              <a:gd name="connsiteY547" fmla="*/ 3384443 h 7305087"/>
              <a:gd name="connsiteX548" fmla="*/ 6028105 w 8266922"/>
              <a:gd name="connsiteY548" fmla="*/ 3433271 h 7305087"/>
              <a:gd name="connsiteX549" fmla="*/ 6033919 w 8266922"/>
              <a:gd name="connsiteY549" fmla="*/ 3484578 h 7305087"/>
              <a:gd name="connsiteX550" fmla="*/ 6037907 w 8266922"/>
              <a:gd name="connsiteY550" fmla="*/ 3538282 h 7305087"/>
              <a:gd name="connsiteX551" fmla="*/ 6040203 w 8266922"/>
              <a:gd name="connsiteY551" fmla="*/ 3594302 h 7305087"/>
              <a:gd name="connsiteX552" fmla="*/ 6040939 w 8266922"/>
              <a:gd name="connsiteY552" fmla="*/ 3652558 h 7305087"/>
              <a:gd name="connsiteX553" fmla="*/ 6040239 w 8266922"/>
              <a:gd name="connsiteY553" fmla="*/ 3711063 h 7305087"/>
              <a:gd name="connsiteX554" fmla="*/ 6038042 w 8266922"/>
              <a:gd name="connsiteY554" fmla="*/ 3767333 h 7305087"/>
              <a:gd name="connsiteX555" fmla="*/ 6034206 w 8266922"/>
              <a:gd name="connsiteY555" fmla="*/ 3821283 h 7305087"/>
              <a:gd name="connsiteX556" fmla="*/ 6028585 w 8266922"/>
              <a:gd name="connsiteY556" fmla="*/ 3872833 h 7305087"/>
              <a:gd name="connsiteX557" fmla="*/ 6021037 w 8266922"/>
              <a:gd name="connsiteY557" fmla="*/ 3921898 h 7305087"/>
              <a:gd name="connsiteX558" fmla="*/ 6011416 w 8266922"/>
              <a:gd name="connsiteY558" fmla="*/ 3968397 h 7305087"/>
              <a:gd name="connsiteX559" fmla="*/ 5999579 w 8266922"/>
              <a:gd name="connsiteY559" fmla="*/ 4012246 h 7305087"/>
              <a:gd name="connsiteX560" fmla="*/ 5985382 w 8266922"/>
              <a:gd name="connsiteY560" fmla="*/ 4053364 h 7305087"/>
              <a:gd name="connsiteX561" fmla="*/ 5968682 w 8266922"/>
              <a:gd name="connsiteY561" fmla="*/ 4091667 h 7305087"/>
              <a:gd name="connsiteX562" fmla="*/ 5949333 w 8266922"/>
              <a:gd name="connsiteY562" fmla="*/ 4127073 h 7305087"/>
              <a:gd name="connsiteX563" fmla="*/ 5927192 w 8266922"/>
              <a:gd name="connsiteY563" fmla="*/ 4159499 h 7305087"/>
              <a:gd name="connsiteX564" fmla="*/ 5902115 w 8266922"/>
              <a:gd name="connsiteY564" fmla="*/ 4188862 h 7305087"/>
              <a:gd name="connsiteX565" fmla="*/ 5873958 w 8266922"/>
              <a:gd name="connsiteY565" fmla="*/ 4215081 h 7305087"/>
              <a:gd name="connsiteX566" fmla="*/ 5842577 w 8266922"/>
              <a:gd name="connsiteY566" fmla="*/ 4238071 h 7305087"/>
              <a:gd name="connsiteX567" fmla="*/ 5807829 w 8266922"/>
              <a:gd name="connsiteY567" fmla="*/ 4257752 h 7305087"/>
              <a:gd name="connsiteX568" fmla="*/ 5769568 w 8266922"/>
              <a:gd name="connsiteY568" fmla="*/ 4274039 h 7305087"/>
              <a:gd name="connsiteX569" fmla="*/ 5727651 w 8266922"/>
              <a:gd name="connsiteY569" fmla="*/ 4286851 h 7305087"/>
              <a:gd name="connsiteX570" fmla="*/ 5681935 w 8266922"/>
              <a:gd name="connsiteY570" fmla="*/ 4296105 h 7305087"/>
              <a:gd name="connsiteX571" fmla="*/ 5632275 w 8266922"/>
              <a:gd name="connsiteY571" fmla="*/ 4301718 h 7305087"/>
              <a:gd name="connsiteX572" fmla="*/ 5578527 w 8266922"/>
              <a:gd name="connsiteY572" fmla="*/ 4303607 h 7305087"/>
              <a:gd name="connsiteX573" fmla="*/ 5578527 w 8266922"/>
              <a:gd name="connsiteY573" fmla="*/ 4206785 h 7305087"/>
              <a:gd name="connsiteX574" fmla="*/ 5628212 w 8266922"/>
              <a:gd name="connsiteY574" fmla="*/ 4204552 h 7305087"/>
              <a:gd name="connsiteX575" fmla="*/ 5673133 w 8266922"/>
              <a:gd name="connsiteY575" fmla="*/ 4197931 h 7305087"/>
              <a:gd name="connsiteX576" fmla="*/ 5713515 w 8266922"/>
              <a:gd name="connsiteY576" fmla="*/ 4187042 h 7305087"/>
              <a:gd name="connsiteX577" fmla="*/ 5749586 w 8266922"/>
              <a:gd name="connsiteY577" fmla="*/ 4172002 h 7305087"/>
              <a:gd name="connsiteX578" fmla="*/ 5809697 w 8266922"/>
              <a:gd name="connsiteY578" fmla="*/ 4129942 h 7305087"/>
              <a:gd name="connsiteX579" fmla="*/ 5855277 w 8266922"/>
              <a:gd name="connsiteY579" fmla="*/ 4072698 h 7305087"/>
              <a:gd name="connsiteX580" fmla="*/ 5873182 w 8266922"/>
              <a:gd name="connsiteY580" fmla="*/ 4038677 h 7305087"/>
              <a:gd name="connsiteX581" fmla="*/ 5888134 w 8266922"/>
              <a:gd name="connsiteY581" fmla="*/ 4001216 h 7305087"/>
              <a:gd name="connsiteX582" fmla="*/ 5900358 w 8266922"/>
              <a:gd name="connsiteY582" fmla="*/ 3960431 h 7305087"/>
              <a:gd name="connsiteX583" fmla="*/ 5910081 w 8266922"/>
              <a:gd name="connsiteY583" fmla="*/ 3916441 h 7305087"/>
              <a:gd name="connsiteX584" fmla="*/ 5917528 w 8266922"/>
              <a:gd name="connsiteY584" fmla="*/ 3869364 h 7305087"/>
              <a:gd name="connsiteX585" fmla="*/ 5922927 w 8266922"/>
              <a:gd name="connsiteY585" fmla="*/ 3819320 h 7305087"/>
              <a:gd name="connsiteX586" fmla="*/ 5926503 w 8266922"/>
              <a:gd name="connsiteY586" fmla="*/ 3766425 h 7305087"/>
              <a:gd name="connsiteX587" fmla="*/ 5928482 w 8266922"/>
              <a:gd name="connsiteY587" fmla="*/ 3710798 h 7305087"/>
              <a:gd name="connsiteX588" fmla="*/ 5929092 w 8266922"/>
              <a:gd name="connsiteY588" fmla="*/ 3652558 h 7305087"/>
              <a:gd name="connsiteX589" fmla="*/ 5928450 w 8266922"/>
              <a:gd name="connsiteY589" fmla="*/ 3594889 h 7305087"/>
              <a:gd name="connsiteX590" fmla="*/ 5926380 w 8266922"/>
              <a:gd name="connsiteY590" fmla="*/ 3539800 h 7305087"/>
              <a:gd name="connsiteX591" fmla="*/ 5922670 w 8266922"/>
              <a:gd name="connsiteY591" fmla="*/ 3487407 h 7305087"/>
              <a:gd name="connsiteX592" fmla="*/ 5917104 w 8266922"/>
              <a:gd name="connsiteY592" fmla="*/ 3437831 h 7305087"/>
              <a:gd name="connsiteX593" fmla="*/ 5909469 w 8266922"/>
              <a:gd name="connsiteY593" fmla="*/ 3391187 h 7305087"/>
              <a:gd name="connsiteX594" fmla="*/ 5899551 w 8266922"/>
              <a:gd name="connsiteY594" fmla="*/ 3347596 h 7305087"/>
              <a:gd name="connsiteX595" fmla="*/ 5887135 w 8266922"/>
              <a:gd name="connsiteY595" fmla="*/ 3307175 h 7305087"/>
              <a:gd name="connsiteX596" fmla="*/ 5872008 w 8266922"/>
              <a:gd name="connsiteY596" fmla="*/ 3270043 h 7305087"/>
              <a:gd name="connsiteX597" fmla="*/ 5853955 w 8266922"/>
              <a:gd name="connsiteY597" fmla="*/ 3236317 h 7305087"/>
              <a:gd name="connsiteX598" fmla="*/ 5808217 w 8266922"/>
              <a:gd name="connsiteY598" fmla="*/ 3179558 h 7305087"/>
              <a:gd name="connsiteX599" fmla="*/ 5748208 w 8266922"/>
              <a:gd name="connsiteY599" fmla="*/ 3137845 h 7305087"/>
              <a:gd name="connsiteX600" fmla="*/ 5712316 w 8266922"/>
              <a:gd name="connsiteY600" fmla="*/ 3122926 h 7305087"/>
              <a:gd name="connsiteX601" fmla="*/ 5672215 w 8266922"/>
              <a:gd name="connsiteY601" fmla="*/ 3112123 h 7305087"/>
              <a:gd name="connsiteX602" fmla="*/ 5627690 w 8266922"/>
              <a:gd name="connsiteY602" fmla="*/ 3105555 h 7305087"/>
              <a:gd name="connsiteX603" fmla="*/ 5578527 w 8266922"/>
              <a:gd name="connsiteY603" fmla="*/ 3103339 h 7305087"/>
              <a:gd name="connsiteX604" fmla="*/ 5061625 w 8266922"/>
              <a:gd name="connsiteY604" fmla="*/ 3004847 h 7305087"/>
              <a:gd name="connsiteX605" fmla="*/ 5061625 w 8266922"/>
              <a:gd name="connsiteY605" fmla="*/ 3103339 h 7305087"/>
              <a:gd name="connsiteX606" fmla="*/ 5012739 w 8266922"/>
              <a:gd name="connsiteY606" fmla="*/ 3105555 h 7305087"/>
              <a:gd name="connsiteX607" fmla="*/ 4968459 w 8266922"/>
              <a:gd name="connsiteY607" fmla="*/ 3112123 h 7305087"/>
              <a:gd name="connsiteX608" fmla="*/ 4928572 w 8266922"/>
              <a:gd name="connsiteY608" fmla="*/ 3122926 h 7305087"/>
              <a:gd name="connsiteX609" fmla="*/ 4892867 w 8266922"/>
              <a:gd name="connsiteY609" fmla="*/ 3137845 h 7305087"/>
              <a:gd name="connsiteX610" fmla="*/ 4833152 w 8266922"/>
              <a:gd name="connsiteY610" fmla="*/ 3179558 h 7305087"/>
              <a:gd name="connsiteX611" fmla="*/ 4787618 w 8266922"/>
              <a:gd name="connsiteY611" fmla="*/ 3236317 h 7305087"/>
              <a:gd name="connsiteX612" fmla="*/ 4769639 w 8266922"/>
              <a:gd name="connsiteY612" fmla="*/ 3270043 h 7305087"/>
              <a:gd name="connsiteX613" fmla="*/ 4754569 w 8266922"/>
              <a:gd name="connsiteY613" fmla="*/ 3307175 h 7305087"/>
              <a:gd name="connsiteX614" fmla="*/ 4742197 w 8266922"/>
              <a:gd name="connsiteY614" fmla="*/ 3347596 h 7305087"/>
              <a:gd name="connsiteX615" fmla="*/ 4732309 w 8266922"/>
              <a:gd name="connsiteY615" fmla="*/ 3391187 h 7305087"/>
              <a:gd name="connsiteX616" fmla="*/ 4724695 w 8266922"/>
              <a:gd name="connsiteY616" fmla="*/ 3437831 h 7305087"/>
              <a:gd name="connsiteX617" fmla="*/ 4719142 w 8266922"/>
              <a:gd name="connsiteY617" fmla="*/ 3487407 h 7305087"/>
              <a:gd name="connsiteX618" fmla="*/ 4715437 w 8266922"/>
              <a:gd name="connsiteY618" fmla="*/ 3539800 h 7305087"/>
              <a:gd name="connsiteX619" fmla="*/ 4713370 w 8266922"/>
              <a:gd name="connsiteY619" fmla="*/ 3594889 h 7305087"/>
              <a:gd name="connsiteX620" fmla="*/ 4712728 w 8266922"/>
              <a:gd name="connsiteY620" fmla="*/ 3652558 h 7305087"/>
              <a:gd name="connsiteX621" fmla="*/ 4713354 w 8266922"/>
              <a:gd name="connsiteY621" fmla="*/ 3710798 h 7305087"/>
              <a:gd name="connsiteX622" fmla="*/ 4715376 w 8266922"/>
              <a:gd name="connsiteY622" fmla="*/ 3766425 h 7305087"/>
              <a:gd name="connsiteX623" fmla="*/ 4719014 w 8266922"/>
              <a:gd name="connsiteY623" fmla="*/ 3819320 h 7305087"/>
              <a:gd name="connsiteX624" fmla="*/ 4724483 w 8266922"/>
              <a:gd name="connsiteY624" fmla="*/ 3869364 h 7305087"/>
              <a:gd name="connsiteX625" fmla="*/ 4732004 w 8266922"/>
              <a:gd name="connsiteY625" fmla="*/ 3916441 h 7305087"/>
              <a:gd name="connsiteX626" fmla="*/ 4741793 w 8266922"/>
              <a:gd name="connsiteY626" fmla="*/ 3960431 h 7305087"/>
              <a:gd name="connsiteX627" fmla="*/ 4754070 w 8266922"/>
              <a:gd name="connsiteY627" fmla="*/ 4001216 h 7305087"/>
              <a:gd name="connsiteX628" fmla="*/ 4769052 w 8266922"/>
              <a:gd name="connsiteY628" fmla="*/ 4038677 h 7305087"/>
              <a:gd name="connsiteX629" fmla="*/ 4786958 w 8266922"/>
              <a:gd name="connsiteY629" fmla="*/ 4072698 h 7305087"/>
              <a:gd name="connsiteX630" fmla="*/ 4832412 w 8266922"/>
              <a:gd name="connsiteY630" fmla="*/ 4129942 h 7305087"/>
              <a:gd name="connsiteX631" fmla="*/ 4892178 w 8266922"/>
              <a:gd name="connsiteY631" fmla="*/ 4172002 h 7305087"/>
              <a:gd name="connsiteX632" fmla="*/ 4927973 w 8266922"/>
              <a:gd name="connsiteY632" fmla="*/ 4187042 h 7305087"/>
              <a:gd name="connsiteX633" fmla="*/ 4968000 w 8266922"/>
              <a:gd name="connsiteY633" fmla="*/ 4197931 h 7305087"/>
              <a:gd name="connsiteX634" fmla="*/ 5012478 w 8266922"/>
              <a:gd name="connsiteY634" fmla="*/ 4204552 h 7305087"/>
              <a:gd name="connsiteX635" fmla="*/ 5061625 w 8266922"/>
              <a:gd name="connsiteY635" fmla="*/ 4206785 h 7305087"/>
              <a:gd name="connsiteX636" fmla="*/ 5061625 w 8266922"/>
              <a:gd name="connsiteY636" fmla="*/ 4303607 h 7305087"/>
              <a:gd name="connsiteX637" fmla="*/ 5008102 w 8266922"/>
              <a:gd name="connsiteY637" fmla="*/ 4301718 h 7305087"/>
              <a:gd name="connsiteX638" fmla="*/ 4958622 w 8266922"/>
              <a:gd name="connsiteY638" fmla="*/ 4296105 h 7305087"/>
              <a:gd name="connsiteX639" fmla="*/ 4913043 w 8266922"/>
              <a:gd name="connsiteY639" fmla="*/ 4286851 h 7305087"/>
              <a:gd name="connsiteX640" fmla="*/ 4871225 w 8266922"/>
              <a:gd name="connsiteY640" fmla="*/ 4274039 h 7305087"/>
              <a:gd name="connsiteX641" fmla="*/ 4833027 w 8266922"/>
              <a:gd name="connsiteY641" fmla="*/ 4257752 h 7305087"/>
              <a:gd name="connsiteX642" fmla="*/ 4798310 w 8266922"/>
              <a:gd name="connsiteY642" fmla="*/ 4238071 h 7305087"/>
              <a:gd name="connsiteX643" fmla="*/ 4766934 w 8266922"/>
              <a:gd name="connsiteY643" fmla="*/ 4215081 h 7305087"/>
              <a:gd name="connsiteX644" fmla="*/ 4738758 w 8266922"/>
              <a:gd name="connsiteY644" fmla="*/ 4188862 h 7305087"/>
              <a:gd name="connsiteX645" fmla="*/ 4713641 w 8266922"/>
              <a:gd name="connsiteY645" fmla="*/ 4159499 h 7305087"/>
              <a:gd name="connsiteX646" fmla="*/ 4691444 w 8266922"/>
              <a:gd name="connsiteY646" fmla="*/ 4127073 h 7305087"/>
              <a:gd name="connsiteX647" fmla="*/ 4672027 w 8266922"/>
              <a:gd name="connsiteY647" fmla="*/ 4091667 h 7305087"/>
              <a:gd name="connsiteX648" fmla="*/ 4655249 w 8266922"/>
              <a:gd name="connsiteY648" fmla="*/ 4053364 h 7305087"/>
              <a:gd name="connsiteX649" fmla="*/ 4640970 w 8266922"/>
              <a:gd name="connsiteY649" fmla="*/ 4012246 h 7305087"/>
              <a:gd name="connsiteX650" fmla="*/ 4629050 w 8266922"/>
              <a:gd name="connsiteY650" fmla="*/ 3968397 h 7305087"/>
              <a:gd name="connsiteX651" fmla="*/ 4619349 w 8266922"/>
              <a:gd name="connsiteY651" fmla="*/ 3921898 h 7305087"/>
              <a:gd name="connsiteX652" fmla="*/ 4611726 w 8266922"/>
              <a:gd name="connsiteY652" fmla="*/ 3872833 h 7305087"/>
              <a:gd name="connsiteX653" fmla="*/ 4606041 w 8266922"/>
              <a:gd name="connsiteY653" fmla="*/ 3821283 h 7305087"/>
              <a:gd name="connsiteX654" fmla="*/ 4602154 w 8266922"/>
              <a:gd name="connsiteY654" fmla="*/ 3767333 h 7305087"/>
              <a:gd name="connsiteX655" fmla="*/ 4599924 w 8266922"/>
              <a:gd name="connsiteY655" fmla="*/ 3711063 h 7305087"/>
              <a:gd name="connsiteX656" fmla="*/ 4599213 w 8266922"/>
              <a:gd name="connsiteY656" fmla="*/ 3652558 h 7305087"/>
              <a:gd name="connsiteX657" fmla="*/ 4599948 w 8266922"/>
              <a:gd name="connsiteY657" fmla="*/ 3594302 h 7305087"/>
              <a:gd name="connsiteX658" fmla="*/ 4602244 w 8266922"/>
              <a:gd name="connsiteY658" fmla="*/ 3538282 h 7305087"/>
              <a:gd name="connsiteX659" fmla="*/ 4606233 w 8266922"/>
              <a:gd name="connsiteY659" fmla="*/ 3484578 h 7305087"/>
              <a:gd name="connsiteX660" fmla="*/ 4612046 w 8266922"/>
              <a:gd name="connsiteY660" fmla="*/ 3433271 h 7305087"/>
              <a:gd name="connsiteX661" fmla="*/ 4619819 w 8266922"/>
              <a:gd name="connsiteY661" fmla="*/ 3384443 h 7305087"/>
              <a:gd name="connsiteX662" fmla="*/ 4629682 w 8266922"/>
              <a:gd name="connsiteY662" fmla="*/ 3338176 h 7305087"/>
              <a:gd name="connsiteX663" fmla="*/ 4641768 w 8266922"/>
              <a:gd name="connsiteY663" fmla="*/ 3294551 h 7305087"/>
              <a:gd name="connsiteX664" fmla="*/ 4656211 w 8266922"/>
              <a:gd name="connsiteY664" fmla="*/ 3253648 h 7305087"/>
              <a:gd name="connsiteX665" fmla="*/ 4673143 w 8266922"/>
              <a:gd name="connsiteY665" fmla="*/ 3215550 h 7305087"/>
              <a:gd name="connsiteX666" fmla="*/ 4692696 w 8266922"/>
              <a:gd name="connsiteY666" fmla="*/ 3180338 h 7305087"/>
              <a:gd name="connsiteX667" fmla="*/ 4715004 w 8266922"/>
              <a:gd name="connsiteY667" fmla="*/ 3148093 h 7305087"/>
              <a:gd name="connsiteX668" fmla="*/ 4740200 w 8266922"/>
              <a:gd name="connsiteY668" fmla="*/ 3118897 h 7305087"/>
              <a:gd name="connsiteX669" fmla="*/ 4768415 w 8266922"/>
              <a:gd name="connsiteY669" fmla="*/ 3092831 h 7305087"/>
              <a:gd name="connsiteX670" fmla="*/ 4799783 w 8266922"/>
              <a:gd name="connsiteY670" fmla="*/ 3069977 h 7305087"/>
              <a:gd name="connsiteX671" fmla="*/ 4834436 w 8266922"/>
              <a:gd name="connsiteY671" fmla="*/ 3050415 h 7305087"/>
              <a:gd name="connsiteX672" fmla="*/ 4872507 w 8266922"/>
              <a:gd name="connsiteY672" fmla="*/ 3034227 h 7305087"/>
              <a:gd name="connsiteX673" fmla="*/ 4914128 w 8266922"/>
              <a:gd name="connsiteY673" fmla="*/ 3021495 h 7305087"/>
              <a:gd name="connsiteX674" fmla="*/ 4959433 w 8266922"/>
              <a:gd name="connsiteY674" fmla="*/ 3012300 h 7305087"/>
              <a:gd name="connsiteX675" fmla="*/ 5008555 w 8266922"/>
              <a:gd name="connsiteY675" fmla="*/ 3006723 h 7305087"/>
              <a:gd name="connsiteX676" fmla="*/ 887436 w 8266922"/>
              <a:gd name="connsiteY676" fmla="*/ 3004847 h 7305087"/>
              <a:gd name="connsiteX677" fmla="*/ 887436 w 8266922"/>
              <a:gd name="connsiteY677" fmla="*/ 3103339 h 7305087"/>
              <a:gd name="connsiteX678" fmla="*/ 838550 w 8266922"/>
              <a:gd name="connsiteY678" fmla="*/ 3105555 h 7305087"/>
              <a:gd name="connsiteX679" fmla="*/ 794269 w 8266922"/>
              <a:gd name="connsiteY679" fmla="*/ 3112123 h 7305087"/>
              <a:gd name="connsiteX680" fmla="*/ 754383 w 8266922"/>
              <a:gd name="connsiteY680" fmla="*/ 3122926 h 7305087"/>
              <a:gd name="connsiteX681" fmla="*/ 718677 w 8266922"/>
              <a:gd name="connsiteY681" fmla="*/ 3137845 h 7305087"/>
              <a:gd name="connsiteX682" fmla="*/ 658962 w 8266922"/>
              <a:gd name="connsiteY682" fmla="*/ 3179558 h 7305087"/>
              <a:gd name="connsiteX683" fmla="*/ 613427 w 8266922"/>
              <a:gd name="connsiteY683" fmla="*/ 3236317 h 7305087"/>
              <a:gd name="connsiteX684" fmla="*/ 595448 w 8266922"/>
              <a:gd name="connsiteY684" fmla="*/ 3270043 h 7305087"/>
              <a:gd name="connsiteX685" fmla="*/ 580378 w 8266922"/>
              <a:gd name="connsiteY685" fmla="*/ 3307175 h 7305087"/>
              <a:gd name="connsiteX686" fmla="*/ 568006 w 8266922"/>
              <a:gd name="connsiteY686" fmla="*/ 3347596 h 7305087"/>
              <a:gd name="connsiteX687" fmla="*/ 558118 w 8266922"/>
              <a:gd name="connsiteY687" fmla="*/ 3391187 h 7305087"/>
              <a:gd name="connsiteX688" fmla="*/ 550504 w 8266922"/>
              <a:gd name="connsiteY688" fmla="*/ 3437831 h 7305087"/>
              <a:gd name="connsiteX689" fmla="*/ 544951 w 8266922"/>
              <a:gd name="connsiteY689" fmla="*/ 3487407 h 7305087"/>
              <a:gd name="connsiteX690" fmla="*/ 541247 w 8266922"/>
              <a:gd name="connsiteY690" fmla="*/ 3539800 h 7305087"/>
              <a:gd name="connsiteX691" fmla="*/ 539180 w 8266922"/>
              <a:gd name="connsiteY691" fmla="*/ 3594889 h 7305087"/>
              <a:gd name="connsiteX692" fmla="*/ 538538 w 8266922"/>
              <a:gd name="connsiteY692" fmla="*/ 3652558 h 7305087"/>
              <a:gd name="connsiteX693" fmla="*/ 539164 w 8266922"/>
              <a:gd name="connsiteY693" fmla="*/ 3710798 h 7305087"/>
              <a:gd name="connsiteX694" fmla="*/ 541186 w 8266922"/>
              <a:gd name="connsiteY694" fmla="*/ 3766425 h 7305087"/>
              <a:gd name="connsiteX695" fmla="*/ 544823 w 8266922"/>
              <a:gd name="connsiteY695" fmla="*/ 3819320 h 7305087"/>
              <a:gd name="connsiteX696" fmla="*/ 550292 w 8266922"/>
              <a:gd name="connsiteY696" fmla="*/ 3869364 h 7305087"/>
              <a:gd name="connsiteX697" fmla="*/ 557813 w 8266922"/>
              <a:gd name="connsiteY697" fmla="*/ 3916441 h 7305087"/>
              <a:gd name="connsiteX698" fmla="*/ 567602 w 8266922"/>
              <a:gd name="connsiteY698" fmla="*/ 3960431 h 7305087"/>
              <a:gd name="connsiteX699" fmla="*/ 579880 w 8266922"/>
              <a:gd name="connsiteY699" fmla="*/ 4001216 h 7305087"/>
              <a:gd name="connsiteX700" fmla="*/ 594862 w 8266922"/>
              <a:gd name="connsiteY700" fmla="*/ 4038677 h 7305087"/>
              <a:gd name="connsiteX701" fmla="*/ 612768 w 8266922"/>
              <a:gd name="connsiteY701" fmla="*/ 4072698 h 7305087"/>
              <a:gd name="connsiteX702" fmla="*/ 658222 w 8266922"/>
              <a:gd name="connsiteY702" fmla="*/ 4129942 h 7305087"/>
              <a:gd name="connsiteX703" fmla="*/ 717988 w 8266922"/>
              <a:gd name="connsiteY703" fmla="*/ 4172002 h 7305087"/>
              <a:gd name="connsiteX704" fmla="*/ 753783 w 8266922"/>
              <a:gd name="connsiteY704" fmla="*/ 4187042 h 7305087"/>
              <a:gd name="connsiteX705" fmla="*/ 793811 w 8266922"/>
              <a:gd name="connsiteY705" fmla="*/ 4197931 h 7305087"/>
              <a:gd name="connsiteX706" fmla="*/ 838289 w 8266922"/>
              <a:gd name="connsiteY706" fmla="*/ 4204552 h 7305087"/>
              <a:gd name="connsiteX707" fmla="*/ 887436 w 8266922"/>
              <a:gd name="connsiteY707" fmla="*/ 4206785 h 7305087"/>
              <a:gd name="connsiteX708" fmla="*/ 887436 w 8266922"/>
              <a:gd name="connsiteY708" fmla="*/ 4303607 h 7305087"/>
              <a:gd name="connsiteX709" fmla="*/ 833914 w 8266922"/>
              <a:gd name="connsiteY709" fmla="*/ 4301718 h 7305087"/>
              <a:gd name="connsiteX710" fmla="*/ 784433 w 8266922"/>
              <a:gd name="connsiteY710" fmla="*/ 4296105 h 7305087"/>
              <a:gd name="connsiteX711" fmla="*/ 738854 w 8266922"/>
              <a:gd name="connsiteY711" fmla="*/ 4286851 h 7305087"/>
              <a:gd name="connsiteX712" fmla="*/ 697035 w 8266922"/>
              <a:gd name="connsiteY712" fmla="*/ 4274039 h 7305087"/>
              <a:gd name="connsiteX713" fmla="*/ 658838 w 8266922"/>
              <a:gd name="connsiteY713" fmla="*/ 4257752 h 7305087"/>
              <a:gd name="connsiteX714" fmla="*/ 624121 w 8266922"/>
              <a:gd name="connsiteY714" fmla="*/ 4238071 h 7305087"/>
              <a:gd name="connsiteX715" fmla="*/ 592745 w 8266922"/>
              <a:gd name="connsiteY715" fmla="*/ 4215081 h 7305087"/>
              <a:gd name="connsiteX716" fmla="*/ 564568 w 8266922"/>
              <a:gd name="connsiteY716" fmla="*/ 4188862 h 7305087"/>
              <a:gd name="connsiteX717" fmla="*/ 539451 w 8266922"/>
              <a:gd name="connsiteY717" fmla="*/ 4159499 h 7305087"/>
              <a:gd name="connsiteX718" fmla="*/ 517255 w 8266922"/>
              <a:gd name="connsiteY718" fmla="*/ 4127073 h 7305087"/>
              <a:gd name="connsiteX719" fmla="*/ 497837 w 8266922"/>
              <a:gd name="connsiteY719" fmla="*/ 4091667 h 7305087"/>
              <a:gd name="connsiteX720" fmla="*/ 481060 w 8266922"/>
              <a:gd name="connsiteY720" fmla="*/ 4053364 h 7305087"/>
              <a:gd name="connsiteX721" fmla="*/ 466781 w 8266922"/>
              <a:gd name="connsiteY721" fmla="*/ 4012246 h 7305087"/>
              <a:gd name="connsiteX722" fmla="*/ 454861 w 8266922"/>
              <a:gd name="connsiteY722" fmla="*/ 3968397 h 7305087"/>
              <a:gd name="connsiteX723" fmla="*/ 445159 w 8266922"/>
              <a:gd name="connsiteY723" fmla="*/ 3921898 h 7305087"/>
              <a:gd name="connsiteX724" fmla="*/ 437536 w 8266922"/>
              <a:gd name="connsiteY724" fmla="*/ 3872833 h 7305087"/>
              <a:gd name="connsiteX725" fmla="*/ 431851 w 8266922"/>
              <a:gd name="connsiteY725" fmla="*/ 3821283 h 7305087"/>
              <a:gd name="connsiteX726" fmla="*/ 427964 w 8266922"/>
              <a:gd name="connsiteY726" fmla="*/ 3767333 h 7305087"/>
              <a:gd name="connsiteX727" fmla="*/ 425734 w 8266922"/>
              <a:gd name="connsiteY727" fmla="*/ 3711063 h 7305087"/>
              <a:gd name="connsiteX728" fmla="*/ 425023 w 8266922"/>
              <a:gd name="connsiteY728" fmla="*/ 3652558 h 7305087"/>
              <a:gd name="connsiteX729" fmla="*/ 425758 w 8266922"/>
              <a:gd name="connsiteY729" fmla="*/ 3594302 h 7305087"/>
              <a:gd name="connsiteX730" fmla="*/ 428054 w 8266922"/>
              <a:gd name="connsiteY730" fmla="*/ 3538282 h 7305087"/>
              <a:gd name="connsiteX731" fmla="*/ 432043 w 8266922"/>
              <a:gd name="connsiteY731" fmla="*/ 3484578 h 7305087"/>
              <a:gd name="connsiteX732" fmla="*/ 437856 w 8266922"/>
              <a:gd name="connsiteY732" fmla="*/ 3433271 h 7305087"/>
              <a:gd name="connsiteX733" fmla="*/ 445629 w 8266922"/>
              <a:gd name="connsiteY733" fmla="*/ 3384443 h 7305087"/>
              <a:gd name="connsiteX734" fmla="*/ 455492 w 8266922"/>
              <a:gd name="connsiteY734" fmla="*/ 3338176 h 7305087"/>
              <a:gd name="connsiteX735" fmla="*/ 467578 w 8266922"/>
              <a:gd name="connsiteY735" fmla="*/ 3294551 h 7305087"/>
              <a:gd name="connsiteX736" fmla="*/ 482021 w 8266922"/>
              <a:gd name="connsiteY736" fmla="*/ 3253648 h 7305087"/>
              <a:gd name="connsiteX737" fmla="*/ 498953 w 8266922"/>
              <a:gd name="connsiteY737" fmla="*/ 3215550 h 7305087"/>
              <a:gd name="connsiteX738" fmla="*/ 518506 w 8266922"/>
              <a:gd name="connsiteY738" fmla="*/ 3180338 h 7305087"/>
              <a:gd name="connsiteX739" fmla="*/ 540814 w 8266922"/>
              <a:gd name="connsiteY739" fmla="*/ 3148093 h 7305087"/>
              <a:gd name="connsiteX740" fmla="*/ 566010 w 8266922"/>
              <a:gd name="connsiteY740" fmla="*/ 3118897 h 7305087"/>
              <a:gd name="connsiteX741" fmla="*/ 594226 w 8266922"/>
              <a:gd name="connsiteY741" fmla="*/ 3092831 h 7305087"/>
              <a:gd name="connsiteX742" fmla="*/ 625592 w 8266922"/>
              <a:gd name="connsiteY742" fmla="*/ 3069977 h 7305087"/>
              <a:gd name="connsiteX743" fmla="*/ 660246 w 8266922"/>
              <a:gd name="connsiteY743" fmla="*/ 3050415 h 7305087"/>
              <a:gd name="connsiteX744" fmla="*/ 698317 w 8266922"/>
              <a:gd name="connsiteY744" fmla="*/ 3034227 h 7305087"/>
              <a:gd name="connsiteX745" fmla="*/ 739939 w 8266922"/>
              <a:gd name="connsiteY745" fmla="*/ 3021495 h 7305087"/>
              <a:gd name="connsiteX746" fmla="*/ 785244 w 8266922"/>
              <a:gd name="connsiteY746" fmla="*/ 3012300 h 7305087"/>
              <a:gd name="connsiteX747" fmla="*/ 834365 w 8266922"/>
              <a:gd name="connsiteY747" fmla="*/ 3006723 h 7305087"/>
              <a:gd name="connsiteX748" fmla="*/ 7060934 w 8266922"/>
              <a:gd name="connsiteY748" fmla="*/ 2524077 h 7305087"/>
              <a:gd name="connsiteX749" fmla="*/ 7267935 w 8266922"/>
              <a:gd name="connsiteY749" fmla="*/ 2524077 h 7305087"/>
              <a:gd name="connsiteX750" fmla="*/ 7267935 w 8266922"/>
              <a:gd name="connsiteY750" fmla="*/ 2697690 h 7305087"/>
              <a:gd name="connsiteX751" fmla="*/ 7060934 w 8266922"/>
              <a:gd name="connsiteY751" fmla="*/ 2697690 h 7305087"/>
              <a:gd name="connsiteX752" fmla="*/ 2536338 w 8266922"/>
              <a:gd name="connsiteY752" fmla="*/ 2373825 h 7305087"/>
              <a:gd name="connsiteX753" fmla="*/ 3441128 w 8266922"/>
              <a:gd name="connsiteY753" fmla="*/ 2373825 h 7305087"/>
              <a:gd name="connsiteX754" fmla="*/ 3441128 w 8266922"/>
              <a:gd name="connsiteY754" fmla="*/ 2480664 h 7305087"/>
              <a:gd name="connsiteX755" fmla="*/ 2536338 w 8266922"/>
              <a:gd name="connsiteY755" fmla="*/ 2480664 h 7305087"/>
              <a:gd name="connsiteX756" fmla="*/ 1024388 w 8266922"/>
              <a:gd name="connsiteY756" fmla="*/ 2373825 h 7305087"/>
              <a:gd name="connsiteX757" fmla="*/ 1929180 w 8266922"/>
              <a:gd name="connsiteY757" fmla="*/ 2373825 h 7305087"/>
              <a:gd name="connsiteX758" fmla="*/ 1929180 w 8266922"/>
              <a:gd name="connsiteY758" fmla="*/ 2480664 h 7305087"/>
              <a:gd name="connsiteX759" fmla="*/ 1024388 w 8266922"/>
              <a:gd name="connsiteY759" fmla="*/ 2480664 h 7305087"/>
              <a:gd name="connsiteX760" fmla="*/ 2536338 w 8266922"/>
              <a:gd name="connsiteY760" fmla="*/ 2024932 h 7305087"/>
              <a:gd name="connsiteX761" fmla="*/ 3441128 w 8266922"/>
              <a:gd name="connsiteY761" fmla="*/ 2024932 h 7305087"/>
              <a:gd name="connsiteX762" fmla="*/ 3441128 w 8266922"/>
              <a:gd name="connsiteY762" fmla="*/ 2131770 h 7305087"/>
              <a:gd name="connsiteX763" fmla="*/ 2536338 w 8266922"/>
              <a:gd name="connsiteY763" fmla="*/ 2131770 h 7305087"/>
              <a:gd name="connsiteX764" fmla="*/ 1024388 w 8266922"/>
              <a:gd name="connsiteY764" fmla="*/ 2024932 h 7305087"/>
              <a:gd name="connsiteX765" fmla="*/ 1929180 w 8266922"/>
              <a:gd name="connsiteY765" fmla="*/ 2024932 h 7305087"/>
              <a:gd name="connsiteX766" fmla="*/ 1929180 w 8266922"/>
              <a:gd name="connsiteY766" fmla="*/ 2131770 h 7305087"/>
              <a:gd name="connsiteX767" fmla="*/ 1024388 w 8266922"/>
              <a:gd name="connsiteY767" fmla="*/ 2131770 h 7305087"/>
              <a:gd name="connsiteX768" fmla="*/ 6145468 w 8266922"/>
              <a:gd name="connsiteY768" fmla="*/ 1508808 h 7305087"/>
              <a:gd name="connsiteX769" fmla="*/ 6519394 w 8266922"/>
              <a:gd name="connsiteY769" fmla="*/ 1508808 h 7305087"/>
              <a:gd name="connsiteX770" fmla="*/ 6519394 w 8266922"/>
              <a:gd name="connsiteY770" fmla="*/ 1604058 h 7305087"/>
              <a:gd name="connsiteX771" fmla="*/ 6260644 w 8266922"/>
              <a:gd name="connsiteY771" fmla="*/ 1604058 h 7305087"/>
              <a:gd name="connsiteX772" fmla="*/ 6260644 w 8266922"/>
              <a:gd name="connsiteY772" fmla="*/ 2702607 h 7305087"/>
              <a:gd name="connsiteX773" fmla="*/ 6519394 w 8266922"/>
              <a:gd name="connsiteY773" fmla="*/ 2702607 h 7305087"/>
              <a:gd name="connsiteX774" fmla="*/ 6519394 w 8266922"/>
              <a:gd name="connsiteY774" fmla="*/ 2797857 h 7305087"/>
              <a:gd name="connsiteX775" fmla="*/ 6145468 w 8266922"/>
              <a:gd name="connsiteY775" fmla="*/ 2797857 h 7305087"/>
              <a:gd name="connsiteX776" fmla="*/ 6145468 w 8266922"/>
              <a:gd name="connsiteY776" fmla="*/ 2702607 h 7305087"/>
              <a:gd name="connsiteX777" fmla="*/ 6145468 w 8266922"/>
              <a:gd name="connsiteY777" fmla="*/ 1604058 h 7305087"/>
              <a:gd name="connsiteX778" fmla="*/ 7804510 w 8266922"/>
              <a:gd name="connsiteY778" fmla="*/ 1502430 h 7305087"/>
              <a:gd name="connsiteX779" fmla="*/ 7857580 w 8266922"/>
              <a:gd name="connsiteY779" fmla="*/ 1504306 h 7305087"/>
              <a:gd name="connsiteX780" fmla="*/ 7906701 w 8266922"/>
              <a:gd name="connsiteY780" fmla="*/ 1509883 h 7305087"/>
              <a:gd name="connsiteX781" fmla="*/ 7952006 w 8266922"/>
              <a:gd name="connsiteY781" fmla="*/ 1519078 h 7305087"/>
              <a:gd name="connsiteX782" fmla="*/ 7993628 w 8266922"/>
              <a:gd name="connsiteY782" fmla="*/ 1531810 h 7305087"/>
              <a:gd name="connsiteX783" fmla="*/ 8031699 w 8266922"/>
              <a:gd name="connsiteY783" fmla="*/ 1547998 h 7305087"/>
              <a:gd name="connsiteX784" fmla="*/ 8066352 w 8266922"/>
              <a:gd name="connsiteY784" fmla="*/ 1567559 h 7305087"/>
              <a:gd name="connsiteX785" fmla="*/ 8097719 w 8266922"/>
              <a:gd name="connsiteY785" fmla="*/ 1590414 h 7305087"/>
              <a:gd name="connsiteX786" fmla="*/ 8125934 w 8266922"/>
              <a:gd name="connsiteY786" fmla="*/ 1616479 h 7305087"/>
              <a:gd name="connsiteX787" fmla="*/ 8151130 w 8266922"/>
              <a:gd name="connsiteY787" fmla="*/ 1645676 h 7305087"/>
              <a:gd name="connsiteX788" fmla="*/ 8173438 w 8266922"/>
              <a:gd name="connsiteY788" fmla="*/ 1677921 h 7305087"/>
              <a:gd name="connsiteX789" fmla="*/ 8192991 w 8266922"/>
              <a:gd name="connsiteY789" fmla="*/ 1713133 h 7305087"/>
              <a:gd name="connsiteX790" fmla="*/ 8209923 w 8266922"/>
              <a:gd name="connsiteY790" fmla="*/ 1751231 h 7305087"/>
              <a:gd name="connsiteX791" fmla="*/ 8224366 w 8266922"/>
              <a:gd name="connsiteY791" fmla="*/ 1792133 h 7305087"/>
              <a:gd name="connsiteX792" fmla="*/ 8236453 w 8266922"/>
              <a:gd name="connsiteY792" fmla="*/ 1835759 h 7305087"/>
              <a:gd name="connsiteX793" fmla="*/ 8246316 w 8266922"/>
              <a:gd name="connsiteY793" fmla="*/ 1882026 h 7305087"/>
              <a:gd name="connsiteX794" fmla="*/ 8254088 w 8266922"/>
              <a:gd name="connsiteY794" fmla="*/ 1930854 h 7305087"/>
              <a:gd name="connsiteX795" fmla="*/ 8259902 w 8266922"/>
              <a:gd name="connsiteY795" fmla="*/ 1982160 h 7305087"/>
              <a:gd name="connsiteX796" fmla="*/ 8263890 w 8266922"/>
              <a:gd name="connsiteY796" fmla="*/ 2035865 h 7305087"/>
              <a:gd name="connsiteX797" fmla="*/ 8266186 w 8266922"/>
              <a:gd name="connsiteY797" fmla="*/ 2091886 h 7305087"/>
              <a:gd name="connsiteX798" fmla="*/ 8266922 w 8266922"/>
              <a:gd name="connsiteY798" fmla="*/ 2150141 h 7305087"/>
              <a:gd name="connsiteX799" fmla="*/ 8266222 w 8266922"/>
              <a:gd name="connsiteY799" fmla="*/ 2208645 h 7305087"/>
              <a:gd name="connsiteX800" fmla="*/ 8264025 w 8266922"/>
              <a:gd name="connsiteY800" fmla="*/ 2264915 h 7305087"/>
              <a:gd name="connsiteX801" fmla="*/ 8260189 w 8266922"/>
              <a:gd name="connsiteY801" fmla="*/ 2318865 h 7305087"/>
              <a:gd name="connsiteX802" fmla="*/ 8254568 w 8266922"/>
              <a:gd name="connsiteY802" fmla="*/ 2370415 h 7305087"/>
              <a:gd name="connsiteX803" fmla="*/ 8247020 w 8266922"/>
              <a:gd name="connsiteY803" fmla="*/ 2419480 h 7305087"/>
              <a:gd name="connsiteX804" fmla="*/ 8237399 w 8266922"/>
              <a:gd name="connsiteY804" fmla="*/ 2465979 h 7305087"/>
              <a:gd name="connsiteX805" fmla="*/ 8225562 w 8266922"/>
              <a:gd name="connsiteY805" fmla="*/ 2509828 h 7305087"/>
              <a:gd name="connsiteX806" fmla="*/ 8211365 w 8266922"/>
              <a:gd name="connsiteY806" fmla="*/ 2550946 h 7305087"/>
              <a:gd name="connsiteX807" fmla="*/ 8194665 w 8266922"/>
              <a:gd name="connsiteY807" fmla="*/ 2589249 h 7305087"/>
              <a:gd name="connsiteX808" fmla="*/ 8175316 w 8266922"/>
              <a:gd name="connsiteY808" fmla="*/ 2624655 h 7305087"/>
              <a:gd name="connsiteX809" fmla="*/ 8153175 w 8266922"/>
              <a:gd name="connsiteY809" fmla="*/ 2657081 h 7305087"/>
              <a:gd name="connsiteX810" fmla="*/ 8128098 w 8266922"/>
              <a:gd name="connsiteY810" fmla="*/ 2686444 h 7305087"/>
              <a:gd name="connsiteX811" fmla="*/ 8099941 w 8266922"/>
              <a:gd name="connsiteY811" fmla="*/ 2712663 h 7305087"/>
              <a:gd name="connsiteX812" fmla="*/ 8068560 w 8266922"/>
              <a:gd name="connsiteY812" fmla="*/ 2735653 h 7305087"/>
              <a:gd name="connsiteX813" fmla="*/ 8033812 w 8266922"/>
              <a:gd name="connsiteY813" fmla="*/ 2755334 h 7305087"/>
              <a:gd name="connsiteX814" fmla="*/ 7995551 w 8266922"/>
              <a:gd name="connsiteY814" fmla="*/ 2771621 h 7305087"/>
              <a:gd name="connsiteX815" fmla="*/ 7953634 w 8266922"/>
              <a:gd name="connsiteY815" fmla="*/ 2784433 h 7305087"/>
              <a:gd name="connsiteX816" fmla="*/ 7907918 w 8266922"/>
              <a:gd name="connsiteY816" fmla="*/ 2793687 h 7305087"/>
              <a:gd name="connsiteX817" fmla="*/ 7858258 w 8266922"/>
              <a:gd name="connsiteY817" fmla="*/ 2799300 h 7305087"/>
              <a:gd name="connsiteX818" fmla="*/ 7804510 w 8266922"/>
              <a:gd name="connsiteY818" fmla="*/ 2801189 h 7305087"/>
              <a:gd name="connsiteX819" fmla="*/ 7804510 w 8266922"/>
              <a:gd name="connsiteY819" fmla="*/ 2704367 h 7305087"/>
              <a:gd name="connsiteX820" fmla="*/ 7854195 w 8266922"/>
              <a:gd name="connsiteY820" fmla="*/ 2702134 h 7305087"/>
              <a:gd name="connsiteX821" fmla="*/ 7899116 w 8266922"/>
              <a:gd name="connsiteY821" fmla="*/ 2695513 h 7305087"/>
              <a:gd name="connsiteX822" fmla="*/ 7939498 w 8266922"/>
              <a:gd name="connsiteY822" fmla="*/ 2684624 h 7305087"/>
              <a:gd name="connsiteX823" fmla="*/ 7975569 w 8266922"/>
              <a:gd name="connsiteY823" fmla="*/ 2669584 h 7305087"/>
              <a:gd name="connsiteX824" fmla="*/ 8035680 w 8266922"/>
              <a:gd name="connsiteY824" fmla="*/ 2627524 h 7305087"/>
              <a:gd name="connsiteX825" fmla="*/ 8081260 w 8266922"/>
              <a:gd name="connsiteY825" fmla="*/ 2570280 h 7305087"/>
              <a:gd name="connsiteX826" fmla="*/ 8099165 w 8266922"/>
              <a:gd name="connsiteY826" fmla="*/ 2536259 h 7305087"/>
              <a:gd name="connsiteX827" fmla="*/ 8114117 w 8266922"/>
              <a:gd name="connsiteY827" fmla="*/ 2498797 h 7305087"/>
              <a:gd name="connsiteX828" fmla="*/ 8126341 w 8266922"/>
              <a:gd name="connsiteY828" fmla="*/ 2458012 h 7305087"/>
              <a:gd name="connsiteX829" fmla="*/ 8136064 w 8266922"/>
              <a:gd name="connsiteY829" fmla="*/ 2414022 h 7305087"/>
              <a:gd name="connsiteX830" fmla="*/ 8143511 w 8266922"/>
              <a:gd name="connsiteY830" fmla="*/ 2366946 h 7305087"/>
              <a:gd name="connsiteX831" fmla="*/ 8148910 w 8266922"/>
              <a:gd name="connsiteY831" fmla="*/ 2316901 h 7305087"/>
              <a:gd name="connsiteX832" fmla="*/ 8152486 w 8266922"/>
              <a:gd name="connsiteY832" fmla="*/ 2264006 h 7305087"/>
              <a:gd name="connsiteX833" fmla="*/ 8154465 w 8266922"/>
              <a:gd name="connsiteY833" fmla="*/ 2208380 h 7305087"/>
              <a:gd name="connsiteX834" fmla="*/ 8155075 w 8266922"/>
              <a:gd name="connsiteY834" fmla="*/ 2150141 h 7305087"/>
              <a:gd name="connsiteX835" fmla="*/ 8154433 w 8266922"/>
              <a:gd name="connsiteY835" fmla="*/ 2092472 h 7305087"/>
              <a:gd name="connsiteX836" fmla="*/ 8152363 w 8266922"/>
              <a:gd name="connsiteY836" fmla="*/ 2037383 h 7305087"/>
              <a:gd name="connsiteX837" fmla="*/ 8148653 w 8266922"/>
              <a:gd name="connsiteY837" fmla="*/ 1984990 h 7305087"/>
              <a:gd name="connsiteX838" fmla="*/ 8143087 w 8266922"/>
              <a:gd name="connsiteY838" fmla="*/ 1935414 h 7305087"/>
              <a:gd name="connsiteX839" fmla="*/ 8135452 w 8266922"/>
              <a:gd name="connsiteY839" fmla="*/ 1888770 h 7305087"/>
              <a:gd name="connsiteX840" fmla="*/ 8125534 w 8266922"/>
              <a:gd name="connsiteY840" fmla="*/ 1845179 h 7305087"/>
              <a:gd name="connsiteX841" fmla="*/ 8113118 w 8266922"/>
              <a:gd name="connsiteY841" fmla="*/ 1804759 h 7305087"/>
              <a:gd name="connsiteX842" fmla="*/ 8097991 w 8266922"/>
              <a:gd name="connsiteY842" fmla="*/ 1767626 h 7305087"/>
              <a:gd name="connsiteX843" fmla="*/ 8079938 w 8266922"/>
              <a:gd name="connsiteY843" fmla="*/ 1733900 h 7305087"/>
              <a:gd name="connsiteX844" fmla="*/ 8034200 w 8266922"/>
              <a:gd name="connsiteY844" fmla="*/ 1677141 h 7305087"/>
              <a:gd name="connsiteX845" fmla="*/ 7974191 w 8266922"/>
              <a:gd name="connsiteY845" fmla="*/ 1635428 h 7305087"/>
              <a:gd name="connsiteX846" fmla="*/ 7938299 w 8266922"/>
              <a:gd name="connsiteY846" fmla="*/ 1620509 h 7305087"/>
              <a:gd name="connsiteX847" fmla="*/ 7898198 w 8266922"/>
              <a:gd name="connsiteY847" fmla="*/ 1609705 h 7305087"/>
              <a:gd name="connsiteX848" fmla="*/ 7853673 w 8266922"/>
              <a:gd name="connsiteY848" fmla="*/ 1603138 h 7305087"/>
              <a:gd name="connsiteX849" fmla="*/ 7804510 w 8266922"/>
              <a:gd name="connsiteY849" fmla="*/ 1600921 h 7305087"/>
              <a:gd name="connsiteX850" fmla="*/ 5032599 w 8266922"/>
              <a:gd name="connsiteY850" fmla="*/ 1502430 h 7305087"/>
              <a:gd name="connsiteX851" fmla="*/ 5085669 w 8266922"/>
              <a:gd name="connsiteY851" fmla="*/ 1504306 h 7305087"/>
              <a:gd name="connsiteX852" fmla="*/ 5134790 w 8266922"/>
              <a:gd name="connsiteY852" fmla="*/ 1509883 h 7305087"/>
              <a:gd name="connsiteX853" fmla="*/ 5180096 w 8266922"/>
              <a:gd name="connsiteY853" fmla="*/ 1519078 h 7305087"/>
              <a:gd name="connsiteX854" fmla="*/ 5221718 w 8266922"/>
              <a:gd name="connsiteY854" fmla="*/ 1531810 h 7305087"/>
              <a:gd name="connsiteX855" fmla="*/ 5259789 w 8266922"/>
              <a:gd name="connsiteY855" fmla="*/ 1547998 h 7305087"/>
              <a:gd name="connsiteX856" fmla="*/ 5294442 w 8266922"/>
              <a:gd name="connsiteY856" fmla="*/ 1567559 h 7305087"/>
              <a:gd name="connsiteX857" fmla="*/ 5325809 w 8266922"/>
              <a:gd name="connsiteY857" fmla="*/ 1590414 h 7305087"/>
              <a:gd name="connsiteX858" fmla="*/ 5354024 w 8266922"/>
              <a:gd name="connsiteY858" fmla="*/ 1616479 h 7305087"/>
              <a:gd name="connsiteX859" fmla="*/ 5379220 w 8266922"/>
              <a:gd name="connsiteY859" fmla="*/ 1645676 h 7305087"/>
              <a:gd name="connsiteX860" fmla="*/ 5401528 w 8266922"/>
              <a:gd name="connsiteY860" fmla="*/ 1677921 h 7305087"/>
              <a:gd name="connsiteX861" fmla="*/ 5421081 w 8266922"/>
              <a:gd name="connsiteY861" fmla="*/ 1713133 h 7305087"/>
              <a:gd name="connsiteX862" fmla="*/ 5438013 w 8266922"/>
              <a:gd name="connsiteY862" fmla="*/ 1751231 h 7305087"/>
              <a:gd name="connsiteX863" fmla="*/ 5452456 w 8266922"/>
              <a:gd name="connsiteY863" fmla="*/ 1792133 h 7305087"/>
              <a:gd name="connsiteX864" fmla="*/ 5464543 w 8266922"/>
              <a:gd name="connsiteY864" fmla="*/ 1835759 h 7305087"/>
              <a:gd name="connsiteX865" fmla="*/ 5474406 w 8266922"/>
              <a:gd name="connsiteY865" fmla="*/ 1882026 h 7305087"/>
              <a:gd name="connsiteX866" fmla="*/ 5482178 w 8266922"/>
              <a:gd name="connsiteY866" fmla="*/ 1930854 h 7305087"/>
              <a:gd name="connsiteX867" fmla="*/ 5487992 w 8266922"/>
              <a:gd name="connsiteY867" fmla="*/ 1982160 h 7305087"/>
              <a:gd name="connsiteX868" fmla="*/ 5491980 w 8266922"/>
              <a:gd name="connsiteY868" fmla="*/ 2035865 h 7305087"/>
              <a:gd name="connsiteX869" fmla="*/ 5494276 w 8266922"/>
              <a:gd name="connsiteY869" fmla="*/ 2091886 h 7305087"/>
              <a:gd name="connsiteX870" fmla="*/ 5495012 w 8266922"/>
              <a:gd name="connsiteY870" fmla="*/ 2150141 h 7305087"/>
              <a:gd name="connsiteX871" fmla="*/ 5494312 w 8266922"/>
              <a:gd name="connsiteY871" fmla="*/ 2208645 h 7305087"/>
              <a:gd name="connsiteX872" fmla="*/ 5492115 w 8266922"/>
              <a:gd name="connsiteY872" fmla="*/ 2264915 h 7305087"/>
              <a:gd name="connsiteX873" fmla="*/ 5488279 w 8266922"/>
              <a:gd name="connsiteY873" fmla="*/ 2318865 h 7305087"/>
              <a:gd name="connsiteX874" fmla="*/ 5482658 w 8266922"/>
              <a:gd name="connsiteY874" fmla="*/ 2370415 h 7305087"/>
              <a:gd name="connsiteX875" fmla="*/ 5475110 w 8266922"/>
              <a:gd name="connsiteY875" fmla="*/ 2419480 h 7305087"/>
              <a:gd name="connsiteX876" fmla="*/ 5465489 w 8266922"/>
              <a:gd name="connsiteY876" fmla="*/ 2465979 h 7305087"/>
              <a:gd name="connsiteX877" fmla="*/ 5453652 w 8266922"/>
              <a:gd name="connsiteY877" fmla="*/ 2509828 h 7305087"/>
              <a:gd name="connsiteX878" fmla="*/ 5439455 w 8266922"/>
              <a:gd name="connsiteY878" fmla="*/ 2550946 h 7305087"/>
              <a:gd name="connsiteX879" fmla="*/ 5422755 w 8266922"/>
              <a:gd name="connsiteY879" fmla="*/ 2589249 h 7305087"/>
              <a:gd name="connsiteX880" fmla="*/ 5403406 w 8266922"/>
              <a:gd name="connsiteY880" fmla="*/ 2624655 h 7305087"/>
              <a:gd name="connsiteX881" fmla="*/ 5381265 w 8266922"/>
              <a:gd name="connsiteY881" fmla="*/ 2657081 h 7305087"/>
              <a:gd name="connsiteX882" fmla="*/ 5356188 w 8266922"/>
              <a:gd name="connsiteY882" fmla="*/ 2686444 h 7305087"/>
              <a:gd name="connsiteX883" fmla="*/ 5328031 w 8266922"/>
              <a:gd name="connsiteY883" fmla="*/ 2712663 h 7305087"/>
              <a:gd name="connsiteX884" fmla="*/ 5296650 w 8266922"/>
              <a:gd name="connsiteY884" fmla="*/ 2735653 h 7305087"/>
              <a:gd name="connsiteX885" fmla="*/ 5261902 w 8266922"/>
              <a:gd name="connsiteY885" fmla="*/ 2755334 h 7305087"/>
              <a:gd name="connsiteX886" fmla="*/ 5223641 w 8266922"/>
              <a:gd name="connsiteY886" fmla="*/ 2771621 h 7305087"/>
              <a:gd name="connsiteX887" fmla="*/ 5181724 w 8266922"/>
              <a:gd name="connsiteY887" fmla="*/ 2784433 h 7305087"/>
              <a:gd name="connsiteX888" fmla="*/ 5136007 w 8266922"/>
              <a:gd name="connsiteY888" fmla="*/ 2793687 h 7305087"/>
              <a:gd name="connsiteX889" fmla="*/ 5086347 w 8266922"/>
              <a:gd name="connsiteY889" fmla="*/ 2799300 h 7305087"/>
              <a:gd name="connsiteX890" fmla="*/ 5032599 w 8266922"/>
              <a:gd name="connsiteY890" fmla="*/ 2801189 h 7305087"/>
              <a:gd name="connsiteX891" fmla="*/ 5032599 w 8266922"/>
              <a:gd name="connsiteY891" fmla="*/ 2704367 h 7305087"/>
              <a:gd name="connsiteX892" fmla="*/ 5082284 w 8266922"/>
              <a:gd name="connsiteY892" fmla="*/ 2702134 h 7305087"/>
              <a:gd name="connsiteX893" fmla="*/ 5127205 w 8266922"/>
              <a:gd name="connsiteY893" fmla="*/ 2695513 h 7305087"/>
              <a:gd name="connsiteX894" fmla="*/ 5167588 w 8266922"/>
              <a:gd name="connsiteY894" fmla="*/ 2684624 h 7305087"/>
              <a:gd name="connsiteX895" fmla="*/ 5203659 w 8266922"/>
              <a:gd name="connsiteY895" fmla="*/ 2669584 h 7305087"/>
              <a:gd name="connsiteX896" fmla="*/ 5263770 w 8266922"/>
              <a:gd name="connsiteY896" fmla="*/ 2627524 h 7305087"/>
              <a:gd name="connsiteX897" fmla="*/ 5309350 w 8266922"/>
              <a:gd name="connsiteY897" fmla="*/ 2570280 h 7305087"/>
              <a:gd name="connsiteX898" fmla="*/ 5327255 w 8266922"/>
              <a:gd name="connsiteY898" fmla="*/ 2536259 h 7305087"/>
              <a:gd name="connsiteX899" fmla="*/ 5342207 w 8266922"/>
              <a:gd name="connsiteY899" fmla="*/ 2498797 h 7305087"/>
              <a:gd name="connsiteX900" fmla="*/ 5354431 w 8266922"/>
              <a:gd name="connsiteY900" fmla="*/ 2458012 h 7305087"/>
              <a:gd name="connsiteX901" fmla="*/ 5364154 w 8266922"/>
              <a:gd name="connsiteY901" fmla="*/ 2414022 h 7305087"/>
              <a:gd name="connsiteX902" fmla="*/ 5371601 w 8266922"/>
              <a:gd name="connsiteY902" fmla="*/ 2366946 h 7305087"/>
              <a:gd name="connsiteX903" fmla="*/ 5377000 w 8266922"/>
              <a:gd name="connsiteY903" fmla="*/ 2316901 h 7305087"/>
              <a:gd name="connsiteX904" fmla="*/ 5380576 w 8266922"/>
              <a:gd name="connsiteY904" fmla="*/ 2264006 h 7305087"/>
              <a:gd name="connsiteX905" fmla="*/ 5382555 w 8266922"/>
              <a:gd name="connsiteY905" fmla="*/ 2208380 h 7305087"/>
              <a:gd name="connsiteX906" fmla="*/ 5383165 w 8266922"/>
              <a:gd name="connsiteY906" fmla="*/ 2150141 h 7305087"/>
              <a:gd name="connsiteX907" fmla="*/ 5382523 w 8266922"/>
              <a:gd name="connsiteY907" fmla="*/ 2092472 h 7305087"/>
              <a:gd name="connsiteX908" fmla="*/ 5380453 w 8266922"/>
              <a:gd name="connsiteY908" fmla="*/ 2037383 h 7305087"/>
              <a:gd name="connsiteX909" fmla="*/ 5376743 w 8266922"/>
              <a:gd name="connsiteY909" fmla="*/ 1984990 h 7305087"/>
              <a:gd name="connsiteX910" fmla="*/ 5371177 w 8266922"/>
              <a:gd name="connsiteY910" fmla="*/ 1935414 h 7305087"/>
              <a:gd name="connsiteX911" fmla="*/ 5363542 w 8266922"/>
              <a:gd name="connsiteY911" fmla="*/ 1888770 h 7305087"/>
              <a:gd name="connsiteX912" fmla="*/ 5353624 w 8266922"/>
              <a:gd name="connsiteY912" fmla="*/ 1845179 h 7305087"/>
              <a:gd name="connsiteX913" fmla="*/ 5341208 w 8266922"/>
              <a:gd name="connsiteY913" fmla="*/ 1804759 h 7305087"/>
              <a:gd name="connsiteX914" fmla="*/ 5326081 w 8266922"/>
              <a:gd name="connsiteY914" fmla="*/ 1767626 h 7305087"/>
              <a:gd name="connsiteX915" fmla="*/ 5308028 w 8266922"/>
              <a:gd name="connsiteY915" fmla="*/ 1733900 h 7305087"/>
              <a:gd name="connsiteX916" fmla="*/ 5262290 w 8266922"/>
              <a:gd name="connsiteY916" fmla="*/ 1677141 h 7305087"/>
              <a:gd name="connsiteX917" fmla="*/ 5202281 w 8266922"/>
              <a:gd name="connsiteY917" fmla="*/ 1635428 h 7305087"/>
              <a:gd name="connsiteX918" fmla="*/ 5166389 w 8266922"/>
              <a:gd name="connsiteY918" fmla="*/ 1620509 h 7305087"/>
              <a:gd name="connsiteX919" fmla="*/ 5126287 w 8266922"/>
              <a:gd name="connsiteY919" fmla="*/ 1609705 h 7305087"/>
              <a:gd name="connsiteX920" fmla="*/ 5081762 w 8266922"/>
              <a:gd name="connsiteY920" fmla="*/ 1603138 h 7305087"/>
              <a:gd name="connsiteX921" fmla="*/ 5032599 w 8266922"/>
              <a:gd name="connsiteY921" fmla="*/ 1600921 h 7305087"/>
              <a:gd name="connsiteX922" fmla="*/ 4515699 w 8266922"/>
              <a:gd name="connsiteY922" fmla="*/ 1502430 h 7305087"/>
              <a:gd name="connsiteX923" fmla="*/ 4515699 w 8266922"/>
              <a:gd name="connsiteY923" fmla="*/ 1600921 h 7305087"/>
              <a:gd name="connsiteX924" fmla="*/ 4466813 w 8266922"/>
              <a:gd name="connsiteY924" fmla="*/ 1603138 h 7305087"/>
              <a:gd name="connsiteX925" fmla="*/ 4422532 w 8266922"/>
              <a:gd name="connsiteY925" fmla="*/ 1609705 h 7305087"/>
              <a:gd name="connsiteX926" fmla="*/ 4382646 w 8266922"/>
              <a:gd name="connsiteY926" fmla="*/ 1620509 h 7305087"/>
              <a:gd name="connsiteX927" fmla="*/ 4346940 w 8266922"/>
              <a:gd name="connsiteY927" fmla="*/ 1635428 h 7305087"/>
              <a:gd name="connsiteX928" fmla="*/ 4287225 w 8266922"/>
              <a:gd name="connsiteY928" fmla="*/ 1677141 h 7305087"/>
              <a:gd name="connsiteX929" fmla="*/ 4241691 w 8266922"/>
              <a:gd name="connsiteY929" fmla="*/ 1733900 h 7305087"/>
              <a:gd name="connsiteX930" fmla="*/ 4223712 w 8266922"/>
              <a:gd name="connsiteY930" fmla="*/ 1767626 h 7305087"/>
              <a:gd name="connsiteX931" fmla="*/ 4208642 w 8266922"/>
              <a:gd name="connsiteY931" fmla="*/ 1804759 h 7305087"/>
              <a:gd name="connsiteX932" fmla="*/ 4196270 w 8266922"/>
              <a:gd name="connsiteY932" fmla="*/ 1845179 h 7305087"/>
              <a:gd name="connsiteX933" fmla="*/ 4186382 w 8266922"/>
              <a:gd name="connsiteY933" fmla="*/ 1888770 h 7305087"/>
              <a:gd name="connsiteX934" fmla="*/ 4178768 w 8266922"/>
              <a:gd name="connsiteY934" fmla="*/ 1935414 h 7305087"/>
              <a:gd name="connsiteX935" fmla="*/ 4173215 w 8266922"/>
              <a:gd name="connsiteY935" fmla="*/ 1984990 h 7305087"/>
              <a:gd name="connsiteX936" fmla="*/ 4169510 w 8266922"/>
              <a:gd name="connsiteY936" fmla="*/ 2037383 h 7305087"/>
              <a:gd name="connsiteX937" fmla="*/ 4167443 w 8266922"/>
              <a:gd name="connsiteY937" fmla="*/ 2092472 h 7305087"/>
              <a:gd name="connsiteX938" fmla="*/ 4166801 w 8266922"/>
              <a:gd name="connsiteY938" fmla="*/ 2150141 h 7305087"/>
              <a:gd name="connsiteX939" fmla="*/ 4167427 w 8266922"/>
              <a:gd name="connsiteY939" fmla="*/ 2208380 h 7305087"/>
              <a:gd name="connsiteX940" fmla="*/ 4169449 w 8266922"/>
              <a:gd name="connsiteY940" fmla="*/ 2264006 h 7305087"/>
              <a:gd name="connsiteX941" fmla="*/ 4173087 w 8266922"/>
              <a:gd name="connsiteY941" fmla="*/ 2316901 h 7305087"/>
              <a:gd name="connsiteX942" fmla="*/ 4178556 w 8266922"/>
              <a:gd name="connsiteY942" fmla="*/ 2366946 h 7305087"/>
              <a:gd name="connsiteX943" fmla="*/ 4186077 w 8266922"/>
              <a:gd name="connsiteY943" fmla="*/ 2414022 h 7305087"/>
              <a:gd name="connsiteX944" fmla="*/ 4195866 w 8266922"/>
              <a:gd name="connsiteY944" fmla="*/ 2458012 h 7305087"/>
              <a:gd name="connsiteX945" fmla="*/ 4208143 w 8266922"/>
              <a:gd name="connsiteY945" fmla="*/ 2498797 h 7305087"/>
              <a:gd name="connsiteX946" fmla="*/ 4223125 w 8266922"/>
              <a:gd name="connsiteY946" fmla="*/ 2536259 h 7305087"/>
              <a:gd name="connsiteX947" fmla="*/ 4241031 w 8266922"/>
              <a:gd name="connsiteY947" fmla="*/ 2570280 h 7305087"/>
              <a:gd name="connsiteX948" fmla="*/ 4286485 w 8266922"/>
              <a:gd name="connsiteY948" fmla="*/ 2627524 h 7305087"/>
              <a:gd name="connsiteX949" fmla="*/ 4346251 w 8266922"/>
              <a:gd name="connsiteY949" fmla="*/ 2669584 h 7305087"/>
              <a:gd name="connsiteX950" fmla="*/ 4382046 w 8266922"/>
              <a:gd name="connsiteY950" fmla="*/ 2684624 h 7305087"/>
              <a:gd name="connsiteX951" fmla="*/ 4422074 w 8266922"/>
              <a:gd name="connsiteY951" fmla="*/ 2695513 h 7305087"/>
              <a:gd name="connsiteX952" fmla="*/ 4466552 w 8266922"/>
              <a:gd name="connsiteY952" fmla="*/ 2702134 h 7305087"/>
              <a:gd name="connsiteX953" fmla="*/ 4515699 w 8266922"/>
              <a:gd name="connsiteY953" fmla="*/ 2704367 h 7305087"/>
              <a:gd name="connsiteX954" fmla="*/ 4515699 w 8266922"/>
              <a:gd name="connsiteY954" fmla="*/ 2801189 h 7305087"/>
              <a:gd name="connsiteX955" fmla="*/ 4462176 w 8266922"/>
              <a:gd name="connsiteY955" fmla="*/ 2799300 h 7305087"/>
              <a:gd name="connsiteX956" fmla="*/ 4412696 w 8266922"/>
              <a:gd name="connsiteY956" fmla="*/ 2793687 h 7305087"/>
              <a:gd name="connsiteX957" fmla="*/ 4367116 w 8266922"/>
              <a:gd name="connsiteY957" fmla="*/ 2784433 h 7305087"/>
              <a:gd name="connsiteX958" fmla="*/ 4325298 w 8266922"/>
              <a:gd name="connsiteY958" fmla="*/ 2771621 h 7305087"/>
              <a:gd name="connsiteX959" fmla="*/ 4287101 w 8266922"/>
              <a:gd name="connsiteY959" fmla="*/ 2755334 h 7305087"/>
              <a:gd name="connsiteX960" fmla="*/ 4252384 w 8266922"/>
              <a:gd name="connsiteY960" fmla="*/ 2735653 h 7305087"/>
              <a:gd name="connsiteX961" fmla="*/ 4221007 w 8266922"/>
              <a:gd name="connsiteY961" fmla="*/ 2712663 h 7305087"/>
              <a:gd name="connsiteX962" fmla="*/ 4192831 w 8266922"/>
              <a:gd name="connsiteY962" fmla="*/ 2686444 h 7305087"/>
              <a:gd name="connsiteX963" fmla="*/ 4167714 w 8266922"/>
              <a:gd name="connsiteY963" fmla="*/ 2657081 h 7305087"/>
              <a:gd name="connsiteX964" fmla="*/ 4145517 w 8266922"/>
              <a:gd name="connsiteY964" fmla="*/ 2624655 h 7305087"/>
              <a:gd name="connsiteX965" fmla="*/ 4126100 w 8266922"/>
              <a:gd name="connsiteY965" fmla="*/ 2589249 h 7305087"/>
              <a:gd name="connsiteX966" fmla="*/ 4109322 w 8266922"/>
              <a:gd name="connsiteY966" fmla="*/ 2550946 h 7305087"/>
              <a:gd name="connsiteX967" fmla="*/ 4095043 w 8266922"/>
              <a:gd name="connsiteY967" fmla="*/ 2509828 h 7305087"/>
              <a:gd name="connsiteX968" fmla="*/ 4083123 w 8266922"/>
              <a:gd name="connsiteY968" fmla="*/ 2465979 h 7305087"/>
              <a:gd name="connsiteX969" fmla="*/ 4073422 w 8266922"/>
              <a:gd name="connsiteY969" fmla="*/ 2419480 h 7305087"/>
              <a:gd name="connsiteX970" fmla="*/ 4065799 w 8266922"/>
              <a:gd name="connsiteY970" fmla="*/ 2370415 h 7305087"/>
              <a:gd name="connsiteX971" fmla="*/ 4060114 w 8266922"/>
              <a:gd name="connsiteY971" fmla="*/ 2318865 h 7305087"/>
              <a:gd name="connsiteX972" fmla="*/ 4056227 w 8266922"/>
              <a:gd name="connsiteY972" fmla="*/ 2264915 h 7305087"/>
              <a:gd name="connsiteX973" fmla="*/ 4053997 w 8266922"/>
              <a:gd name="connsiteY973" fmla="*/ 2208645 h 7305087"/>
              <a:gd name="connsiteX974" fmla="*/ 4053286 w 8266922"/>
              <a:gd name="connsiteY974" fmla="*/ 2150141 h 7305087"/>
              <a:gd name="connsiteX975" fmla="*/ 4054021 w 8266922"/>
              <a:gd name="connsiteY975" fmla="*/ 2091886 h 7305087"/>
              <a:gd name="connsiteX976" fmla="*/ 4056317 w 8266922"/>
              <a:gd name="connsiteY976" fmla="*/ 2035865 h 7305087"/>
              <a:gd name="connsiteX977" fmla="*/ 4060306 w 8266922"/>
              <a:gd name="connsiteY977" fmla="*/ 1982160 h 7305087"/>
              <a:gd name="connsiteX978" fmla="*/ 4066119 w 8266922"/>
              <a:gd name="connsiteY978" fmla="*/ 1930854 h 7305087"/>
              <a:gd name="connsiteX979" fmla="*/ 4073892 w 8266922"/>
              <a:gd name="connsiteY979" fmla="*/ 1882026 h 7305087"/>
              <a:gd name="connsiteX980" fmla="*/ 4083755 w 8266922"/>
              <a:gd name="connsiteY980" fmla="*/ 1835759 h 7305087"/>
              <a:gd name="connsiteX981" fmla="*/ 4095841 w 8266922"/>
              <a:gd name="connsiteY981" fmla="*/ 1792133 h 7305087"/>
              <a:gd name="connsiteX982" fmla="*/ 4110284 w 8266922"/>
              <a:gd name="connsiteY982" fmla="*/ 1751231 h 7305087"/>
              <a:gd name="connsiteX983" fmla="*/ 4127216 w 8266922"/>
              <a:gd name="connsiteY983" fmla="*/ 1713133 h 7305087"/>
              <a:gd name="connsiteX984" fmla="*/ 4146769 w 8266922"/>
              <a:gd name="connsiteY984" fmla="*/ 1677921 h 7305087"/>
              <a:gd name="connsiteX985" fmla="*/ 4169077 w 8266922"/>
              <a:gd name="connsiteY985" fmla="*/ 1645676 h 7305087"/>
              <a:gd name="connsiteX986" fmla="*/ 4194274 w 8266922"/>
              <a:gd name="connsiteY986" fmla="*/ 1616479 h 7305087"/>
              <a:gd name="connsiteX987" fmla="*/ 4222489 w 8266922"/>
              <a:gd name="connsiteY987" fmla="*/ 1590414 h 7305087"/>
              <a:gd name="connsiteX988" fmla="*/ 4253856 w 8266922"/>
              <a:gd name="connsiteY988" fmla="*/ 1567559 h 7305087"/>
              <a:gd name="connsiteX989" fmla="*/ 4288509 w 8266922"/>
              <a:gd name="connsiteY989" fmla="*/ 1547998 h 7305087"/>
              <a:gd name="connsiteX990" fmla="*/ 4326580 w 8266922"/>
              <a:gd name="connsiteY990" fmla="*/ 1531810 h 7305087"/>
              <a:gd name="connsiteX991" fmla="*/ 4368202 w 8266922"/>
              <a:gd name="connsiteY991" fmla="*/ 1519078 h 7305087"/>
              <a:gd name="connsiteX992" fmla="*/ 4413507 w 8266922"/>
              <a:gd name="connsiteY992" fmla="*/ 1509883 h 7305087"/>
              <a:gd name="connsiteX993" fmla="*/ 4462628 w 8266922"/>
              <a:gd name="connsiteY993" fmla="*/ 1504306 h 7305087"/>
              <a:gd name="connsiteX994" fmla="*/ 462412 w 8266922"/>
              <a:gd name="connsiteY994" fmla="*/ 1502430 h 7305087"/>
              <a:gd name="connsiteX995" fmla="*/ 462412 w 8266922"/>
              <a:gd name="connsiteY995" fmla="*/ 1600921 h 7305087"/>
              <a:gd name="connsiteX996" fmla="*/ 413526 w 8266922"/>
              <a:gd name="connsiteY996" fmla="*/ 1603138 h 7305087"/>
              <a:gd name="connsiteX997" fmla="*/ 369246 w 8266922"/>
              <a:gd name="connsiteY997" fmla="*/ 1609705 h 7305087"/>
              <a:gd name="connsiteX998" fmla="*/ 329359 w 8266922"/>
              <a:gd name="connsiteY998" fmla="*/ 1620509 h 7305087"/>
              <a:gd name="connsiteX999" fmla="*/ 293653 w 8266922"/>
              <a:gd name="connsiteY999" fmla="*/ 1635428 h 7305087"/>
              <a:gd name="connsiteX1000" fmla="*/ 233938 w 8266922"/>
              <a:gd name="connsiteY1000" fmla="*/ 1677141 h 7305087"/>
              <a:gd name="connsiteX1001" fmla="*/ 188404 w 8266922"/>
              <a:gd name="connsiteY1001" fmla="*/ 1733900 h 7305087"/>
              <a:gd name="connsiteX1002" fmla="*/ 170425 w 8266922"/>
              <a:gd name="connsiteY1002" fmla="*/ 1767626 h 7305087"/>
              <a:gd name="connsiteX1003" fmla="*/ 155356 w 8266922"/>
              <a:gd name="connsiteY1003" fmla="*/ 1804759 h 7305087"/>
              <a:gd name="connsiteX1004" fmla="*/ 142983 w 8266922"/>
              <a:gd name="connsiteY1004" fmla="*/ 1845179 h 7305087"/>
              <a:gd name="connsiteX1005" fmla="*/ 133096 w 8266922"/>
              <a:gd name="connsiteY1005" fmla="*/ 1888770 h 7305087"/>
              <a:gd name="connsiteX1006" fmla="*/ 125482 w 8266922"/>
              <a:gd name="connsiteY1006" fmla="*/ 1935414 h 7305087"/>
              <a:gd name="connsiteX1007" fmla="*/ 119929 w 8266922"/>
              <a:gd name="connsiteY1007" fmla="*/ 1984990 h 7305087"/>
              <a:gd name="connsiteX1008" fmla="*/ 116225 w 8266922"/>
              <a:gd name="connsiteY1008" fmla="*/ 2037383 h 7305087"/>
              <a:gd name="connsiteX1009" fmla="*/ 114158 w 8266922"/>
              <a:gd name="connsiteY1009" fmla="*/ 2092472 h 7305087"/>
              <a:gd name="connsiteX1010" fmla="*/ 113516 w 8266922"/>
              <a:gd name="connsiteY1010" fmla="*/ 2150141 h 7305087"/>
              <a:gd name="connsiteX1011" fmla="*/ 114141 w 8266922"/>
              <a:gd name="connsiteY1011" fmla="*/ 2208380 h 7305087"/>
              <a:gd name="connsiteX1012" fmla="*/ 116163 w 8266922"/>
              <a:gd name="connsiteY1012" fmla="*/ 2264006 h 7305087"/>
              <a:gd name="connsiteX1013" fmla="*/ 119800 w 8266922"/>
              <a:gd name="connsiteY1013" fmla="*/ 2316901 h 7305087"/>
              <a:gd name="connsiteX1014" fmla="*/ 125270 w 8266922"/>
              <a:gd name="connsiteY1014" fmla="*/ 2366946 h 7305087"/>
              <a:gd name="connsiteX1015" fmla="*/ 132790 w 8266922"/>
              <a:gd name="connsiteY1015" fmla="*/ 2414022 h 7305087"/>
              <a:gd name="connsiteX1016" fmla="*/ 142580 w 8266922"/>
              <a:gd name="connsiteY1016" fmla="*/ 2458012 h 7305087"/>
              <a:gd name="connsiteX1017" fmla="*/ 154856 w 8266922"/>
              <a:gd name="connsiteY1017" fmla="*/ 2498797 h 7305087"/>
              <a:gd name="connsiteX1018" fmla="*/ 169838 w 8266922"/>
              <a:gd name="connsiteY1018" fmla="*/ 2536259 h 7305087"/>
              <a:gd name="connsiteX1019" fmla="*/ 187744 w 8266922"/>
              <a:gd name="connsiteY1019" fmla="*/ 2570280 h 7305087"/>
              <a:gd name="connsiteX1020" fmla="*/ 233198 w 8266922"/>
              <a:gd name="connsiteY1020" fmla="*/ 2627524 h 7305087"/>
              <a:gd name="connsiteX1021" fmla="*/ 292964 w 8266922"/>
              <a:gd name="connsiteY1021" fmla="*/ 2669584 h 7305087"/>
              <a:gd name="connsiteX1022" fmla="*/ 328759 w 8266922"/>
              <a:gd name="connsiteY1022" fmla="*/ 2684624 h 7305087"/>
              <a:gd name="connsiteX1023" fmla="*/ 368787 w 8266922"/>
              <a:gd name="connsiteY1023" fmla="*/ 2695513 h 7305087"/>
              <a:gd name="connsiteX1024" fmla="*/ 413265 w 8266922"/>
              <a:gd name="connsiteY1024" fmla="*/ 2702134 h 7305087"/>
              <a:gd name="connsiteX1025" fmla="*/ 462412 w 8266922"/>
              <a:gd name="connsiteY1025" fmla="*/ 2704367 h 7305087"/>
              <a:gd name="connsiteX1026" fmla="*/ 462412 w 8266922"/>
              <a:gd name="connsiteY1026" fmla="*/ 2801189 h 7305087"/>
              <a:gd name="connsiteX1027" fmla="*/ 408890 w 8266922"/>
              <a:gd name="connsiteY1027" fmla="*/ 2799300 h 7305087"/>
              <a:gd name="connsiteX1028" fmla="*/ 359409 w 8266922"/>
              <a:gd name="connsiteY1028" fmla="*/ 2793687 h 7305087"/>
              <a:gd name="connsiteX1029" fmla="*/ 313830 w 8266922"/>
              <a:gd name="connsiteY1029" fmla="*/ 2784433 h 7305087"/>
              <a:gd name="connsiteX1030" fmla="*/ 272011 w 8266922"/>
              <a:gd name="connsiteY1030" fmla="*/ 2771621 h 7305087"/>
              <a:gd name="connsiteX1031" fmla="*/ 233814 w 8266922"/>
              <a:gd name="connsiteY1031" fmla="*/ 2755334 h 7305087"/>
              <a:gd name="connsiteX1032" fmla="*/ 199097 w 8266922"/>
              <a:gd name="connsiteY1032" fmla="*/ 2735653 h 7305087"/>
              <a:gd name="connsiteX1033" fmla="*/ 167721 w 8266922"/>
              <a:gd name="connsiteY1033" fmla="*/ 2712663 h 7305087"/>
              <a:gd name="connsiteX1034" fmla="*/ 139544 w 8266922"/>
              <a:gd name="connsiteY1034" fmla="*/ 2686444 h 7305087"/>
              <a:gd name="connsiteX1035" fmla="*/ 114428 w 8266922"/>
              <a:gd name="connsiteY1035" fmla="*/ 2657081 h 7305087"/>
              <a:gd name="connsiteX1036" fmla="*/ 92232 w 8266922"/>
              <a:gd name="connsiteY1036" fmla="*/ 2624655 h 7305087"/>
              <a:gd name="connsiteX1037" fmla="*/ 72814 w 8266922"/>
              <a:gd name="connsiteY1037" fmla="*/ 2589249 h 7305087"/>
              <a:gd name="connsiteX1038" fmla="*/ 56037 w 8266922"/>
              <a:gd name="connsiteY1038" fmla="*/ 2550946 h 7305087"/>
              <a:gd name="connsiteX1039" fmla="*/ 41758 w 8266922"/>
              <a:gd name="connsiteY1039" fmla="*/ 2509828 h 7305087"/>
              <a:gd name="connsiteX1040" fmla="*/ 29838 w 8266922"/>
              <a:gd name="connsiteY1040" fmla="*/ 2465979 h 7305087"/>
              <a:gd name="connsiteX1041" fmla="*/ 20136 w 8266922"/>
              <a:gd name="connsiteY1041" fmla="*/ 2419480 h 7305087"/>
              <a:gd name="connsiteX1042" fmla="*/ 12513 w 8266922"/>
              <a:gd name="connsiteY1042" fmla="*/ 2370415 h 7305087"/>
              <a:gd name="connsiteX1043" fmla="*/ 6828 w 8266922"/>
              <a:gd name="connsiteY1043" fmla="*/ 2318865 h 7305087"/>
              <a:gd name="connsiteX1044" fmla="*/ 2941 w 8266922"/>
              <a:gd name="connsiteY1044" fmla="*/ 2264915 h 7305087"/>
              <a:gd name="connsiteX1045" fmla="*/ 711 w 8266922"/>
              <a:gd name="connsiteY1045" fmla="*/ 2208645 h 7305087"/>
              <a:gd name="connsiteX1046" fmla="*/ 0 w 8266922"/>
              <a:gd name="connsiteY1046" fmla="*/ 2150141 h 7305087"/>
              <a:gd name="connsiteX1047" fmla="*/ 735 w 8266922"/>
              <a:gd name="connsiteY1047" fmla="*/ 2091886 h 7305087"/>
              <a:gd name="connsiteX1048" fmla="*/ 3031 w 8266922"/>
              <a:gd name="connsiteY1048" fmla="*/ 2035865 h 7305087"/>
              <a:gd name="connsiteX1049" fmla="*/ 7020 w 8266922"/>
              <a:gd name="connsiteY1049" fmla="*/ 1982160 h 7305087"/>
              <a:gd name="connsiteX1050" fmla="*/ 12834 w 8266922"/>
              <a:gd name="connsiteY1050" fmla="*/ 1930854 h 7305087"/>
              <a:gd name="connsiteX1051" fmla="*/ 20606 w 8266922"/>
              <a:gd name="connsiteY1051" fmla="*/ 1882026 h 7305087"/>
              <a:gd name="connsiteX1052" fmla="*/ 30469 w 8266922"/>
              <a:gd name="connsiteY1052" fmla="*/ 1835759 h 7305087"/>
              <a:gd name="connsiteX1053" fmla="*/ 42555 w 8266922"/>
              <a:gd name="connsiteY1053" fmla="*/ 1792133 h 7305087"/>
              <a:gd name="connsiteX1054" fmla="*/ 56998 w 8266922"/>
              <a:gd name="connsiteY1054" fmla="*/ 1751231 h 7305087"/>
              <a:gd name="connsiteX1055" fmla="*/ 73930 w 8266922"/>
              <a:gd name="connsiteY1055" fmla="*/ 1713133 h 7305087"/>
              <a:gd name="connsiteX1056" fmla="*/ 93484 w 8266922"/>
              <a:gd name="connsiteY1056" fmla="*/ 1677921 h 7305087"/>
              <a:gd name="connsiteX1057" fmla="*/ 115792 w 8266922"/>
              <a:gd name="connsiteY1057" fmla="*/ 1645676 h 7305087"/>
              <a:gd name="connsiteX1058" fmla="*/ 140987 w 8266922"/>
              <a:gd name="connsiteY1058" fmla="*/ 1616479 h 7305087"/>
              <a:gd name="connsiteX1059" fmla="*/ 169202 w 8266922"/>
              <a:gd name="connsiteY1059" fmla="*/ 1590414 h 7305087"/>
              <a:gd name="connsiteX1060" fmla="*/ 200570 w 8266922"/>
              <a:gd name="connsiteY1060" fmla="*/ 1567559 h 7305087"/>
              <a:gd name="connsiteX1061" fmla="*/ 235222 w 8266922"/>
              <a:gd name="connsiteY1061" fmla="*/ 1547998 h 7305087"/>
              <a:gd name="connsiteX1062" fmla="*/ 273293 w 8266922"/>
              <a:gd name="connsiteY1062" fmla="*/ 1531810 h 7305087"/>
              <a:gd name="connsiteX1063" fmla="*/ 314915 w 8266922"/>
              <a:gd name="connsiteY1063" fmla="*/ 1519078 h 7305087"/>
              <a:gd name="connsiteX1064" fmla="*/ 360220 w 8266922"/>
              <a:gd name="connsiteY1064" fmla="*/ 1509883 h 7305087"/>
              <a:gd name="connsiteX1065" fmla="*/ 409342 w 8266922"/>
              <a:gd name="connsiteY1065" fmla="*/ 1504306 h 7305087"/>
              <a:gd name="connsiteX1066" fmla="*/ 5280527 w 8266922"/>
              <a:gd name="connsiteY1066" fmla="*/ 871409 h 7305087"/>
              <a:gd name="connsiteX1067" fmla="*/ 6185319 w 8266922"/>
              <a:gd name="connsiteY1067" fmla="*/ 871409 h 7305087"/>
              <a:gd name="connsiteX1068" fmla="*/ 6185319 w 8266922"/>
              <a:gd name="connsiteY1068" fmla="*/ 978246 h 7305087"/>
              <a:gd name="connsiteX1069" fmla="*/ 5280527 w 8266922"/>
              <a:gd name="connsiteY1069" fmla="*/ 978246 h 7305087"/>
              <a:gd name="connsiteX1070" fmla="*/ 1874462 w 8266922"/>
              <a:gd name="connsiteY1070" fmla="*/ 871408 h 7305087"/>
              <a:gd name="connsiteX1071" fmla="*/ 2779254 w 8266922"/>
              <a:gd name="connsiteY1071" fmla="*/ 871408 h 7305087"/>
              <a:gd name="connsiteX1072" fmla="*/ 2779254 w 8266922"/>
              <a:gd name="connsiteY1072" fmla="*/ 978246 h 7305087"/>
              <a:gd name="connsiteX1073" fmla="*/ 1874462 w 8266922"/>
              <a:gd name="connsiteY1073" fmla="*/ 978246 h 7305087"/>
              <a:gd name="connsiteX1074" fmla="*/ 5280527 w 8266922"/>
              <a:gd name="connsiteY1074" fmla="*/ 522512 h 7305087"/>
              <a:gd name="connsiteX1075" fmla="*/ 6185319 w 8266922"/>
              <a:gd name="connsiteY1075" fmla="*/ 522512 h 7305087"/>
              <a:gd name="connsiteX1076" fmla="*/ 6185319 w 8266922"/>
              <a:gd name="connsiteY1076" fmla="*/ 629349 h 7305087"/>
              <a:gd name="connsiteX1077" fmla="*/ 5280527 w 8266922"/>
              <a:gd name="connsiteY1077" fmla="*/ 629349 h 7305087"/>
              <a:gd name="connsiteX1078" fmla="*/ 1874462 w 8266922"/>
              <a:gd name="connsiteY1078" fmla="*/ 522511 h 7305087"/>
              <a:gd name="connsiteX1079" fmla="*/ 2779254 w 8266922"/>
              <a:gd name="connsiteY1079" fmla="*/ 522511 h 7305087"/>
              <a:gd name="connsiteX1080" fmla="*/ 2779254 w 8266922"/>
              <a:gd name="connsiteY1080" fmla="*/ 629349 h 7305087"/>
              <a:gd name="connsiteX1081" fmla="*/ 1874462 w 8266922"/>
              <a:gd name="connsiteY1081" fmla="*/ 629349 h 7305087"/>
              <a:gd name="connsiteX1082" fmla="*/ 4621539 w 8266922"/>
              <a:gd name="connsiteY1082" fmla="*/ 116859 h 7305087"/>
              <a:gd name="connsiteX1083" fmla="*/ 4740064 w 8266922"/>
              <a:gd name="connsiteY1083" fmla="*/ 116859 h 7305087"/>
              <a:gd name="connsiteX1084" fmla="*/ 4386160 w 8266922"/>
              <a:gd name="connsiteY1084" fmla="*/ 1185248 h 7305087"/>
              <a:gd name="connsiteX1085" fmla="*/ 4264297 w 8266922"/>
              <a:gd name="connsiteY1085" fmla="*/ 1185248 h 7305087"/>
              <a:gd name="connsiteX1086" fmla="*/ 3314617 w 8266922"/>
              <a:gd name="connsiteY1086" fmla="*/ 116858 h 7305087"/>
              <a:gd name="connsiteX1087" fmla="*/ 3439819 w 8266922"/>
              <a:gd name="connsiteY1087" fmla="*/ 116858 h 7305087"/>
              <a:gd name="connsiteX1088" fmla="*/ 3795392 w 8266922"/>
              <a:gd name="connsiteY1088" fmla="*/ 1185248 h 7305087"/>
              <a:gd name="connsiteX1089" fmla="*/ 3670190 w 8266922"/>
              <a:gd name="connsiteY1089" fmla="*/ 1185248 h 7305087"/>
              <a:gd name="connsiteX1090" fmla="*/ 1312489 w 8266922"/>
              <a:gd name="connsiteY1090" fmla="*/ 1 h 7305087"/>
              <a:gd name="connsiteX1091" fmla="*/ 1312489 w 8266922"/>
              <a:gd name="connsiteY1091" fmla="*/ 98493 h 7305087"/>
              <a:gd name="connsiteX1092" fmla="*/ 1263604 w 8266922"/>
              <a:gd name="connsiteY1092" fmla="*/ 100709 h 7305087"/>
              <a:gd name="connsiteX1093" fmla="*/ 1219322 w 8266922"/>
              <a:gd name="connsiteY1093" fmla="*/ 107277 h 7305087"/>
              <a:gd name="connsiteX1094" fmla="*/ 1179437 w 8266922"/>
              <a:gd name="connsiteY1094" fmla="*/ 118080 h 7305087"/>
              <a:gd name="connsiteX1095" fmla="*/ 1143731 w 8266922"/>
              <a:gd name="connsiteY1095" fmla="*/ 132999 h 7305087"/>
              <a:gd name="connsiteX1096" fmla="*/ 1084016 w 8266922"/>
              <a:gd name="connsiteY1096" fmla="*/ 174712 h 7305087"/>
              <a:gd name="connsiteX1097" fmla="*/ 1038482 w 8266922"/>
              <a:gd name="connsiteY1097" fmla="*/ 231471 h 7305087"/>
              <a:gd name="connsiteX1098" fmla="*/ 1020503 w 8266922"/>
              <a:gd name="connsiteY1098" fmla="*/ 265197 h 7305087"/>
              <a:gd name="connsiteX1099" fmla="*/ 1005433 w 8266922"/>
              <a:gd name="connsiteY1099" fmla="*/ 302330 h 7305087"/>
              <a:gd name="connsiteX1100" fmla="*/ 993061 w 8266922"/>
              <a:gd name="connsiteY1100" fmla="*/ 342750 h 7305087"/>
              <a:gd name="connsiteX1101" fmla="*/ 983172 w 8266922"/>
              <a:gd name="connsiteY1101" fmla="*/ 386342 h 7305087"/>
              <a:gd name="connsiteX1102" fmla="*/ 975559 w 8266922"/>
              <a:gd name="connsiteY1102" fmla="*/ 432985 h 7305087"/>
              <a:gd name="connsiteX1103" fmla="*/ 970006 w 8266922"/>
              <a:gd name="connsiteY1103" fmla="*/ 482562 h 7305087"/>
              <a:gd name="connsiteX1104" fmla="*/ 966302 w 8266922"/>
              <a:gd name="connsiteY1104" fmla="*/ 534954 h 7305087"/>
              <a:gd name="connsiteX1105" fmla="*/ 964235 w 8266922"/>
              <a:gd name="connsiteY1105" fmla="*/ 590043 h 7305087"/>
              <a:gd name="connsiteX1106" fmla="*/ 963593 w 8266922"/>
              <a:gd name="connsiteY1106" fmla="*/ 647712 h 7305087"/>
              <a:gd name="connsiteX1107" fmla="*/ 964219 w 8266922"/>
              <a:gd name="connsiteY1107" fmla="*/ 705953 h 7305087"/>
              <a:gd name="connsiteX1108" fmla="*/ 966241 w 8266922"/>
              <a:gd name="connsiteY1108" fmla="*/ 761579 h 7305087"/>
              <a:gd name="connsiteX1109" fmla="*/ 969878 w 8266922"/>
              <a:gd name="connsiteY1109" fmla="*/ 814474 h 7305087"/>
              <a:gd name="connsiteX1110" fmla="*/ 975347 w 8266922"/>
              <a:gd name="connsiteY1110" fmla="*/ 864518 h 7305087"/>
              <a:gd name="connsiteX1111" fmla="*/ 982868 w 8266922"/>
              <a:gd name="connsiteY1111" fmla="*/ 911596 h 7305087"/>
              <a:gd name="connsiteX1112" fmla="*/ 992658 w 8266922"/>
              <a:gd name="connsiteY1112" fmla="*/ 955586 h 7305087"/>
              <a:gd name="connsiteX1113" fmla="*/ 1004934 w 8266922"/>
              <a:gd name="connsiteY1113" fmla="*/ 996370 h 7305087"/>
              <a:gd name="connsiteX1114" fmla="*/ 1019916 w 8266922"/>
              <a:gd name="connsiteY1114" fmla="*/ 1033831 h 7305087"/>
              <a:gd name="connsiteX1115" fmla="*/ 1037822 w 8266922"/>
              <a:gd name="connsiteY1115" fmla="*/ 1067851 h 7305087"/>
              <a:gd name="connsiteX1116" fmla="*/ 1083276 w 8266922"/>
              <a:gd name="connsiteY1116" fmla="*/ 1125096 h 7305087"/>
              <a:gd name="connsiteX1117" fmla="*/ 1143042 w 8266922"/>
              <a:gd name="connsiteY1117" fmla="*/ 1167155 h 7305087"/>
              <a:gd name="connsiteX1118" fmla="*/ 1178837 w 8266922"/>
              <a:gd name="connsiteY1118" fmla="*/ 1182194 h 7305087"/>
              <a:gd name="connsiteX1119" fmla="*/ 1218864 w 8266922"/>
              <a:gd name="connsiteY1119" fmla="*/ 1193084 h 7305087"/>
              <a:gd name="connsiteX1120" fmla="*/ 1263342 w 8266922"/>
              <a:gd name="connsiteY1120" fmla="*/ 1199705 h 7305087"/>
              <a:gd name="connsiteX1121" fmla="*/ 1312489 w 8266922"/>
              <a:gd name="connsiteY1121" fmla="*/ 1201938 h 7305087"/>
              <a:gd name="connsiteX1122" fmla="*/ 1312489 w 8266922"/>
              <a:gd name="connsiteY1122" fmla="*/ 1298761 h 7305087"/>
              <a:gd name="connsiteX1123" fmla="*/ 1258966 w 8266922"/>
              <a:gd name="connsiteY1123" fmla="*/ 1296873 h 7305087"/>
              <a:gd name="connsiteX1124" fmla="*/ 1209487 w 8266922"/>
              <a:gd name="connsiteY1124" fmla="*/ 1291259 h 7305087"/>
              <a:gd name="connsiteX1125" fmla="*/ 1163908 w 8266922"/>
              <a:gd name="connsiteY1125" fmla="*/ 1282006 h 7305087"/>
              <a:gd name="connsiteX1126" fmla="*/ 1122089 w 8266922"/>
              <a:gd name="connsiteY1126" fmla="*/ 1269194 h 7305087"/>
              <a:gd name="connsiteX1127" fmla="*/ 1083893 w 8266922"/>
              <a:gd name="connsiteY1127" fmla="*/ 1252907 h 7305087"/>
              <a:gd name="connsiteX1128" fmla="*/ 1049176 w 8266922"/>
              <a:gd name="connsiteY1128" fmla="*/ 1233225 h 7305087"/>
              <a:gd name="connsiteX1129" fmla="*/ 1017798 w 8266922"/>
              <a:gd name="connsiteY1129" fmla="*/ 1210234 h 7305087"/>
              <a:gd name="connsiteX1130" fmla="*/ 989622 w 8266922"/>
              <a:gd name="connsiteY1130" fmla="*/ 1184015 h 7305087"/>
              <a:gd name="connsiteX1131" fmla="*/ 964506 w 8266922"/>
              <a:gd name="connsiteY1131" fmla="*/ 1154652 h 7305087"/>
              <a:gd name="connsiteX1132" fmla="*/ 942309 w 8266922"/>
              <a:gd name="connsiteY1132" fmla="*/ 1122226 h 7305087"/>
              <a:gd name="connsiteX1133" fmla="*/ 922891 w 8266922"/>
              <a:gd name="connsiteY1133" fmla="*/ 1086820 h 7305087"/>
              <a:gd name="connsiteX1134" fmla="*/ 906113 w 8266922"/>
              <a:gd name="connsiteY1134" fmla="*/ 1048518 h 7305087"/>
              <a:gd name="connsiteX1135" fmla="*/ 891835 w 8266922"/>
              <a:gd name="connsiteY1135" fmla="*/ 1007402 h 7305087"/>
              <a:gd name="connsiteX1136" fmla="*/ 879914 w 8266922"/>
              <a:gd name="connsiteY1136" fmla="*/ 963551 h 7305087"/>
              <a:gd name="connsiteX1137" fmla="*/ 870214 w 8266922"/>
              <a:gd name="connsiteY1137" fmla="*/ 917053 h 7305087"/>
              <a:gd name="connsiteX1138" fmla="*/ 862590 w 8266922"/>
              <a:gd name="connsiteY1138" fmla="*/ 867987 h 7305087"/>
              <a:gd name="connsiteX1139" fmla="*/ 856906 w 8266922"/>
              <a:gd name="connsiteY1139" fmla="*/ 816438 h 7305087"/>
              <a:gd name="connsiteX1140" fmla="*/ 853019 w 8266922"/>
              <a:gd name="connsiteY1140" fmla="*/ 762487 h 7305087"/>
              <a:gd name="connsiteX1141" fmla="*/ 850789 w 8266922"/>
              <a:gd name="connsiteY1141" fmla="*/ 706217 h 7305087"/>
              <a:gd name="connsiteX1142" fmla="*/ 850077 w 8266922"/>
              <a:gd name="connsiteY1142" fmla="*/ 647712 h 7305087"/>
              <a:gd name="connsiteX1143" fmla="*/ 850812 w 8266922"/>
              <a:gd name="connsiteY1143" fmla="*/ 589457 h 7305087"/>
              <a:gd name="connsiteX1144" fmla="*/ 853109 w 8266922"/>
              <a:gd name="connsiteY1144" fmla="*/ 533437 h 7305087"/>
              <a:gd name="connsiteX1145" fmla="*/ 857098 w 8266922"/>
              <a:gd name="connsiteY1145" fmla="*/ 479733 h 7305087"/>
              <a:gd name="connsiteX1146" fmla="*/ 862911 w 8266922"/>
              <a:gd name="connsiteY1146" fmla="*/ 428425 h 7305087"/>
              <a:gd name="connsiteX1147" fmla="*/ 870684 w 8266922"/>
              <a:gd name="connsiteY1147" fmla="*/ 379597 h 7305087"/>
              <a:gd name="connsiteX1148" fmla="*/ 880547 w 8266922"/>
              <a:gd name="connsiteY1148" fmla="*/ 333331 h 7305087"/>
              <a:gd name="connsiteX1149" fmla="*/ 892633 w 8266922"/>
              <a:gd name="connsiteY1149" fmla="*/ 289705 h 7305087"/>
              <a:gd name="connsiteX1150" fmla="*/ 907076 w 8266922"/>
              <a:gd name="connsiteY1150" fmla="*/ 248802 h 7305087"/>
              <a:gd name="connsiteX1151" fmla="*/ 924008 w 8266922"/>
              <a:gd name="connsiteY1151" fmla="*/ 210704 h 7305087"/>
              <a:gd name="connsiteX1152" fmla="*/ 943561 w 8266922"/>
              <a:gd name="connsiteY1152" fmla="*/ 175493 h 7305087"/>
              <a:gd name="connsiteX1153" fmla="*/ 965869 w 8266922"/>
              <a:gd name="connsiteY1153" fmla="*/ 143247 h 7305087"/>
              <a:gd name="connsiteX1154" fmla="*/ 991066 w 8266922"/>
              <a:gd name="connsiteY1154" fmla="*/ 114051 h 7305087"/>
              <a:gd name="connsiteX1155" fmla="*/ 1019280 w 8266922"/>
              <a:gd name="connsiteY1155" fmla="*/ 87986 h 7305087"/>
              <a:gd name="connsiteX1156" fmla="*/ 1050647 w 8266922"/>
              <a:gd name="connsiteY1156" fmla="*/ 65131 h 7305087"/>
              <a:gd name="connsiteX1157" fmla="*/ 1085300 w 8266922"/>
              <a:gd name="connsiteY1157" fmla="*/ 45570 h 7305087"/>
              <a:gd name="connsiteX1158" fmla="*/ 1123371 w 8266922"/>
              <a:gd name="connsiteY1158" fmla="*/ 29382 h 7305087"/>
              <a:gd name="connsiteX1159" fmla="*/ 1164993 w 8266922"/>
              <a:gd name="connsiteY1159" fmla="*/ 16650 h 7305087"/>
              <a:gd name="connsiteX1160" fmla="*/ 1210299 w 8266922"/>
              <a:gd name="connsiteY1160" fmla="*/ 7455 h 7305087"/>
              <a:gd name="connsiteX1161" fmla="*/ 1259419 w 8266922"/>
              <a:gd name="connsiteY1161" fmla="*/ 1877 h 7305087"/>
              <a:gd name="connsiteX1162" fmla="*/ 6747401 w 8266922"/>
              <a:gd name="connsiteY1162" fmla="*/ 0 h 7305087"/>
              <a:gd name="connsiteX1163" fmla="*/ 6800471 w 8266922"/>
              <a:gd name="connsiteY1163" fmla="*/ 1876 h 7305087"/>
              <a:gd name="connsiteX1164" fmla="*/ 6849592 w 8266922"/>
              <a:gd name="connsiteY1164" fmla="*/ 7453 h 7305087"/>
              <a:gd name="connsiteX1165" fmla="*/ 6894897 w 8266922"/>
              <a:gd name="connsiteY1165" fmla="*/ 16648 h 7305087"/>
              <a:gd name="connsiteX1166" fmla="*/ 6936519 w 8266922"/>
              <a:gd name="connsiteY1166" fmla="*/ 29380 h 7305087"/>
              <a:gd name="connsiteX1167" fmla="*/ 6974590 w 8266922"/>
              <a:gd name="connsiteY1167" fmla="*/ 45568 h 7305087"/>
              <a:gd name="connsiteX1168" fmla="*/ 7009243 w 8266922"/>
              <a:gd name="connsiteY1168" fmla="*/ 65130 h 7305087"/>
              <a:gd name="connsiteX1169" fmla="*/ 7040610 w 8266922"/>
              <a:gd name="connsiteY1169" fmla="*/ 87984 h 7305087"/>
              <a:gd name="connsiteX1170" fmla="*/ 7068825 w 8266922"/>
              <a:gd name="connsiteY1170" fmla="*/ 114050 h 7305087"/>
              <a:gd name="connsiteX1171" fmla="*/ 7094021 w 8266922"/>
              <a:gd name="connsiteY1171" fmla="*/ 143246 h 7305087"/>
              <a:gd name="connsiteX1172" fmla="*/ 7116329 w 8266922"/>
              <a:gd name="connsiteY1172" fmla="*/ 175491 h 7305087"/>
              <a:gd name="connsiteX1173" fmla="*/ 7135882 w 8266922"/>
              <a:gd name="connsiteY1173" fmla="*/ 210703 h 7305087"/>
              <a:gd name="connsiteX1174" fmla="*/ 7152814 w 8266922"/>
              <a:gd name="connsiteY1174" fmla="*/ 248801 h 7305087"/>
              <a:gd name="connsiteX1175" fmla="*/ 7167257 w 8266922"/>
              <a:gd name="connsiteY1175" fmla="*/ 289704 h 7305087"/>
              <a:gd name="connsiteX1176" fmla="*/ 7179344 w 8266922"/>
              <a:gd name="connsiteY1176" fmla="*/ 333329 h 7305087"/>
              <a:gd name="connsiteX1177" fmla="*/ 7189207 w 8266922"/>
              <a:gd name="connsiteY1177" fmla="*/ 379596 h 7305087"/>
              <a:gd name="connsiteX1178" fmla="*/ 7196979 w 8266922"/>
              <a:gd name="connsiteY1178" fmla="*/ 428424 h 7305087"/>
              <a:gd name="connsiteX1179" fmla="*/ 7202793 w 8266922"/>
              <a:gd name="connsiteY1179" fmla="*/ 479731 h 7305087"/>
              <a:gd name="connsiteX1180" fmla="*/ 7206781 w 8266922"/>
              <a:gd name="connsiteY1180" fmla="*/ 533435 h 7305087"/>
              <a:gd name="connsiteX1181" fmla="*/ 7209077 w 8266922"/>
              <a:gd name="connsiteY1181" fmla="*/ 589455 h 7305087"/>
              <a:gd name="connsiteX1182" fmla="*/ 7209813 w 8266922"/>
              <a:gd name="connsiteY1182" fmla="*/ 647711 h 7305087"/>
              <a:gd name="connsiteX1183" fmla="*/ 7209113 w 8266922"/>
              <a:gd name="connsiteY1183" fmla="*/ 706216 h 7305087"/>
              <a:gd name="connsiteX1184" fmla="*/ 7206916 w 8266922"/>
              <a:gd name="connsiteY1184" fmla="*/ 762486 h 7305087"/>
              <a:gd name="connsiteX1185" fmla="*/ 7203080 w 8266922"/>
              <a:gd name="connsiteY1185" fmla="*/ 816437 h 7305087"/>
              <a:gd name="connsiteX1186" fmla="*/ 7197459 w 8266922"/>
              <a:gd name="connsiteY1186" fmla="*/ 867986 h 7305087"/>
              <a:gd name="connsiteX1187" fmla="*/ 7189911 w 8266922"/>
              <a:gd name="connsiteY1187" fmla="*/ 917051 h 7305087"/>
              <a:gd name="connsiteX1188" fmla="*/ 7180290 w 8266922"/>
              <a:gd name="connsiteY1188" fmla="*/ 963550 h 7305087"/>
              <a:gd name="connsiteX1189" fmla="*/ 7168453 w 8266922"/>
              <a:gd name="connsiteY1189" fmla="*/ 1007400 h 7305087"/>
              <a:gd name="connsiteX1190" fmla="*/ 7154256 w 8266922"/>
              <a:gd name="connsiteY1190" fmla="*/ 1048517 h 7305087"/>
              <a:gd name="connsiteX1191" fmla="*/ 7137555 w 8266922"/>
              <a:gd name="connsiteY1191" fmla="*/ 1086819 h 7305087"/>
              <a:gd name="connsiteX1192" fmla="*/ 7118206 w 8266922"/>
              <a:gd name="connsiteY1192" fmla="*/ 1122225 h 7305087"/>
              <a:gd name="connsiteX1193" fmla="*/ 7096065 w 8266922"/>
              <a:gd name="connsiteY1193" fmla="*/ 1154652 h 7305087"/>
              <a:gd name="connsiteX1194" fmla="*/ 7070989 w 8266922"/>
              <a:gd name="connsiteY1194" fmla="*/ 1184015 h 7305087"/>
              <a:gd name="connsiteX1195" fmla="*/ 7042832 w 8266922"/>
              <a:gd name="connsiteY1195" fmla="*/ 1210234 h 7305087"/>
              <a:gd name="connsiteX1196" fmla="*/ 7011451 w 8266922"/>
              <a:gd name="connsiteY1196" fmla="*/ 1233224 h 7305087"/>
              <a:gd name="connsiteX1197" fmla="*/ 6976702 w 8266922"/>
              <a:gd name="connsiteY1197" fmla="*/ 1252906 h 7305087"/>
              <a:gd name="connsiteX1198" fmla="*/ 6938442 w 8266922"/>
              <a:gd name="connsiteY1198" fmla="*/ 1269193 h 7305087"/>
              <a:gd name="connsiteX1199" fmla="*/ 6896525 w 8266922"/>
              <a:gd name="connsiteY1199" fmla="*/ 1282004 h 7305087"/>
              <a:gd name="connsiteX1200" fmla="*/ 6850809 w 8266922"/>
              <a:gd name="connsiteY1200" fmla="*/ 1291259 h 7305087"/>
              <a:gd name="connsiteX1201" fmla="*/ 6801149 w 8266922"/>
              <a:gd name="connsiteY1201" fmla="*/ 1296872 h 7305087"/>
              <a:gd name="connsiteX1202" fmla="*/ 6747401 w 8266922"/>
              <a:gd name="connsiteY1202" fmla="*/ 1298760 h 7305087"/>
              <a:gd name="connsiteX1203" fmla="*/ 6747401 w 8266922"/>
              <a:gd name="connsiteY1203" fmla="*/ 1201937 h 7305087"/>
              <a:gd name="connsiteX1204" fmla="*/ 6797086 w 8266922"/>
              <a:gd name="connsiteY1204" fmla="*/ 1199704 h 7305087"/>
              <a:gd name="connsiteX1205" fmla="*/ 6842006 w 8266922"/>
              <a:gd name="connsiteY1205" fmla="*/ 1193083 h 7305087"/>
              <a:gd name="connsiteX1206" fmla="*/ 6882389 w 8266922"/>
              <a:gd name="connsiteY1206" fmla="*/ 1182194 h 7305087"/>
              <a:gd name="connsiteX1207" fmla="*/ 6918460 w 8266922"/>
              <a:gd name="connsiteY1207" fmla="*/ 1167155 h 7305087"/>
              <a:gd name="connsiteX1208" fmla="*/ 6978571 w 8266922"/>
              <a:gd name="connsiteY1208" fmla="*/ 1125095 h 7305087"/>
              <a:gd name="connsiteX1209" fmla="*/ 7024150 w 8266922"/>
              <a:gd name="connsiteY1209" fmla="*/ 1067850 h 7305087"/>
              <a:gd name="connsiteX1210" fmla="*/ 7042056 w 8266922"/>
              <a:gd name="connsiteY1210" fmla="*/ 1033830 h 7305087"/>
              <a:gd name="connsiteX1211" fmla="*/ 7057008 w 8266922"/>
              <a:gd name="connsiteY1211" fmla="*/ 996368 h 7305087"/>
              <a:gd name="connsiteX1212" fmla="*/ 7069232 w 8266922"/>
              <a:gd name="connsiteY1212" fmla="*/ 955584 h 7305087"/>
              <a:gd name="connsiteX1213" fmla="*/ 7078955 w 8266922"/>
              <a:gd name="connsiteY1213" fmla="*/ 911594 h 7305087"/>
              <a:gd name="connsiteX1214" fmla="*/ 7086402 w 8266922"/>
              <a:gd name="connsiteY1214" fmla="*/ 864517 h 7305087"/>
              <a:gd name="connsiteX1215" fmla="*/ 7091801 w 8266922"/>
              <a:gd name="connsiteY1215" fmla="*/ 814473 h 7305087"/>
              <a:gd name="connsiteX1216" fmla="*/ 7095377 w 8266922"/>
              <a:gd name="connsiteY1216" fmla="*/ 761578 h 7305087"/>
              <a:gd name="connsiteX1217" fmla="*/ 7097356 w 8266922"/>
              <a:gd name="connsiteY1217" fmla="*/ 705951 h 7305087"/>
              <a:gd name="connsiteX1218" fmla="*/ 7097966 w 8266922"/>
              <a:gd name="connsiteY1218" fmla="*/ 647711 h 7305087"/>
              <a:gd name="connsiteX1219" fmla="*/ 7097324 w 8266922"/>
              <a:gd name="connsiteY1219" fmla="*/ 590042 h 7305087"/>
              <a:gd name="connsiteX1220" fmla="*/ 7095254 w 8266922"/>
              <a:gd name="connsiteY1220" fmla="*/ 534953 h 7305087"/>
              <a:gd name="connsiteX1221" fmla="*/ 7091544 w 8266922"/>
              <a:gd name="connsiteY1221" fmla="*/ 482560 h 7305087"/>
              <a:gd name="connsiteX1222" fmla="*/ 7085978 w 8266922"/>
              <a:gd name="connsiteY1222" fmla="*/ 432984 h 7305087"/>
              <a:gd name="connsiteX1223" fmla="*/ 7078343 w 8266922"/>
              <a:gd name="connsiteY1223" fmla="*/ 386340 h 7305087"/>
              <a:gd name="connsiteX1224" fmla="*/ 7068425 w 8266922"/>
              <a:gd name="connsiteY1224" fmla="*/ 342749 h 7305087"/>
              <a:gd name="connsiteX1225" fmla="*/ 7056009 w 8266922"/>
              <a:gd name="connsiteY1225" fmla="*/ 302328 h 7305087"/>
              <a:gd name="connsiteX1226" fmla="*/ 7040882 w 8266922"/>
              <a:gd name="connsiteY1226" fmla="*/ 265196 h 7305087"/>
              <a:gd name="connsiteX1227" fmla="*/ 7022829 w 8266922"/>
              <a:gd name="connsiteY1227" fmla="*/ 231470 h 7305087"/>
              <a:gd name="connsiteX1228" fmla="*/ 6977091 w 8266922"/>
              <a:gd name="connsiteY1228" fmla="*/ 174711 h 7305087"/>
              <a:gd name="connsiteX1229" fmla="*/ 6917082 w 8266922"/>
              <a:gd name="connsiteY1229" fmla="*/ 132998 h 7305087"/>
              <a:gd name="connsiteX1230" fmla="*/ 6881190 w 8266922"/>
              <a:gd name="connsiteY1230" fmla="*/ 118079 h 7305087"/>
              <a:gd name="connsiteX1231" fmla="*/ 6841089 w 8266922"/>
              <a:gd name="connsiteY1231" fmla="*/ 107276 h 7305087"/>
              <a:gd name="connsiteX1232" fmla="*/ 6796564 w 8266922"/>
              <a:gd name="connsiteY1232" fmla="*/ 100708 h 7305087"/>
              <a:gd name="connsiteX1233" fmla="*/ 6747401 w 8266922"/>
              <a:gd name="connsiteY1233" fmla="*/ 98492 h 73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Lst>
            <a:rect l="l" t="t" r="r" b="b"/>
            <a:pathLst>
              <a:path w="8266922" h="7305087">
                <a:moveTo>
                  <a:pt x="5241587" y="7031344"/>
                </a:moveTo>
                <a:lnTo>
                  <a:pt x="5448586" y="7031344"/>
                </a:lnTo>
                <a:lnTo>
                  <a:pt x="5448586" y="7204957"/>
                </a:lnTo>
                <a:lnTo>
                  <a:pt x="5241587" y="7204957"/>
                </a:lnTo>
                <a:close/>
                <a:moveTo>
                  <a:pt x="2946862" y="7031344"/>
                </a:moveTo>
                <a:lnTo>
                  <a:pt x="3153861" y="7031344"/>
                </a:lnTo>
                <a:lnTo>
                  <a:pt x="3153861" y="7204957"/>
                </a:lnTo>
                <a:lnTo>
                  <a:pt x="2946862" y="7204957"/>
                </a:lnTo>
                <a:close/>
                <a:moveTo>
                  <a:pt x="4247643" y="6016037"/>
                </a:moveTo>
                <a:lnTo>
                  <a:pt x="4621582" y="6016037"/>
                </a:lnTo>
                <a:lnTo>
                  <a:pt x="4621582" y="6111287"/>
                </a:lnTo>
                <a:lnTo>
                  <a:pt x="4621582" y="7209837"/>
                </a:lnTo>
                <a:lnTo>
                  <a:pt x="4621582" y="7305087"/>
                </a:lnTo>
                <a:lnTo>
                  <a:pt x="4247643" y="7305087"/>
                </a:lnTo>
                <a:lnTo>
                  <a:pt x="4247643" y="7209837"/>
                </a:lnTo>
                <a:lnTo>
                  <a:pt x="4506393" y="7209837"/>
                </a:lnTo>
                <a:lnTo>
                  <a:pt x="4506393" y="6111287"/>
                </a:lnTo>
                <a:lnTo>
                  <a:pt x="4247643" y="6111287"/>
                </a:lnTo>
                <a:close/>
                <a:moveTo>
                  <a:pt x="3773921" y="6016037"/>
                </a:moveTo>
                <a:lnTo>
                  <a:pt x="4147860" y="6016037"/>
                </a:lnTo>
                <a:lnTo>
                  <a:pt x="4147860" y="6111287"/>
                </a:lnTo>
                <a:lnTo>
                  <a:pt x="3889111" y="6111287"/>
                </a:lnTo>
                <a:lnTo>
                  <a:pt x="3889111" y="7209837"/>
                </a:lnTo>
                <a:lnTo>
                  <a:pt x="4147860" y="7209837"/>
                </a:lnTo>
                <a:lnTo>
                  <a:pt x="4147860" y="7305087"/>
                </a:lnTo>
                <a:lnTo>
                  <a:pt x="3773921" y="7305087"/>
                </a:lnTo>
                <a:lnTo>
                  <a:pt x="3773921" y="7209837"/>
                </a:lnTo>
                <a:lnTo>
                  <a:pt x="3773921" y="6111287"/>
                </a:lnTo>
                <a:close/>
                <a:moveTo>
                  <a:pt x="6688042" y="5528924"/>
                </a:moveTo>
                <a:lnTo>
                  <a:pt x="6895043" y="5528924"/>
                </a:lnTo>
                <a:lnTo>
                  <a:pt x="6895043" y="5702536"/>
                </a:lnTo>
                <a:lnTo>
                  <a:pt x="6688042" y="5702536"/>
                </a:lnTo>
                <a:close/>
                <a:moveTo>
                  <a:pt x="3990746" y="5378675"/>
                </a:moveTo>
                <a:lnTo>
                  <a:pt x="4895538" y="5378675"/>
                </a:lnTo>
                <a:lnTo>
                  <a:pt x="4895538" y="5485512"/>
                </a:lnTo>
                <a:lnTo>
                  <a:pt x="3990746" y="5485512"/>
                </a:lnTo>
                <a:close/>
                <a:moveTo>
                  <a:pt x="1270097" y="5378675"/>
                </a:moveTo>
                <a:lnTo>
                  <a:pt x="2174890" y="5378675"/>
                </a:lnTo>
                <a:lnTo>
                  <a:pt x="2174890" y="5485512"/>
                </a:lnTo>
                <a:lnTo>
                  <a:pt x="1270097" y="5485512"/>
                </a:lnTo>
                <a:close/>
                <a:moveTo>
                  <a:pt x="3990746" y="5029777"/>
                </a:moveTo>
                <a:lnTo>
                  <a:pt x="4895538" y="5029777"/>
                </a:lnTo>
                <a:lnTo>
                  <a:pt x="4895538" y="5136615"/>
                </a:lnTo>
                <a:lnTo>
                  <a:pt x="3990746" y="5136615"/>
                </a:lnTo>
                <a:close/>
                <a:moveTo>
                  <a:pt x="1270097" y="5029777"/>
                </a:moveTo>
                <a:lnTo>
                  <a:pt x="2174890" y="5029777"/>
                </a:lnTo>
                <a:lnTo>
                  <a:pt x="2174890" y="5136615"/>
                </a:lnTo>
                <a:lnTo>
                  <a:pt x="1270097" y="5136615"/>
                </a:lnTo>
                <a:close/>
                <a:moveTo>
                  <a:pt x="6062007" y="4507277"/>
                </a:moveTo>
                <a:lnTo>
                  <a:pt x="6115077" y="4509153"/>
                </a:lnTo>
                <a:lnTo>
                  <a:pt x="6164198" y="4514730"/>
                </a:lnTo>
                <a:lnTo>
                  <a:pt x="6209503" y="4523925"/>
                </a:lnTo>
                <a:lnTo>
                  <a:pt x="6251125" y="4536657"/>
                </a:lnTo>
                <a:lnTo>
                  <a:pt x="6289196" y="4552845"/>
                </a:lnTo>
                <a:lnTo>
                  <a:pt x="6323849" y="4572406"/>
                </a:lnTo>
                <a:lnTo>
                  <a:pt x="6355216" y="4595261"/>
                </a:lnTo>
                <a:lnTo>
                  <a:pt x="6383431" y="4621327"/>
                </a:lnTo>
                <a:lnTo>
                  <a:pt x="6408627" y="4650523"/>
                </a:lnTo>
                <a:lnTo>
                  <a:pt x="6430935" y="4682768"/>
                </a:lnTo>
                <a:lnTo>
                  <a:pt x="6450488" y="4717980"/>
                </a:lnTo>
                <a:lnTo>
                  <a:pt x="6467420" y="4756077"/>
                </a:lnTo>
                <a:lnTo>
                  <a:pt x="6481863" y="4796980"/>
                </a:lnTo>
                <a:lnTo>
                  <a:pt x="6493950" y="4840605"/>
                </a:lnTo>
                <a:lnTo>
                  <a:pt x="6503813" y="4886873"/>
                </a:lnTo>
                <a:lnTo>
                  <a:pt x="6511585" y="4935701"/>
                </a:lnTo>
                <a:lnTo>
                  <a:pt x="6517399" y="4987008"/>
                </a:lnTo>
                <a:lnTo>
                  <a:pt x="6521387" y="5040712"/>
                </a:lnTo>
                <a:lnTo>
                  <a:pt x="6523683" y="5096732"/>
                </a:lnTo>
                <a:lnTo>
                  <a:pt x="6524419" y="5154988"/>
                </a:lnTo>
                <a:lnTo>
                  <a:pt x="6523719" y="5213493"/>
                </a:lnTo>
                <a:lnTo>
                  <a:pt x="6521522" y="5269763"/>
                </a:lnTo>
                <a:lnTo>
                  <a:pt x="6517686" y="5323713"/>
                </a:lnTo>
                <a:lnTo>
                  <a:pt x="6512065" y="5375263"/>
                </a:lnTo>
                <a:lnTo>
                  <a:pt x="6504517" y="5424328"/>
                </a:lnTo>
                <a:lnTo>
                  <a:pt x="6494896" y="5470827"/>
                </a:lnTo>
                <a:lnTo>
                  <a:pt x="6483059" y="5514676"/>
                </a:lnTo>
                <a:lnTo>
                  <a:pt x="6468862" y="5555794"/>
                </a:lnTo>
                <a:lnTo>
                  <a:pt x="6452162" y="5594097"/>
                </a:lnTo>
                <a:lnTo>
                  <a:pt x="6432813" y="5629503"/>
                </a:lnTo>
                <a:lnTo>
                  <a:pt x="6410672" y="5661929"/>
                </a:lnTo>
                <a:lnTo>
                  <a:pt x="6385595" y="5691293"/>
                </a:lnTo>
                <a:lnTo>
                  <a:pt x="6357438" y="5717511"/>
                </a:lnTo>
                <a:lnTo>
                  <a:pt x="6326057" y="5740502"/>
                </a:lnTo>
                <a:lnTo>
                  <a:pt x="6291309" y="5760183"/>
                </a:lnTo>
                <a:lnTo>
                  <a:pt x="6253048" y="5776470"/>
                </a:lnTo>
                <a:lnTo>
                  <a:pt x="6211131" y="5789282"/>
                </a:lnTo>
                <a:lnTo>
                  <a:pt x="6165415" y="5798536"/>
                </a:lnTo>
                <a:lnTo>
                  <a:pt x="6115755" y="5804149"/>
                </a:lnTo>
                <a:lnTo>
                  <a:pt x="6062007" y="5806038"/>
                </a:lnTo>
                <a:lnTo>
                  <a:pt x="6062007" y="5709215"/>
                </a:lnTo>
                <a:lnTo>
                  <a:pt x="6111692" y="5706982"/>
                </a:lnTo>
                <a:lnTo>
                  <a:pt x="6156613" y="5700361"/>
                </a:lnTo>
                <a:lnTo>
                  <a:pt x="6196995" y="5689472"/>
                </a:lnTo>
                <a:lnTo>
                  <a:pt x="6233066" y="5674432"/>
                </a:lnTo>
                <a:lnTo>
                  <a:pt x="6293177" y="5632372"/>
                </a:lnTo>
                <a:lnTo>
                  <a:pt x="6338757" y="5575128"/>
                </a:lnTo>
                <a:lnTo>
                  <a:pt x="6356662" y="5541107"/>
                </a:lnTo>
                <a:lnTo>
                  <a:pt x="6371614" y="5503645"/>
                </a:lnTo>
                <a:lnTo>
                  <a:pt x="6383838" y="5462861"/>
                </a:lnTo>
                <a:lnTo>
                  <a:pt x="6393561" y="5418871"/>
                </a:lnTo>
                <a:lnTo>
                  <a:pt x="6401008" y="5371794"/>
                </a:lnTo>
                <a:lnTo>
                  <a:pt x="6406407" y="5321750"/>
                </a:lnTo>
                <a:lnTo>
                  <a:pt x="6409983" y="5268855"/>
                </a:lnTo>
                <a:lnTo>
                  <a:pt x="6411962" y="5213228"/>
                </a:lnTo>
                <a:lnTo>
                  <a:pt x="6412572" y="5154988"/>
                </a:lnTo>
                <a:lnTo>
                  <a:pt x="6411930" y="5097319"/>
                </a:lnTo>
                <a:lnTo>
                  <a:pt x="6409860" y="5042230"/>
                </a:lnTo>
                <a:lnTo>
                  <a:pt x="6406150" y="4989837"/>
                </a:lnTo>
                <a:lnTo>
                  <a:pt x="6400584" y="4940261"/>
                </a:lnTo>
                <a:lnTo>
                  <a:pt x="6392949" y="4893617"/>
                </a:lnTo>
                <a:lnTo>
                  <a:pt x="6383031" y="4850025"/>
                </a:lnTo>
                <a:lnTo>
                  <a:pt x="6370615" y="4809604"/>
                </a:lnTo>
                <a:lnTo>
                  <a:pt x="6355488" y="4772472"/>
                </a:lnTo>
                <a:lnTo>
                  <a:pt x="6337435" y="4738746"/>
                </a:lnTo>
                <a:lnTo>
                  <a:pt x="6291697" y="4681987"/>
                </a:lnTo>
                <a:lnTo>
                  <a:pt x="6231688" y="4640273"/>
                </a:lnTo>
                <a:lnTo>
                  <a:pt x="6195796" y="4625355"/>
                </a:lnTo>
                <a:lnTo>
                  <a:pt x="6155695" y="4614552"/>
                </a:lnTo>
                <a:lnTo>
                  <a:pt x="6111170" y="4607983"/>
                </a:lnTo>
                <a:lnTo>
                  <a:pt x="6062007" y="4605768"/>
                </a:lnTo>
                <a:close/>
                <a:moveTo>
                  <a:pt x="5970138" y="4507277"/>
                </a:moveTo>
                <a:lnTo>
                  <a:pt x="5970138" y="4605768"/>
                </a:lnTo>
                <a:lnTo>
                  <a:pt x="5921252" y="4607983"/>
                </a:lnTo>
                <a:lnTo>
                  <a:pt x="5876971" y="4614552"/>
                </a:lnTo>
                <a:lnTo>
                  <a:pt x="5837085" y="4625355"/>
                </a:lnTo>
                <a:lnTo>
                  <a:pt x="5801379" y="4640273"/>
                </a:lnTo>
                <a:lnTo>
                  <a:pt x="5741664" y="4681987"/>
                </a:lnTo>
                <a:lnTo>
                  <a:pt x="5696130" y="4738746"/>
                </a:lnTo>
                <a:lnTo>
                  <a:pt x="5678151" y="4772472"/>
                </a:lnTo>
                <a:lnTo>
                  <a:pt x="5663081" y="4809604"/>
                </a:lnTo>
                <a:lnTo>
                  <a:pt x="5650709" y="4850025"/>
                </a:lnTo>
                <a:lnTo>
                  <a:pt x="5640821" y="4893617"/>
                </a:lnTo>
                <a:lnTo>
                  <a:pt x="5633207" y="4940261"/>
                </a:lnTo>
                <a:lnTo>
                  <a:pt x="5627654" y="4989837"/>
                </a:lnTo>
                <a:lnTo>
                  <a:pt x="5623950" y="5042230"/>
                </a:lnTo>
                <a:lnTo>
                  <a:pt x="5621883" y="5097319"/>
                </a:lnTo>
                <a:lnTo>
                  <a:pt x="5621241" y="5154988"/>
                </a:lnTo>
                <a:lnTo>
                  <a:pt x="5621867" y="5213228"/>
                </a:lnTo>
                <a:lnTo>
                  <a:pt x="5623889" y="5268855"/>
                </a:lnTo>
                <a:lnTo>
                  <a:pt x="5627526" y="5321750"/>
                </a:lnTo>
                <a:lnTo>
                  <a:pt x="5632995" y="5371794"/>
                </a:lnTo>
                <a:lnTo>
                  <a:pt x="5640516" y="5418871"/>
                </a:lnTo>
                <a:lnTo>
                  <a:pt x="5650305" y="5462861"/>
                </a:lnTo>
                <a:lnTo>
                  <a:pt x="5662582" y="5503645"/>
                </a:lnTo>
                <a:lnTo>
                  <a:pt x="5677564" y="5541107"/>
                </a:lnTo>
                <a:lnTo>
                  <a:pt x="5695470" y="5575128"/>
                </a:lnTo>
                <a:lnTo>
                  <a:pt x="5740924" y="5632372"/>
                </a:lnTo>
                <a:lnTo>
                  <a:pt x="5800690" y="5674432"/>
                </a:lnTo>
                <a:lnTo>
                  <a:pt x="5836485" y="5689472"/>
                </a:lnTo>
                <a:lnTo>
                  <a:pt x="5876513" y="5700361"/>
                </a:lnTo>
                <a:lnTo>
                  <a:pt x="5920991" y="5706982"/>
                </a:lnTo>
                <a:lnTo>
                  <a:pt x="5970138" y="5709215"/>
                </a:lnTo>
                <a:lnTo>
                  <a:pt x="5970138" y="5806038"/>
                </a:lnTo>
                <a:lnTo>
                  <a:pt x="5916615" y="5804149"/>
                </a:lnTo>
                <a:lnTo>
                  <a:pt x="5867135" y="5798536"/>
                </a:lnTo>
                <a:lnTo>
                  <a:pt x="5821555" y="5789282"/>
                </a:lnTo>
                <a:lnTo>
                  <a:pt x="5779737" y="5776470"/>
                </a:lnTo>
                <a:lnTo>
                  <a:pt x="5741540" y="5760183"/>
                </a:lnTo>
                <a:lnTo>
                  <a:pt x="5706823" y="5740502"/>
                </a:lnTo>
                <a:lnTo>
                  <a:pt x="5675446" y="5717511"/>
                </a:lnTo>
                <a:lnTo>
                  <a:pt x="5647270" y="5691293"/>
                </a:lnTo>
                <a:lnTo>
                  <a:pt x="5622154" y="5661929"/>
                </a:lnTo>
                <a:lnTo>
                  <a:pt x="5599957" y="5629503"/>
                </a:lnTo>
                <a:lnTo>
                  <a:pt x="5580540" y="5594097"/>
                </a:lnTo>
                <a:lnTo>
                  <a:pt x="5563762" y="5555794"/>
                </a:lnTo>
                <a:lnTo>
                  <a:pt x="5549483" y="5514676"/>
                </a:lnTo>
                <a:lnTo>
                  <a:pt x="5537563" y="5470827"/>
                </a:lnTo>
                <a:lnTo>
                  <a:pt x="5527862" y="5424328"/>
                </a:lnTo>
                <a:lnTo>
                  <a:pt x="5520239" y="5375263"/>
                </a:lnTo>
                <a:lnTo>
                  <a:pt x="5514554" y="5323713"/>
                </a:lnTo>
                <a:lnTo>
                  <a:pt x="5510667" y="5269763"/>
                </a:lnTo>
                <a:lnTo>
                  <a:pt x="5508437" y="5213493"/>
                </a:lnTo>
                <a:lnTo>
                  <a:pt x="5507726" y="5154988"/>
                </a:lnTo>
                <a:lnTo>
                  <a:pt x="5508461" y="5096732"/>
                </a:lnTo>
                <a:lnTo>
                  <a:pt x="5510757" y="5040712"/>
                </a:lnTo>
                <a:lnTo>
                  <a:pt x="5514746" y="4987008"/>
                </a:lnTo>
                <a:lnTo>
                  <a:pt x="5520559" y="4935701"/>
                </a:lnTo>
                <a:lnTo>
                  <a:pt x="5528332" y="4886873"/>
                </a:lnTo>
                <a:lnTo>
                  <a:pt x="5538195" y="4840605"/>
                </a:lnTo>
                <a:lnTo>
                  <a:pt x="5550281" y="4796980"/>
                </a:lnTo>
                <a:lnTo>
                  <a:pt x="5564724" y="4756077"/>
                </a:lnTo>
                <a:lnTo>
                  <a:pt x="5581656" y="4717980"/>
                </a:lnTo>
                <a:lnTo>
                  <a:pt x="5601209" y="4682768"/>
                </a:lnTo>
                <a:lnTo>
                  <a:pt x="5623517" y="4650523"/>
                </a:lnTo>
                <a:lnTo>
                  <a:pt x="5648713" y="4621327"/>
                </a:lnTo>
                <a:lnTo>
                  <a:pt x="5676928" y="4595261"/>
                </a:lnTo>
                <a:lnTo>
                  <a:pt x="5708295" y="4572406"/>
                </a:lnTo>
                <a:lnTo>
                  <a:pt x="5742948" y="4552845"/>
                </a:lnTo>
                <a:lnTo>
                  <a:pt x="5781019" y="4536657"/>
                </a:lnTo>
                <a:lnTo>
                  <a:pt x="5822641" y="4523925"/>
                </a:lnTo>
                <a:lnTo>
                  <a:pt x="5867946" y="4514730"/>
                </a:lnTo>
                <a:lnTo>
                  <a:pt x="5917067" y="4509153"/>
                </a:lnTo>
                <a:close/>
                <a:moveTo>
                  <a:pt x="2916306" y="4507277"/>
                </a:moveTo>
                <a:lnTo>
                  <a:pt x="2969376" y="4509153"/>
                </a:lnTo>
                <a:lnTo>
                  <a:pt x="3018497" y="4514730"/>
                </a:lnTo>
                <a:lnTo>
                  <a:pt x="3063803" y="4523925"/>
                </a:lnTo>
                <a:lnTo>
                  <a:pt x="3105426" y="4536657"/>
                </a:lnTo>
                <a:lnTo>
                  <a:pt x="3143497" y="4552845"/>
                </a:lnTo>
                <a:lnTo>
                  <a:pt x="3178150" y="4572406"/>
                </a:lnTo>
                <a:lnTo>
                  <a:pt x="3209516" y="4595261"/>
                </a:lnTo>
                <a:lnTo>
                  <a:pt x="3237732" y="4621327"/>
                </a:lnTo>
                <a:lnTo>
                  <a:pt x="3262928" y="4650523"/>
                </a:lnTo>
                <a:lnTo>
                  <a:pt x="3285236" y="4682768"/>
                </a:lnTo>
                <a:lnTo>
                  <a:pt x="3304789" y="4717980"/>
                </a:lnTo>
                <a:lnTo>
                  <a:pt x="3321718" y="4756077"/>
                </a:lnTo>
                <a:lnTo>
                  <a:pt x="3336161" y="4796980"/>
                </a:lnTo>
                <a:lnTo>
                  <a:pt x="3348248" y="4840605"/>
                </a:lnTo>
                <a:lnTo>
                  <a:pt x="3358111" y="4886873"/>
                </a:lnTo>
                <a:lnTo>
                  <a:pt x="3365883" y="4935701"/>
                </a:lnTo>
                <a:lnTo>
                  <a:pt x="3371697" y="4987008"/>
                </a:lnTo>
                <a:lnTo>
                  <a:pt x="3375685" y="5040712"/>
                </a:lnTo>
                <a:lnTo>
                  <a:pt x="3377981" y="5096732"/>
                </a:lnTo>
                <a:lnTo>
                  <a:pt x="3378717" y="5154988"/>
                </a:lnTo>
                <a:lnTo>
                  <a:pt x="3378017" y="5213493"/>
                </a:lnTo>
                <a:lnTo>
                  <a:pt x="3375820" y="5269763"/>
                </a:lnTo>
                <a:lnTo>
                  <a:pt x="3371984" y="5323713"/>
                </a:lnTo>
                <a:lnTo>
                  <a:pt x="3366363" y="5375263"/>
                </a:lnTo>
                <a:lnTo>
                  <a:pt x="3358815" y="5424328"/>
                </a:lnTo>
                <a:lnTo>
                  <a:pt x="3349194" y="5470827"/>
                </a:lnTo>
                <a:lnTo>
                  <a:pt x="3337357" y="5514676"/>
                </a:lnTo>
                <a:lnTo>
                  <a:pt x="3323160" y="5555794"/>
                </a:lnTo>
                <a:lnTo>
                  <a:pt x="3306462" y="5594097"/>
                </a:lnTo>
                <a:lnTo>
                  <a:pt x="3287114" y="5629503"/>
                </a:lnTo>
                <a:lnTo>
                  <a:pt x="3264973" y="5661929"/>
                </a:lnTo>
                <a:lnTo>
                  <a:pt x="3239895" y="5691293"/>
                </a:lnTo>
                <a:lnTo>
                  <a:pt x="3211738" y="5717511"/>
                </a:lnTo>
                <a:lnTo>
                  <a:pt x="3180357" y="5740502"/>
                </a:lnTo>
                <a:lnTo>
                  <a:pt x="3145609" y="5760183"/>
                </a:lnTo>
                <a:lnTo>
                  <a:pt x="3107348" y="5776470"/>
                </a:lnTo>
                <a:lnTo>
                  <a:pt x="3065431" y="5789282"/>
                </a:lnTo>
                <a:lnTo>
                  <a:pt x="3019716" y="5798536"/>
                </a:lnTo>
                <a:lnTo>
                  <a:pt x="2970054" y="5804149"/>
                </a:lnTo>
                <a:lnTo>
                  <a:pt x="2916306" y="5806038"/>
                </a:lnTo>
                <a:lnTo>
                  <a:pt x="2916306" y="5709215"/>
                </a:lnTo>
                <a:lnTo>
                  <a:pt x="2965992" y="5706982"/>
                </a:lnTo>
                <a:lnTo>
                  <a:pt x="3010913" y="5700361"/>
                </a:lnTo>
                <a:lnTo>
                  <a:pt x="3051294" y="5689472"/>
                </a:lnTo>
                <a:lnTo>
                  <a:pt x="3087367" y="5674432"/>
                </a:lnTo>
                <a:lnTo>
                  <a:pt x="3147477" y="5632372"/>
                </a:lnTo>
                <a:lnTo>
                  <a:pt x="3193057" y="5575128"/>
                </a:lnTo>
                <a:lnTo>
                  <a:pt x="3210963" y="5541107"/>
                </a:lnTo>
                <a:lnTo>
                  <a:pt x="3225916" y="5503645"/>
                </a:lnTo>
                <a:lnTo>
                  <a:pt x="3238139" y="5462861"/>
                </a:lnTo>
                <a:lnTo>
                  <a:pt x="3247862" y="5418871"/>
                </a:lnTo>
                <a:lnTo>
                  <a:pt x="3255309" y="5371794"/>
                </a:lnTo>
                <a:lnTo>
                  <a:pt x="3260708" y="5321750"/>
                </a:lnTo>
                <a:lnTo>
                  <a:pt x="3264284" y="5268855"/>
                </a:lnTo>
                <a:lnTo>
                  <a:pt x="3266263" y="5213228"/>
                </a:lnTo>
                <a:lnTo>
                  <a:pt x="3266872" y="5154988"/>
                </a:lnTo>
                <a:lnTo>
                  <a:pt x="3266231" y="5097319"/>
                </a:lnTo>
                <a:lnTo>
                  <a:pt x="3264161" y="5042230"/>
                </a:lnTo>
                <a:lnTo>
                  <a:pt x="3260451" y="4989837"/>
                </a:lnTo>
                <a:lnTo>
                  <a:pt x="3254885" y="4940261"/>
                </a:lnTo>
                <a:lnTo>
                  <a:pt x="3247250" y="4893617"/>
                </a:lnTo>
                <a:lnTo>
                  <a:pt x="3237332" y="4850025"/>
                </a:lnTo>
                <a:lnTo>
                  <a:pt x="3224916" y="4809604"/>
                </a:lnTo>
                <a:lnTo>
                  <a:pt x="3209789" y="4772472"/>
                </a:lnTo>
                <a:lnTo>
                  <a:pt x="3191735" y="4738746"/>
                </a:lnTo>
                <a:lnTo>
                  <a:pt x="3145998" y="4681987"/>
                </a:lnTo>
                <a:lnTo>
                  <a:pt x="3085988" y="4640273"/>
                </a:lnTo>
                <a:lnTo>
                  <a:pt x="3050095" y="4625355"/>
                </a:lnTo>
                <a:lnTo>
                  <a:pt x="3009995" y="4614552"/>
                </a:lnTo>
                <a:lnTo>
                  <a:pt x="2965470" y="4607983"/>
                </a:lnTo>
                <a:lnTo>
                  <a:pt x="2916306" y="4605768"/>
                </a:lnTo>
                <a:close/>
                <a:moveTo>
                  <a:pt x="2824439" y="4507277"/>
                </a:moveTo>
                <a:lnTo>
                  <a:pt x="2824439" y="4605768"/>
                </a:lnTo>
                <a:lnTo>
                  <a:pt x="2775553" y="4607983"/>
                </a:lnTo>
                <a:lnTo>
                  <a:pt x="2731271" y="4614552"/>
                </a:lnTo>
                <a:lnTo>
                  <a:pt x="2691385" y="4625355"/>
                </a:lnTo>
                <a:lnTo>
                  <a:pt x="2655680" y="4640273"/>
                </a:lnTo>
                <a:lnTo>
                  <a:pt x="2595965" y="4681987"/>
                </a:lnTo>
                <a:lnTo>
                  <a:pt x="2550430" y="4738746"/>
                </a:lnTo>
                <a:lnTo>
                  <a:pt x="2532451" y="4772472"/>
                </a:lnTo>
                <a:lnTo>
                  <a:pt x="2517381" y="4809604"/>
                </a:lnTo>
                <a:lnTo>
                  <a:pt x="2505009" y="4850025"/>
                </a:lnTo>
                <a:lnTo>
                  <a:pt x="2495121" y="4893617"/>
                </a:lnTo>
                <a:lnTo>
                  <a:pt x="2487508" y="4940261"/>
                </a:lnTo>
                <a:lnTo>
                  <a:pt x="2481955" y="4989837"/>
                </a:lnTo>
                <a:lnTo>
                  <a:pt x="2478251" y="5042230"/>
                </a:lnTo>
                <a:lnTo>
                  <a:pt x="2476183" y="5097319"/>
                </a:lnTo>
                <a:lnTo>
                  <a:pt x="2475541" y="5154988"/>
                </a:lnTo>
                <a:lnTo>
                  <a:pt x="2476168" y="5213228"/>
                </a:lnTo>
                <a:lnTo>
                  <a:pt x="2478189" y="5268855"/>
                </a:lnTo>
                <a:lnTo>
                  <a:pt x="2481827" y="5321750"/>
                </a:lnTo>
                <a:lnTo>
                  <a:pt x="2487296" y="5371794"/>
                </a:lnTo>
                <a:lnTo>
                  <a:pt x="2494816" y="5418871"/>
                </a:lnTo>
                <a:lnTo>
                  <a:pt x="2504605" y="5462861"/>
                </a:lnTo>
                <a:lnTo>
                  <a:pt x="2516882" y="5503645"/>
                </a:lnTo>
                <a:lnTo>
                  <a:pt x="2531865" y="5541107"/>
                </a:lnTo>
                <a:lnTo>
                  <a:pt x="2549770" y="5575128"/>
                </a:lnTo>
                <a:lnTo>
                  <a:pt x="2595224" y="5632372"/>
                </a:lnTo>
                <a:lnTo>
                  <a:pt x="2654990" y="5674432"/>
                </a:lnTo>
                <a:lnTo>
                  <a:pt x="2690785" y="5689472"/>
                </a:lnTo>
                <a:lnTo>
                  <a:pt x="2730814" y="5700361"/>
                </a:lnTo>
                <a:lnTo>
                  <a:pt x="2775291" y="5706982"/>
                </a:lnTo>
                <a:lnTo>
                  <a:pt x="2824439" y="5709215"/>
                </a:lnTo>
                <a:lnTo>
                  <a:pt x="2824439" y="5806038"/>
                </a:lnTo>
                <a:lnTo>
                  <a:pt x="2770915" y="5804149"/>
                </a:lnTo>
                <a:lnTo>
                  <a:pt x="2721436" y="5798536"/>
                </a:lnTo>
                <a:lnTo>
                  <a:pt x="2675855" y="5789282"/>
                </a:lnTo>
                <a:lnTo>
                  <a:pt x="2634037" y="5776470"/>
                </a:lnTo>
                <a:lnTo>
                  <a:pt x="2595840" y="5760183"/>
                </a:lnTo>
                <a:lnTo>
                  <a:pt x="2561122" y="5740502"/>
                </a:lnTo>
                <a:lnTo>
                  <a:pt x="2529747" y="5717511"/>
                </a:lnTo>
                <a:lnTo>
                  <a:pt x="2501571" y="5691293"/>
                </a:lnTo>
                <a:lnTo>
                  <a:pt x="2476454" y="5661929"/>
                </a:lnTo>
                <a:lnTo>
                  <a:pt x="2454257" y="5629503"/>
                </a:lnTo>
                <a:lnTo>
                  <a:pt x="2434840" y="5594097"/>
                </a:lnTo>
                <a:lnTo>
                  <a:pt x="2418062" y="5555794"/>
                </a:lnTo>
                <a:lnTo>
                  <a:pt x="2403783" y="5514676"/>
                </a:lnTo>
                <a:lnTo>
                  <a:pt x="2391863" y="5470827"/>
                </a:lnTo>
                <a:lnTo>
                  <a:pt x="2382162" y="5424328"/>
                </a:lnTo>
                <a:lnTo>
                  <a:pt x="2374539" y="5375263"/>
                </a:lnTo>
                <a:lnTo>
                  <a:pt x="2368854" y="5323713"/>
                </a:lnTo>
                <a:lnTo>
                  <a:pt x="2364967" y="5269763"/>
                </a:lnTo>
                <a:lnTo>
                  <a:pt x="2362736" y="5213493"/>
                </a:lnTo>
                <a:lnTo>
                  <a:pt x="2362026" y="5154988"/>
                </a:lnTo>
                <a:lnTo>
                  <a:pt x="2362760" y="5096732"/>
                </a:lnTo>
                <a:lnTo>
                  <a:pt x="2365057" y="5040712"/>
                </a:lnTo>
                <a:lnTo>
                  <a:pt x="2369046" y="4987008"/>
                </a:lnTo>
                <a:lnTo>
                  <a:pt x="2374859" y="4935701"/>
                </a:lnTo>
                <a:lnTo>
                  <a:pt x="2382632" y="4886873"/>
                </a:lnTo>
                <a:lnTo>
                  <a:pt x="2392495" y="4840605"/>
                </a:lnTo>
                <a:lnTo>
                  <a:pt x="2404581" y="4796980"/>
                </a:lnTo>
                <a:lnTo>
                  <a:pt x="2419024" y="4756077"/>
                </a:lnTo>
                <a:lnTo>
                  <a:pt x="2435956" y="4717980"/>
                </a:lnTo>
                <a:lnTo>
                  <a:pt x="2455509" y="4682768"/>
                </a:lnTo>
                <a:lnTo>
                  <a:pt x="2477817" y="4650523"/>
                </a:lnTo>
                <a:lnTo>
                  <a:pt x="2503013" y="4621327"/>
                </a:lnTo>
                <a:lnTo>
                  <a:pt x="2531228" y="4595261"/>
                </a:lnTo>
                <a:lnTo>
                  <a:pt x="2562596" y="4572406"/>
                </a:lnTo>
                <a:lnTo>
                  <a:pt x="2597248" y="4552845"/>
                </a:lnTo>
                <a:lnTo>
                  <a:pt x="2635318" y="4536657"/>
                </a:lnTo>
                <a:lnTo>
                  <a:pt x="2676942" y="4523925"/>
                </a:lnTo>
                <a:lnTo>
                  <a:pt x="2722247" y="4514730"/>
                </a:lnTo>
                <a:lnTo>
                  <a:pt x="2771367" y="4509153"/>
                </a:lnTo>
                <a:close/>
                <a:moveTo>
                  <a:pt x="2506783" y="4026496"/>
                </a:moveTo>
                <a:lnTo>
                  <a:pt x="2549012" y="4030174"/>
                </a:lnTo>
                <a:lnTo>
                  <a:pt x="2581695" y="4043398"/>
                </a:lnTo>
                <a:lnTo>
                  <a:pt x="2602796" y="4069456"/>
                </a:lnTo>
                <a:lnTo>
                  <a:pt x="2610283" y="4111633"/>
                </a:lnTo>
                <a:lnTo>
                  <a:pt x="2602796" y="4155741"/>
                </a:lnTo>
                <a:lnTo>
                  <a:pt x="2581695" y="4182790"/>
                </a:lnTo>
                <a:lnTo>
                  <a:pt x="2549012" y="4196380"/>
                </a:lnTo>
                <a:lnTo>
                  <a:pt x="2506783" y="4200110"/>
                </a:lnTo>
                <a:lnTo>
                  <a:pt x="2464554" y="4196380"/>
                </a:lnTo>
                <a:lnTo>
                  <a:pt x="2431870" y="4182790"/>
                </a:lnTo>
                <a:lnTo>
                  <a:pt x="2410769" y="4155741"/>
                </a:lnTo>
                <a:lnTo>
                  <a:pt x="2403283" y="4111633"/>
                </a:lnTo>
                <a:lnTo>
                  <a:pt x="2411003" y="4069456"/>
                </a:lnTo>
                <a:lnTo>
                  <a:pt x="2432496" y="4043398"/>
                </a:lnTo>
                <a:lnTo>
                  <a:pt x="2465257" y="4030174"/>
                </a:lnTo>
                <a:close/>
                <a:moveTo>
                  <a:pt x="2506783" y="3325365"/>
                </a:moveTo>
                <a:lnTo>
                  <a:pt x="2549012" y="3328834"/>
                </a:lnTo>
                <a:lnTo>
                  <a:pt x="2581695" y="3341849"/>
                </a:lnTo>
                <a:lnTo>
                  <a:pt x="2602796" y="3368324"/>
                </a:lnTo>
                <a:lnTo>
                  <a:pt x="2610283" y="3412171"/>
                </a:lnTo>
                <a:lnTo>
                  <a:pt x="2602796" y="3454609"/>
                </a:lnTo>
                <a:lnTo>
                  <a:pt x="2581695" y="3481240"/>
                </a:lnTo>
                <a:lnTo>
                  <a:pt x="2549012" y="3495038"/>
                </a:lnTo>
                <a:lnTo>
                  <a:pt x="2506783" y="3498977"/>
                </a:lnTo>
                <a:lnTo>
                  <a:pt x="2465519" y="3495038"/>
                </a:lnTo>
                <a:lnTo>
                  <a:pt x="2433331" y="3481240"/>
                </a:lnTo>
                <a:lnTo>
                  <a:pt x="2412411" y="3454609"/>
                </a:lnTo>
                <a:lnTo>
                  <a:pt x="2404952" y="3412171"/>
                </a:lnTo>
                <a:lnTo>
                  <a:pt x="2412411" y="3368324"/>
                </a:lnTo>
                <a:lnTo>
                  <a:pt x="2433331" y="3341849"/>
                </a:lnTo>
                <a:lnTo>
                  <a:pt x="2465519" y="3328834"/>
                </a:lnTo>
                <a:close/>
                <a:moveTo>
                  <a:pt x="3576931" y="3011218"/>
                </a:moveTo>
                <a:lnTo>
                  <a:pt x="3950858" y="3011218"/>
                </a:lnTo>
                <a:lnTo>
                  <a:pt x="3950858" y="3106468"/>
                </a:lnTo>
                <a:lnTo>
                  <a:pt x="3950858" y="4205018"/>
                </a:lnTo>
                <a:lnTo>
                  <a:pt x="3950858" y="4300268"/>
                </a:lnTo>
                <a:lnTo>
                  <a:pt x="3576931" y="4300268"/>
                </a:lnTo>
                <a:lnTo>
                  <a:pt x="3576931" y="4205018"/>
                </a:lnTo>
                <a:lnTo>
                  <a:pt x="3835681" y="4205018"/>
                </a:lnTo>
                <a:lnTo>
                  <a:pt x="3835681" y="3106468"/>
                </a:lnTo>
                <a:lnTo>
                  <a:pt x="3576931" y="3106468"/>
                </a:lnTo>
                <a:close/>
                <a:moveTo>
                  <a:pt x="1487809" y="3011218"/>
                </a:moveTo>
                <a:lnTo>
                  <a:pt x="1861748" y="3011218"/>
                </a:lnTo>
                <a:lnTo>
                  <a:pt x="1861748" y="3106468"/>
                </a:lnTo>
                <a:lnTo>
                  <a:pt x="1602998" y="3106468"/>
                </a:lnTo>
                <a:lnTo>
                  <a:pt x="1602998" y="4205018"/>
                </a:lnTo>
                <a:lnTo>
                  <a:pt x="1861748" y="4205018"/>
                </a:lnTo>
                <a:lnTo>
                  <a:pt x="1861748" y="4300268"/>
                </a:lnTo>
                <a:lnTo>
                  <a:pt x="1487809" y="4300268"/>
                </a:lnTo>
                <a:lnTo>
                  <a:pt x="1487809" y="4205018"/>
                </a:lnTo>
                <a:lnTo>
                  <a:pt x="1487809" y="3106468"/>
                </a:lnTo>
                <a:close/>
                <a:moveTo>
                  <a:pt x="7212302" y="3004847"/>
                </a:moveTo>
                <a:lnTo>
                  <a:pt x="7265372" y="3006723"/>
                </a:lnTo>
                <a:lnTo>
                  <a:pt x="7314493" y="3012300"/>
                </a:lnTo>
                <a:lnTo>
                  <a:pt x="7359798" y="3021495"/>
                </a:lnTo>
                <a:lnTo>
                  <a:pt x="7401420" y="3034227"/>
                </a:lnTo>
                <a:lnTo>
                  <a:pt x="7439491" y="3050415"/>
                </a:lnTo>
                <a:lnTo>
                  <a:pt x="7474144" y="3069977"/>
                </a:lnTo>
                <a:lnTo>
                  <a:pt x="7505511" y="3092831"/>
                </a:lnTo>
                <a:lnTo>
                  <a:pt x="7533726" y="3118897"/>
                </a:lnTo>
                <a:lnTo>
                  <a:pt x="7558922" y="3148093"/>
                </a:lnTo>
                <a:lnTo>
                  <a:pt x="7581230" y="3180338"/>
                </a:lnTo>
                <a:lnTo>
                  <a:pt x="7600783" y="3215550"/>
                </a:lnTo>
                <a:lnTo>
                  <a:pt x="7617715" y="3253648"/>
                </a:lnTo>
                <a:lnTo>
                  <a:pt x="7632158" y="3294551"/>
                </a:lnTo>
                <a:lnTo>
                  <a:pt x="7644245" y="3338176"/>
                </a:lnTo>
                <a:lnTo>
                  <a:pt x="7654108" y="3384443"/>
                </a:lnTo>
                <a:lnTo>
                  <a:pt x="7661880" y="3433271"/>
                </a:lnTo>
                <a:lnTo>
                  <a:pt x="7667694" y="3484578"/>
                </a:lnTo>
                <a:lnTo>
                  <a:pt x="7671682" y="3538282"/>
                </a:lnTo>
                <a:lnTo>
                  <a:pt x="7673978" y="3594302"/>
                </a:lnTo>
                <a:lnTo>
                  <a:pt x="7674714" y="3652558"/>
                </a:lnTo>
                <a:lnTo>
                  <a:pt x="7674014" y="3711063"/>
                </a:lnTo>
                <a:lnTo>
                  <a:pt x="7671817" y="3767333"/>
                </a:lnTo>
                <a:lnTo>
                  <a:pt x="7667981" y="3821283"/>
                </a:lnTo>
                <a:lnTo>
                  <a:pt x="7662360" y="3872833"/>
                </a:lnTo>
                <a:lnTo>
                  <a:pt x="7654812" y="3921898"/>
                </a:lnTo>
                <a:lnTo>
                  <a:pt x="7645191" y="3968397"/>
                </a:lnTo>
                <a:lnTo>
                  <a:pt x="7633354" y="4012246"/>
                </a:lnTo>
                <a:lnTo>
                  <a:pt x="7619157" y="4053364"/>
                </a:lnTo>
                <a:lnTo>
                  <a:pt x="7602457" y="4091667"/>
                </a:lnTo>
                <a:lnTo>
                  <a:pt x="7583108" y="4127073"/>
                </a:lnTo>
                <a:lnTo>
                  <a:pt x="7560967" y="4159499"/>
                </a:lnTo>
                <a:lnTo>
                  <a:pt x="7535890" y="4188862"/>
                </a:lnTo>
                <a:lnTo>
                  <a:pt x="7507733" y="4215081"/>
                </a:lnTo>
                <a:lnTo>
                  <a:pt x="7476352" y="4238071"/>
                </a:lnTo>
                <a:lnTo>
                  <a:pt x="7441604" y="4257752"/>
                </a:lnTo>
                <a:lnTo>
                  <a:pt x="7403343" y="4274039"/>
                </a:lnTo>
                <a:lnTo>
                  <a:pt x="7361426" y="4286851"/>
                </a:lnTo>
                <a:lnTo>
                  <a:pt x="7315710" y="4296105"/>
                </a:lnTo>
                <a:lnTo>
                  <a:pt x="7266050" y="4301718"/>
                </a:lnTo>
                <a:lnTo>
                  <a:pt x="7212302" y="4303607"/>
                </a:lnTo>
                <a:lnTo>
                  <a:pt x="7212302" y="4206785"/>
                </a:lnTo>
                <a:lnTo>
                  <a:pt x="7261987" y="4204552"/>
                </a:lnTo>
                <a:lnTo>
                  <a:pt x="7306907" y="4197931"/>
                </a:lnTo>
                <a:lnTo>
                  <a:pt x="7347290" y="4187042"/>
                </a:lnTo>
                <a:lnTo>
                  <a:pt x="7383361" y="4172002"/>
                </a:lnTo>
                <a:lnTo>
                  <a:pt x="7443472" y="4129942"/>
                </a:lnTo>
                <a:lnTo>
                  <a:pt x="7489051" y="4072698"/>
                </a:lnTo>
                <a:lnTo>
                  <a:pt x="7506957" y="4038677"/>
                </a:lnTo>
                <a:lnTo>
                  <a:pt x="7521909" y="4001216"/>
                </a:lnTo>
                <a:lnTo>
                  <a:pt x="7534133" y="3960431"/>
                </a:lnTo>
                <a:lnTo>
                  <a:pt x="7543856" y="3916441"/>
                </a:lnTo>
                <a:lnTo>
                  <a:pt x="7551303" y="3869364"/>
                </a:lnTo>
                <a:lnTo>
                  <a:pt x="7556702" y="3819320"/>
                </a:lnTo>
                <a:lnTo>
                  <a:pt x="7560278" y="3766425"/>
                </a:lnTo>
                <a:lnTo>
                  <a:pt x="7562257" y="3710798"/>
                </a:lnTo>
                <a:lnTo>
                  <a:pt x="7562867" y="3652558"/>
                </a:lnTo>
                <a:lnTo>
                  <a:pt x="7562225" y="3594889"/>
                </a:lnTo>
                <a:lnTo>
                  <a:pt x="7560155" y="3539800"/>
                </a:lnTo>
                <a:lnTo>
                  <a:pt x="7556445" y="3487407"/>
                </a:lnTo>
                <a:lnTo>
                  <a:pt x="7550879" y="3437831"/>
                </a:lnTo>
                <a:lnTo>
                  <a:pt x="7543244" y="3391187"/>
                </a:lnTo>
                <a:lnTo>
                  <a:pt x="7533326" y="3347596"/>
                </a:lnTo>
                <a:lnTo>
                  <a:pt x="7520910" y="3307175"/>
                </a:lnTo>
                <a:lnTo>
                  <a:pt x="7505783" y="3270043"/>
                </a:lnTo>
                <a:lnTo>
                  <a:pt x="7487730" y="3236317"/>
                </a:lnTo>
                <a:lnTo>
                  <a:pt x="7441992" y="3179558"/>
                </a:lnTo>
                <a:lnTo>
                  <a:pt x="7381983" y="3137845"/>
                </a:lnTo>
                <a:lnTo>
                  <a:pt x="7346091" y="3122926"/>
                </a:lnTo>
                <a:lnTo>
                  <a:pt x="7305990" y="3112123"/>
                </a:lnTo>
                <a:lnTo>
                  <a:pt x="7261465" y="3105555"/>
                </a:lnTo>
                <a:lnTo>
                  <a:pt x="7212302" y="3103339"/>
                </a:lnTo>
                <a:close/>
                <a:moveTo>
                  <a:pt x="6695380" y="3004847"/>
                </a:moveTo>
                <a:lnTo>
                  <a:pt x="6695380" y="3103339"/>
                </a:lnTo>
                <a:lnTo>
                  <a:pt x="6646494" y="3105555"/>
                </a:lnTo>
                <a:lnTo>
                  <a:pt x="6602213" y="3112123"/>
                </a:lnTo>
                <a:lnTo>
                  <a:pt x="6562327" y="3122926"/>
                </a:lnTo>
                <a:lnTo>
                  <a:pt x="6526621" y="3137845"/>
                </a:lnTo>
                <a:lnTo>
                  <a:pt x="6466906" y="3179558"/>
                </a:lnTo>
                <a:lnTo>
                  <a:pt x="6421372" y="3236317"/>
                </a:lnTo>
                <a:lnTo>
                  <a:pt x="6403393" y="3270043"/>
                </a:lnTo>
                <a:lnTo>
                  <a:pt x="6388323" y="3307175"/>
                </a:lnTo>
                <a:lnTo>
                  <a:pt x="6375951" y="3347596"/>
                </a:lnTo>
                <a:lnTo>
                  <a:pt x="6366063" y="3391187"/>
                </a:lnTo>
                <a:lnTo>
                  <a:pt x="6358449" y="3437831"/>
                </a:lnTo>
                <a:lnTo>
                  <a:pt x="6352896" y="3487407"/>
                </a:lnTo>
                <a:lnTo>
                  <a:pt x="6349192" y="3539800"/>
                </a:lnTo>
                <a:lnTo>
                  <a:pt x="6347125" y="3594889"/>
                </a:lnTo>
                <a:lnTo>
                  <a:pt x="6346483" y="3652558"/>
                </a:lnTo>
                <a:lnTo>
                  <a:pt x="6347109" y="3710798"/>
                </a:lnTo>
                <a:lnTo>
                  <a:pt x="6349131" y="3766425"/>
                </a:lnTo>
                <a:lnTo>
                  <a:pt x="6352768" y="3819320"/>
                </a:lnTo>
                <a:lnTo>
                  <a:pt x="6358237" y="3869364"/>
                </a:lnTo>
                <a:lnTo>
                  <a:pt x="6365758" y="3916441"/>
                </a:lnTo>
                <a:lnTo>
                  <a:pt x="6375547" y="3960431"/>
                </a:lnTo>
                <a:lnTo>
                  <a:pt x="6387824" y="4001216"/>
                </a:lnTo>
                <a:lnTo>
                  <a:pt x="6402806" y="4038677"/>
                </a:lnTo>
                <a:lnTo>
                  <a:pt x="6420712" y="4072698"/>
                </a:lnTo>
                <a:lnTo>
                  <a:pt x="6466166" y="4129942"/>
                </a:lnTo>
                <a:lnTo>
                  <a:pt x="6525932" y="4172002"/>
                </a:lnTo>
                <a:lnTo>
                  <a:pt x="6561727" y="4187042"/>
                </a:lnTo>
                <a:lnTo>
                  <a:pt x="6601755" y="4197931"/>
                </a:lnTo>
                <a:lnTo>
                  <a:pt x="6646233" y="4204552"/>
                </a:lnTo>
                <a:lnTo>
                  <a:pt x="6695380" y="4206785"/>
                </a:lnTo>
                <a:lnTo>
                  <a:pt x="6695380" y="4303607"/>
                </a:lnTo>
                <a:lnTo>
                  <a:pt x="6641857" y="4301718"/>
                </a:lnTo>
                <a:lnTo>
                  <a:pt x="6592377" y="4296105"/>
                </a:lnTo>
                <a:lnTo>
                  <a:pt x="6546797" y="4286851"/>
                </a:lnTo>
                <a:lnTo>
                  <a:pt x="6504979" y="4274039"/>
                </a:lnTo>
                <a:lnTo>
                  <a:pt x="6466782" y="4257752"/>
                </a:lnTo>
                <a:lnTo>
                  <a:pt x="6432065" y="4238071"/>
                </a:lnTo>
                <a:lnTo>
                  <a:pt x="6400688" y="4215081"/>
                </a:lnTo>
                <a:lnTo>
                  <a:pt x="6372512" y="4188862"/>
                </a:lnTo>
                <a:lnTo>
                  <a:pt x="6347396" y="4159499"/>
                </a:lnTo>
                <a:lnTo>
                  <a:pt x="6325199" y="4127073"/>
                </a:lnTo>
                <a:lnTo>
                  <a:pt x="6305782" y="4091667"/>
                </a:lnTo>
                <a:lnTo>
                  <a:pt x="6289004" y="4053364"/>
                </a:lnTo>
                <a:lnTo>
                  <a:pt x="6274725" y="4012246"/>
                </a:lnTo>
                <a:lnTo>
                  <a:pt x="6262805" y="3968397"/>
                </a:lnTo>
                <a:lnTo>
                  <a:pt x="6253104" y="3921898"/>
                </a:lnTo>
                <a:lnTo>
                  <a:pt x="6245481" y="3872833"/>
                </a:lnTo>
                <a:lnTo>
                  <a:pt x="6239796" y="3821283"/>
                </a:lnTo>
                <a:lnTo>
                  <a:pt x="6235909" y="3767333"/>
                </a:lnTo>
                <a:lnTo>
                  <a:pt x="6233679" y="3711063"/>
                </a:lnTo>
                <a:lnTo>
                  <a:pt x="6232968" y="3652558"/>
                </a:lnTo>
                <a:lnTo>
                  <a:pt x="6233703" y="3594302"/>
                </a:lnTo>
                <a:lnTo>
                  <a:pt x="6235999" y="3538282"/>
                </a:lnTo>
                <a:lnTo>
                  <a:pt x="6239988" y="3484578"/>
                </a:lnTo>
                <a:lnTo>
                  <a:pt x="6245801" y="3433271"/>
                </a:lnTo>
                <a:lnTo>
                  <a:pt x="6253574" y="3384443"/>
                </a:lnTo>
                <a:lnTo>
                  <a:pt x="6263437" y="3338176"/>
                </a:lnTo>
                <a:lnTo>
                  <a:pt x="6275523" y="3294551"/>
                </a:lnTo>
                <a:lnTo>
                  <a:pt x="6289966" y="3253648"/>
                </a:lnTo>
                <a:lnTo>
                  <a:pt x="6306898" y="3215550"/>
                </a:lnTo>
                <a:lnTo>
                  <a:pt x="6326451" y="3180338"/>
                </a:lnTo>
                <a:lnTo>
                  <a:pt x="6348759" y="3148093"/>
                </a:lnTo>
                <a:lnTo>
                  <a:pt x="6373955" y="3118897"/>
                </a:lnTo>
                <a:lnTo>
                  <a:pt x="6402170" y="3092831"/>
                </a:lnTo>
                <a:lnTo>
                  <a:pt x="6433537" y="3069977"/>
                </a:lnTo>
                <a:lnTo>
                  <a:pt x="6468190" y="3050415"/>
                </a:lnTo>
                <a:lnTo>
                  <a:pt x="6506261" y="3034227"/>
                </a:lnTo>
                <a:lnTo>
                  <a:pt x="6547883" y="3021495"/>
                </a:lnTo>
                <a:lnTo>
                  <a:pt x="6593188" y="3012300"/>
                </a:lnTo>
                <a:lnTo>
                  <a:pt x="6642309" y="3006723"/>
                </a:lnTo>
                <a:close/>
                <a:moveTo>
                  <a:pt x="5578527" y="3004847"/>
                </a:moveTo>
                <a:lnTo>
                  <a:pt x="5631597" y="3006723"/>
                </a:lnTo>
                <a:lnTo>
                  <a:pt x="5680718" y="3012300"/>
                </a:lnTo>
                <a:lnTo>
                  <a:pt x="5726023" y="3021495"/>
                </a:lnTo>
                <a:lnTo>
                  <a:pt x="5767645" y="3034227"/>
                </a:lnTo>
                <a:lnTo>
                  <a:pt x="5805716" y="3050415"/>
                </a:lnTo>
                <a:lnTo>
                  <a:pt x="5840369" y="3069977"/>
                </a:lnTo>
                <a:lnTo>
                  <a:pt x="5871736" y="3092831"/>
                </a:lnTo>
                <a:lnTo>
                  <a:pt x="5899951" y="3118897"/>
                </a:lnTo>
                <a:lnTo>
                  <a:pt x="5925147" y="3148093"/>
                </a:lnTo>
                <a:lnTo>
                  <a:pt x="5947455" y="3180338"/>
                </a:lnTo>
                <a:lnTo>
                  <a:pt x="5967008" y="3215550"/>
                </a:lnTo>
                <a:lnTo>
                  <a:pt x="5983940" y="3253648"/>
                </a:lnTo>
                <a:lnTo>
                  <a:pt x="5998383" y="3294551"/>
                </a:lnTo>
                <a:lnTo>
                  <a:pt x="6010470" y="3338176"/>
                </a:lnTo>
                <a:lnTo>
                  <a:pt x="6020333" y="3384443"/>
                </a:lnTo>
                <a:lnTo>
                  <a:pt x="6028105" y="3433271"/>
                </a:lnTo>
                <a:lnTo>
                  <a:pt x="6033919" y="3484578"/>
                </a:lnTo>
                <a:lnTo>
                  <a:pt x="6037907" y="3538282"/>
                </a:lnTo>
                <a:lnTo>
                  <a:pt x="6040203" y="3594302"/>
                </a:lnTo>
                <a:lnTo>
                  <a:pt x="6040939" y="3652558"/>
                </a:lnTo>
                <a:lnTo>
                  <a:pt x="6040239" y="3711063"/>
                </a:lnTo>
                <a:lnTo>
                  <a:pt x="6038042" y="3767333"/>
                </a:lnTo>
                <a:lnTo>
                  <a:pt x="6034206" y="3821283"/>
                </a:lnTo>
                <a:lnTo>
                  <a:pt x="6028585" y="3872833"/>
                </a:lnTo>
                <a:lnTo>
                  <a:pt x="6021037" y="3921898"/>
                </a:lnTo>
                <a:lnTo>
                  <a:pt x="6011416" y="3968397"/>
                </a:lnTo>
                <a:lnTo>
                  <a:pt x="5999579" y="4012246"/>
                </a:lnTo>
                <a:lnTo>
                  <a:pt x="5985382" y="4053364"/>
                </a:lnTo>
                <a:lnTo>
                  <a:pt x="5968682" y="4091667"/>
                </a:lnTo>
                <a:lnTo>
                  <a:pt x="5949333" y="4127073"/>
                </a:lnTo>
                <a:lnTo>
                  <a:pt x="5927192" y="4159499"/>
                </a:lnTo>
                <a:lnTo>
                  <a:pt x="5902115" y="4188862"/>
                </a:lnTo>
                <a:lnTo>
                  <a:pt x="5873958" y="4215081"/>
                </a:lnTo>
                <a:lnTo>
                  <a:pt x="5842577" y="4238071"/>
                </a:lnTo>
                <a:lnTo>
                  <a:pt x="5807829" y="4257752"/>
                </a:lnTo>
                <a:lnTo>
                  <a:pt x="5769568" y="4274039"/>
                </a:lnTo>
                <a:lnTo>
                  <a:pt x="5727651" y="4286851"/>
                </a:lnTo>
                <a:lnTo>
                  <a:pt x="5681935" y="4296105"/>
                </a:lnTo>
                <a:lnTo>
                  <a:pt x="5632275" y="4301718"/>
                </a:lnTo>
                <a:lnTo>
                  <a:pt x="5578527" y="4303607"/>
                </a:lnTo>
                <a:lnTo>
                  <a:pt x="5578527" y="4206785"/>
                </a:lnTo>
                <a:lnTo>
                  <a:pt x="5628212" y="4204552"/>
                </a:lnTo>
                <a:lnTo>
                  <a:pt x="5673133" y="4197931"/>
                </a:lnTo>
                <a:lnTo>
                  <a:pt x="5713515" y="4187042"/>
                </a:lnTo>
                <a:lnTo>
                  <a:pt x="5749586" y="4172002"/>
                </a:lnTo>
                <a:lnTo>
                  <a:pt x="5809697" y="4129942"/>
                </a:lnTo>
                <a:lnTo>
                  <a:pt x="5855277" y="4072698"/>
                </a:lnTo>
                <a:lnTo>
                  <a:pt x="5873182" y="4038677"/>
                </a:lnTo>
                <a:lnTo>
                  <a:pt x="5888134" y="4001216"/>
                </a:lnTo>
                <a:lnTo>
                  <a:pt x="5900358" y="3960431"/>
                </a:lnTo>
                <a:lnTo>
                  <a:pt x="5910081" y="3916441"/>
                </a:lnTo>
                <a:lnTo>
                  <a:pt x="5917528" y="3869364"/>
                </a:lnTo>
                <a:lnTo>
                  <a:pt x="5922927" y="3819320"/>
                </a:lnTo>
                <a:lnTo>
                  <a:pt x="5926503" y="3766425"/>
                </a:lnTo>
                <a:lnTo>
                  <a:pt x="5928482" y="3710798"/>
                </a:lnTo>
                <a:lnTo>
                  <a:pt x="5929092" y="3652558"/>
                </a:lnTo>
                <a:lnTo>
                  <a:pt x="5928450" y="3594889"/>
                </a:lnTo>
                <a:lnTo>
                  <a:pt x="5926380" y="3539800"/>
                </a:lnTo>
                <a:lnTo>
                  <a:pt x="5922670" y="3487407"/>
                </a:lnTo>
                <a:lnTo>
                  <a:pt x="5917104" y="3437831"/>
                </a:lnTo>
                <a:lnTo>
                  <a:pt x="5909469" y="3391187"/>
                </a:lnTo>
                <a:lnTo>
                  <a:pt x="5899551" y="3347596"/>
                </a:lnTo>
                <a:lnTo>
                  <a:pt x="5887135" y="3307175"/>
                </a:lnTo>
                <a:lnTo>
                  <a:pt x="5872008" y="3270043"/>
                </a:lnTo>
                <a:lnTo>
                  <a:pt x="5853955" y="3236317"/>
                </a:lnTo>
                <a:lnTo>
                  <a:pt x="5808217" y="3179558"/>
                </a:lnTo>
                <a:lnTo>
                  <a:pt x="5748208" y="3137845"/>
                </a:lnTo>
                <a:lnTo>
                  <a:pt x="5712316" y="3122926"/>
                </a:lnTo>
                <a:lnTo>
                  <a:pt x="5672215" y="3112123"/>
                </a:lnTo>
                <a:lnTo>
                  <a:pt x="5627690" y="3105555"/>
                </a:lnTo>
                <a:lnTo>
                  <a:pt x="5578527" y="3103339"/>
                </a:lnTo>
                <a:close/>
                <a:moveTo>
                  <a:pt x="5061625" y="3004847"/>
                </a:moveTo>
                <a:lnTo>
                  <a:pt x="5061625" y="3103339"/>
                </a:lnTo>
                <a:lnTo>
                  <a:pt x="5012739" y="3105555"/>
                </a:lnTo>
                <a:lnTo>
                  <a:pt x="4968459" y="3112123"/>
                </a:lnTo>
                <a:lnTo>
                  <a:pt x="4928572" y="3122926"/>
                </a:lnTo>
                <a:lnTo>
                  <a:pt x="4892867" y="3137845"/>
                </a:lnTo>
                <a:lnTo>
                  <a:pt x="4833152" y="3179558"/>
                </a:lnTo>
                <a:lnTo>
                  <a:pt x="4787618" y="3236317"/>
                </a:lnTo>
                <a:lnTo>
                  <a:pt x="4769639" y="3270043"/>
                </a:lnTo>
                <a:lnTo>
                  <a:pt x="4754569" y="3307175"/>
                </a:lnTo>
                <a:lnTo>
                  <a:pt x="4742197" y="3347596"/>
                </a:lnTo>
                <a:lnTo>
                  <a:pt x="4732309" y="3391187"/>
                </a:lnTo>
                <a:lnTo>
                  <a:pt x="4724695" y="3437831"/>
                </a:lnTo>
                <a:lnTo>
                  <a:pt x="4719142" y="3487407"/>
                </a:lnTo>
                <a:lnTo>
                  <a:pt x="4715437" y="3539800"/>
                </a:lnTo>
                <a:lnTo>
                  <a:pt x="4713370" y="3594889"/>
                </a:lnTo>
                <a:lnTo>
                  <a:pt x="4712728" y="3652558"/>
                </a:lnTo>
                <a:lnTo>
                  <a:pt x="4713354" y="3710798"/>
                </a:lnTo>
                <a:lnTo>
                  <a:pt x="4715376" y="3766425"/>
                </a:lnTo>
                <a:lnTo>
                  <a:pt x="4719014" y="3819320"/>
                </a:lnTo>
                <a:lnTo>
                  <a:pt x="4724483" y="3869364"/>
                </a:lnTo>
                <a:lnTo>
                  <a:pt x="4732004" y="3916441"/>
                </a:lnTo>
                <a:lnTo>
                  <a:pt x="4741793" y="3960431"/>
                </a:lnTo>
                <a:lnTo>
                  <a:pt x="4754070" y="4001216"/>
                </a:lnTo>
                <a:lnTo>
                  <a:pt x="4769052" y="4038677"/>
                </a:lnTo>
                <a:lnTo>
                  <a:pt x="4786958" y="4072698"/>
                </a:lnTo>
                <a:lnTo>
                  <a:pt x="4832412" y="4129942"/>
                </a:lnTo>
                <a:lnTo>
                  <a:pt x="4892178" y="4172002"/>
                </a:lnTo>
                <a:lnTo>
                  <a:pt x="4927973" y="4187042"/>
                </a:lnTo>
                <a:lnTo>
                  <a:pt x="4968000" y="4197931"/>
                </a:lnTo>
                <a:lnTo>
                  <a:pt x="5012478" y="4204552"/>
                </a:lnTo>
                <a:lnTo>
                  <a:pt x="5061625" y="4206785"/>
                </a:lnTo>
                <a:lnTo>
                  <a:pt x="5061625" y="4303607"/>
                </a:lnTo>
                <a:lnTo>
                  <a:pt x="5008102" y="4301718"/>
                </a:lnTo>
                <a:lnTo>
                  <a:pt x="4958622" y="4296105"/>
                </a:lnTo>
                <a:lnTo>
                  <a:pt x="4913043" y="4286851"/>
                </a:lnTo>
                <a:lnTo>
                  <a:pt x="4871225" y="4274039"/>
                </a:lnTo>
                <a:lnTo>
                  <a:pt x="4833027" y="4257752"/>
                </a:lnTo>
                <a:lnTo>
                  <a:pt x="4798310" y="4238071"/>
                </a:lnTo>
                <a:lnTo>
                  <a:pt x="4766934" y="4215081"/>
                </a:lnTo>
                <a:lnTo>
                  <a:pt x="4738758" y="4188862"/>
                </a:lnTo>
                <a:lnTo>
                  <a:pt x="4713641" y="4159499"/>
                </a:lnTo>
                <a:lnTo>
                  <a:pt x="4691444" y="4127073"/>
                </a:lnTo>
                <a:lnTo>
                  <a:pt x="4672027" y="4091667"/>
                </a:lnTo>
                <a:lnTo>
                  <a:pt x="4655249" y="4053364"/>
                </a:lnTo>
                <a:lnTo>
                  <a:pt x="4640970" y="4012246"/>
                </a:lnTo>
                <a:lnTo>
                  <a:pt x="4629050" y="3968397"/>
                </a:lnTo>
                <a:lnTo>
                  <a:pt x="4619349" y="3921898"/>
                </a:lnTo>
                <a:lnTo>
                  <a:pt x="4611726" y="3872833"/>
                </a:lnTo>
                <a:lnTo>
                  <a:pt x="4606041" y="3821283"/>
                </a:lnTo>
                <a:lnTo>
                  <a:pt x="4602154" y="3767333"/>
                </a:lnTo>
                <a:lnTo>
                  <a:pt x="4599924" y="3711063"/>
                </a:lnTo>
                <a:lnTo>
                  <a:pt x="4599213" y="3652558"/>
                </a:lnTo>
                <a:lnTo>
                  <a:pt x="4599948" y="3594302"/>
                </a:lnTo>
                <a:lnTo>
                  <a:pt x="4602244" y="3538282"/>
                </a:lnTo>
                <a:lnTo>
                  <a:pt x="4606233" y="3484578"/>
                </a:lnTo>
                <a:lnTo>
                  <a:pt x="4612046" y="3433271"/>
                </a:lnTo>
                <a:lnTo>
                  <a:pt x="4619819" y="3384443"/>
                </a:lnTo>
                <a:lnTo>
                  <a:pt x="4629682" y="3338176"/>
                </a:lnTo>
                <a:lnTo>
                  <a:pt x="4641768" y="3294551"/>
                </a:lnTo>
                <a:lnTo>
                  <a:pt x="4656211" y="3253648"/>
                </a:lnTo>
                <a:lnTo>
                  <a:pt x="4673143" y="3215550"/>
                </a:lnTo>
                <a:lnTo>
                  <a:pt x="4692696" y="3180338"/>
                </a:lnTo>
                <a:lnTo>
                  <a:pt x="4715004" y="3148093"/>
                </a:lnTo>
                <a:lnTo>
                  <a:pt x="4740200" y="3118897"/>
                </a:lnTo>
                <a:lnTo>
                  <a:pt x="4768415" y="3092831"/>
                </a:lnTo>
                <a:lnTo>
                  <a:pt x="4799783" y="3069977"/>
                </a:lnTo>
                <a:lnTo>
                  <a:pt x="4834436" y="3050415"/>
                </a:lnTo>
                <a:lnTo>
                  <a:pt x="4872507" y="3034227"/>
                </a:lnTo>
                <a:lnTo>
                  <a:pt x="4914128" y="3021495"/>
                </a:lnTo>
                <a:lnTo>
                  <a:pt x="4959433" y="3012300"/>
                </a:lnTo>
                <a:lnTo>
                  <a:pt x="5008555" y="3006723"/>
                </a:lnTo>
                <a:close/>
                <a:moveTo>
                  <a:pt x="887436" y="3004847"/>
                </a:moveTo>
                <a:lnTo>
                  <a:pt x="887436" y="3103339"/>
                </a:lnTo>
                <a:lnTo>
                  <a:pt x="838550" y="3105555"/>
                </a:lnTo>
                <a:lnTo>
                  <a:pt x="794269" y="3112123"/>
                </a:lnTo>
                <a:lnTo>
                  <a:pt x="754383" y="3122926"/>
                </a:lnTo>
                <a:lnTo>
                  <a:pt x="718677" y="3137845"/>
                </a:lnTo>
                <a:lnTo>
                  <a:pt x="658962" y="3179558"/>
                </a:lnTo>
                <a:lnTo>
                  <a:pt x="613427" y="3236317"/>
                </a:lnTo>
                <a:lnTo>
                  <a:pt x="595448" y="3270043"/>
                </a:lnTo>
                <a:lnTo>
                  <a:pt x="580378" y="3307175"/>
                </a:lnTo>
                <a:lnTo>
                  <a:pt x="568006" y="3347596"/>
                </a:lnTo>
                <a:lnTo>
                  <a:pt x="558118" y="3391187"/>
                </a:lnTo>
                <a:lnTo>
                  <a:pt x="550504" y="3437831"/>
                </a:lnTo>
                <a:lnTo>
                  <a:pt x="544951" y="3487407"/>
                </a:lnTo>
                <a:lnTo>
                  <a:pt x="541247" y="3539800"/>
                </a:lnTo>
                <a:lnTo>
                  <a:pt x="539180" y="3594889"/>
                </a:lnTo>
                <a:lnTo>
                  <a:pt x="538538" y="3652558"/>
                </a:lnTo>
                <a:lnTo>
                  <a:pt x="539164" y="3710798"/>
                </a:lnTo>
                <a:lnTo>
                  <a:pt x="541186" y="3766425"/>
                </a:lnTo>
                <a:lnTo>
                  <a:pt x="544823" y="3819320"/>
                </a:lnTo>
                <a:lnTo>
                  <a:pt x="550292" y="3869364"/>
                </a:lnTo>
                <a:lnTo>
                  <a:pt x="557813" y="3916441"/>
                </a:lnTo>
                <a:lnTo>
                  <a:pt x="567602" y="3960431"/>
                </a:lnTo>
                <a:lnTo>
                  <a:pt x="579880" y="4001216"/>
                </a:lnTo>
                <a:lnTo>
                  <a:pt x="594862" y="4038677"/>
                </a:lnTo>
                <a:lnTo>
                  <a:pt x="612768" y="4072698"/>
                </a:lnTo>
                <a:lnTo>
                  <a:pt x="658222" y="4129942"/>
                </a:lnTo>
                <a:lnTo>
                  <a:pt x="717988" y="4172002"/>
                </a:lnTo>
                <a:lnTo>
                  <a:pt x="753783" y="4187042"/>
                </a:lnTo>
                <a:lnTo>
                  <a:pt x="793811" y="4197931"/>
                </a:lnTo>
                <a:lnTo>
                  <a:pt x="838289" y="4204552"/>
                </a:lnTo>
                <a:lnTo>
                  <a:pt x="887436" y="4206785"/>
                </a:lnTo>
                <a:lnTo>
                  <a:pt x="887436" y="4303607"/>
                </a:lnTo>
                <a:lnTo>
                  <a:pt x="833914" y="4301718"/>
                </a:lnTo>
                <a:lnTo>
                  <a:pt x="784433" y="4296105"/>
                </a:lnTo>
                <a:lnTo>
                  <a:pt x="738854" y="4286851"/>
                </a:lnTo>
                <a:lnTo>
                  <a:pt x="697035" y="4274039"/>
                </a:lnTo>
                <a:lnTo>
                  <a:pt x="658838" y="4257752"/>
                </a:lnTo>
                <a:lnTo>
                  <a:pt x="624121" y="4238071"/>
                </a:lnTo>
                <a:lnTo>
                  <a:pt x="592745" y="4215081"/>
                </a:lnTo>
                <a:lnTo>
                  <a:pt x="564568" y="4188862"/>
                </a:lnTo>
                <a:lnTo>
                  <a:pt x="539451" y="4159499"/>
                </a:lnTo>
                <a:lnTo>
                  <a:pt x="517255" y="4127073"/>
                </a:lnTo>
                <a:lnTo>
                  <a:pt x="497837" y="4091667"/>
                </a:lnTo>
                <a:lnTo>
                  <a:pt x="481060" y="4053364"/>
                </a:lnTo>
                <a:lnTo>
                  <a:pt x="466781" y="4012246"/>
                </a:lnTo>
                <a:lnTo>
                  <a:pt x="454861" y="3968397"/>
                </a:lnTo>
                <a:lnTo>
                  <a:pt x="445159" y="3921898"/>
                </a:lnTo>
                <a:lnTo>
                  <a:pt x="437536" y="3872833"/>
                </a:lnTo>
                <a:lnTo>
                  <a:pt x="431851" y="3821283"/>
                </a:lnTo>
                <a:lnTo>
                  <a:pt x="427964" y="3767333"/>
                </a:lnTo>
                <a:lnTo>
                  <a:pt x="425734" y="3711063"/>
                </a:lnTo>
                <a:lnTo>
                  <a:pt x="425023" y="3652558"/>
                </a:lnTo>
                <a:lnTo>
                  <a:pt x="425758" y="3594302"/>
                </a:lnTo>
                <a:lnTo>
                  <a:pt x="428054" y="3538282"/>
                </a:lnTo>
                <a:lnTo>
                  <a:pt x="432043" y="3484578"/>
                </a:lnTo>
                <a:lnTo>
                  <a:pt x="437856" y="3433271"/>
                </a:lnTo>
                <a:lnTo>
                  <a:pt x="445629" y="3384443"/>
                </a:lnTo>
                <a:lnTo>
                  <a:pt x="455492" y="3338176"/>
                </a:lnTo>
                <a:lnTo>
                  <a:pt x="467578" y="3294551"/>
                </a:lnTo>
                <a:lnTo>
                  <a:pt x="482021" y="3253648"/>
                </a:lnTo>
                <a:lnTo>
                  <a:pt x="498953" y="3215550"/>
                </a:lnTo>
                <a:lnTo>
                  <a:pt x="518506" y="3180338"/>
                </a:lnTo>
                <a:lnTo>
                  <a:pt x="540814" y="3148093"/>
                </a:lnTo>
                <a:lnTo>
                  <a:pt x="566010" y="3118897"/>
                </a:lnTo>
                <a:lnTo>
                  <a:pt x="594226" y="3092831"/>
                </a:lnTo>
                <a:lnTo>
                  <a:pt x="625592" y="3069977"/>
                </a:lnTo>
                <a:lnTo>
                  <a:pt x="660246" y="3050415"/>
                </a:lnTo>
                <a:lnTo>
                  <a:pt x="698317" y="3034227"/>
                </a:lnTo>
                <a:lnTo>
                  <a:pt x="739939" y="3021495"/>
                </a:lnTo>
                <a:lnTo>
                  <a:pt x="785244" y="3012300"/>
                </a:lnTo>
                <a:lnTo>
                  <a:pt x="834365" y="3006723"/>
                </a:lnTo>
                <a:close/>
                <a:moveTo>
                  <a:pt x="7060934" y="2524077"/>
                </a:moveTo>
                <a:lnTo>
                  <a:pt x="7267935" y="2524077"/>
                </a:lnTo>
                <a:lnTo>
                  <a:pt x="7267935" y="2697690"/>
                </a:lnTo>
                <a:lnTo>
                  <a:pt x="7060934" y="2697690"/>
                </a:lnTo>
                <a:close/>
                <a:moveTo>
                  <a:pt x="2536338" y="2373825"/>
                </a:moveTo>
                <a:lnTo>
                  <a:pt x="3441128" y="2373825"/>
                </a:lnTo>
                <a:lnTo>
                  <a:pt x="3441128" y="2480664"/>
                </a:lnTo>
                <a:lnTo>
                  <a:pt x="2536338" y="2480664"/>
                </a:lnTo>
                <a:close/>
                <a:moveTo>
                  <a:pt x="1024388" y="2373825"/>
                </a:moveTo>
                <a:lnTo>
                  <a:pt x="1929180" y="2373825"/>
                </a:lnTo>
                <a:lnTo>
                  <a:pt x="1929180" y="2480664"/>
                </a:lnTo>
                <a:lnTo>
                  <a:pt x="1024388" y="2480664"/>
                </a:lnTo>
                <a:close/>
                <a:moveTo>
                  <a:pt x="2536338" y="2024932"/>
                </a:moveTo>
                <a:lnTo>
                  <a:pt x="3441128" y="2024932"/>
                </a:lnTo>
                <a:lnTo>
                  <a:pt x="3441128" y="2131770"/>
                </a:lnTo>
                <a:lnTo>
                  <a:pt x="2536338" y="2131770"/>
                </a:lnTo>
                <a:close/>
                <a:moveTo>
                  <a:pt x="1024388" y="2024932"/>
                </a:moveTo>
                <a:lnTo>
                  <a:pt x="1929180" y="2024932"/>
                </a:lnTo>
                <a:lnTo>
                  <a:pt x="1929180" y="2131770"/>
                </a:lnTo>
                <a:lnTo>
                  <a:pt x="1024388" y="2131770"/>
                </a:lnTo>
                <a:close/>
                <a:moveTo>
                  <a:pt x="6145468" y="1508808"/>
                </a:moveTo>
                <a:lnTo>
                  <a:pt x="6519394" y="1508808"/>
                </a:lnTo>
                <a:lnTo>
                  <a:pt x="6519394" y="1604058"/>
                </a:lnTo>
                <a:lnTo>
                  <a:pt x="6260644" y="1604058"/>
                </a:lnTo>
                <a:lnTo>
                  <a:pt x="6260644" y="2702607"/>
                </a:lnTo>
                <a:lnTo>
                  <a:pt x="6519394" y="2702607"/>
                </a:lnTo>
                <a:lnTo>
                  <a:pt x="6519394" y="2797857"/>
                </a:lnTo>
                <a:lnTo>
                  <a:pt x="6145468" y="2797857"/>
                </a:lnTo>
                <a:lnTo>
                  <a:pt x="6145468" y="2702607"/>
                </a:lnTo>
                <a:lnTo>
                  <a:pt x="6145468" y="1604058"/>
                </a:lnTo>
                <a:close/>
                <a:moveTo>
                  <a:pt x="7804510" y="1502430"/>
                </a:moveTo>
                <a:lnTo>
                  <a:pt x="7857580" y="1504306"/>
                </a:lnTo>
                <a:lnTo>
                  <a:pt x="7906701" y="1509883"/>
                </a:lnTo>
                <a:lnTo>
                  <a:pt x="7952006" y="1519078"/>
                </a:lnTo>
                <a:lnTo>
                  <a:pt x="7993628" y="1531810"/>
                </a:lnTo>
                <a:lnTo>
                  <a:pt x="8031699" y="1547998"/>
                </a:lnTo>
                <a:lnTo>
                  <a:pt x="8066352" y="1567559"/>
                </a:lnTo>
                <a:lnTo>
                  <a:pt x="8097719" y="1590414"/>
                </a:lnTo>
                <a:lnTo>
                  <a:pt x="8125934" y="1616479"/>
                </a:lnTo>
                <a:lnTo>
                  <a:pt x="8151130" y="1645676"/>
                </a:lnTo>
                <a:lnTo>
                  <a:pt x="8173438" y="1677921"/>
                </a:lnTo>
                <a:lnTo>
                  <a:pt x="8192991" y="1713133"/>
                </a:lnTo>
                <a:lnTo>
                  <a:pt x="8209923" y="1751231"/>
                </a:lnTo>
                <a:lnTo>
                  <a:pt x="8224366" y="1792133"/>
                </a:lnTo>
                <a:lnTo>
                  <a:pt x="8236453" y="1835759"/>
                </a:lnTo>
                <a:lnTo>
                  <a:pt x="8246316" y="1882026"/>
                </a:lnTo>
                <a:lnTo>
                  <a:pt x="8254088" y="1930854"/>
                </a:lnTo>
                <a:lnTo>
                  <a:pt x="8259902" y="1982160"/>
                </a:lnTo>
                <a:lnTo>
                  <a:pt x="8263890" y="2035865"/>
                </a:lnTo>
                <a:lnTo>
                  <a:pt x="8266186" y="2091886"/>
                </a:lnTo>
                <a:lnTo>
                  <a:pt x="8266922" y="2150141"/>
                </a:lnTo>
                <a:lnTo>
                  <a:pt x="8266222" y="2208645"/>
                </a:lnTo>
                <a:lnTo>
                  <a:pt x="8264025" y="2264915"/>
                </a:lnTo>
                <a:lnTo>
                  <a:pt x="8260189" y="2318865"/>
                </a:lnTo>
                <a:lnTo>
                  <a:pt x="8254568" y="2370415"/>
                </a:lnTo>
                <a:lnTo>
                  <a:pt x="8247020" y="2419480"/>
                </a:lnTo>
                <a:lnTo>
                  <a:pt x="8237399" y="2465979"/>
                </a:lnTo>
                <a:lnTo>
                  <a:pt x="8225562" y="2509828"/>
                </a:lnTo>
                <a:lnTo>
                  <a:pt x="8211365" y="2550946"/>
                </a:lnTo>
                <a:lnTo>
                  <a:pt x="8194665" y="2589249"/>
                </a:lnTo>
                <a:lnTo>
                  <a:pt x="8175316" y="2624655"/>
                </a:lnTo>
                <a:lnTo>
                  <a:pt x="8153175" y="2657081"/>
                </a:lnTo>
                <a:lnTo>
                  <a:pt x="8128098" y="2686444"/>
                </a:lnTo>
                <a:lnTo>
                  <a:pt x="8099941" y="2712663"/>
                </a:lnTo>
                <a:lnTo>
                  <a:pt x="8068560" y="2735653"/>
                </a:lnTo>
                <a:lnTo>
                  <a:pt x="8033812" y="2755334"/>
                </a:lnTo>
                <a:lnTo>
                  <a:pt x="7995551" y="2771621"/>
                </a:lnTo>
                <a:lnTo>
                  <a:pt x="7953634" y="2784433"/>
                </a:lnTo>
                <a:lnTo>
                  <a:pt x="7907918" y="2793687"/>
                </a:lnTo>
                <a:lnTo>
                  <a:pt x="7858258" y="2799300"/>
                </a:lnTo>
                <a:lnTo>
                  <a:pt x="7804510" y="2801189"/>
                </a:lnTo>
                <a:lnTo>
                  <a:pt x="7804510" y="2704367"/>
                </a:lnTo>
                <a:lnTo>
                  <a:pt x="7854195" y="2702134"/>
                </a:lnTo>
                <a:lnTo>
                  <a:pt x="7899116" y="2695513"/>
                </a:lnTo>
                <a:lnTo>
                  <a:pt x="7939498" y="2684624"/>
                </a:lnTo>
                <a:lnTo>
                  <a:pt x="7975569" y="2669584"/>
                </a:lnTo>
                <a:lnTo>
                  <a:pt x="8035680" y="2627524"/>
                </a:lnTo>
                <a:lnTo>
                  <a:pt x="8081260" y="2570280"/>
                </a:lnTo>
                <a:lnTo>
                  <a:pt x="8099165" y="2536259"/>
                </a:lnTo>
                <a:lnTo>
                  <a:pt x="8114117" y="2498797"/>
                </a:lnTo>
                <a:lnTo>
                  <a:pt x="8126341" y="2458012"/>
                </a:lnTo>
                <a:lnTo>
                  <a:pt x="8136064" y="2414022"/>
                </a:lnTo>
                <a:lnTo>
                  <a:pt x="8143511" y="2366946"/>
                </a:lnTo>
                <a:lnTo>
                  <a:pt x="8148910" y="2316901"/>
                </a:lnTo>
                <a:lnTo>
                  <a:pt x="8152486" y="2264006"/>
                </a:lnTo>
                <a:lnTo>
                  <a:pt x="8154465" y="2208380"/>
                </a:lnTo>
                <a:lnTo>
                  <a:pt x="8155075" y="2150141"/>
                </a:lnTo>
                <a:lnTo>
                  <a:pt x="8154433" y="2092472"/>
                </a:lnTo>
                <a:lnTo>
                  <a:pt x="8152363" y="2037383"/>
                </a:lnTo>
                <a:lnTo>
                  <a:pt x="8148653" y="1984990"/>
                </a:lnTo>
                <a:lnTo>
                  <a:pt x="8143087" y="1935414"/>
                </a:lnTo>
                <a:lnTo>
                  <a:pt x="8135452" y="1888770"/>
                </a:lnTo>
                <a:lnTo>
                  <a:pt x="8125534" y="1845179"/>
                </a:lnTo>
                <a:lnTo>
                  <a:pt x="8113118" y="1804759"/>
                </a:lnTo>
                <a:lnTo>
                  <a:pt x="8097991" y="1767626"/>
                </a:lnTo>
                <a:lnTo>
                  <a:pt x="8079938" y="1733900"/>
                </a:lnTo>
                <a:lnTo>
                  <a:pt x="8034200" y="1677141"/>
                </a:lnTo>
                <a:lnTo>
                  <a:pt x="7974191" y="1635428"/>
                </a:lnTo>
                <a:lnTo>
                  <a:pt x="7938299" y="1620509"/>
                </a:lnTo>
                <a:lnTo>
                  <a:pt x="7898198" y="1609705"/>
                </a:lnTo>
                <a:lnTo>
                  <a:pt x="7853673" y="1603138"/>
                </a:lnTo>
                <a:lnTo>
                  <a:pt x="7804510" y="1600921"/>
                </a:lnTo>
                <a:close/>
                <a:moveTo>
                  <a:pt x="5032599" y="1502430"/>
                </a:moveTo>
                <a:lnTo>
                  <a:pt x="5085669" y="1504306"/>
                </a:lnTo>
                <a:lnTo>
                  <a:pt x="5134790" y="1509883"/>
                </a:lnTo>
                <a:lnTo>
                  <a:pt x="5180096" y="1519078"/>
                </a:lnTo>
                <a:lnTo>
                  <a:pt x="5221718" y="1531810"/>
                </a:lnTo>
                <a:lnTo>
                  <a:pt x="5259789" y="1547998"/>
                </a:lnTo>
                <a:lnTo>
                  <a:pt x="5294442" y="1567559"/>
                </a:lnTo>
                <a:lnTo>
                  <a:pt x="5325809" y="1590414"/>
                </a:lnTo>
                <a:lnTo>
                  <a:pt x="5354024" y="1616479"/>
                </a:lnTo>
                <a:lnTo>
                  <a:pt x="5379220" y="1645676"/>
                </a:lnTo>
                <a:lnTo>
                  <a:pt x="5401528" y="1677921"/>
                </a:lnTo>
                <a:lnTo>
                  <a:pt x="5421081" y="1713133"/>
                </a:lnTo>
                <a:lnTo>
                  <a:pt x="5438013" y="1751231"/>
                </a:lnTo>
                <a:lnTo>
                  <a:pt x="5452456" y="1792133"/>
                </a:lnTo>
                <a:lnTo>
                  <a:pt x="5464543" y="1835759"/>
                </a:lnTo>
                <a:lnTo>
                  <a:pt x="5474406" y="1882026"/>
                </a:lnTo>
                <a:lnTo>
                  <a:pt x="5482178" y="1930854"/>
                </a:lnTo>
                <a:lnTo>
                  <a:pt x="5487992" y="1982160"/>
                </a:lnTo>
                <a:lnTo>
                  <a:pt x="5491980" y="2035865"/>
                </a:lnTo>
                <a:lnTo>
                  <a:pt x="5494276" y="2091886"/>
                </a:lnTo>
                <a:lnTo>
                  <a:pt x="5495012" y="2150141"/>
                </a:lnTo>
                <a:lnTo>
                  <a:pt x="5494312" y="2208645"/>
                </a:lnTo>
                <a:lnTo>
                  <a:pt x="5492115" y="2264915"/>
                </a:lnTo>
                <a:lnTo>
                  <a:pt x="5488279" y="2318865"/>
                </a:lnTo>
                <a:lnTo>
                  <a:pt x="5482658" y="2370415"/>
                </a:lnTo>
                <a:lnTo>
                  <a:pt x="5475110" y="2419480"/>
                </a:lnTo>
                <a:lnTo>
                  <a:pt x="5465489" y="2465979"/>
                </a:lnTo>
                <a:lnTo>
                  <a:pt x="5453652" y="2509828"/>
                </a:lnTo>
                <a:lnTo>
                  <a:pt x="5439455" y="2550946"/>
                </a:lnTo>
                <a:lnTo>
                  <a:pt x="5422755" y="2589249"/>
                </a:lnTo>
                <a:lnTo>
                  <a:pt x="5403406" y="2624655"/>
                </a:lnTo>
                <a:lnTo>
                  <a:pt x="5381265" y="2657081"/>
                </a:lnTo>
                <a:lnTo>
                  <a:pt x="5356188" y="2686444"/>
                </a:lnTo>
                <a:lnTo>
                  <a:pt x="5328031" y="2712663"/>
                </a:lnTo>
                <a:lnTo>
                  <a:pt x="5296650" y="2735653"/>
                </a:lnTo>
                <a:lnTo>
                  <a:pt x="5261902" y="2755334"/>
                </a:lnTo>
                <a:lnTo>
                  <a:pt x="5223641" y="2771621"/>
                </a:lnTo>
                <a:lnTo>
                  <a:pt x="5181724" y="2784433"/>
                </a:lnTo>
                <a:lnTo>
                  <a:pt x="5136007" y="2793687"/>
                </a:lnTo>
                <a:lnTo>
                  <a:pt x="5086347" y="2799300"/>
                </a:lnTo>
                <a:lnTo>
                  <a:pt x="5032599" y="2801189"/>
                </a:lnTo>
                <a:lnTo>
                  <a:pt x="5032599" y="2704367"/>
                </a:lnTo>
                <a:lnTo>
                  <a:pt x="5082284" y="2702134"/>
                </a:lnTo>
                <a:lnTo>
                  <a:pt x="5127205" y="2695513"/>
                </a:lnTo>
                <a:lnTo>
                  <a:pt x="5167588" y="2684624"/>
                </a:lnTo>
                <a:lnTo>
                  <a:pt x="5203659" y="2669584"/>
                </a:lnTo>
                <a:lnTo>
                  <a:pt x="5263770" y="2627524"/>
                </a:lnTo>
                <a:lnTo>
                  <a:pt x="5309350" y="2570280"/>
                </a:lnTo>
                <a:lnTo>
                  <a:pt x="5327255" y="2536259"/>
                </a:lnTo>
                <a:lnTo>
                  <a:pt x="5342207" y="2498797"/>
                </a:lnTo>
                <a:lnTo>
                  <a:pt x="5354431" y="2458012"/>
                </a:lnTo>
                <a:lnTo>
                  <a:pt x="5364154" y="2414022"/>
                </a:lnTo>
                <a:lnTo>
                  <a:pt x="5371601" y="2366946"/>
                </a:lnTo>
                <a:lnTo>
                  <a:pt x="5377000" y="2316901"/>
                </a:lnTo>
                <a:lnTo>
                  <a:pt x="5380576" y="2264006"/>
                </a:lnTo>
                <a:lnTo>
                  <a:pt x="5382555" y="2208380"/>
                </a:lnTo>
                <a:lnTo>
                  <a:pt x="5383165" y="2150141"/>
                </a:lnTo>
                <a:lnTo>
                  <a:pt x="5382523" y="2092472"/>
                </a:lnTo>
                <a:lnTo>
                  <a:pt x="5380453" y="2037383"/>
                </a:lnTo>
                <a:lnTo>
                  <a:pt x="5376743" y="1984990"/>
                </a:lnTo>
                <a:lnTo>
                  <a:pt x="5371177" y="1935414"/>
                </a:lnTo>
                <a:lnTo>
                  <a:pt x="5363542" y="1888770"/>
                </a:lnTo>
                <a:lnTo>
                  <a:pt x="5353624" y="1845179"/>
                </a:lnTo>
                <a:lnTo>
                  <a:pt x="5341208" y="1804759"/>
                </a:lnTo>
                <a:lnTo>
                  <a:pt x="5326081" y="1767626"/>
                </a:lnTo>
                <a:lnTo>
                  <a:pt x="5308028" y="1733900"/>
                </a:lnTo>
                <a:lnTo>
                  <a:pt x="5262290" y="1677141"/>
                </a:lnTo>
                <a:lnTo>
                  <a:pt x="5202281" y="1635428"/>
                </a:lnTo>
                <a:lnTo>
                  <a:pt x="5166389" y="1620509"/>
                </a:lnTo>
                <a:lnTo>
                  <a:pt x="5126287" y="1609705"/>
                </a:lnTo>
                <a:lnTo>
                  <a:pt x="5081762" y="1603138"/>
                </a:lnTo>
                <a:lnTo>
                  <a:pt x="5032599" y="1600921"/>
                </a:lnTo>
                <a:close/>
                <a:moveTo>
                  <a:pt x="4515699" y="1502430"/>
                </a:moveTo>
                <a:lnTo>
                  <a:pt x="4515699" y="1600921"/>
                </a:lnTo>
                <a:lnTo>
                  <a:pt x="4466813" y="1603138"/>
                </a:lnTo>
                <a:lnTo>
                  <a:pt x="4422532" y="1609705"/>
                </a:lnTo>
                <a:lnTo>
                  <a:pt x="4382646" y="1620509"/>
                </a:lnTo>
                <a:lnTo>
                  <a:pt x="4346940" y="1635428"/>
                </a:lnTo>
                <a:lnTo>
                  <a:pt x="4287225" y="1677141"/>
                </a:lnTo>
                <a:lnTo>
                  <a:pt x="4241691" y="1733900"/>
                </a:lnTo>
                <a:lnTo>
                  <a:pt x="4223712" y="1767626"/>
                </a:lnTo>
                <a:lnTo>
                  <a:pt x="4208642" y="1804759"/>
                </a:lnTo>
                <a:lnTo>
                  <a:pt x="4196270" y="1845179"/>
                </a:lnTo>
                <a:lnTo>
                  <a:pt x="4186382" y="1888770"/>
                </a:lnTo>
                <a:lnTo>
                  <a:pt x="4178768" y="1935414"/>
                </a:lnTo>
                <a:lnTo>
                  <a:pt x="4173215" y="1984990"/>
                </a:lnTo>
                <a:lnTo>
                  <a:pt x="4169510" y="2037383"/>
                </a:lnTo>
                <a:lnTo>
                  <a:pt x="4167443" y="2092472"/>
                </a:lnTo>
                <a:lnTo>
                  <a:pt x="4166801" y="2150141"/>
                </a:lnTo>
                <a:lnTo>
                  <a:pt x="4167427" y="2208380"/>
                </a:lnTo>
                <a:lnTo>
                  <a:pt x="4169449" y="2264006"/>
                </a:lnTo>
                <a:lnTo>
                  <a:pt x="4173087" y="2316901"/>
                </a:lnTo>
                <a:lnTo>
                  <a:pt x="4178556" y="2366946"/>
                </a:lnTo>
                <a:lnTo>
                  <a:pt x="4186077" y="2414022"/>
                </a:lnTo>
                <a:lnTo>
                  <a:pt x="4195866" y="2458012"/>
                </a:lnTo>
                <a:lnTo>
                  <a:pt x="4208143" y="2498797"/>
                </a:lnTo>
                <a:lnTo>
                  <a:pt x="4223125" y="2536259"/>
                </a:lnTo>
                <a:lnTo>
                  <a:pt x="4241031" y="2570280"/>
                </a:lnTo>
                <a:lnTo>
                  <a:pt x="4286485" y="2627524"/>
                </a:lnTo>
                <a:lnTo>
                  <a:pt x="4346251" y="2669584"/>
                </a:lnTo>
                <a:lnTo>
                  <a:pt x="4382046" y="2684624"/>
                </a:lnTo>
                <a:lnTo>
                  <a:pt x="4422074" y="2695513"/>
                </a:lnTo>
                <a:lnTo>
                  <a:pt x="4466552" y="2702134"/>
                </a:lnTo>
                <a:lnTo>
                  <a:pt x="4515699" y="2704367"/>
                </a:lnTo>
                <a:lnTo>
                  <a:pt x="4515699" y="2801189"/>
                </a:lnTo>
                <a:lnTo>
                  <a:pt x="4462176" y="2799300"/>
                </a:lnTo>
                <a:lnTo>
                  <a:pt x="4412696" y="2793687"/>
                </a:lnTo>
                <a:lnTo>
                  <a:pt x="4367116" y="2784433"/>
                </a:lnTo>
                <a:lnTo>
                  <a:pt x="4325298" y="2771621"/>
                </a:lnTo>
                <a:lnTo>
                  <a:pt x="4287101" y="2755334"/>
                </a:lnTo>
                <a:lnTo>
                  <a:pt x="4252384" y="2735653"/>
                </a:lnTo>
                <a:lnTo>
                  <a:pt x="4221007" y="2712663"/>
                </a:lnTo>
                <a:lnTo>
                  <a:pt x="4192831" y="2686444"/>
                </a:lnTo>
                <a:lnTo>
                  <a:pt x="4167714" y="2657081"/>
                </a:lnTo>
                <a:lnTo>
                  <a:pt x="4145517" y="2624655"/>
                </a:lnTo>
                <a:lnTo>
                  <a:pt x="4126100" y="2589249"/>
                </a:lnTo>
                <a:lnTo>
                  <a:pt x="4109322" y="2550946"/>
                </a:lnTo>
                <a:lnTo>
                  <a:pt x="4095043" y="2509828"/>
                </a:lnTo>
                <a:lnTo>
                  <a:pt x="4083123" y="2465979"/>
                </a:lnTo>
                <a:lnTo>
                  <a:pt x="4073422" y="2419480"/>
                </a:lnTo>
                <a:lnTo>
                  <a:pt x="4065799" y="2370415"/>
                </a:lnTo>
                <a:lnTo>
                  <a:pt x="4060114" y="2318865"/>
                </a:lnTo>
                <a:lnTo>
                  <a:pt x="4056227" y="2264915"/>
                </a:lnTo>
                <a:lnTo>
                  <a:pt x="4053997" y="2208645"/>
                </a:lnTo>
                <a:lnTo>
                  <a:pt x="4053286" y="2150141"/>
                </a:lnTo>
                <a:lnTo>
                  <a:pt x="4054021" y="2091886"/>
                </a:lnTo>
                <a:lnTo>
                  <a:pt x="4056317" y="2035865"/>
                </a:lnTo>
                <a:lnTo>
                  <a:pt x="4060306" y="1982160"/>
                </a:lnTo>
                <a:lnTo>
                  <a:pt x="4066119" y="1930854"/>
                </a:lnTo>
                <a:lnTo>
                  <a:pt x="4073892" y="1882026"/>
                </a:lnTo>
                <a:lnTo>
                  <a:pt x="4083755" y="1835759"/>
                </a:lnTo>
                <a:lnTo>
                  <a:pt x="4095841" y="1792133"/>
                </a:lnTo>
                <a:lnTo>
                  <a:pt x="4110284" y="1751231"/>
                </a:lnTo>
                <a:lnTo>
                  <a:pt x="4127216" y="1713133"/>
                </a:lnTo>
                <a:lnTo>
                  <a:pt x="4146769" y="1677921"/>
                </a:lnTo>
                <a:lnTo>
                  <a:pt x="4169077" y="1645676"/>
                </a:lnTo>
                <a:lnTo>
                  <a:pt x="4194274" y="1616479"/>
                </a:lnTo>
                <a:lnTo>
                  <a:pt x="4222489" y="1590414"/>
                </a:lnTo>
                <a:lnTo>
                  <a:pt x="4253856" y="1567559"/>
                </a:lnTo>
                <a:lnTo>
                  <a:pt x="4288509" y="1547998"/>
                </a:lnTo>
                <a:lnTo>
                  <a:pt x="4326580" y="1531810"/>
                </a:lnTo>
                <a:lnTo>
                  <a:pt x="4368202" y="1519078"/>
                </a:lnTo>
                <a:lnTo>
                  <a:pt x="4413507" y="1509883"/>
                </a:lnTo>
                <a:lnTo>
                  <a:pt x="4462628" y="1504306"/>
                </a:lnTo>
                <a:close/>
                <a:moveTo>
                  <a:pt x="462412" y="1502430"/>
                </a:moveTo>
                <a:lnTo>
                  <a:pt x="462412" y="1600921"/>
                </a:lnTo>
                <a:lnTo>
                  <a:pt x="413526" y="1603138"/>
                </a:lnTo>
                <a:lnTo>
                  <a:pt x="369246" y="1609705"/>
                </a:lnTo>
                <a:lnTo>
                  <a:pt x="329359" y="1620509"/>
                </a:lnTo>
                <a:lnTo>
                  <a:pt x="293653" y="1635428"/>
                </a:lnTo>
                <a:lnTo>
                  <a:pt x="233938" y="1677141"/>
                </a:lnTo>
                <a:lnTo>
                  <a:pt x="188404" y="1733900"/>
                </a:lnTo>
                <a:lnTo>
                  <a:pt x="170425" y="1767626"/>
                </a:lnTo>
                <a:lnTo>
                  <a:pt x="155356" y="1804759"/>
                </a:lnTo>
                <a:lnTo>
                  <a:pt x="142983" y="1845179"/>
                </a:lnTo>
                <a:lnTo>
                  <a:pt x="133096" y="1888770"/>
                </a:lnTo>
                <a:lnTo>
                  <a:pt x="125482" y="1935414"/>
                </a:lnTo>
                <a:lnTo>
                  <a:pt x="119929" y="1984990"/>
                </a:lnTo>
                <a:lnTo>
                  <a:pt x="116225" y="2037383"/>
                </a:lnTo>
                <a:lnTo>
                  <a:pt x="114158" y="2092472"/>
                </a:lnTo>
                <a:lnTo>
                  <a:pt x="113516" y="2150141"/>
                </a:lnTo>
                <a:lnTo>
                  <a:pt x="114141" y="2208380"/>
                </a:lnTo>
                <a:lnTo>
                  <a:pt x="116163" y="2264006"/>
                </a:lnTo>
                <a:lnTo>
                  <a:pt x="119800" y="2316901"/>
                </a:lnTo>
                <a:lnTo>
                  <a:pt x="125270" y="2366946"/>
                </a:lnTo>
                <a:lnTo>
                  <a:pt x="132790" y="2414022"/>
                </a:lnTo>
                <a:lnTo>
                  <a:pt x="142580" y="2458012"/>
                </a:lnTo>
                <a:lnTo>
                  <a:pt x="154856" y="2498797"/>
                </a:lnTo>
                <a:lnTo>
                  <a:pt x="169838" y="2536259"/>
                </a:lnTo>
                <a:lnTo>
                  <a:pt x="187744" y="2570280"/>
                </a:lnTo>
                <a:lnTo>
                  <a:pt x="233198" y="2627524"/>
                </a:lnTo>
                <a:lnTo>
                  <a:pt x="292964" y="2669584"/>
                </a:lnTo>
                <a:lnTo>
                  <a:pt x="328759" y="2684624"/>
                </a:lnTo>
                <a:lnTo>
                  <a:pt x="368787" y="2695513"/>
                </a:lnTo>
                <a:lnTo>
                  <a:pt x="413265" y="2702134"/>
                </a:lnTo>
                <a:lnTo>
                  <a:pt x="462412" y="2704367"/>
                </a:lnTo>
                <a:lnTo>
                  <a:pt x="462412" y="2801189"/>
                </a:lnTo>
                <a:lnTo>
                  <a:pt x="408890" y="2799300"/>
                </a:lnTo>
                <a:lnTo>
                  <a:pt x="359409" y="2793687"/>
                </a:lnTo>
                <a:lnTo>
                  <a:pt x="313830" y="2784433"/>
                </a:lnTo>
                <a:lnTo>
                  <a:pt x="272011" y="2771621"/>
                </a:lnTo>
                <a:lnTo>
                  <a:pt x="233814" y="2755334"/>
                </a:lnTo>
                <a:lnTo>
                  <a:pt x="199097" y="2735653"/>
                </a:lnTo>
                <a:lnTo>
                  <a:pt x="167721" y="2712663"/>
                </a:lnTo>
                <a:lnTo>
                  <a:pt x="139544" y="2686444"/>
                </a:lnTo>
                <a:lnTo>
                  <a:pt x="114428" y="2657081"/>
                </a:lnTo>
                <a:lnTo>
                  <a:pt x="92232" y="2624655"/>
                </a:lnTo>
                <a:lnTo>
                  <a:pt x="72814" y="2589249"/>
                </a:lnTo>
                <a:lnTo>
                  <a:pt x="56037" y="2550946"/>
                </a:lnTo>
                <a:lnTo>
                  <a:pt x="41758" y="2509828"/>
                </a:lnTo>
                <a:lnTo>
                  <a:pt x="29838" y="2465979"/>
                </a:lnTo>
                <a:lnTo>
                  <a:pt x="20136" y="2419480"/>
                </a:lnTo>
                <a:lnTo>
                  <a:pt x="12513" y="2370415"/>
                </a:lnTo>
                <a:lnTo>
                  <a:pt x="6828" y="2318865"/>
                </a:lnTo>
                <a:lnTo>
                  <a:pt x="2941" y="2264915"/>
                </a:lnTo>
                <a:lnTo>
                  <a:pt x="711" y="2208645"/>
                </a:lnTo>
                <a:lnTo>
                  <a:pt x="0" y="2150141"/>
                </a:lnTo>
                <a:lnTo>
                  <a:pt x="735" y="2091886"/>
                </a:lnTo>
                <a:lnTo>
                  <a:pt x="3031" y="2035865"/>
                </a:lnTo>
                <a:lnTo>
                  <a:pt x="7020" y="1982160"/>
                </a:lnTo>
                <a:lnTo>
                  <a:pt x="12834" y="1930854"/>
                </a:lnTo>
                <a:lnTo>
                  <a:pt x="20606" y="1882026"/>
                </a:lnTo>
                <a:lnTo>
                  <a:pt x="30469" y="1835759"/>
                </a:lnTo>
                <a:lnTo>
                  <a:pt x="42555" y="1792133"/>
                </a:lnTo>
                <a:lnTo>
                  <a:pt x="56998" y="1751231"/>
                </a:lnTo>
                <a:lnTo>
                  <a:pt x="73930" y="1713133"/>
                </a:lnTo>
                <a:lnTo>
                  <a:pt x="93484" y="1677921"/>
                </a:lnTo>
                <a:lnTo>
                  <a:pt x="115792" y="1645676"/>
                </a:lnTo>
                <a:lnTo>
                  <a:pt x="140987" y="1616479"/>
                </a:lnTo>
                <a:lnTo>
                  <a:pt x="169202" y="1590414"/>
                </a:lnTo>
                <a:lnTo>
                  <a:pt x="200570" y="1567559"/>
                </a:lnTo>
                <a:lnTo>
                  <a:pt x="235222" y="1547998"/>
                </a:lnTo>
                <a:lnTo>
                  <a:pt x="273293" y="1531810"/>
                </a:lnTo>
                <a:lnTo>
                  <a:pt x="314915" y="1519078"/>
                </a:lnTo>
                <a:lnTo>
                  <a:pt x="360220" y="1509883"/>
                </a:lnTo>
                <a:lnTo>
                  <a:pt x="409342" y="1504306"/>
                </a:lnTo>
                <a:close/>
                <a:moveTo>
                  <a:pt x="5280527" y="871409"/>
                </a:moveTo>
                <a:lnTo>
                  <a:pt x="6185319" y="871409"/>
                </a:lnTo>
                <a:lnTo>
                  <a:pt x="6185319" y="978246"/>
                </a:lnTo>
                <a:lnTo>
                  <a:pt x="5280527" y="978246"/>
                </a:lnTo>
                <a:close/>
                <a:moveTo>
                  <a:pt x="1874462" y="871408"/>
                </a:moveTo>
                <a:lnTo>
                  <a:pt x="2779254" y="871408"/>
                </a:lnTo>
                <a:lnTo>
                  <a:pt x="2779254" y="978246"/>
                </a:lnTo>
                <a:lnTo>
                  <a:pt x="1874462" y="978246"/>
                </a:lnTo>
                <a:close/>
                <a:moveTo>
                  <a:pt x="5280527" y="522512"/>
                </a:moveTo>
                <a:lnTo>
                  <a:pt x="6185319" y="522512"/>
                </a:lnTo>
                <a:lnTo>
                  <a:pt x="6185319" y="629349"/>
                </a:lnTo>
                <a:lnTo>
                  <a:pt x="5280527" y="629349"/>
                </a:lnTo>
                <a:close/>
                <a:moveTo>
                  <a:pt x="1874462" y="522511"/>
                </a:moveTo>
                <a:lnTo>
                  <a:pt x="2779254" y="522511"/>
                </a:lnTo>
                <a:lnTo>
                  <a:pt x="2779254" y="629349"/>
                </a:lnTo>
                <a:lnTo>
                  <a:pt x="1874462" y="629349"/>
                </a:lnTo>
                <a:close/>
                <a:moveTo>
                  <a:pt x="4621539" y="116859"/>
                </a:moveTo>
                <a:lnTo>
                  <a:pt x="4740064" y="116859"/>
                </a:lnTo>
                <a:lnTo>
                  <a:pt x="4386160" y="1185248"/>
                </a:lnTo>
                <a:lnTo>
                  <a:pt x="4264297" y="1185248"/>
                </a:lnTo>
                <a:close/>
                <a:moveTo>
                  <a:pt x="3314617" y="116858"/>
                </a:moveTo>
                <a:lnTo>
                  <a:pt x="3439819" y="116858"/>
                </a:lnTo>
                <a:lnTo>
                  <a:pt x="3795392" y="1185248"/>
                </a:lnTo>
                <a:lnTo>
                  <a:pt x="3670190" y="1185248"/>
                </a:lnTo>
                <a:close/>
                <a:moveTo>
                  <a:pt x="1312489" y="1"/>
                </a:moveTo>
                <a:lnTo>
                  <a:pt x="1312489" y="98493"/>
                </a:lnTo>
                <a:lnTo>
                  <a:pt x="1263604" y="100709"/>
                </a:lnTo>
                <a:lnTo>
                  <a:pt x="1219322" y="107277"/>
                </a:lnTo>
                <a:lnTo>
                  <a:pt x="1179437" y="118080"/>
                </a:lnTo>
                <a:lnTo>
                  <a:pt x="1143731" y="132999"/>
                </a:lnTo>
                <a:lnTo>
                  <a:pt x="1084016" y="174712"/>
                </a:lnTo>
                <a:lnTo>
                  <a:pt x="1038482" y="231471"/>
                </a:lnTo>
                <a:lnTo>
                  <a:pt x="1020503" y="265197"/>
                </a:lnTo>
                <a:lnTo>
                  <a:pt x="1005433" y="302330"/>
                </a:lnTo>
                <a:lnTo>
                  <a:pt x="993061" y="342750"/>
                </a:lnTo>
                <a:lnTo>
                  <a:pt x="983172" y="386342"/>
                </a:lnTo>
                <a:lnTo>
                  <a:pt x="975559" y="432985"/>
                </a:lnTo>
                <a:lnTo>
                  <a:pt x="970006" y="482562"/>
                </a:lnTo>
                <a:lnTo>
                  <a:pt x="966302" y="534954"/>
                </a:lnTo>
                <a:lnTo>
                  <a:pt x="964235" y="590043"/>
                </a:lnTo>
                <a:lnTo>
                  <a:pt x="963593" y="647712"/>
                </a:lnTo>
                <a:lnTo>
                  <a:pt x="964219" y="705953"/>
                </a:lnTo>
                <a:lnTo>
                  <a:pt x="966241" y="761579"/>
                </a:lnTo>
                <a:lnTo>
                  <a:pt x="969878" y="814474"/>
                </a:lnTo>
                <a:lnTo>
                  <a:pt x="975347" y="864518"/>
                </a:lnTo>
                <a:lnTo>
                  <a:pt x="982868" y="911596"/>
                </a:lnTo>
                <a:lnTo>
                  <a:pt x="992658" y="955586"/>
                </a:lnTo>
                <a:lnTo>
                  <a:pt x="1004934" y="996370"/>
                </a:lnTo>
                <a:lnTo>
                  <a:pt x="1019916" y="1033831"/>
                </a:lnTo>
                <a:lnTo>
                  <a:pt x="1037822" y="1067851"/>
                </a:lnTo>
                <a:lnTo>
                  <a:pt x="1083276" y="1125096"/>
                </a:lnTo>
                <a:lnTo>
                  <a:pt x="1143042" y="1167155"/>
                </a:lnTo>
                <a:lnTo>
                  <a:pt x="1178837" y="1182194"/>
                </a:lnTo>
                <a:lnTo>
                  <a:pt x="1218864" y="1193084"/>
                </a:lnTo>
                <a:lnTo>
                  <a:pt x="1263342" y="1199705"/>
                </a:lnTo>
                <a:lnTo>
                  <a:pt x="1312489" y="1201938"/>
                </a:lnTo>
                <a:lnTo>
                  <a:pt x="1312489" y="1298761"/>
                </a:lnTo>
                <a:lnTo>
                  <a:pt x="1258966" y="1296873"/>
                </a:lnTo>
                <a:lnTo>
                  <a:pt x="1209487" y="1291259"/>
                </a:lnTo>
                <a:lnTo>
                  <a:pt x="1163908" y="1282006"/>
                </a:lnTo>
                <a:lnTo>
                  <a:pt x="1122089" y="1269194"/>
                </a:lnTo>
                <a:lnTo>
                  <a:pt x="1083893" y="1252907"/>
                </a:lnTo>
                <a:lnTo>
                  <a:pt x="1049176" y="1233225"/>
                </a:lnTo>
                <a:lnTo>
                  <a:pt x="1017798" y="1210234"/>
                </a:lnTo>
                <a:lnTo>
                  <a:pt x="989622" y="1184015"/>
                </a:lnTo>
                <a:lnTo>
                  <a:pt x="964506" y="1154652"/>
                </a:lnTo>
                <a:lnTo>
                  <a:pt x="942309" y="1122226"/>
                </a:lnTo>
                <a:lnTo>
                  <a:pt x="922891" y="1086820"/>
                </a:lnTo>
                <a:lnTo>
                  <a:pt x="906113" y="1048518"/>
                </a:lnTo>
                <a:lnTo>
                  <a:pt x="891835" y="1007402"/>
                </a:lnTo>
                <a:lnTo>
                  <a:pt x="879914" y="963551"/>
                </a:lnTo>
                <a:lnTo>
                  <a:pt x="870214" y="917053"/>
                </a:lnTo>
                <a:lnTo>
                  <a:pt x="862590" y="867987"/>
                </a:lnTo>
                <a:lnTo>
                  <a:pt x="856906" y="816438"/>
                </a:lnTo>
                <a:lnTo>
                  <a:pt x="853019" y="762487"/>
                </a:lnTo>
                <a:lnTo>
                  <a:pt x="850789" y="706217"/>
                </a:lnTo>
                <a:lnTo>
                  <a:pt x="850077" y="647712"/>
                </a:lnTo>
                <a:lnTo>
                  <a:pt x="850812" y="589457"/>
                </a:lnTo>
                <a:lnTo>
                  <a:pt x="853109" y="533437"/>
                </a:lnTo>
                <a:lnTo>
                  <a:pt x="857098" y="479733"/>
                </a:lnTo>
                <a:lnTo>
                  <a:pt x="862911" y="428425"/>
                </a:lnTo>
                <a:lnTo>
                  <a:pt x="870684" y="379597"/>
                </a:lnTo>
                <a:lnTo>
                  <a:pt x="880547" y="333331"/>
                </a:lnTo>
                <a:lnTo>
                  <a:pt x="892633" y="289705"/>
                </a:lnTo>
                <a:lnTo>
                  <a:pt x="907076" y="248802"/>
                </a:lnTo>
                <a:lnTo>
                  <a:pt x="924008" y="210704"/>
                </a:lnTo>
                <a:lnTo>
                  <a:pt x="943561" y="175493"/>
                </a:lnTo>
                <a:lnTo>
                  <a:pt x="965869" y="143247"/>
                </a:lnTo>
                <a:lnTo>
                  <a:pt x="991066" y="114051"/>
                </a:lnTo>
                <a:lnTo>
                  <a:pt x="1019280" y="87986"/>
                </a:lnTo>
                <a:lnTo>
                  <a:pt x="1050647" y="65131"/>
                </a:lnTo>
                <a:lnTo>
                  <a:pt x="1085300" y="45570"/>
                </a:lnTo>
                <a:lnTo>
                  <a:pt x="1123371" y="29382"/>
                </a:lnTo>
                <a:lnTo>
                  <a:pt x="1164993" y="16650"/>
                </a:lnTo>
                <a:lnTo>
                  <a:pt x="1210299" y="7455"/>
                </a:lnTo>
                <a:lnTo>
                  <a:pt x="1259419" y="1877"/>
                </a:lnTo>
                <a:close/>
                <a:moveTo>
                  <a:pt x="6747401" y="0"/>
                </a:moveTo>
                <a:lnTo>
                  <a:pt x="6800471" y="1876"/>
                </a:lnTo>
                <a:lnTo>
                  <a:pt x="6849592" y="7453"/>
                </a:lnTo>
                <a:lnTo>
                  <a:pt x="6894897" y="16648"/>
                </a:lnTo>
                <a:lnTo>
                  <a:pt x="6936519" y="29380"/>
                </a:lnTo>
                <a:lnTo>
                  <a:pt x="6974590" y="45568"/>
                </a:lnTo>
                <a:lnTo>
                  <a:pt x="7009243" y="65130"/>
                </a:lnTo>
                <a:lnTo>
                  <a:pt x="7040610" y="87984"/>
                </a:lnTo>
                <a:lnTo>
                  <a:pt x="7068825" y="114050"/>
                </a:lnTo>
                <a:lnTo>
                  <a:pt x="7094021" y="143246"/>
                </a:lnTo>
                <a:lnTo>
                  <a:pt x="7116329" y="175491"/>
                </a:lnTo>
                <a:lnTo>
                  <a:pt x="7135882" y="210703"/>
                </a:lnTo>
                <a:lnTo>
                  <a:pt x="7152814" y="248801"/>
                </a:lnTo>
                <a:lnTo>
                  <a:pt x="7167257" y="289704"/>
                </a:lnTo>
                <a:lnTo>
                  <a:pt x="7179344" y="333329"/>
                </a:lnTo>
                <a:lnTo>
                  <a:pt x="7189207" y="379596"/>
                </a:lnTo>
                <a:lnTo>
                  <a:pt x="7196979" y="428424"/>
                </a:lnTo>
                <a:lnTo>
                  <a:pt x="7202793" y="479731"/>
                </a:lnTo>
                <a:lnTo>
                  <a:pt x="7206781" y="533435"/>
                </a:lnTo>
                <a:lnTo>
                  <a:pt x="7209077" y="589455"/>
                </a:lnTo>
                <a:lnTo>
                  <a:pt x="7209813" y="647711"/>
                </a:lnTo>
                <a:lnTo>
                  <a:pt x="7209113" y="706216"/>
                </a:lnTo>
                <a:lnTo>
                  <a:pt x="7206916" y="762486"/>
                </a:lnTo>
                <a:lnTo>
                  <a:pt x="7203080" y="816437"/>
                </a:lnTo>
                <a:lnTo>
                  <a:pt x="7197459" y="867986"/>
                </a:lnTo>
                <a:lnTo>
                  <a:pt x="7189911" y="917051"/>
                </a:lnTo>
                <a:lnTo>
                  <a:pt x="7180290" y="963550"/>
                </a:lnTo>
                <a:lnTo>
                  <a:pt x="7168453" y="1007400"/>
                </a:lnTo>
                <a:lnTo>
                  <a:pt x="7154256" y="1048517"/>
                </a:lnTo>
                <a:lnTo>
                  <a:pt x="7137555" y="1086819"/>
                </a:lnTo>
                <a:lnTo>
                  <a:pt x="7118206" y="1122225"/>
                </a:lnTo>
                <a:lnTo>
                  <a:pt x="7096065" y="1154652"/>
                </a:lnTo>
                <a:lnTo>
                  <a:pt x="7070989" y="1184015"/>
                </a:lnTo>
                <a:lnTo>
                  <a:pt x="7042832" y="1210234"/>
                </a:lnTo>
                <a:lnTo>
                  <a:pt x="7011451" y="1233224"/>
                </a:lnTo>
                <a:lnTo>
                  <a:pt x="6976702" y="1252906"/>
                </a:lnTo>
                <a:lnTo>
                  <a:pt x="6938442" y="1269193"/>
                </a:lnTo>
                <a:lnTo>
                  <a:pt x="6896525" y="1282004"/>
                </a:lnTo>
                <a:lnTo>
                  <a:pt x="6850809" y="1291259"/>
                </a:lnTo>
                <a:lnTo>
                  <a:pt x="6801149" y="1296872"/>
                </a:lnTo>
                <a:lnTo>
                  <a:pt x="6747401" y="1298760"/>
                </a:lnTo>
                <a:lnTo>
                  <a:pt x="6747401" y="1201937"/>
                </a:lnTo>
                <a:lnTo>
                  <a:pt x="6797086" y="1199704"/>
                </a:lnTo>
                <a:lnTo>
                  <a:pt x="6842006" y="1193083"/>
                </a:lnTo>
                <a:lnTo>
                  <a:pt x="6882389" y="1182194"/>
                </a:lnTo>
                <a:lnTo>
                  <a:pt x="6918460" y="1167155"/>
                </a:lnTo>
                <a:lnTo>
                  <a:pt x="6978571" y="1125095"/>
                </a:lnTo>
                <a:lnTo>
                  <a:pt x="7024150" y="1067850"/>
                </a:lnTo>
                <a:lnTo>
                  <a:pt x="7042056" y="1033830"/>
                </a:lnTo>
                <a:lnTo>
                  <a:pt x="7057008" y="996368"/>
                </a:lnTo>
                <a:lnTo>
                  <a:pt x="7069232" y="955584"/>
                </a:lnTo>
                <a:lnTo>
                  <a:pt x="7078955" y="911594"/>
                </a:lnTo>
                <a:lnTo>
                  <a:pt x="7086402" y="864517"/>
                </a:lnTo>
                <a:lnTo>
                  <a:pt x="7091801" y="814473"/>
                </a:lnTo>
                <a:lnTo>
                  <a:pt x="7095377" y="761578"/>
                </a:lnTo>
                <a:lnTo>
                  <a:pt x="7097356" y="705951"/>
                </a:lnTo>
                <a:lnTo>
                  <a:pt x="7097966" y="647711"/>
                </a:lnTo>
                <a:lnTo>
                  <a:pt x="7097324" y="590042"/>
                </a:lnTo>
                <a:lnTo>
                  <a:pt x="7095254" y="534953"/>
                </a:lnTo>
                <a:lnTo>
                  <a:pt x="7091544" y="482560"/>
                </a:lnTo>
                <a:lnTo>
                  <a:pt x="7085978" y="432984"/>
                </a:lnTo>
                <a:lnTo>
                  <a:pt x="7078343" y="386340"/>
                </a:lnTo>
                <a:lnTo>
                  <a:pt x="7068425" y="342749"/>
                </a:lnTo>
                <a:lnTo>
                  <a:pt x="7056009" y="302328"/>
                </a:lnTo>
                <a:lnTo>
                  <a:pt x="7040882" y="265196"/>
                </a:lnTo>
                <a:lnTo>
                  <a:pt x="7022829" y="231470"/>
                </a:lnTo>
                <a:lnTo>
                  <a:pt x="6977091" y="174711"/>
                </a:lnTo>
                <a:lnTo>
                  <a:pt x="6917082" y="132998"/>
                </a:lnTo>
                <a:lnTo>
                  <a:pt x="6881190" y="118079"/>
                </a:lnTo>
                <a:lnTo>
                  <a:pt x="6841089" y="107276"/>
                </a:lnTo>
                <a:lnTo>
                  <a:pt x="6796564" y="100708"/>
                </a:lnTo>
                <a:lnTo>
                  <a:pt x="6747401" y="98492"/>
                </a:lnTo>
                <a:close/>
              </a:path>
            </a:pathLst>
          </a:custGeom>
          <a:solidFill>
            <a:srgbClr val="88C66D"/>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032445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18" name="Baggrund højre">
            <a:extLst>
              <a:ext uri="{FF2B5EF4-FFF2-40B4-BE49-F238E27FC236}">
                <a16:creationId xmlns:a16="http://schemas.microsoft.com/office/drawing/2014/main" id="{FBEA3A33-4B5E-F835-AD9A-4D073373C2FC}"/>
              </a:ext>
            </a:extLst>
          </p:cNvPr>
          <p:cNvSpPr/>
          <p:nvPr userDrawn="1"/>
        </p:nvSpPr>
        <p:spPr bwMode="white">
          <a:xfrm>
            <a:off x="5344716" y="675001"/>
            <a:ext cx="3799284" cy="4468178"/>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da-DK" sz="1500" noProof="0" err="1"/>
          </a:p>
        </p:txBody>
      </p:sp>
      <p:sp>
        <p:nvSpPr>
          <p:cNvPr id="3" name="Citationstegn">
            <a:extLst>
              <a:ext uri="{FF2B5EF4-FFF2-40B4-BE49-F238E27FC236}">
                <a16:creationId xmlns:a16="http://schemas.microsoft.com/office/drawing/2014/main" id="{1FAC5EE6-E68B-F16E-524C-FE647D1186F7}"/>
              </a:ext>
            </a:extLst>
          </p:cNvPr>
          <p:cNvSpPr/>
          <p:nvPr userDrawn="1"/>
        </p:nvSpPr>
        <p:spPr>
          <a:xfrm>
            <a:off x="398590" y="1664093"/>
            <a:ext cx="504876" cy="462242"/>
          </a:xfrm>
          <a:custGeom>
            <a:avLst/>
            <a:gdLst>
              <a:gd name="connsiteX0" fmla="*/ 2778504 w 3721210"/>
              <a:gd name="connsiteY0" fmla="*/ 0 h 3406975"/>
              <a:gd name="connsiteX1" fmla="*/ 3340820 w 3721210"/>
              <a:gd name="connsiteY1" fmla="*/ 0 h 3406975"/>
              <a:gd name="connsiteX2" fmla="*/ 2877736 w 3721210"/>
              <a:gd name="connsiteY2" fmla="*/ 2100417 h 3406975"/>
              <a:gd name="connsiteX3" fmla="*/ 3717553 w 3721210"/>
              <a:gd name="connsiteY3" fmla="*/ 2640065 h 3406975"/>
              <a:gd name="connsiteX4" fmla="*/ 3721210 w 3721210"/>
              <a:gd name="connsiteY4" fmla="*/ 2728864 h 3406975"/>
              <a:gd name="connsiteX5" fmla="*/ 3721210 w 3721210"/>
              <a:gd name="connsiteY5" fmla="*/ 2728915 h 3406975"/>
              <a:gd name="connsiteX6" fmla="*/ 3717573 w 3721210"/>
              <a:gd name="connsiteY6" fmla="*/ 2826445 h 3406975"/>
              <a:gd name="connsiteX7" fmla="*/ 2960430 w 3721210"/>
              <a:gd name="connsiteY7" fmla="*/ 3406975 h 3406975"/>
              <a:gd name="connsiteX8" fmla="*/ 2216187 w 3721210"/>
              <a:gd name="connsiteY8" fmla="*/ 2728888 h 3406975"/>
              <a:gd name="connsiteX9" fmla="*/ 2282342 w 3721210"/>
              <a:gd name="connsiteY9" fmla="*/ 2265804 h 3406975"/>
              <a:gd name="connsiteX10" fmla="*/ 562316 w 3721210"/>
              <a:gd name="connsiteY10" fmla="*/ 0 h 3406975"/>
              <a:gd name="connsiteX11" fmla="*/ 1124633 w 3721210"/>
              <a:gd name="connsiteY11" fmla="*/ 0 h 3406975"/>
              <a:gd name="connsiteX12" fmla="*/ 661548 w 3721210"/>
              <a:gd name="connsiteY12" fmla="*/ 2100417 h 3406975"/>
              <a:gd name="connsiteX13" fmla="*/ 1505023 w 3721210"/>
              <a:gd name="connsiteY13" fmla="*/ 2728888 h 3406975"/>
              <a:gd name="connsiteX14" fmla="*/ 744242 w 3721210"/>
              <a:gd name="connsiteY14" fmla="*/ 3406975 h 3406975"/>
              <a:gd name="connsiteX15" fmla="*/ 0 w 3721210"/>
              <a:gd name="connsiteY15" fmla="*/ 2728888 h 3406975"/>
              <a:gd name="connsiteX16" fmla="*/ 66155 w 3721210"/>
              <a:gd name="connsiteY16" fmla="*/ 2265804 h 340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21210" h="3406975">
                <a:moveTo>
                  <a:pt x="2778504" y="0"/>
                </a:moveTo>
                <a:lnTo>
                  <a:pt x="3340820" y="0"/>
                </a:lnTo>
                <a:lnTo>
                  <a:pt x="2877736" y="2100417"/>
                </a:lnTo>
                <a:cubicBezTo>
                  <a:pt x="3373898" y="2100417"/>
                  <a:pt x="3681092" y="2216705"/>
                  <a:pt x="3717553" y="2640065"/>
                </a:cubicBezTo>
                <a:lnTo>
                  <a:pt x="3721210" y="2728864"/>
                </a:lnTo>
                <a:lnTo>
                  <a:pt x="3721210" y="2728915"/>
                </a:lnTo>
                <a:lnTo>
                  <a:pt x="3717573" y="2826445"/>
                </a:lnTo>
                <a:cubicBezTo>
                  <a:pt x="3681415" y="3290688"/>
                  <a:pt x="3379066" y="3406975"/>
                  <a:pt x="2960430" y="3406975"/>
                </a:cubicBezTo>
                <a:cubicBezTo>
                  <a:pt x="2530423" y="3406975"/>
                  <a:pt x="2216187" y="3274666"/>
                  <a:pt x="2216187" y="2728888"/>
                </a:cubicBezTo>
                <a:cubicBezTo>
                  <a:pt x="2216187" y="2646194"/>
                  <a:pt x="2232726" y="2464269"/>
                  <a:pt x="2282342" y="2265804"/>
                </a:cubicBezTo>
                <a:close/>
                <a:moveTo>
                  <a:pt x="562316" y="0"/>
                </a:moveTo>
                <a:lnTo>
                  <a:pt x="1124633" y="0"/>
                </a:lnTo>
                <a:lnTo>
                  <a:pt x="661548" y="2100417"/>
                </a:lnTo>
                <a:cubicBezTo>
                  <a:pt x="1190787" y="2100417"/>
                  <a:pt x="1505023" y="2232727"/>
                  <a:pt x="1505023" y="2728888"/>
                </a:cubicBezTo>
                <a:cubicBezTo>
                  <a:pt x="1505023" y="3274666"/>
                  <a:pt x="1190787" y="3406975"/>
                  <a:pt x="744242" y="3406975"/>
                </a:cubicBezTo>
                <a:cubicBezTo>
                  <a:pt x="314235" y="3406975"/>
                  <a:pt x="0" y="3274666"/>
                  <a:pt x="0" y="2728888"/>
                </a:cubicBezTo>
                <a:cubicBezTo>
                  <a:pt x="0" y="2646194"/>
                  <a:pt x="16539" y="2464269"/>
                  <a:pt x="66155" y="2265804"/>
                </a:cubicBezTo>
                <a:close/>
              </a:path>
            </a:pathLst>
          </a:cu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oAutofit/>
          </a:bodyPr>
          <a:lstStyle/>
          <a:p>
            <a:pPr algn="ctr"/>
            <a:endParaRPr lang="da-DK" sz="1200" noProof="0" err="1">
              <a:solidFill>
                <a:schemeClr val="bg1"/>
              </a:solidFill>
            </a:endParaRPr>
          </a:p>
        </p:txBody>
      </p:sp>
      <p:sp>
        <p:nvSpPr>
          <p:cNvPr id="7" name="Titel 6">
            <a:extLst>
              <a:ext uri="{FF2B5EF4-FFF2-40B4-BE49-F238E27FC236}">
                <a16:creationId xmlns:a16="http://schemas.microsoft.com/office/drawing/2014/main" id="{8F7A2D9C-EAFA-3270-E382-715F84BCCAE7}"/>
              </a:ext>
            </a:extLst>
          </p:cNvPr>
          <p:cNvSpPr>
            <a:spLocks noGrp="1"/>
          </p:cNvSpPr>
          <p:nvPr>
            <p:ph type="title" hasCustomPrompt="1"/>
          </p:nvPr>
        </p:nvSpPr>
        <p:spPr>
          <a:xfrm>
            <a:off x="405000" y="2367137"/>
            <a:ext cx="3396600" cy="621000"/>
          </a:xfrm>
        </p:spPr>
        <p:txBody>
          <a:bodyPr/>
          <a:lstStyle>
            <a:lvl1pPr>
              <a:defRPr/>
            </a:lvl1pPr>
          </a:lstStyle>
          <a:p>
            <a:r>
              <a:rPr lang="da-DK"/>
              <a:t>Klik for at tilføje citat</a:t>
            </a:r>
          </a:p>
        </p:txBody>
      </p:sp>
      <p:sp>
        <p:nvSpPr>
          <p:cNvPr id="17" name="Text Placeholder 2">
            <a:extLst>
              <a:ext uri="{FF2B5EF4-FFF2-40B4-BE49-F238E27FC236}">
                <a16:creationId xmlns:a16="http://schemas.microsoft.com/office/drawing/2014/main" id="{260F894D-D8AD-CA81-C1F4-E27837EF5DFB}"/>
              </a:ext>
            </a:extLst>
          </p:cNvPr>
          <p:cNvSpPr>
            <a:spLocks noGrp="1"/>
          </p:cNvSpPr>
          <p:nvPr>
            <p:ph type="body" sz="quarter" idx="13" hasCustomPrompt="1"/>
          </p:nvPr>
        </p:nvSpPr>
        <p:spPr>
          <a:xfrm>
            <a:off x="405000" y="3095875"/>
            <a:ext cx="3396600" cy="213856"/>
          </a:xfrm>
        </p:spPr>
        <p:txBody>
          <a:bodyPr/>
          <a:lstStyle>
            <a:lvl1pPr marL="0" indent="0">
              <a:lnSpc>
                <a:spcPct val="100000"/>
              </a:lnSpc>
              <a:spcAft>
                <a:spcPts val="0"/>
              </a:spcAft>
              <a:buFont typeface="Arial" panose="020B0604020202020204" pitchFamily="34" charset="0"/>
              <a:buNone/>
              <a:defRPr sz="1200" b="0">
                <a:latin typeface="+mn-lt"/>
              </a:defRPr>
            </a:lvl1pPr>
            <a:lvl2pPr marL="0" indent="0">
              <a:lnSpc>
                <a:spcPct val="100000"/>
              </a:lnSpc>
              <a:spcBef>
                <a:spcPts val="0"/>
              </a:spcBef>
              <a:spcAft>
                <a:spcPts val="0"/>
              </a:spcAft>
              <a:buFont typeface="Arial" panose="020B0604020202020204" pitchFamily="34" charset="0"/>
              <a:buChar char="​"/>
              <a:defRPr sz="1200" b="0">
                <a:latin typeface="+mn-lt"/>
              </a:defRPr>
            </a:lvl2pPr>
            <a:lvl3pPr marL="0" indent="0">
              <a:lnSpc>
                <a:spcPct val="100000"/>
              </a:lnSpc>
              <a:spcBef>
                <a:spcPts val="0"/>
              </a:spcBef>
              <a:spcAft>
                <a:spcPts val="0"/>
              </a:spcAft>
              <a:buFont typeface="Arial" panose="020B0604020202020204" pitchFamily="34" charset="0"/>
              <a:buChar char="​"/>
              <a:defRPr sz="1200" b="0">
                <a:latin typeface="+mn-lt"/>
              </a:defRPr>
            </a:lvl3pPr>
            <a:lvl4pPr marL="0" indent="0">
              <a:lnSpc>
                <a:spcPct val="100000"/>
              </a:lnSpc>
              <a:spcBef>
                <a:spcPts val="0"/>
              </a:spcBef>
              <a:spcAft>
                <a:spcPts val="0"/>
              </a:spcAft>
              <a:buFont typeface="Arial" panose="020B0604020202020204" pitchFamily="34" charset="0"/>
              <a:buChar char="​"/>
              <a:defRPr sz="1200" b="0">
                <a:latin typeface="+mn-lt"/>
              </a:defRPr>
            </a:lvl4pPr>
            <a:lvl5pPr marL="0" indent="0">
              <a:lnSpc>
                <a:spcPct val="100000"/>
              </a:lnSpc>
              <a:spcBef>
                <a:spcPts val="0"/>
              </a:spcBef>
              <a:spcAft>
                <a:spcPts val="0"/>
              </a:spcAft>
              <a:buFont typeface="Arial" panose="020B0604020202020204" pitchFamily="34" charset="0"/>
              <a:buChar char="​"/>
              <a:defRPr sz="1200" b="0">
                <a:latin typeface="+mn-lt"/>
              </a:defRPr>
            </a:lvl5pPr>
            <a:lvl6pPr marL="0" indent="0">
              <a:lnSpc>
                <a:spcPct val="100000"/>
              </a:lnSpc>
              <a:spcBef>
                <a:spcPts val="0"/>
              </a:spcBef>
              <a:spcAft>
                <a:spcPts val="0"/>
              </a:spcAft>
              <a:buFont typeface="Arial" panose="020B0604020202020204" pitchFamily="34" charset="0"/>
              <a:buChar char="​"/>
              <a:defRPr sz="1200" b="0">
                <a:latin typeface="+mn-lt"/>
              </a:defRPr>
            </a:lvl6pPr>
            <a:lvl7pPr marL="0" indent="0">
              <a:lnSpc>
                <a:spcPct val="100000"/>
              </a:lnSpc>
              <a:spcBef>
                <a:spcPts val="0"/>
              </a:spcBef>
              <a:spcAft>
                <a:spcPts val="0"/>
              </a:spcAft>
              <a:buFont typeface="Arial" panose="020B0604020202020204" pitchFamily="34" charset="0"/>
              <a:buChar char="​"/>
              <a:defRPr sz="1200" b="0">
                <a:latin typeface="+mn-lt"/>
              </a:defRPr>
            </a:lvl7pPr>
            <a:lvl8pPr marL="0" indent="0">
              <a:lnSpc>
                <a:spcPct val="100000"/>
              </a:lnSpc>
              <a:spcBef>
                <a:spcPts val="0"/>
              </a:spcBef>
              <a:spcAft>
                <a:spcPts val="0"/>
              </a:spcAft>
              <a:buFont typeface="Arial" panose="020B0604020202020204" pitchFamily="34" charset="0"/>
              <a:buChar char="​"/>
              <a:defRPr sz="1200" b="0">
                <a:latin typeface="+mn-lt"/>
              </a:defRPr>
            </a:lvl8pPr>
            <a:lvl9pPr marL="0" indent="0">
              <a:lnSpc>
                <a:spcPct val="100000"/>
              </a:lnSpc>
              <a:spcBef>
                <a:spcPts val="0"/>
              </a:spcBef>
              <a:buFont typeface="Arial" panose="020B0604020202020204" pitchFamily="34" charset="0"/>
              <a:buChar char="​"/>
              <a:defRPr sz="1200" b="0">
                <a:latin typeface="+mn-lt"/>
              </a:defRPr>
            </a:lvl9pPr>
          </a:lstStyle>
          <a:p>
            <a:pPr lvl="0"/>
            <a:r>
              <a:rPr lang="da-DK" noProof="0"/>
              <a:t>Klik for at tilføje navn</a:t>
            </a:r>
          </a:p>
        </p:txBody>
      </p:sp>
      <p:sp>
        <p:nvSpPr>
          <p:cNvPr id="16" name="Text Placeholder 3">
            <a:extLst>
              <a:ext uri="{FF2B5EF4-FFF2-40B4-BE49-F238E27FC236}">
                <a16:creationId xmlns:a16="http://schemas.microsoft.com/office/drawing/2014/main" id="{145BFAFA-19B6-8EEB-8CBF-2C31E2CEB6F0}"/>
              </a:ext>
            </a:extLst>
          </p:cNvPr>
          <p:cNvSpPr>
            <a:spLocks noGrp="1"/>
          </p:cNvSpPr>
          <p:nvPr>
            <p:ph type="body" sz="quarter" idx="21" hasCustomPrompt="1"/>
          </p:nvPr>
        </p:nvSpPr>
        <p:spPr>
          <a:xfrm>
            <a:off x="405000" y="3356793"/>
            <a:ext cx="3396600" cy="193755"/>
          </a:xfrm>
        </p:spPr>
        <p:txBody>
          <a:bodyPr/>
          <a:lstStyle>
            <a:lvl1pPr marL="0" indent="0">
              <a:lnSpc>
                <a:spcPct val="100000"/>
              </a:lnSpc>
              <a:spcBef>
                <a:spcPts val="0"/>
              </a:spcBef>
              <a:spcAft>
                <a:spcPts val="0"/>
              </a:spcAft>
              <a:buFont typeface="Arial" panose="020B0604020202020204" pitchFamily="34" charset="0"/>
              <a:buNone/>
              <a:defRPr sz="750" b="0">
                <a:latin typeface="+mn-lt"/>
              </a:defRPr>
            </a:lvl1pPr>
            <a:lvl2pPr marL="0" indent="0">
              <a:lnSpc>
                <a:spcPct val="100000"/>
              </a:lnSpc>
              <a:spcBef>
                <a:spcPts val="0"/>
              </a:spcBef>
              <a:spcAft>
                <a:spcPts val="0"/>
              </a:spcAft>
              <a:buFont typeface="Arial" panose="020B0604020202020204" pitchFamily="34" charset="0"/>
              <a:buChar char="​"/>
              <a:defRPr sz="750" b="0">
                <a:latin typeface="+mn-lt"/>
              </a:defRPr>
            </a:lvl2pPr>
            <a:lvl3pPr marL="0" indent="0">
              <a:lnSpc>
                <a:spcPct val="100000"/>
              </a:lnSpc>
              <a:spcBef>
                <a:spcPts val="0"/>
              </a:spcBef>
              <a:spcAft>
                <a:spcPts val="0"/>
              </a:spcAft>
              <a:buFont typeface="Arial" panose="020B0604020202020204" pitchFamily="34" charset="0"/>
              <a:buChar char="​"/>
              <a:defRPr sz="750" b="0">
                <a:latin typeface="+mn-lt"/>
              </a:defRPr>
            </a:lvl3pPr>
            <a:lvl4pPr>
              <a:lnSpc>
                <a:spcPct val="100000"/>
              </a:lnSpc>
              <a:spcBef>
                <a:spcPts val="0"/>
              </a:spcBef>
              <a:spcAft>
                <a:spcPts val="0"/>
              </a:spcAft>
              <a:buFont typeface="Arial" panose="020B0604020202020204" pitchFamily="34" charset="0"/>
              <a:buChar char="​"/>
              <a:defRPr sz="750" b="0">
                <a:latin typeface="+mn-lt"/>
              </a:defRPr>
            </a:lvl4pPr>
            <a:lvl5pPr>
              <a:lnSpc>
                <a:spcPct val="100000"/>
              </a:lnSpc>
              <a:spcBef>
                <a:spcPts val="0"/>
              </a:spcBef>
              <a:spcAft>
                <a:spcPts val="0"/>
              </a:spcAft>
              <a:buFont typeface="Arial" panose="020B0604020202020204" pitchFamily="34" charset="0"/>
              <a:buChar char="​"/>
              <a:defRPr sz="750" b="0">
                <a:latin typeface="+mn-lt"/>
              </a:defRPr>
            </a:lvl5pPr>
            <a:lvl6pPr marL="0" indent="0">
              <a:lnSpc>
                <a:spcPct val="100000"/>
              </a:lnSpc>
              <a:spcBef>
                <a:spcPts val="0"/>
              </a:spcBef>
              <a:spcAft>
                <a:spcPts val="0"/>
              </a:spcAft>
              <a:buFont typeface="Arial" panose="020B0604020202020204" pitchFamily="34" charset="0"/>
              <a:buChar char="​"/>
              <a:defRPr sz="750" b="0">
                <a:latin typeface="+mn-lt"/>
              </a:defRPr>
            </a:lvl6pPr>
            <a:lvl7pPr>
              <a:lnSpc>
                <a:spcPct val="100000"/>
              </a:lnSpc>
              <a:spcBef>
                <a:spcPts val="0"/>
              </a:spcBef>
              <a:spcAft>
                <a:spcPts val="0"/>
              </a:spcAft>
              <a:defRPr sz="750" b="0">
                <a:latin typeface="+mn-lt"/>
              </a:defRPr>
            </a:lvl7pPr>
            <a:lvl8pPr>
              <a:lnSpc>
                <a:spcPct val="100000"/>
              </a:lnSpc>
              <a:spcBef>
                <a:spcPts val="0"/>
              </a:spcBef>
              <a:spcAft>
                <a:spcPts val="0"/>
              </a:spcAft>
              <a:defRPr sz="750" b="0">
                <a:latin typeface="+mn-lt"/>
              </a:defRPr>
            </a:lvl8pPr>
            <a:lvl9pPr>
              <a:lnSpc>
                <a:spcPct val="100000"/>
              </a:lnSpc>
              <a:spcBef>
                <a:spcPts val="0"/>
              </a:spcBef>
              <a:spcAft>
                <a:spcPts val="0"/>
              </a:spcAft>
              <a:defRPr sz="750" b="0">
                <a:latin typeface="+mn-lt"/>
              </a:defRPr>
            </a:lvl9pPr>
          </a:lstStyle>
          <a:p>
            <a:pPr lvl="0"/>
            <a:r>
              <a:rPr lang="da-DK"/>
              <a:t>Klik for at tilføje titel</a:t>
            </a:r>
          </a:p>
        </p:txBody>
      </p:sp>
      <p:sp>
        <p:nvSpPr>
          <p:cNvPr id="20" name="Makro grafik 1">
            <a:extLst>
              <a:ext uri="{FF2B5EF4-FFF2-40B4-BE49-F238E27FC236}">
                <a16:creationId xmlns:a16="http://schemas.microsoft.com/office/drawing/2014/main" id="{FC1D0852-DEFD-91A1-6E00-B4A6FF9E00D7}"/>
              </a:ext>
            </a:extLst>
          </p:cNvPr>
          <p:cNvSpPr>
            <a:spLocks noGrp="1" noChangeAspect="1"/>
          </p:cNvSpPr>
          <p:nvPr>
            <p:ph type="body" sz="quarter" idx="18" hasCustomPrompt="1"/>
          </p:nvPr>
        </p:nvSpPr>
        <p:spPr>
          <a:xfrm>
            <a:off x="7129898" y="1183240"/>
            <a:ext cx="2584852" cy="2609850"/>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5" name="Pladsholder til billede 24">
            <a:extLst>
              <a:ext uri="{FF2B5EF4-FFF2-40B4-BE49-F238E27FC236}">
                <a16:creationId xmlns:a16="http://schemas.microsoft.com/office/drawing/2014/main" id="{CEEC097F-0B93-D144-2154-34F7FADB7981}"/>
              </a:ext>
            </a:extLst>
          </p:cNvPr>
          <p:cNvSpPr>
            <a:spLocks noGrp="1"/>
          </p:cNvSpPr>
          <p:nvPr>
            <p:ph type="pic" sz="quarter" idx="22" hasCustomPrompt="1"/>
          </p:nvPr>
        </p:nvSpPr>
        <p:spPr>
          <a:xfrm>
            <a:off x="4877211" y="675000"/>
            <a:ext cx="4275392" cy="4468500"/>
          </a:xfrm>
          <a:noFill/>
        </p:spPr>
        <p:txBody>
          <a:bodyPr lIns="1080000" rIns="612000"/>
          <a:lstStyle>
            <a:lvl1pPr marL="0" indent="0" algn="ctr">
              <a:buNone/>
              <a:defRPr>
                <a:solidFill>
                  <a:schemeClr val="bg1"/>
                </a:solidFill>
              </a:defRPr>
            </a:lvl1pPr>
          </a:lstStyle>
          <a:p>
            <a:r>
              <a:rPr lang="da-DK" noProof="0"/>
              <a:t>Klik her på rammen, klik Indsæt/Billeder og indsæt fritlagt billede (uden baggrund)</a:t>
            </a:r>
          </a:p>
        </p:txBody>
      </p:sp>
      <p:sp>
        <p:nvSpPr>
          <p:cNvPr id="22" name="Makro grafik 2">
            <a:extLst>
              <a:ext uri="{FF2B5EF4-FFF2-40B4-BE49-F238E27FC236}">
                <a16:creationId xmlns:a16="http://schemas.microsoft.com/office/drawing/2014/main" id="{79AB4A1A-85C8-A7A7-D645-2EC9A8882985}"/>
              </a:ext>
            </a:extLst>
          </p:cNvPr>
          <p:cNvSpPr>
            <a:spLocks noGrp="1" noChangeAspect="1"/>
          </p:cNvSpPr>
          <p:nvPr>
            <p:ph type="body" sz="quarter" idx="19" hasCustomPrompt="1"/>
          </p:nvPr>
        </p:nvSpPr>
        <p:spPr>
          <a:xfrm>
            <a:off x="5043369" y="2139957"/>
            <a:ext cx="2584852" cy="2609850"/>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 name="Date Placeholder 1">
            <a:extLst>
              <a:ext uri="{FF2B5EF4-FFF2-40B4-BE49-F238E27FC236}">
                <a16:creationId xmlns:a16="http://schemas.microsoft.com/office/drawing/2014/main" id="{D6CD7A3F-33C8-C798-8ED1-304A132B715D}"/>
              </a:ext>
            </a:extLst>
          </p:cNvPr>
          <p:cNvSpPr>
            <a:spLocks noGrp="1"/>
          </p:cNvSpPr>
          <p:nvPr>
            <p:ph type="dt" sz="half" idx="23"/>
          </p:nvPr>
        </p:nvSpPr>
        <p:spPr/>
        <p:txBody>
          <a:bodyPr/>
          <a:lstStyle/>
          <a:p>
            <a:fld id="{A2446D3D-F608-46B7-8E05-81FCF9BDF507}" type="datetime2">
              <a:rPr lang="da-DK" smtClean="0"/>
              <a:t>11. december 2025</a:t>
            </a:fld>
            <a:endParaRPr lang="da-DK"/>
          </a:p>
        </p:txBody>
      </p:sp>
      <p:sp>
        <p:nvSpPr>
          <p:cNvPr id="6" name="Footer Placeholder 5">
            <a:extLst>
              <a:ext uri="{FF2B5EF4-FFF2-40B4-BE49-F238E27FC236}">
                <a16:creationId xmlns:a16="http://schemas.microsoft.com/office/drawing/2014/main" id="{E7EC2575-A0D9-01D6-1777-0877C4AFA02C}"/>
              </a:ext>
            </a:extLst>
          </p:cNvPr>
          <p:cNvSpPr>
            <a:spLocks noGrp="1"/>
          </p:cNvSpPr>
          <p:nvPr>
            <p:ph type="ftr" sz="quarter" idx="24"/>
          </p:nvPr>
        </p:nvSpPr>
        <p:spPr/>
        <p:txBody>
          <a:bodyPr/>
          <a:lstStyle>
            <a:lvl1pPr>
              <a:defRPr>
                <a:solidFill>
                  <a:schemeClr val="bg1"/>
                </a:solidFill>
              </a:defRPr>
            </a:lvl1pPr>
          </a:lstStyle>
          <a:p>
            <a:r>
              <a:rPr lang="da-DK"/>
              <a:t>Digitaliseringsstyrelsen</a:t>
            </a:r>
          </a:p>
        </p:txBody>
      </p:sp>
      <p:sp>
        <p:nvSpPr>
          <p:cNvPr id="8" name="Slide Number Placeholder 7">
            <a:extLst>
              <a:ext uri="{FF2B5EF4-FFF2-40B4-BE49-F238E27FC236}">
                <a16:creationId xmlns:a16="http://schemas.microsoft.com/office/drawing/2014/main" id="{B0F34EA2-C025-23CF-3CE0-0A87EFCE1936}"/>
              </a:ext>
            </a:extLst>
          </p:cNvPr>
          <p:cNvSpPr>
            <a:spLocks noGrp="1"/>
          </p:cNvSpPr>
          <p:nvPr>
            <p:ph type="sldNum" sz="quarter" idx="25"/>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309214178"/>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1988">
          <p15:clr>
            <a:srgbClr val="A4A3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2F440956-886F-E399-F5DC-83BF1413FB55}"/>
              </a:ext>
            </a:extLst>
          </p:cNvPr>
          <p:cNvSpPr>
            <a:spLocks noGrp="1"/>
          </p:cNvSpPr>
          <p:nvPr>
            <p:ph type="subTitle" idx="13" hasCustomPrompt="1"/>
          </p:nvPr>
        </p:nvSpPr>
        <p:spPr>
          <a:xfrm>
            <a:off x="405000" y="270000"/>
            <a:ext cx="83349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tilføje sektionstitel</a:t>
            </a:r>
          </a:p>
        </p:txBody>
      </p:sp>
      <p:sp>
        <p:nvSpPr>
          <p:cNvPr id="2" name="Title 1">
            <a:extLst>
              <a:ext uri="{FF2B5EF4-FFF2-40B4-BE49-F238E27FC236}">
                <a16:creationId xmlns:a16="http://schemas.microsoft.com/office/drawing/2014/main" id="{FFDCBCB9-EF2E-470C-9EE7-EF220DB3612D}"/>
              </a:ext>
            </a:extLst>
          </p:cNvPr>
          <p:cNvSpPr>
            <a:spLocks noGrp="1"/>
          </p:cNvSpPr>
          <p:nvPr>
            <p:ph type="title" hasCustomPrompt="1"/>
          </p:nvPr>
        </p:nvSpPr>
        <p:spPr/>
        <p:txBody>
          <a:bodyPr/>
          <a:lstStyle/>
          <a:p>
            <a:r>
              <a:rPr lang="da-DK"/>
              <a:t>Klik for at tilføje titel</a:t>
            </a:r>
          </a:p>
        </p:txBody>
      </p:sp>
      <p:sp>
        <p:nvSpPr>
          <p:cNvPr id="7" name="Date Placeholder 6">
            <a:extLst>
              <a:ext uri="{FF2B5EF4-FFF2-40B4-BE49-F238E27FC236}">
                <a16:creationId xmlns:a16="http://schemas.microsoft.com/office/drawing/2014/main" id="{5697AA78-99F6-2A25-0CFB-FAE5615D16FF}"/>
              </a:ext>
            </a:extLst>
          </p:cNvPr>
          <p:cNvSpPr>
            <a:spLocks noGrp="1"/>
          </p:cNvSpPr>
          <p:nvPr>
            <p:ph type="dt" sz="half" idx="14"/>
          </p:nvPr>
        </p:nvSpPr>
        <p:spPr/>
        <p:txBody>
          <a:bodyPr/>
          <a:lstStyle/>
          <a:p>
            <a:fld id="{A2446D3D-F608-46B7-8E05-81FCF9BDF507}" type="datetime2">
              <a:rPr lang="da-DK" smtClean="0"/>
              <a:t>11. december 2025</a:t>
            </a:fld>
            <a:endParaRPr lang="da-DK"/>
          </a:p>
        </p:txBody>
      </p:sp>
      <p:sp>
        <p:nvSpPr>
          <p:cNvPr id="8" name="Footer Placeholder 7">
            <a:extLst>
              <a:ext uri="{FF2B5EF4-FFF2-40B4-BE49-F238E27FC236}">
                <a16:creationId xmlns:a16="http://schemas.microsoft.com/office/drawing/2014/main" id="{69377A66-687C-DB1F-9BCD-5498C880EEDF}"/>
              </a:ext>
            </a:extLst>
          </p:cNvPr>
          <p:cNvSpPr>
            <a:spLocks noGrp="1"/>
          </p:cNvSpPr>
          <p:nvPr>
            <p:ph type="ftr" sz="quarter" idx="15"/>
          </p:nvPr>
        </p:nvSpPr>
        <p:spPr/>
        <p:txBody>
          <a:bodyPr/>
          <a:lstStyle/>
          <a:p>
            <a:r>
              <a:rPr lang="da-DK"/>
              <a:t>Digitaliseringsstyrelsen</a:t>
            </a:r>
          </a:p>
        </p:txBody>
      </p:sp>
      <p:sp>
        <p:nvSpPr>
          <p:cNvPr id="9" name="Slide Number Placeholder 8">
            <a:extLst>
              <a:ext uri="{FF2B5EF4-FFF2-40B4-BE49-F238E27FC236}">
                <a16:creationId xmlns:a16="http://schemas.microsoft.com/office/drawing/2014/main" id="{C38F4F72-305D-C46D-5D41-5F0FC6B92E3C}"/>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3376368046"/>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DA92360-CC53-0085-455A-FD783E26F1E4}"/>
              </a:ext>
            </a:extLst>
          </p:cNvPr>
          <p:cNvSpPr>
            <a:spLocks noGrp="1"/>
          </p:cNvSpPr>
          <p:nvPr>
            <p:ph type="dt" sz="half" idx="10"/>
          </p:nvPr>
        </p:nvSpPr>
        <p:spPr/>
        <p:txBody>
          <a:bodyPr/>
          <a:lstStyle/>
          <a:p>
            <a:fld id="{A2446D3D-F608-46B7-8E05-81FCF9BDF507}" type="datetime2">
              <a:rPr lang="da-DK" smtClean="0"/>
              <a:t>11. december 2025</a:t>
            </a:fld>
            <a:endParaRPr lang="da-DK"/>
          </a:p>
        </p:txBody>
      </p:sp>
      <p:sp>
        <p:nvSpPr>
          <p:cNvPr id="3" name="Footer Placeholder 2">
            <a:extLst>
              <a:ext uri="{FF2B5EF4-FFF2-40B4-BE49-F238E27FC236}">
                <a16:creationId xmlns:a16="http://schemas.microsoft.com/office/drawing/2014/main" id="{CF1DA727-6CC9-BD98-0DDA-D7D6A36D0C56}"/>
              </a:ext>
            </a:extLst>
          </p:cNvPr>
          <p:cNvSpPr>
            <a:spLocks noGrp="1"/>
          </p:cNvSpPr>
          <p:nvPr>
            <p:ph type="ftr" sz="quarter" idx="11"/>
          </p:nvPr>
        </p:nvSpPr>
        <p:spPr/>
        <p:txBody>
          <a:bodyPr/>
          <a:lstStyle/>
          <a:p>
            <a:r>
              <a:rPr lang="da-DK"/>
              <a:t>Digitaliseringsstyrelsen</a:t>
            </a:r>
          </a:p>
        </p:txBody>
      </p:sp>
      <p:sp>
        <p:nvSpPr>
          <p:cNvPr id="4" name="Slide Number Placeholder 3">
            <a:extLst>
              <a:ext uri="{FF2B5EF4-FFF2-40B4-BE49-F238E27FC236}">
                <a16:creationId xmlns:a16="http://schemas.microsoft.com/office/drawing/2014/main" id="{719D9D9B-BFFA-CE30-D752-40AF41EABFC3}"/>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36249211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ortrætter (4)">
    <p:spTree>
      <p:nvGrpSpPr>
        <p:cNvPr id="1" name=""/>
        <p:cNvGrpSpPr/>
        <p:nvPr/>
      </p:nvGrpSpPr>
      <p:grpSpPr>
        <a:xfrm>
          <a:off x="0" y="0"/>
          <a:ext cx="0" cy="0"/>
          <a:chOff x="0" y="0"/>
          <a:chExt cx="0" cy="0"/>
        </a:xfrm>
      </p:grpSpPr>
      <p:sp>
        <p:nvSpPr>
          <p:cNvPr id="18" name="Titel 1">
            <a:extLst>
              <a:ext uri="{FF2B5EF4-FFF2-40B4-BE49-F238E27FC236}">
                <a16:creationId xmlns:a16="http://schemas.microsoft.com/office/drawing/2014/main" id="{BDF2322E-9FE2-226D-A96B-876A3594D02A}"/>
              </a:ext>
            </a:extLst>
          </p:cNvPr>
          <p:cNvSpPr>
            <a:spLocks noGrp="1"/>
          </p:cNvSpPr>
          <p:nvPr>
            <p:ph type="title"/>
          </p:nvPr>
        </p:nvSpPr>
        <p:spPr>
          <a:xfrm>
            <a:off x="1009650" y="951222"/>
            <a:ext cx="2991910" cy="828838"/>
          </a:xfrm>
        </p:spPr>
        <p:txBody>
          <a:bodyPr/>
          <a:lstStyle/>
          <a:p>
            <a:r>
              <a:rPr lang="da-DK"/>
              <a:t>Klik for at redigere titeltypografien i masteren</a:t>
            </a:r>
            <a:endParaRPr lang="en-GB"/>
          </a:p>
        </p:txBody>
      </p:sp>
      <p:sp>
        <p:nvSpPr>
          <p:cNvPr id="19" name="Pladsholder til tekst 5">
            <a:extLst>
              <a:ext uri="{FF2B5EF4-FFF2-40B4-BE49-F238E27FC236}">
                <a16:creationId xmlns:a16="http://schemas.microsoft.com/office/drawing/2014/main" id="{C80C5FD2-EE42-8681-250C-9483E2EA9366}"/>
              </a:ext>
            </a:extLst>
          </p:cNvPr>
          <p:cNvSpPr>
            <a:spLocks noGrp="1"/>
          </p:cNvSpPr>
          <p:nvPr>
            <p:ph type="body" sz="quarter" idx="11"/>
          </p:nvPr>
        </p:nvSpPr>
        <p:spPr>
          <a:xfrm>
            <a:off x="1009779" y="735323"/>
            <a:ext cx="2992548" cy="144462"/>
          </a:xfrm>
        </p:spPr>
        <p:txBody>
          <a:bodyPr vert="horz" lIns="14400" tIns="0" rIns="0" bIns="0" rtlCol="0">
            <a:noAutofit/>
          </a:bodyPr>
          <a:lstStyle>
            <a:lvl1pPr marL="0" indent="0">
              <a:buNone/>
              <a:defRPr lang="en-GB" sz="1000" cap="all" dirty="0">
                <a:solidFill>
                  <a:srgbClr val="878787"/>
                </a:solidFill>
                <a:latin typeface="Neue Haas Grotesk Text Pro" panose="020B0504020202020204" pitchFamily="34" charset="77"/>
              </a:defRPr>
            </a:lvl1pPr>
          </a:lstStyle>
          <a:p>
            <a:pPr marL="171450" lvl="0" indent="-171450"/>
            <a:r>
              <a:rPr lang="da-DK"/>
              <a:t>Klik for at redigere teksttypografierne i masteren</a:t>
            </a:r>
          </a:p>
        </p:txBody>
      </p:sp>
      <p:sp>
        <p:nvSpPr>
          <p:cNvPr id="20" name="Pladsholder til billede 5">
            <a:extLst>
              <a:ext uri="{FF2B5EF4-FFF2-40B4-BE49-F238E27FC236}">
                <a16:creationId xmlns:a16="http://schemas.microsoft.com/office/drawing/2014/main" id="{A94D4C54-C333-FCEF-D431-137BE2D79279}"/>
              </a:ext>
            </a:extLst>
          </p:cNvPr>
          <p:cNvSpPr>
            <a:spLocks noGrp="1" noChangeAspect="1"/>
          </p:cNvSpPr>
          <p:nvPr>
            <p:ph type="pic" sz="quarter" idx="10"/>
          </p:nvPr>
        </p:nvSpPr>
        <p:spPr>
          <a:xfrm>
            <a:off x="1009650" y="1851497"/>
            <a:ext cx="1145744" cy="1145744"/>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21" name="Pladsholder til tekst 3">
            <a:extLst>
              <a:ext uri="{FF2B5EF4-FFF2-40B4-BE49-F238E27FC236}">
                <a16:creationId xmlns:a16="http://schemas.microsoft.com/office/drawing/2014/main" id="{04F7C3E8-350E-04FB-F135-10358467C4C4}"/>
              </a:ext>
            </a:extLst>
          </p:cNvPr>
          <p:cNvSpPr>
            <a:spLocks noGrp="1"/>
          </p:cNvSpPr>
          <p:nvPr>
            <p:ph type="body" sz="quarter" idx="15" hasCustomPrompt="1"/>
          </p:nvPr>
        </p:nvSpPr>
        <p:spPr>
          <a:xfrm>
            <a:off x="2312023" y="1857599"/>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a:t>Fornavn</a:t>
            </a:r>
          </a:p>
        </p:txBody>
      </p:sp>
      <p:sp>
        <p:nvSpPr>
          <p:cNvPr id="22" name="Pladsholder til tekst 3">
            <a:extLst>
              <a:ext uri="{FF2B5EF4-FFF2-40B4-BE49-F238E27FC236}">
                <a16:creationId xmlns:a16="http://schemas.microsoft.com/office/drawing/2014/main" id="{517E967B-316D-202A-6E0F-6C28B6204EC0}"/>
              </a:ext>
            </a:extLst>
          </p:cNvPr>
          <p:cNvSpPr>
            <a:spLocks noGrp="1"/>
          </p:cNvSpPr>
          <p:nvPr>
            <p:ph type="body" sz="quarter" idx="19"/>
          </p:nvPr>
        </p:nvSpPr>
        <p:spPr>
          <a:xfrm>
            <a:off x="2312023" y="2205153"/>
            <a:ext cx="1620000" cy="705721"/>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23" name="Pladsholder til tekst 3">
            <a:extLst>
              <a:ext uri="{FF2B5EF4-FFF2-40B4-BE49-F238E27FC236}">
                <a16:creationId xmlns:a16="http://schemas.microsoft.com/office/drawing/2014/main" id="{F40DE611-68E4-F9D2-4776-0CA177B36AE4}"/>
              </a:ext>
            </a:extLst>
          </p:cNvPr>
          <p:cNvSpPr>
            <a:spLocks noGrp="1"/>
          </p:cNvSpPr>
          <p:nvPr>
            <p:ph type="body" sz="quarter" idx="20" hasCustomPrompt="1"/>
          </p:nvPr>
        </p:nvSpPr>
        <p:spPr>
          <a:xfrm>
            <a:off x="2312023" y="2006282"/>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a:t>Efternavn</a:t>
            </a:r>
          </a:p>
        </p:txBody>
      </p:sp>
      <p:sp>
        <p:nvSpPr>
          <p:cNvPr id="24" name="Pladsholder til billede 5">
            <a:extLst>
              <a:ext uri="{FF2B5EF4-FFF2-40B4-BE49-F238E27FC236}">
                <a16:creationId xmlns:a16="http://schemas.microsoft.com/office/drawing/2014/main" id="{35EB4BB7-7554-4F09-C28D-75A33E81D17E}"/>
              </a:ext>
            </a:extLst>
          </p:cNvPr>
          <p:cNvSpPr>
            <a:spLocks noGrp="1" noChangeAspect="1"/>
          </p:cNvSpPr>
          <p:nvPr>
            <p:ph type="pic" sz="quarter" idx="21"/>
          </p:nvPr>
        </p:nvSpPr>
        <p:spPr>
          <a:xfrm>
            <a:off x="4200210" y="1851497"/>
            <a:ext cx="1145744" cy="1145744"/>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25" name="Pladsholder til tekst 3">
            <a:extLst>
              <a:ext uri="{FF2B5EF4-FFF2-40B4-BE49-F238E27FC236}">
                <a16:creationId xmlns:a16="http://schemas.microsoft.com/office/drawing/2014/main" id="{591786BA-ABD2-68D2-3A44-89A7FD3B4CBB}"/>
              </a:ext>
            </a:extLst>
          </p:cNvPr>
          <p:cNvSpPr>
            <a:spLocks noGrp="1"/>
          </p:cNvSpPr>
          <p:nvPr>
            <p:ph type="body" sz="quarter" idx="22" hasCustomPrompt="1"/>
          </p:nvPr>
        </p:nvSpPr>
        <p:spPr>
          <a:xfrm>
            <a:off x="5502583" y="1857599"/>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a:t>Fornavn</a:t>
            </a:r>
          </a:p>
        </p:txBody>
      </p:sp>
      <p:sp>
        <p:nvSpPr>
          <p:cNvPr id="26" name="Pladsholder til tekst 3">
            <a:extLst>
              <a:ext uri="{FF2B5EF4-FFF2-40B4-BE49-F238E27FC236}">
                <a16:creationId xmlns:a16="http://schemas.microsoft.com/office/drawing/2014/main" id="{F747A01D-97F3-76B0-0737-09472456C92B}"/>
              </a:ext>
            </a:extLst>
          </p:cNvPr>
          <p:cNvSpPr>
            <a:spLocks noGrp="1"/>
          </p:cNvSpPr>
          <p:nvPr>
            <p:ph type="body" sz="quarter" idx="23"/>
          </p:nvPr>
        </p:nvSpPr>
        <p:spPr>
          <a:xfrm>
            <a:off x="5502583" y="2205153"/>
            <a:ext cx="1620000" cy="705721"/>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27" name="Pladsholder til tekst 3">
            <a:extLst>
              <a:ext uri="{FF2B5EF4-FFF2-40B4-BE49-F238E27FC236}">
                <a16:creationId xmlns:a16="http://schemas.microsoft.com/office/drawing/2014/main" id="{EA6542F3-5934-312E-D3D1-0ED02087C7CF}"/>
              </a:ext>
            </a:extLst>
          </p:cNvPr>
          <p:cNvSpPr>
            <a:spLocks noGrp="1"/>
          </p:cNvSpPr>
          <p:nvPr>
            <p:ph type="body" sz="quarter" idx="24" hasCustomPrompt="1"/>
          </p:nvPr>
        </p:nvSpPr>
        <p:spPr>
          <a:xfrm>
            <a:off x="5502583" y="2006282"/>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a:t>Efternavn</a:t>
            </a:r>
          </a:p>
        </p:txBody>
      </p:sp>
      <p:sp>
        <p:nvSpPr>
          <p:cNvPr id="28" name="Pladsholder til billede 5">
            <a:extLst>
              <a:ext uri="{FF2B5EF4-FFF2-40B4-BE49-F238E27FC236}">
                <a16:creationId xmlns:a16="http://schemas.microsoft.com/office/drawing/2014/main" id="{B59FE46D-0F5F-6AE0-D1B5-C023F1F831C2}"/>
              </a:ext>
            </a:extLst>
          </p:cNvPr>
          <p:cNvSpPr>
            <a:spLocks noGrp="1" noChangeAspect="1"/>
          </p:cNvSpPr>
          <p:nvPr>
            <p:ph type="pic" sz="quarter" idx="25"/>
          </p:nvPr>
        </p:nvSpPr>
        <p:spPr>
          <a:xfrm>
            <a:off x="1009650" y="3257821"/>
            <a:ext cx="1145744" cy="1145744"/>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29" name="Pladsholder til tekst 3">
            <a:extLst>
              <a:ext uri="{FF2B5EF4-FFF2-40B4-BE49-F238E27FC236}">
                <a16:creationId xmlns:a16="http://schemas.microsoft.com/office/drawing/2014/main" id="{08A4F3A0-3F2A-C3E1-7F36-AF557BE8294A}"/>
              </a:ext>
            </a:extLst>
          </p:cNvPr>
          <p:cNvSpPr>
            <a:spLocks noGrp="1"/>
          </p:cNvSpPr>
          <p:nvPr>
            <p:ph type="body" sz="quarter" idx="26" hasCustomPrompt="1"/>
          </p:nvPr>
        </p:nvSpPr>
        <p:spPr>
          <a:xfrm>
            <a:off x="2312023" y="3263923"/>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a:t>Fornavn</a:t>
            </a:r>
          </a:p>
        </p:txBody>
      </p:sp>
      <p:sp>
        <p:nvSpPr>
          <p:cNvPr id="30" name="Pladsholder til tekst 3">
            <a:extLst>
              <a:ext uri="{FF2B5EF4-FFF2-40B4-BE49-F238E27FC236}">
                <a16:creationId xmlns:a16="http://schemas.microsoft.com/office/drawing/2014/main" id="{9BB2AD37-0A6E-4B0B-48AF-E4F97DB66192}"/>
              </a:ext>
            </a:extLst>
          </p:cNvPr>
          <p:cNvSpPr>
            <a:spLocks noGrp="1"/>
          </p:cNvSpPr>
          <p:nvPr>
            <p:ph type="body" sz="quarter" idx="27"/>
          </p:nvPr>
        </p:nvSpPr>
        <p:spPr>
          <a:xfrm>
            <a:off x="2312023" y="3611477"/>
            <a:ext cx="1620000" cy="705721"/>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31" name="Pladsholder til tekst 3">
            <a:extLst>
              <a:ext uri="{FF2B5EF4-FFF2-40B4-BE49-F238E27FC236}">
                <a16:creationId xmlns:a16="http://schemas.microsoft.com/office/drawing/2014/main" id="{175EE94A-A494-CC93-3DA8-3B1F7E53F623}"/>
              </a:ext>
            </a:extLst>
          </p:cNvPr>
          <p:cNvSpPr>
            <a:spLocks noGrp="1"/>
          </p:cNvSpPr>
          <p:nvPr>
            <p:ph type="body" sz="quarter" idx="28" hasCustomPrompt="1"/>
          </p:nvPr>
        </p:nvSpPr>
        <p:spPr>
          <a:xfrm>
            <a:off x="2312023" y="3412606"/>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a:t>Efternavn</a:t>
            </a:r>
          </a:p>
        </p:txBody>
      </p:sp>
      <p:sp>
        <p:nvSpPr>
          <p:cNvPr id="32" name="Pladsholder til billede 5">
            <a:extLst>
              <a:ext uri="{FF2B5EF4-FFF2-40B4-BE49-F238E27FC236}">
                <a16:creationId xmlns:a16="http://schemas.microsoft.com/office/drawing/2014/main" id="{70082A65-029C-3CBD-6012-BD4225766C97}"/>
              </a:ext>
            </a:extLst>
          </p:cNvPr>
          <p:cNvSpPr>
            <a:spLocks noGrp="1" noChangeAspect="1"/>
          </p:cNvSpPr>
          <p:nvPr>
            <p:ph type="pic" sz="quarter" idx="29"/>
          </p:nvPr>
        </p:nvSpPr>
        <p:spPr>
          <a:xfrm>
            <a:off x="4200210" y="3257821"/>
            <a:ext cx="1145744" cy="1145744"/>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33" name="Pladsholder til tekst 3">
            <a:extLst>
              <a:ext uri="{FF2B5EF4-FFF2-40B4-BE49-F238E27FC236}">
                <a16:creationId xmlns:a16="http://schemas.microsoft.com/office/drawing/2014/main" id="{4D35FF32-C2F1-95D2-3CE2-FEBAD27303D8}"/>
              </a:ext>
            </a:extLst>
          </p:cNvPr>
          <p:cNvSpPr>
            <a:spLocks noGrp="1"/>
          </p:cNvSpPr>
          <p:nvPr>
            <p:ph type="body" sz="quarter" idx="30" hasCustomPrompt="1"/>
          </p:nvPr>
        </p:nvSpPr>
        <p:spPr>
          <a:xfrm>
            <a:off x="5502583" y="3263923"/>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a:t>Fornavn</a:t>
            </a:r>
          </a:p>
        </p:txBody>
      </p:sp>
      <p:sp>
        <p:nvSpPr>
          <p:cNvPr id="34" name="Pladsholder til tekst 3">
            <a:extLst>
              <a:ext uri="{FF2B5EF4-FFF2-40B4-BE49-F238E27FC236}">
                <a16:creationId xmlns:a16="http://schemas.microsoft.com/office/drawing/2014/main" id="{70FD2264-3397-9D88-E3C2-B6F947BC8618}"/>
              </a:ext>
            </a:extLst>
          </p:cNvPr>
          <p:cNvSpPr>
            <a:spLocks noGrp="1"/>
          </p:cNvSpPr>
          <p:nvPr>
            <p:ph type="body" sz="quarter" idx="31"/>
          </p:nvPr>
        </p:nvSpPr>
        <p:spPr>
          <a:xfrm>
            <a:off x="5502583" y="3611477"/>
            <a:ext cx="1620000" cy="705721"/>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35" name="Pladsholder til tekst 3">
            <a:extLst>
              <a:ext uri="{FF2B5EF4-FFF2-40B4-BE49-F238E27FC236}">
                <a16:creationId xmlns:a16="http://schemas.microsoft.com/office/drawing/2014/main" id="{EDB9A021-B118-0213-E878-3A85F5FD4D3C}"/>
              </a:ext>
            </a:extLst>
          </p:cNvPr>
          <p:cNvSpPr>
            <a:spLocks noGrp="1"/>
          </p:cNvSpPr>
          <p:nvPr>
            <p:ph type="body" sz="quarter" idx="32" hasCustomPrompt="1"/>
          </p:nvPr>
        </p:nvSpPr>
        <p:spPr>
          <a:xfrm>
            <a:off x="5502583" y="3412606"/>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a:t>Efternavn</a:t>
            </a:r>
          </a:p>
        </p:txBody>
      </p:sp>
    </p:spTree>
    <p:extLst>
      <p:ext uri="{BB962C8B-B14F-4D97-AF65-F5344CB8AC3E}">
        <p14:creationId xmlns:p14="http://schemas.microsoft.com/office/powerpoint/2010/main" val="415400127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9" name="Fast overskrift"/>
          <p:cNvSpPr txBox="1"/>
          <p:nvPr userDrawn="1"/>
        </p:nvSpPr>
        <p:spPr>
          <a:xfrm>
            <a:off x="404814" y="274445"/>
            <a:ext cx="8331991" cy="487628"/>
          </a:xfrm>
          <a:prstGeom prst="rect">
            <a:avLst/>
          </a:prstGeom>
          <a:noFill/>
        </p:spPr>
        <p:txBody>
          <a:bodyPr wrap="square" lIns="0" tIns="0" rIns="0" bIns="0" rtlCol="0" anchor="t" anchorCtr="0">
            <a:noAutofit/>
          </a:bodyPr>
          <a:lstStyle/>
          <a:p>
            <a:r>
              <a:rPr lang="da-DK" sz="2400" b="0" noProof="1">
                <a:solidFill>
                  <a:schemeClr val="tx1"/>
                </a:solidFill>
                <a:latin typeface="+mj-lt"/>
                <a:cs typeface="Arial" panose="020B0604020202020204" pitchFamily="34" charset="0"/>
              </a:rPr>
              <a:t>TIPS &amp; TRICKS - DIN BRUGERGUIDE</a:t>
            </a:r>
          </a:p>
        </p:txBody>
      </p:sp>
      <p:sp>
        <p:nvSpPr>
          <p:cNvPr id="27" name="Text Box 2">
            <a:extLst>
              <a:ext uri="{FF2B5EF4-FFF2-40B4-BE49-F238E27FC236}">
                <a16:creationId xmlns:a16="http://schemas.microsoft.com/office/drawing/2014/main" id="{1E86B7E7-F87D-4375-BAE3-34A81C5D0F8B}"/>
              </a:ext>
            </a:extLst>
          </p:cNvPr>
          <p:cNvSpPr txBox="1">
            <a:spLocks noChangeArrowheads="1"/>
          </p:cNvSpPr>
          <p:nvPr userDrawn="1"/>
        </p:nvSpPr>
        <p:spPr bwMode="auto">
          <a:xfrm>
            <a:off x="404814" y="1211236"/>
            <a:ext cx="1836683" cy="308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da-DK" sz="1200">
                <a:latin typeface="+mn-lt"/>
                <a:cs typeface="Arial" panose="020B0604020202020204" pitchFamily="34" charset="0"/>
              </a:rPr>
              <a:t>TYPOGRAFIER</a:t>
            </a:r>
            <a:endParaRPr lang="da-DK" altLang="da-DK" sz="1200" b="0" noProof="1">
              <a:solidFill>
                <a:schemeClr val="tx1"/>
              </a:solidFill>
              <a:latin typeface="+mn-lt"/>
              <a:cs typeface="Arial" panose="020B0604020202020204" pitchFamily="34" charset="0"/>
            </a:endParaRPr>
          </a:p>
          <a:p>
            <a:pPr eaLnBrk="1" hangingPunct="1">
              <a:spcAft>
                <a:spcPts val="450"/>
              </a:spcAft>
              <a:defRPr/>
            </a:pPr>
            <a:r>
              <a:rPr lang="da-DK" altLang="da-DK" sz="675" b="0" noProof="1">
                <a:solidFill>
                  <a:schemeClr val="tx1"/>
                </a:solidFill>
                <a:latin typeface="+mn-lt"/>
                <a:cs typeface="Arial" panose="020B0604020202020204" pitchFamily="34" charset="0"/>
              </a:rPr>
              <a:t>Brug</a:t>
            </a:r>
            <a:r>
              <a:rPr lang="da-DK" altLang="da-DK" sz="675" b="1" noProof="1">
                <a:solidFill>
                  <a:schemeClr val="tx1"/>
                </a:solidFill>
                <a:latin typeface="+mn-lt"/>
                <a:cs typeface="Arial" panose="020B0604020202020204" pitchFamily="34" charset="0"/>
              </a:rPr>
              <a:t> </a:t>
            </a:r>
            <a:r>
              <a:rPr lang="da-DK" altLang="da-DK" sz="675" b="0" noProof="1">
                <a:solidFill>
                  <a:schemeClr val="tx1"/>
                </a:solidFill>
                <a:latin typeface="Franklin Gothic Medium" panose="020B0603020102020204" pitchFamily="34" charset="0"/>
                <a:cs typeface="Arial" panose="020B0604020202020204" pitchFamily="34" charset="0"/>
              </a:rPr>
              <a:t>TAB</a:t>
            </a:r>
            <a:r>
              <a:rPr lang="da-DK" altLang="da-DK" sz="675" b="1" noProof="1">
                <a:solidFill>
                  <a:schemeClr val="tx1"/>
                </a:solidFill>
                <a:latin typeface="+mn-lt"/>
                <a:cs typeface="Arial" panose="020B0604020202020204" pitchFamily="34" charset="0"/>
              </a:rPr>
              <a:t> </a:t>
            </a:r>
            <a:r>
              <a:rPr lang="da-DK" altLang="da-DK" sz="675" b="0" noProof="1">
                <a:solidFill>
                  <a:schemeClr val="tx1"/>
                </a:solidFill>
                <a:latin typeface="+mn-lt"/>
                <a:cs typeface="Arial" panose="020B0604020202020204" pitchFamily="34" charset="0"/>
              </a:rPr>
              <a:t>for at gå frem i tekst-niveauer. Klik </a:t>
            </a:r>
            <a:r>
              <a:rPr lang="da-DK" altLang="da-DK" sz="675" b="0" noProof="1">
                <a:solidFill>
                  <a:schemeClr val="tx1"/>
                </a:solidFill>
                <a:latin typeface="Franklin Gothic Medium" panose="020B0603020102020204" pitchFamily="34" charset="0"/>
                <a:cs typeface="Arial" panose="020B0604020202020204" pitchFamily="34" charset="0"/>
              </a:rPr>
              <a:t>ENTER</a:t>
            </a:r>
            <a:r>
              <a:rPr lang="da-DK" altLang="da-DK" sz="675" b="0" noProof="1">
                <a:solidFill>
                  <a:schemeClr val="tx1"/>
                </a:solidFill>
                <a:latin typeface="+mn-lt"/>
                <a:cs typeface="Arial" panose="020B0604020202020204" pitchFamily="34" charset="0"/>
              </a:rPr>
              <a:t>, derefter </a:t>
            </a:r>
            <a:r>
              <a:rPr lang="da-DK" altLang="da-DK" sz="675" b="0" noProof="1">
                <a:solidFill>
                  <a:schemeClr val="tx1"/>
                </a:solidFill>
                <a:latin typeface="Franklin Gothic Medium" panose="020B0603020102020204" pitchFamily="34" charset="0"/>
                <a:cs typeface="Arial" panose="020B0604020202020204" pitchFamily="34" charset="0"/>
              </a:rPr>
              <a:t>TAB</a:t>
            </a:r>
            <a:r>
              <a:rPr lang="da-DK" altLang="da-DK" sz="675" b="0" noProof="1">
                <a:solidFill>
                  <a:schemeClr val="tx1"/>
                </a:solidFill>
                <a:latin typeface="+mn-lt"/>
                <a:cs typeface="Arial" panose="020B0604020202020204" pitchFamily="34" charset="0"/>
              </a:rPr>
              <a:t> for at skifte fra et niveau til det næste</a:t>
            </a:r>
          </a:p>
          <a:p>
            <a:pPr eaLnBrk="1" hangingPunct="1">
              <a:spcAft>
                <a:spcPts val="450"/>
              </a:spcAft>
              <a:defRPr/>
            </a:pPr>
            <a:r>
              <a:rPr lang="da-DK" altLang="da-DK" sz="675" b="0" noProof="1">
                <a:solidFill>
                  <a:schemeClr val="tx1"/>
                </a:solidFill>
                <a:latin typeface="+mn-lt"/>
                <a:cs typeface="Arial" panose="020B0604020202020204" pitchFamily="34" charset="0"/>
              </a:rPr>
              <a:t>For at gå tilbage i tekst-niveauer,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brug </a:t>
            </a:r>
            <a:r>
              <a:rPr lang="da-DK" altLang="da-DK" sz="675" b="0" noProof="1">
                <a:solidFill>
                  <a:schemeClr val="tx1"/>
                </a:solidFill>
                <a:latin typeface="Franklin Gothic Medium" panose="020B0603020102020204" pitchFamily="34" charset="0"/>
                <a:cs typeface="Arial" panose="020B0604020202020204" pitchFamily="34" charset="0"/>
              </a:rPr>
              <a:t>SHIFT+TAB</a:t>
            </a:r>
          </a:p>
          <a:p>
            <a:pPr eaLnBrk="1" hangingPunct="1">
              <a:spcAft>
                <a:spcPts val="450"/>
              </a:spcAft>
              <a:defRPr/>
            </a:pPr>
            <a:r>
              <a:rPr lang="da-DK" altLang="da-DK" sz="675" b="0" noProof="1">
                <a:solidFill>
                  <a:schemeClr val="tx1"/>
                </a:solidFill>
                <a:latin typeface="+mn-lt"/>
                <a:cs typeface="Arial" panose="020B0604020202020204" pitchFamily="34" charset="0"/>
              </a:rPr>
              <a:t>Alternativt kan </a:t>
            </a:r>
            <a:r>
              <a:rPr lang="da-DK" altLang="da-DK" sz="675" b="0" noProof="1">
                <a:solidFill>
                  <a:schemeClr val="tx1"/>
                </a:solidFill>
                <a:latin typeface="Franklin Gothic Medium" panose="020B0603020102020204" pitchFamily="34" charset="0"/>
                <a:cs typeface="Arial" panose="020B0604020202020204" pitchFamily="34" charset="0"/>
              </a:rPr>
              <a:t>Forøg</a:t>
            </a:r>
            <a:r>
              <a:rPr lang="da-DK" altLang="da-DK" sz="675" b="0" noProof="1">
                <a:solidFill>
                  <a:schemeClr val="tx1"/>
                </a:solidFill>
                <a:latin typeface="+mn-lt"/>
                <a:cs typeface="Arial" panose="020B0604020202020204" pitchFamily="34" charset="0"/>
              </a:rPr>
              <a:t> og </a:t>
            </a:r>
            <a:r>
              <a:rPr lang="da-DK" altLang="da-DK" sz="675" b="0" noProof="1">
                <a:solidFill>
                  <a:schemeClr val="tx1"/>
                </a:solidFill>
                <a:latin typeface="Franklin Gothic Medium" panose="020B0603020102020204" pitchFamily="34" charset="0"/>
                <a:cs typeface="Arial" panose="020B0604020202020204" pitchFamily="34" charset="0"/>
              </a:rPr>
              <a:t>Formindsk</a:t>
            </a:r>
            <a:r>
              <a:rPr lang="da-DK" altLang="da-DK" sz="675" b="0" noProof="1">
                <a:solidFill>
                  <a:schemeClr val="tx1"/>
                </a:solidFill>
                <a:latin typeface="+mn-lt"/>
                <a:cs typeface="Arial" panose="020B0604020202020204" pitchFamily="34" charset="0"/>
              </a:rPr>
              <a:t> listeniveau bruges</a:t>
            </a:r>
            <a:br>
              <a:rPr lang="da-DK" altLang="da-DK" sz="675" b="0" noProof="1">
                <a:solidFill>
                  <a:schemeClr val="tx1"/>
                </a:solidFill>
                <a:latin typeface="+mn-lt"/>
                <a:cs typeface="Arial" panose="020B0604020202020204" pitchFamily="34" charset="0"/>
              </a:rPr>
            </a:br>
            <a:endParaRPr lang="da-DK" altLang="da-DK" sz="675" b="0" noProof="1">
              <a:solidFill>
                <a:schemeClr val="tx1"/>
              </a:solidFill>
              <a:latin typeface="+mn-lt"/>
              <a:cs typeface="Arial" panose="020B0604020202020204" pitchFamily="34" charset="0"/>
            </a:endParaRPr>
          </a:p>
          <a:p>
            <a:pPr eaLnBrk="1" hangingPunct="1">
              <a:spcAft>
                <a:spcPts val="450"/>
              </a:spcAft>
              <a:defRPr/>
            </a:pPr>
            <a:r>
              <a:rPr lang="da-DK" sz="675" b="0" noProof="1">
                <a:latin typeface="Franklin Gothic Medium" panose="020B0603020102020204" pitchFamily="34" charset="0"/>
                <a:cs typeface="Arial" panose="020B0604020202020204" pitchFamily="34" charset="0"/>
              </a:rPr>
              <a:t>TIP: Brug</a:t>
            </a:r>
            <a:r>
              <a:rPr lang="da-DK" sz="675" b="0" baseline="0" noProof="1">
                <a:latin typeface="Franklin Gothic Medium" panose="020B0603020102020204" pitchFamily="34" charset="0"/>
                <a:cs typeface="Arial" panose="020B0604020202020204" pitchFamily="34" charset="0"/>
              </a:rPr>
              <a:t> bullet knappen</a:t>
            </a:r>
            <a:endParaRPr lang="da-DK" sz="675" b="0" noProof="1">
              <a:latin typeface="Franklin Gothic Medium" panose="020B0603020102020204" pitchFamily="34" charset="0"/>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da-DK" altLang="da-DK" sz="675" b="0" noProof="1">
                <a:solidFill>
                  <a:schemeClr val="tx1"/>
                </a:solidFill>
                <a:latin typeface="+mn-lt"/>
                <a:cs typeface="Arial" panose="020B0604020202020204" pitchFamily="34" charset="0"/>
              </a:rPr>
              <a:t>Fjern bullet for almindelig tekst.</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Klik på bullet knappen for at sætte korrekt bullet igen</a:t>
            </a:r>
          </a:p>
          <a:p>
            <a:pPr marL="0" marR="0" lvl="0" indent="0" algn="l" defTabSz="685800" rtl="0" eaLnBrk="1" fontAlgn="auto" latinLnBrk="0" hangingPunct="1">
              <a:lnSpc>
                <a:spcPct val="100000"/>
              </a:lnSpc>
              <a:spcBef>
                <a:spcPts val="0"/>
              </a:spcBef>
              <a:spcAft>
                <a:spcPts val="450"/>
              </a:spcAft>
              <a:buClrTx/>
              <a:buSzTx/>
              <a:buFontTx/>
              <a:buNone/>
              <a:tabLst/>
              <a:defRPr/>
            </a:pPr>
            <a:br>
              <a:rPr lang="da-DK" altLang="da-DK" sz="1200" b="1" noProof="1">
                <a:solidFill>
                  <a:schemeClr val="tx1"/>
                </a:solidFill>
                <a:latin typeface="+mn-lt"/>
                <a:cs typeface="Arial" panose="020B0604020202020204" pitchFamily="34" charset="0"/>
              </a:rPr>
            </a:br>
            <a:r>
              <a:rPr lang="da-DK" sz="1200">
                <a:latin typeface="+mn-lt"/>
                <a:cs typeface="Arial" panose="020B0604020202020204" pitchFamily="34" charset="0"/>
              </a:rPr>
              <a:t>SLIDES &amp; LAYOUTS</a:t>
            </a:r>
            <a:br>
              <a:rPr lang="da-DK" altLang="da-DK" sz="1200" b="1" noProof="1">
                <a:solidFill>
                  <a:schemeClr val="tx1"/>
                </a:solidFill>
                <a:latin typeface="+mn-lt"/>
                <a:cs typeface="Arial" panose="020B0604020202020204" pitchFamily="34" charset="0"/>
              </a:rPr>
            </a:br>
            <a:br>
              <a:rPr lang="da-DK" altLang="da-DK" sz="675" b="1"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Klik på menupunktet </a:t>
            </a:r>
            <a:r>
              <a:rPr lang="da-DK" altLang="da-DK" sz="675" b="0" noProof="1">
                <a:solidFill>
                  <a:schemeClr val="tx1"/>
                </a:solidFill>
                <a:latin typeface="Franklin Gothic Medium" panose="020B0603020102020204" pitchFamily="34" charset="0"/>
                <a:cs typeface="Arial" panose="020B0604020202020204" pitchFamily="34" charset="0"/>
              </a:rPr>
              <a:t>Nyt Slide </a:t>
            </a:r>
            <a:r>
              <a:rPr lang="da-DK" altLang="da-DK" sz="675" b="0" noProof="1">
                <a:solidFill>
                  <a:schemeClr val="tx1"/>
                </a:solidFill>
                <a:latin typeface="+mn-lt"/>
                <a:cs typeface="Arial" panose="020B0604020202020204" pitchFamily="34" charset="0"/>
              </a:rPr>
              <a:t>i </a:t>
            </a:r>
            <a:r>
              <a:rPr lang="da-DK" altLang="da-DK" sz="675" b="0" noProof="1">
                <a:solidFill>
                  <a:schemeClr val="tx1"/>
                </a:solidFill>
                <a:latin typeface="Franklin Gothic Medium" panose="020B0603020102020204" pitchFamily="34" charset="0"/>
                <a:cs typeface="Arial" panose="020B0604020202020204" pitchFamily="34" charset="0"/>
              </a:rPr>
              <a:t>Hjem</a:t>
            </a:r>
            <a:r>
              <a:rPr lang="da-DK" altLang="da-DK" sz="675" b="0" noProof="1">
                <a:solidFill>
                  <a:schemeClr val="tx1"/>
                </a:solidFill>
                <a:latin typeface="+mn-lt"/>
                <a:cs typeface="Arial" panose="020B0604020202020204" pitchFamily="34" charset="0"/>
              </a:rPr>
              <a:t> fanen for at indsætte nyt slide</a:t>
            </a:r>
            <a:br>
              <a:rPr lang="da-DK" altLang="da-DK" sz="675" b="0" noProof="1">
                <a:solidFill>
                  <a:schemeClr val="tx1"/>
                </a:solidFill>
                <a:latin typeface="+mn-lt"/>
                <a:cs typeface="Arial" panose="020B0604020202020204" pitchFamily="34" charset="0"/>
              </a:rPr>
            </a:b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Franklin Gothic Medium" panose="020B0603020102020204" pitchFamily="34" charset="0"/>
                <a:cs typeface="Arial" panose="020B0604020202020204" pitchFamily="34" charset="0"/>
              </a:rPr>
              <a:t>Ændre layout</a:t>
            </a:r>
          </a:p>
          <a:p>
            <a:pPr eaLnBrk="1" hangingPunct="1">
              <a:spcAft>
                <a:spcPts val="450"/>
              </a:spcAft>
              <a:defRPr/>
            </a:pPr>
            <a:r>
              <a:rPr lang="da-DK" altLang="da-DK" sz="675" b="0" noProof="1">
                <a:solidFill>
                  <a:schemeClr val="tx1"/>
                </a:solidFill>
                <a:latin typeface="+mn-lt"/>
                <a:cs typeface="Arial" panose="020B0604020202020204" pitchFamily="34" charset="0"/>
              </a:rPr>
              <a:t>Klik på pilen</a:t>
            </a:r>
            <a:r>
              <a:rPr lang="da-DK" altLang="da-DK" sz="675" b="0" baseline="0" noProof="1">
                <a:solidFill>
                  <a:schemeClr val="tx1"/>
                </a:solidFill>
                <a:latin typeface="+mn-lt"/>
                <a:cs typeface="Arial" panose="020B0604020202020204" pitchFamily="34" charset="0"/>
              </a:rPr>
              <a:t> ved siden af </a:t>
            </a:r>
            <a:r>
              <a:rPr lang="da-DK" altLang="da-DK" sz="675" b="0" baseline="0" noProof="1">
                <a:solidFill>
                  <a:schemeClr val="tx1"/>
                </a:solidFill>
                <a:latin typeface="Franklin Gothic Medium" panose="020B0603020102020204" pitchFamily="34" charset="0"/>
                <a:cs typeface="Arial" panose="020B0604020202020204" pitchFamily="34" charset="0"/>
              </a:rPr>
              <a:t>Layout</a:t>
            </a:r>
            <a:br>
              <a:rPr lang="da-DK" altLang="da-DK" sz="675" b="0" baseline="0" noProof="1">
                <a:solidFill>
                  <a:schemeClr val="tx1"/>
                </a:solidFill>
                <a:latin typeface="+mn-lt"/>
                <a:cs typeface="Arial" panose="020B0604020202020204" pitchFamily="34" charset="0"/>
              </a:rPr>
            </a:br>
            <a:r>
              <a:rPr lang="da-DK" altLang="da-DK" sz="675" b="0" baseline="0" noProof="1">
                <a:solidFill>
                  <a:schemeClr val="tx1"/>
                </a:solidFill>
                <a:latin typeface="+mn-lt"/>
                <a:cs typeface="Arial" panose="020B0604020202020204" pitchFamily="34" charset="0"/>
              </a:rPr>
              <a:t>for at få vist en dropdown menu af </a:t>
            </a:r>
            <a:br>
              <a:rPr lang="da-DK" altLang="da-DK" sz="675" b="0" baseline="0" noProof="1">
                <a:solidFill>
                  <a:schemeClr val="tx1"/>
                </a:solidFill>
                <a:latin typeface="+mn-lt"/>
                <a:cs typeface="Arial" panose="020B0604020202020204" pitchFamily="34" charset="0"/>
              </a:rPr>
            </a:br>
            <a:r>
              <a:rPr lang="da-DK" altLang="da-DK" sz="675" b="0" baseline="0" noProof="1">
                <a:solidFill>
                  <a:schemeClr val="tx1"/>
                </a:solidFill>
                <a:latin typeface="+mn-lt"/>
                <a:cs typeface="Arial" panose="020B0604020202020204" pitchFamily="34" charset="0"/>
              </a:rPr>
              <a:t>mulige slides layout</a:t>
            </a:r>
            <a:endParaRPr lang="da-DK" altLang="da-DK" sz="675" b="0" noProof="1">
              <a:solidFill>
                <a:schemeClr val="tx1"/>
              </a:solidFill>
              <a:latin typeface="+mn-lt"/>
              <a:cs typeface="Arial" panose="020B0604020202020204" pitchFamily="34" charset="0"/>
            </a:endParaRPr>
          </a:p>
        </p:txBody>
      </p:sp>
      <p:sp>
        <p:nvSpPr>
          <p:cNvPr id="28" name="Text Box 3">
            <a:extLst>
              <a:ext uri="{FF2B5EF4-FFF2-40B4-BE49-F238E27FC236}">
                <a16:creationId xmlns:a16="http://schemas.microsoft.com/office/drawing/2014/main" id="{F5D76AC5-956B-497C-88E2-05290D3AAF8A}"/>
              </a:ext>
            </a:extLst>
          </p:cNvPr>
          <p:cNvSpPr txBox="1">
            <a:spLocks noChangeArrowheads="1"/>
          </p:cNvSpPr>
          <p:nvPr userDrawn="1"/>
        </p:nvSpPr>
        <p:spPr bwMode="auto">
          <a:xfrm>
            <a:off x="3230814" y="1211236"/>
            <a:ext cx="1836683" cy="312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900"/>
              </a:spcBef>
              <a:spcAft>
                <a:spcPts val="450"/>
              </a:spcAft>
              <a:buFont typeface="+mj-lt"/>
              <a:buNone/>
              <a:defRPr/>
            </a:pPr>
            <a:r>
              <a:rPr lang="da-DK" sz="675" b="0" noProof="1">
                <a:solidFill>
                  <a:schemeClr val="tx1"/>
                </a:solidFill>
                <a:latin typeface="Franklin Gothic Medium" panose="020B0603020102020204" pitchFamily="34" charset="0"/>
                <a:cs typeface="Arial" panose="020B0604020202020204" pitchFamily="34" charset="0"/>
              </a:rPr>
              <a:t>Nulstil slide</a:t>
            </a:r>
          </a:p>
          <a:p>
            <a:pPr marL="0" marR="0" indent="0" algn="l" defTabSz="685800" rtl="0" eaLnBrk="1" fontAlgn="auto" latinLnBrk="0" hangingPunct="1">
              <a:lnSpc>
                <a:spcPct val="100000"/>
              </a:lnSpc>
              <a:spcBef>
                <a:spcPts val="0"/>
              </a:spcBef>
              <a:spcAft>
                <a:spcPts val="450"/>
              </a:spcAft>
              <a:buClrTx/>
              <a:buSzTx/>
              <a:buFont typeface="+mj-lt"/>
              <a:buNone/>
              <a:tabLst/>
              <a:defRPr/>
            </a:pPr>
            <a:r>
              <a:rPr lang="da-DK" altLang="da-DK" sz="675" b="0" noProof="1">
                <a:solidFill>
                  <a:schemeClr val="tx1"/>
                </a:solidFill>
                <a:latin typeface="Franklin Gothic Medium" panose="020B0603020102020204" pitchFamily="34" charset="0"/>
                <a:cs typeface="Arial" panose="020B0604020202020204" pitchFamily="34" charset="0"/>
              </a:rPr>
              <a:t>1. </a:t>
            </a:r>
            <a:r>
              <a:rPr lang="da-DK" altLang="da-DK" sz="675" b="0" noProof="1">
                <a:solidFill>
                  <a:schemeClr val="tx1"/>
                </a:solidFill>
                <a:latin typeface="+mn-lt"/>
                <a:cs typeface="Arial" panose="020B0604020202020204" pitchFamily="34" charset="0"/>
              </a:rPr>
              <a:t>Klik på </a:t>
            </a:r>
            <a:r>
              <a:rPr lang="da-DK" altLang="da-DK" sz="675" b="0" noProof="1">
                <a:solidFill>
                  <a:schemeClr val="tx1"/>
                </a:solidFill>
                <a:latin typeface="Franklin Gothic Medium" panose="020B0603020102020204" pitchFamily="34" charset="0"/>
                <a:cs typeface="Arial" panose="020B0604020202020204" pitchFamily="34" charset="0"/>
              </a:rPr>
              <a:t>Hjem</a:t>
            </a:r>
            <a:r>
              <a:rPr lang="da-DK" altLang="da-DK" sz="675" b="0" noProof="1">
                <a:solidFill>
                  <a:schemeClr val="tx1"/>
                </a:solidFill>
                <a:latin typeface="+mn-lt"/>
                <a:cs typeface="Arial" panose="020B0604020202020204" pitchFamily="34" charset="0"/>
              </a:rPr>
              <a:t> knappen</a:t>
            </a:r>
          </a:p>
          <a:p>
            <a:pPr marL="0" marR="0" indent="0" algn="l" defTabSz="685800" rtl="0" eaLnBrk="1" fontAlgn="auto" latinLnBrk="0" hangingPunct="1">
              <a:lnSpc>
                <a:spcPct val="100000"/>
              </a:lnSpc>
              <a:spcBef>
                <a:spcPts val="0"/>
              </a:spcBef>
              <a:spcAft>
                <a:spcPts val="450"/>
              </a:spcAft>
              <a:buClrTx/>
              <a:buSzTx/>
              <a:buFont typeface="+mj-lt"/>
              <a:buNone/>
              <a:tabLst/>
              <a:defRPr/>
            </a:pPr>
            <a:r>
              <a:rPr lang="da-DK" altLang="da-DK" sz="675" b="0" noProof="1">
                <a:solidFill>
                  <a:schemeClr val="tx1"/>
                </a:solidFill>
                <a:latin typeface="Franklin Gothic Medium" panose="020B0603020102020204" pitchFamily="34" charset="0"/>
                <a:cs typeface="Arial" panose="020B0604020202020204" pitchFamily="34" charset="0"/>
              </a:rPr>
              <a:t>2. </a:t>
            </a:r>
            <a:r>
              <a:rPr lang="da-DK" altLang="da-DK" sz="675" b="0" noProof="1">
                <a:solidFill>
                  <a:schemeClr val="tx1"/>
                </a:solidFill>
                <a:latin typeface="+mn-lt"/>
                <a:cs typeface="Arial" panose="020B0604020202020204" pitchFamily="34" charset="0"/>
              </a:rPr>
              <a:t>Vælg </a:t>
            </a:r>
            <a:r>
              <a:rPr lang="da-DK" altLang="da-DK" sz="675" b="0" noProof="1">
                <a:solidFill>
                  <a:schemeClr val="tx1"/>
                </a:solidFill>
                <a:latin typeface="Franklin Gothic Medium" panose="020B0603020102020204" pitchFamily="34" charset="0"/>
                <a:cs typeface="Arial" panose="020B0604020202020204" pitchFamily="34" charset="0"/>
              </a:rPr>
              <a:t>Nulstil </a:t>
            </a:r>
            <a:r>
              <a:rPr lang="da-DK" altLang="da-DK" sz="675" b="0" noProof="1">
                <a:solidFill>
                  <a:schemeClr val="tx1"/>
                </a:solidFill>
                <a:latin typeface="+mn-lt"/>
                <a:cs typeface="Arial" panose="020B0604020202020204" pitchFamily="34" charset="0"/>
              </a:rPr>
              <a:t>for at nulstille placering, størrelse og formatering af pladsholdere til layoutets oprindelige design i </a:t>
            </a:r>
            <a:r>
              <a:rPr lang="da-DK" altLang="da-DK" sz="675" b="0" noProof="1">
                <a:solidFill>
                  <a:schemeClr val="tx1"/>
                </a:solidFill>
                <a:latin typeface="Franklin Gothic Medium" panose="020B0603020102020204" pitchFamily="34" charset="0"/>
                <a:cs typeface="Arial" panose="020B0604020202020204" pitchFamily="34" charset="0"/>
              </a:rPr>
              <a:t>Hjem</a:t>
            </a:r>
            <a:r>
              <a:rPr lang="da-DK" altLang="da-DK" sz="675" b="0" noProof="1">
                <a:solidFill>
                  <a:schemeClr val="tx1"/>
                </a:solidFill>
                <a:latin typeface="+mn-lt"/>
                <a:cs typeface="Arial" panose="020B0604020202020204" pitchFamily="34" charset="0"/>
              </a:rPr>
              <a:t> fanen</a:t>
            </a:r>
            <a:endParaRPr lang="da-DK" sz="675" b="1" noProof="1">
              <a:solidFill>
                <a:schemeClr val="tx1"/>
              </a:solidFill>
              <a:latin typeface="+mn-lt"/>
              <a:cs typeface="Arial" panose="020B0604020202020204" pitchFamily="34" charset="0"/>
            </a:endParaRPr>
          </a:p>
          <a:p>
            <a:pPr marL="0" marR="0" indent="0" algn="l" defTabSz="685800" rtl="0" eaLnBrk="1" fontAlgn="auto" latinLnBrk="0" hangingPunct="1">
              <a:lnSpc>
                <a:spcPct val="100000"/>
              </a:lnSpc>
              <a:spcBef>
                <a:spcPts val="0"/>
              </a:spcBef>
              <a:spcAft>
                <a:spcPts val="450"/>
              </a:spcAft>
              <a:buClrTx/>
              <a:buSzTx/>
              <a:buFont typeface="+mj-lt"/>
              <a:buNone/>
              <a:tabLst/>
              <a:defRPr/>
            </a:pPr>
            <a:endParaRPr lang="da-DK" sz="675" b="1" noProof="1">
              <a:solidFill>
                <a:schemeClr val="tx1"/>
              </a:solidFill>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da-DK" sz="1200">
                <a:latin typeface="+mn-lt"/>
                <a:cs typeface="Arial" panose="020B0604020202020204" pitchFamily="34" charset="0"/>
              </a:rPr>
              <a:t>BILLEDER</a:t>
            </a:r>
            <a:endParaRPr lang="da-DK" sz="1200" b="1" noProof="1">
              <a:solidFill>
                <a:schemeClr val="tx1"/>
              </a:solidFill>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da-DK" altLang="da-DK" sz="675" b="0" noProof="1">
                <a:solidFill>
                  <a:schemeClr val="tx1"/>
                </a:solidFill>
                <a:latin typeface="+mn-lt"/>
                <a:cs typeface="Arial" panose="020B0604020202020204" pitchFamily="34" charset="0"/>
              </a:rPr>
              <a:t>På slides med billedpladsholder,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klik på ikonet og vælg </a:t>
            </a:r>
            <a:r>
              <a:rPr lang="da-DK" altLang="da-DK" sz="675" b="0" noProof="1">
                <a:solidFill>
                  <a:schemeClr val="tx1"/>
                </a:solidFill>
                <a:latin typeface="Franklin Gothic Medium" panose="020B0603020102020204" pitchFamily="34" charset="0"/>
                <a:cs typeface="Arial" panose="020B0604020202020204" pitchFamily="34" charset="0"/>
              </a:rPr>
              <a:t>Indsæt </a:t>
            </a:r>
            <a:r>
              <a:rPr lang="da-DK" altLang="da-DK" sz="675" b="0" noProof="1">
                <a:solidFill>
                  <a:schemeClr val="tx1"/>
                </a:solidFill>
                <a:latin typeface="+mn-lt"/>
                <a:cs typeface="Arial" panose="020B0604020202020204" pitchFamily="34" charset="0"/>
              </a:rPr>
              <a:t>for at søge efter billede</a:t>
            </a:r>
          </a:p>
          <a:p>
            <a:pPr eaLnBrk="1" hangingPunct="1">
              <a:spcBef>
                <a:spcPts val="900"/>
              </a:spcBef>
              <a:spcAft>
                <a:spcPts val="450"/>
              </a:spcAft>
              <a:defRPr/>
            </a:pPr>
            <a:r>
              <a:rPr lang="da-DK" sz="675" b="0" noProof="1">
                <a:solidFill>
                  <a:schemeClr val="tx1"/>
                </a:solidFill>
                <a:latin typeface="Franklin Gothic Medium" panose="020B0603020102020204" pitchFamily="34" charset="0"/>
                <a:cs typeface="Arial" panose="020B0604020202020204" pitchFamily="34" charset="0"/>
              </a:rPr>
              <a:t>Beskær billede</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1. </a:t>
            </a:r>
            <a:r>
              <a:rPr lang="da-DK" altLang="da-DK" sz="675" b="0" noProof="1">
                <a:solidFill>
                  <a:schemeClr val="tx1"/>
                </a:solidFill>
                <a:latin typeface="+mn-lt"/>
                <a:cs typeface="Arial" panose="020B0604020202020204" pitchFamily="34" charset="0"/>
              </a:rPr>
              <a:t>Klik </a:t>
            </a:r>
            <a:r>
              <a:rPr lang="da-DK" altLang="da-DK" sz="675" b="0" noProof="1">
                <a:solidFill>
                  <a:schemeClr val="tx1"/>
                </a:solidFill>
                <a:latin typeface="Franklin Gothic Medium" panose="020B0603020102020204" pitchFamily="34" charset="0"/>
                <a:cs typeface="Arial" panose="020B0604020202020204" pitchFamily="34" charset="0"/>
              </a:rPr>
              <a:t>Beskær</a:t>
            </a:r>
            <a:r>
              <a:rPr lang="da-DK" altLang="da-DK" sz="675" b="0" noProof="1">
                <a:solidFill>
                  <a:schemeClr val="tx1"/>
                </a:solidFill>
                <a:latin typeface="+mn-lt"/>
                <a:cs typeface="Arial" panose="020B0604020202020204" pitchFamily="34" charset="0"/>
              </a:rPr>
              <a:t> for at ændre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billedets fokus/størrelse</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2. </a:t>
            </a:r>
            <a:r>
              <a:rPr lang="da-DK" altLang="da-DK" sz="675" b="0" noProof="1">
                <a:solidFill>
                  <a:schemeClr val="tx1"/>
                </a:solidFill>
                <a:latin typeface="+mn-lt"/>
                <a:cs typeface="Arial" panose="020B0604020202020204" pitchFamily="34" charset="0"/>
              </a:rPr>
              <a:t>Ønsker du at skalere billedet, så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hold </a:t>
            </a:r>
            <a:r>
              <a:rPr lang="da-DK" altLang="da-DK" sz="675" b="0" noProof="1">
                <a:solidFill>
                  <a:schemeClr val="tx1"/>
                </a:solidFill>
                <a:latin typeface="Franklin Gothic Medium" panose="020B0603020102020204" pitchFamily="34" charset="0"/>
                <a:cs typeface="Arial" panose="020B0604020202020204" pitchFamily="34" charset="0"/>
              </a:rPr>
              <a:t>SHIFT</a:t>
            </a:r>
            <a:r>
              <a:rPr lang="da-DK" altLang="da-DK" sz="675" b="0" noProof="1">
                <a:solidFill>
                  <a:schemeClr val="tx1"/>
                </a:solidFill>
                <a:latin typeface="+mn-lt"/>
                <a:cs typeface="Arial" panose="020B0604020202020204" pitchFamily="34" charset="0"/>
              </a:rPr>
              <a:t>-knappen nede, mens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du trækker i billedets hjørner</a:t>
            </a:r>
          </a:p>
          <a:p>
            <a:pPr eaLnBrk="1" hangingPunct="1">
              <a:spcAft>
                <a:spcPts val="450"/>
              </a:spcAft>
              <a:defRPr/>
            </a:pP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Franklin Gothic Medium" panose="020B0603020102020204" pitchFamily="34" charset="0"/>
                <a:cs typeface="Arial" panose="020B0604020202020204" pitchFamily="34" charset="0"/>
              </a:rPr>
              <a:t>TIP: </a:t>
            </a:r>
            <a:r>
              <a:rPr lang="da-DK" altLang="da-DK" sz="675" b="0" noProof="1">
                <a:solidFill>
                  <a:schemeClr val="tx1"/>
                </a:solidFill>
                <a:latin typeface="+mn-lt"/>
                <a:cs typeface="Arial" panose="020B0604020202020204" pitchFamily="34" charset="0"/>
              </a:rPr>
              <a:t>Hvis du sletter billedet og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indsætter et nyt, kan billedet lægge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sig foran tekst og grafik. Hvis dette sker, højreklik på billedet og vælg </a:t>
            </a:r>
            <a:r>
              <a:rPr lang="da-DK" altLang="da-DK" sz="675" b="0" noProof="1">
                <a:solidFill>
                  <a:schemeClr val="tx1"/>
                </a:solidFill>
                <a:latin typeface="Franklin Gothic Medium" panose="020B0603020102020204" pitchFamily="34" charset="0"/>
                <a:cs typeface="Arial" panose="020B0604020202020204" pitchFamily="34" charset="0"/>
              </a:rPr>
              <a:t>Placer bagest</a:t>
            </a:r>
          </a:p>
          <a:p>
            <a:pPr eaLnBrk="1" hangingPunct="1">
              <a:spcAft>
                <a:spcPts val="450"/>
              </a:spcAft>
              <a:defRPr/>
            </a:pPr>
            <a:endParaRPr lang="da-DK" altLang="da-DK" sz="675" b="1" noProof="1">
              <a:solidFill>
                <a:schemeClr val="tx1"/>
              </a:solidFill>
              <a:latin typeface="+mn-lt"/>
              <a:cs typeface="Arial" panose="020B0604020202020204" pitchFamily="34" charset="0"/>
            </a:endParaRPr>
          </a:p>
        </p:txBody>
      </p:sp>
      <p:sp>
        <p:nvSpPr>
          <p:cNvPr id="30" name="Text Box 4">
            <a:extLst>
              <a:ext uri="{FF2B5EF4-FFF2-40B4-BE49-F238E27FC236}">
                <a16:creationId xmlns:a16="http://schemas.microsoft.com/office/drawing/2014/main" id="{460FBAEE-DC7E-44A6-BEA8-1DCAE4DE7726}"/>
              </a:ext>
            </a:extLst>
          </p:cNvPr>
          <p:cNvSpPr txBox="1">
            <a:spLocks noChangeArrowheads="1"/>
          </p:cNvSpPr>
          <p:nvPr userDrawn="1"/>
        </p:nvSpPr>
        <p:spPr bwMode="auto">
          <a:xfrm>
            <a:off x="6057161" y="1211235"/>
            <a:ext cx="1836683" cy="3648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81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da-DK" sz="1200">
                <a:latin typeface="+mn-lt"/>
                <a:cs typeface="Arial" panose="020B0604020202020204" pitchFamily="34" charset="0"/>
              </a:rPr>
              <a:t>SIDEHOVED &amp; -FOD</a:t>
            </a:r>
            <a:endParaRPr lang="da-DK" altLang="da-DK" sz="1200" b="0" noProof="1">
              <a:solidFill>
                <a:schemeClr val="tx1"/>
              </a:solidFill>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da-DK" altLang="da-DK" sz="675" b="0" noProof="1">
                <a:solidFill>
                  <a:schemeClr val="tx1"/>
                </a:solidFill>
                <a:latin typeface="+mn-lt"/>
                <a:cs typeface="Arial" panose="020B0604020202020204" pitchFamily="34" charset="0"/>
              </a:rPr>
              <a:t>Gør dette som</a:t>
            </a:r>
            <a:r>
              <a:rPr lang="da-DK" altLang="da-DK" sz="675" b="0" baseline="0" noProof="1">
                <a:solidFill>
                  <a:schemeClr val="tx1"/>
                </a:solidFill>
                <a:latin typeface="+mn-lt"/>
                <a:cs typeface="Arial" panose="020B0604020202020204" pitchFamily="34" charset="0"/>
              </a:rPr>
              <a:t> det sidste i din præsentation, så ændringerne slår igennem på alle slides</a:t>
            </a:r>
            <a:endParaRPr lang="da-DK" sz="675" b="1" noProof="1">
              <a:solidFill>
                <a:schemeClr val="tx1"/>
              </a:solidFill>
              <a:latin typeface="+mn-lt"/>
              <a:cs typeface="Arial" panose="020B0604020202020204" pitchFamily="34" charset="0"/>
            </a:endParaRPr>
          </a:p>
          <a:p>
            <a:pPr eaLnBrk="1" hangingPunct="1">
              <a:spcAft>
                <a:spcPts val="450"/>
              </a:spcAft>
              <a:defRPr/>
            </a:pPr>
            <a:r>
              <a:rPr lang="da-DK" altLang="da-DK" sz="675" b="0" noProof="1">
                <a:solidFill>
                  <a:schemeClr val="tx1"/>
                </a:solidFill>
                <a:latin typeface="+mn-lt"/>
                <a:cs typeface="Arial" panose="020B0604020202020204" pitchFamily="34" charset="0"/>
              </a:rPr>
              <a:t>Klik </a:t>
            </a:r>
            <a:r>
              <a:rPr lang="da-DK" altLang="da-DK" sz="675" b="0" noProof="1">
                <a:solidFill>
                  <a:schemeClr val="tx1"/>
                </a:solidFill>
                <a:latin typeface="Franklin Gothic Medium" panose="020B0603020102020204" pitchFamily="34" charset="0"/>
                <a:cs typeface="Arial" panose="020B0604020202020204" pitchFamily="34" charset="0"/>
              </a:rPr>
              <a:t>Sidehoved og Sidefod </a:t>
            </a:r>
            <a:r>
              <a:rPr lang="da-DK" altLang="da-DK" sz="675" b="0" noProof="1">
                <a:solidFill>
                  <a:schemeClr val="tx1"/>
                </a:solidFill>
                <a:latin typeface="+mn-lt"/>
                <a:cs typeface="Arial" panose="020B0604020202020204" pitchFamily="34" charset="0"/>
              </a:rPr>
              <a:t>i fanen </a:t>
            </a:r>
            <a:r>
              <a:rPr lang="da-DK" altLang="da-DK" sz="675" b="0" noProof="1">
                <a:solidFill>
                  <a:schemeClr val="tx1"/>
                </a:solidFill>
                <a:latin typeface="Franklin Gothic Medium" panose="020B0603020102020204" pitchFamily="34" charset="0"/>
                <a:cs typeface="Arial" panose="020B0604020202020204" pitchFamily="34" charset="0"/>
              </a:rPr>
              <a:t>Indsæt</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standard tekst er Digitaliseringsstyrelsen)</a:t>
            </a:r>
          </a:p>
          <a:p>
            <a:pPr eaLnBrk="1" hangingPunct="1">
              <a:spcAft>
                <a:spcPts val="450"/>
              </a:spcAft>
              <a:defRPr/>
            </a:pPr>
            <a:r>
              <a:rPr lang="da-DK" altLang="da-DK" sz="675" b="0" noProof="1">
                <a:solidFill>
                  <a:schemeClr val="tx1"/>
                </a:solidFill>
                <a:latin typeface="+mn-lt"/>
                <a:cs typeface="Arial" panose="020B0604020202020204" pitchFamily="34" charset="0"/>
              </a:rPr>
              <a:t>Vælg </a:t>
            </a:r>
            <a:r>
              <a:rPr lang="da-DK" altLang="da-DK" sz="675" b="0" noProof="1">
                <a:solidFill>
                  <a:schemeClr val="tx1"/>
                </a:solidFill>
                <a:latin typeface="Franklin Gothic Medium" panose="020B0603020102020204" pitchFamily="34" charset="0"/>
                <a:cs typeface="Arial" panose="020B0604020202020204" pitchFamily="34" charset="0"/>
              </a:rPr>
              <a:t>Anvend på alle </a:t>
            </a:r>
            <a:r>
              <a:rPr lang="da-DK" altLang="da-DK" sz="675" b="0" noProof="1">
                <a:solidFill>
                  <a:schemeClr val="tx1"/>
                </a:solidFill>
                <a:latin typeface="+mn-lt"/>
                <a:cs typeface="Arial" panose="020B0604020202020204" pitchFamily="34" charset="0"/>
              </a:rPr>
              <a:t>eller </a:t>
            </a:r>
            <a:r>
              <a:rPr lang="da-DK" altLang="da-DK" sz="675" b="0" noProof="1">
                <a:solidFill>
                  <a:schemeClr val="tx1"/>
                </a:solidFill>
                <a:latin typeface="Franklin Gothic Medium" panose="020B0603020102020204" pitchFamily="34" charset="0"/>
                <a:cs typeface="Arial" panose="020B0604020202020204" pitchFamily="34" charset="0"/>
              </a:rPr>
              <a:t>Anvend</a:t>
            </a:r>
            <a:r>
              <a:rPr lang="da-DK" altLang="da-DK" sz="675" b="0" noProof="1">
                <a:solidFill>
                  <a:schemeClr val="tx1"/>
                </a:solidFill>
                <a:latin typeface="+mn-lt"/>
                <a:cs typeface="Arial" panose="020B0604020202020204" pitchFamily="34" charset="0"/>
              </a:rPr>
              <a:t> hvis det kun skal være på et enkelt slide</a:t>
            </a:r>
          </a:p>
          <a:p>
            <a:pPr eaLnBrk="1" hangingPunct="1">
              <a:spcAft>
                <a:spcPts val="450"/>
              </a:spcAft>
              <a:defRPr/>
            </a:pPr>
            <a:endParaRPr lang="da-DK" sz="675" b="0" noProof="1">
              <a:solidFill>
                <a:schemeClr val="tx1"/>
              </a:solidFill>
              <a:latin typeface="+mn-lt"/>
              <a:cs typeface="Arial" panose="020B0604020202020204" pitchFamily="34" charset="0"/>
            </a:endParaRPr>
          </a:p>
          <a:p>
            <a:pPr eaLnBrk="1" hangingPunct="1">
              <a:spcAft>
                <a:spcPts val="450"/>
              </a:spcAft>
              <a:defRPr/>
            </a:pPr>
            <a:r>
              <a:rPr lang="da-DK" sz="1200">
                <a:latin typeface="+mn-lt"/>
                <a:cs typeface="Arial" panose="020B0604020202020204" pitchFamily="34" charset="0"/>
              </a:rPr>
              <a:t>HJÆLPELINJER</a:t>
            </a:r>
            <a:endParaRPr lang="da-DK" sz="1200" b="1" noProof="1">
              <a:solidFill>
                <a:schemeClr val="tx1"/>
              </a:solidFill>
              <a:latin typeface="+mn-lt"/>
              <a:cs typeface="Arial" panose="020B0604020202020204" pitchFamily="34" charset="0"/>
            </a:endParaRPr>
          </a:p>
          <a:p>
            <a:pPr eaLnBrk="1" hangingPunct="1">
              <a:spcAft>
                <a:spcPts val="450"/>
              </a:spcAft>
              <a:defRPr/>
            </a:pPr>
            <a:r>
              <a:rPr lang="da-DK" altLang="da-DK" sz="675" b="0" noProof="1">
                <a:solidFill>
                  <a:schemeClr val="tx1"/>
                </a:solidFill>
                <a:latin typeface="+mn-lt"/>
                <a:cs typeface="Arial" panose="020B0604020202020204" pitchFamily="34" charset="0"/>
              </a:rPr>
              <a:t>Klik på fanen </a:t>
            </a:r>
            <a:r>
              <a:rPr lang="da-DK" altLang="da-DK" sz="675" b="0" noProof="1">
                <a:solidFill>
                  <a:schemeClr val="tx1"/>
                </a:solidFill>
                <a:latin typeface="Franklin Gothic Medium" panose="020B0603020102020204" pitchFamily="34" charset="0"/>
                <a:cs typeface="Arial" panose="020B0604020202020204" pitchFamily="34" charset="0"/>
              </a:rPr>
              <a:t>Vis </a:t>
            </a:r>
            <a:r>
              <a:rPr lang="da-DK" altLang="da-DK" sz="675" b="0" noProof="1">
                <a:solidFill>
                  <a:schemeClr val="tx1"/>
                </a:solidFill>
                <a:latin typeface="+mn-lt"/>
                <a:cs typeface="Arial" panose="020B0604020202020204" pitchFamily="34" charset="0"/>
              </a:rPr>
              <a:t>og sæt hak ved </a:t>
            </a:r>
            <a:r>
              <a:rPr lang="da-DK" altLang="da-DK" sz="675" b="0" noProof="1">
                <a:solidFill>
                  <a:schemeClr val="tx1"/>
                </a:solidFill>
                <a:latin typeface="Franklin Gothic Medium" panose="020B0603020102020204" pitchFamily="34" charset="0"/>
                <a:cs typeface="Arial" panose="020B0604020202020204" pitchFamily="34" charset="0"/>
              </a:rPr>
              <a:t>Hjælpelinjer</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TIP: Alt + F9 </a:t>
            </a:r>
            <a:r>
              <a:rPr lang="da-DK" altLang="da-DK" sz="675" b="0" noProof="1">
                <a:solidFill>
                  <a:schemeClr val="tx1"/>
                </a:solidFill>
                <a:latin typeface="+mn-lt"/>
                <a:cs typeface="Arial" panose="020B0604020202020204" pitchFamily="34" charset="0"/>
              </a:rPr>
              <a:t>for hurtig visning af hjælpelinjer</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Franklin Gothic Medium" panose="020B0603020102020204" pitchFamily="34" charset="0"/>
                <a:cs typeface="Arial" panose="020B0604020202020204" pitchFamily="34" charset="0"/>
              </a:rPr>
              <a:t>Mac: </a:t>
            </a:r>
            <a:r>
              <a:rPr lang="da-DK" sz="675" b="0" i="0">
                <a:solidFill>
                  <a:srgbClr val="333333"/>
                </a:solidFill>
                <a:effectLst/>
                <a:latin typeface="Arial"/>
              </a:rPr>
              <a:t>⌘ </a:t>
            </a:r>
            <a:r>
              <a:rPr lang="da-DK" altLang="da-DK" sz="675" b="0" noProof="1">
                <a:solidFill>
                  <a:schemeClr val="tx1"/>
                </a:solidFill>
                <a:latin typeface="+mn-lt"/>
                <a:cs typeface="Arial" panose="020B0604020202020204" pitchFamily="34" charset="0"/>
              </a:rPr>
              <a:t>+ option + ctrl + G</a:t>
            </a:r>
            <a:br>
              <a:rPr lang="da-DK" altLang="da-DK" sz="675" b="0" noProof="1">
                <a:solidFill>
                  <a:schemeClr val="tx1"/>
                </a:solidFill>
                <a:latin typeface="+mn-lt"/>
                <a:cs typeface="Arial" panose="020B0604020202020204" pitchFamily="34" charset="0"/>
              </a:rPr>
            </a:br>
            <a:endParaRPr lang="da-DK" altLang="da-DK" sz="675" b="0" noProof="1">
              <a:solidFill>
                <a:schemeClr val="tx1"/>
              </a:solidFill>
              <a:latin typeface="+mn-lt"/>
              <a:cs typeface="Arial" panose="020B0604020202020204" pitchFamily="34" charset="0"/>
            </a:endParaRPr>
          </a:p>
          <a:p>
            <a:pPr eaLnBrk="1" hangingPunct="1">
              <a:spcAft>
                <a:spcPts val="450"/>
              </a:spcAft>
              <a:defRPr/>
            </a:pPr>
            <a:r>
              <a:rPr lang="da-DK" altLang="da-DK" sz="1200" b="0" noProof="1">
                <a:solidFill>
                  <a:schemeClr val="tx1"/>
                </a:solidFill>
                <a:latin typeface="+mn-lt"/>
                <a:cs typeface="Arial" panose="020B0604020202020204" pitchFamily="34" charset="0"/>
              </a:rPr>
              <a:t>COPY/PASTE INDHOLD</a:t>
            </a:r>
          </a:p>
          <a:p>
            <a:pPr eaLnBrk="1" hangingPunct="1">
              <a:spcAft>
                <a:spcPts val="450"/>
              </a:spcAft>
              <a:defRPr/>
            </a:pPr>
            <a:r>
              <a:rPr lang="da-DK" altLang="da-DK" sz="675" b="0" noProof="1">
                <a:solidFill>
                  <a:schemeClr val="tx1"/>
                </a:solidFill>
                <a:latin typeface="+mn-lt"/>
                <a:cs typeface="Arial" panose="020B0604020202020204" pitchFamily="34" charset="0"/>
              </a:rPr>
              <a:t>Du har 2 muligheder, når du kopierer gammelt indhold over i din nye præsentation:</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1. Best practice: </a:t>
            </a:r>
            <a:r>
              <a:rPr lang="da-DK" altLang="da-DK" sz="675" b="0" noProof="1">
                <a:solidFill>
                  <a:schemeClr val="tx1"/>
                </a:solidFill>
                <a:latin typeface="+mn-lt"/>
                <a:cs typeface="Arial" panose="020B0604020202020204" pitchFamily="34" charset="0"/>
              </a:rPr>
              <a:t>Opret et slide i din nye præsentation og kopier ét indholdselement ad gangen (fx kopier al tekst fra én tekstboks)</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2. </a:t>
            </a:r>
            <a:r>
              <a:rPr lang="da-DK" altLang="da-DK" sz="675" b="0" noProof="1">
                <a:solidFill>
                  <a:schemeClr val="tx1"/>
                </a:solidFill>
                <a:latin typeface="+mn-lt"/>
                <a:cs typeface="Arial" panose="020B0604020202020204" pitchFamily="34" charset="0"/>
              </a:rPr>
              <a:t>Eller kopier et helt slide over i din nye præsentation og vælg derefter et passende layout. </a:t>
            </a:r>
            <a:r>
              <a:rPr lang="da-DK" altLang="da-DK" sz="675" b="0" noProof="1">
                <a:solidFill>
                  <a:srgbClr val="000000"/>
                </a:solidFill>
                <a:latin typeface="+mn-lt"/>
                <a:cs typeface="Arial" panose="020B0604020202020204" pitchFamily="34" charset="0"/>
              </a:rPr>
              <a:t>Når din præsentation er klar, åbner du en tom præsentation (tryk Ctrl+N). Kopier alle dias fra den nye præsentation, indsæt dem i den tomme præsentation. Dette vil sikre, at der ikke er ekstra layouts</a:t>
            </a:r>
            <a:endParaRPr lang="da-DK" altLang="da-DK" sz="675" b="0" noProof="1">
              <a:solidFill>
                <a:schemeClr val="tx1"/>
              </a:solidFill>
              <a:latin typeface="+mn-lt"/>
              <a:cs typeface="Arial" panose="020B0604020202020204" pitchFamily="34" charset="0"/>
            </a:endParaRPr>
          </a:p>
        </p:txBody>
      </p:sp>
      <p:pic>
        <p:nvPicPr>
          <p:cNvPr id="31" name="Picture 30">
            <a:extLst>
              <a:ext uri="{FF2B5EF4-FFF2-40B4-BE49-F238E27FC236}">
                <a16:creationId xmlns:a16="http://schemas.microsoft.com/office/drawing/2014/main" id="{E7B73ADD-C9A2-4CC9-B9B1-829AB8120F3E}"/>
              </a:ext>
            </a:extLst>
          </p:cNvPr>
          <p:cNvPicPr>
            <a:picLocks noChangeAspect="1"/>
          </p:cNvPicPr>
          <p:nvPr userDrawn="1"/>
        </p:nvPicPr>
        <p:blipFill>
          <a:blip r:embed="rId2"/>
          <a:stretch>
            <a:fillRect/>
          </a:stretch>
        </p:blipFill>
        <p:spPr>
          <a:xfrm>
            <a:off x="2166155" y="2630205"/>
            <a:ext cx="192857" cy="214286"/>
          </a:xfrm>
          <a:prstGeom prst="rect">
            <a:avLst/>
          </a:prstGeom>
        </p:spPr>
      </p:pic>
      <p:pic>
        <p:nvPicPr>
          <p:cNvPr id="32" name="Picture 31">
            <a:extLst>
              <a:ext uri="{FF2B5EF4-FFF2-40B4-BE49-F238E27FC236}">
                <a16:creationId xmlns:a16="http://schemas.microsoft.com/office/drawing/2014/main" id="{94E7EF11-FB06-4FF3-89B6-C9C7B40D4DAE}"/>
              </a:ext>
            </a:extLst>
          </p:cNvPr>
          <p:cNvPicPr>
            <a:picLocks noChangeAspect="1"/>
          </p:cNvPicPr>
          <p:nvPr userDrawn="1"/>
        </p:nvPicPr>
        <p:blipFill rotWithShape="1">
          <a:blip r:embed="rId3"/>
          <a:srcRect l="3901" t="45142" r="62601" b="9046"/>
          <a:stretch/>
        </p:blipFill>
        <p:spPr>
          <a:xfrm>
            <a:off x="4909000" y="2361252"/>
            <a:ext cx="255903" cy="241280"/>
          </a:xfrm>
          <a:prstGeom prst="rect">
            <a:avLst/>
          </a:prstGeom>
        </p:spPr>
      </p:pic>
      <p:pic>
        <p:nvPicPr>
          <p:cNvPr id="33" name="Billede 1">
            <a:extLst>
              <a:ext uri="{FF2B5EF4-FFF2-40B4-BE49-F238E27FC236}">
                <a16:creationId xmlns:a16="http://schemas.microsoft.com/office/drawing/2014/main" id="{58944A03-80A9-4768-89E7-4E910EFFBC28}"/>
              </a:ext>
            </a:extLst>
          </p:cNvPr>
          <p:cNvPicPr>
            <a:picLocks noChangeAspect="1"/>
          </p:cNvPicPr>
          <p:nvPr userDrawn="1"/>
        </p:nvPicPr>
        <p:blipFill>
          <a:blip r:embed="rId4"/>
          <a:stretch>
            <a:fillRect/>
          </a:stretch>
        </p:blipFill>
        <p:spPr>
          <a:xfrm>
            <a:off x="2170240" y="3394029"/>
            <a:ext cx="231442" cy="396023"/>
          </a:xfrm>
          <a:prstGeom prst="rect">
            <a:avLst/>
          </a:prstGeom>
        </p:spPr>
      </p:pic>
      <p:pic>
        <p:nvPicPr>
          <p:cNvPr id="35" name="Billede 4">
            <a:extLst>
              <a:ext uri="{FF2B5EF4-FFF2-40B4-BE49-F238E27FC236}">
                <a16:creationId xmlns:a16="http://schemas.microsoft.com/office/drawing/2014/main" id="{51BFC2D6-78F9-4DE9-9EA2-2262FCDF4EAF}"/>
              </a:ext>
            </a:extLst>
          </p:cNvPr>
          <p:cNvPicPr>
            <a:picLocks noChangeAspect="1"/>
          </p:cNvPicPr>
          <p:nvPr userDrawn="1"/>
        </p:nvPicPr>
        <p:blipFill rotWithShape="1">
          <a:blip r:embed="rId5"/>
          <a:srcRect l="3031"/>
          <a:stretch/>
        </p:blipFill>
        <p:spPr>
          <a:xfrm>
            <a:off x="4963310" y="1635073"/>
            <a:ext cx="372455" cy="129632"/>
          </a:xfrm>
          <a:prstGeom prst="rect">
            <a:avLst/>
          </a:prstGeom>
        </p:spPr>
      </p:pic>
      <p:pic>
        <p:nvPicPr>
          <p:cNvPr id="36" name="Billede 5">
            <a:extLst>
              <a:ext uri="{FF2B5EF4-FFF2-40B4-BE49-F238E27FC236}">
                <a16:creationId xmlns:a16="http://schemas.microsoft.com/office/drawing/2014/main" id="{EBC4A3E5-1D15-4741-BFC6-17ACF4D5CD3D}"/>
              </a:ext>
            </a:extLst>
          </p:cNvPr>
          <p:cNvPicPr>
            <a:picLocks noChangeAspect="1"/>
          </p:cNvPicPr>
          <p:nvPr userDrawn="1"/>
        </p:nvPicPr>
        <p:blipFill>
          <a:blip r:embed="rId6"/>
          <a:stretch>
            <a:fillRect/>
          </a:stretch>
        </p:blipFill>
        <p:spPr>
          <a:xfrm>
            <a:off x="4966108" y="2844491"/>
            <a:ext cx="274532" cy="360323"/>
          </a:xfrm>
          <a:prstGeom prst="rect">
            <a:avLst/>
          </a:prstGeom>
        </p:spPr>
      </p:pic>
      <p:pic>
        <p:nvPicPr>
          <p:cNvPr id="37" name="Picture 36">
            <a:extLst>
              <a:ext uri="{FF2B5EF4-FFF2-40B4-BE49-F238E27FC236}">
                <a16:creationId xmlns:a16="http://schemas.microsoft.com/office/drawing/2014/main" id="{6C19287C-813E-4966-89A1-64D6247DEA84}"/>
              </a:ext>
            </a:extLst>
          </p:cNvPr>
          <p:cNvPicPr>
            <a:picLocks noChangeAspect="1"/>
          </p:cNvPicPr>
          <p:nvPr userDrawn="1"/>
        </p:nvPicPr>
        <p:blipFill>
          <a:blip r:embed="rId7"/>
          <a:stretch>
            <a:fillRect/>
          </a:stretch>
        </p:blipFill>
        <p:spPr>
          <a:xfrm>
            <a:off x="2166561" y="2061675"/>
            <a:ext cx="342857" cy="192857"/>
          </a:xfrm>
          <a:prstGeom prst="rect">
            <a:avLst/>
          </a:prstGeom>
        </p:spPr>
      </p:pic>
      <p:pic>
        <p:nvPicPr>
          <p:cNvPr id="38" name="Picture 37">
            <a:extLst>
              <a:ext uri="{FF2B5EF4-FFF2-40B4-BE49-F238E27FC236}">
                <a16:creationId xmlns:a16="http://schemas.microsoft.com/office/drawing/2014/main" id="{007658DD-99CF-4B02-82C0-E6D1C908CA1A}"/>
              </a:ext>
            </a:extLst>
          </p:cNvPr>
          <p:cNvPicPr>
            <a:picLocks noChangeAspect="1"/>
          </p:cNvPicPr>
          <p:nvPr userDrawn="1"/>
        </p:nvPicPr>
        <p:blipFill>
          <a:blip r:embed="rId8"/>
          <a:stretch>
            <a:fillRect/>
          </a:stretch>
        </p:blipFill>
        <p:spPr>
          <a:xfrm>
            <a:off x="2170970" y="3902355"/>
            <a:ext cx="356571" cy="132572"/>
          </a:xfrm>
          <a:prstGeom prst="rect">
            <a:avLst/>
          </a:prstGeom>
        </p:spPr>
      </p:pic>
      <p:pic>
        <p:nvPicPr>
          <p:cNvPr id="13" name="Billede 12">
            <a:extLst>
              <a:ext uri="{FF2B5EF4-FFF2-40B4-BE49-F238E27FC236}">
                <a16:creationId xmlns:a16="http://schemas.microsoft.com/office/drawing/2014/main" id="{35803521-009F-447D-8D16-21D9EADF441A}"/>
              </a:ext>
            </a:extLst>
          </p:cNvPr>
          <p:cNvPicPr>
            <a:picLocks noChangeAspect="1"/>
          </p:cNvPicPr>
          <p:nvPr userDrawn="1"/>
        </p:nvPicPr>
        <p:blipFill>
          <a:blip r:embed="rId9"/>
          <a:stretch>
            <a:fillRect/>
          </a:stretch>
        </p:blipFill>
        <p:spPr>
          <a:xfrm>
            <a:off x="8038003" y="1608222"/>
            <a:ext cx="330146" cy="407525"/>
          </a:xfrm>
          <a:prstGeom prst="rect">
            <a:avLst/>
          </a:prstGeom>
        </p:spPr>
      </p:pic>
      <p:sp>
        <p:nvSpPr>
          <p:cNvPr id="14" name="Date Placeholder 6" hidden="1">
            <a:extLst>
              <a:ext uri="{FF2B5EF4-FFF2-40B4-BE49-F238E27FC236}">
                <a16:creationId xmlns:a16="http://schemas.microsoft.com/office/drawing/2014/main" id="{E4FD2B6E-39A9-4094-A5FF-CBA180265C06}"/>
              </a:ext>
            </a:extLst>
          </p:cNvPr>
          <p:cNvSpPr>
            <a:spLocks noGrp="1"/>
          </p:cNvSpPr>
          <p:nvPr>
            <p:ph type="dt" sz="half" idx="15"/>
          </p:nvPr>
        </p:nvSpPr>
        <p:spPr>
          <a:xfrm>
            <a:off x="0" y="5143500"/>
            <a:ext cx="0" cy="0"/>
          </a:xfrm>
        </p:spPr>
        <p:txBody>
          <a:bodyPr/>
          <a:lstStyle>
            <a:lvl1pPr>
              <a:defRPr sz="100">
                <a:noFill/>
              </a:defRPr>
            </a:lvl1pPr>
          </a:lstStyle>
          <a:p>
            <a:fld id="{FD8881F8-C1FF-49C4-949D-5147689C28DF}" type="datetime2">
              <a:rPr lang="da-DK" smtClean="0"/>
              <a:t>11. december 2025</a:t>
            </a:fld>
            <a:endParaRPr lang="da-DK"/>
          </a:p>
        </p:txBody>
      </p:sp>
      <p:sp>
        <p:nvSpPr>
          <p:cNvPr id="15" name="Footer Placeholder 8" hidden="1">
            <a:extLst>
              <a:ext uri="{FF2B5EF4-FFF2-40B4-BE49-F238E27FC236}">
                <a16:creationId xmlns:a16="http://schemas.microsoft.com/office/drawing/2014/main" id="{AAFF8183-88DB-4217-8B14-93C3A2F3C637}"/>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16" name="Slide Number Placeholder 10" hidden="1">
            <a:extLst>
              <a:ext uri="{FF2B5EF4-FFF2-40B4-BE49-F238E27FC236}">
                <a16:creationId xmlns:a16="http://schemas.microsoft.com/office/drawing/2014/main" id="{2ECA3156-EAFA-499A-BDD3-C3FE309B5732}"/>
              </a:ext>
            </a:extLst>
          </p:cNvPr>
          <p:cNvSpPr>
            <a:spLocks noGrp="1"/>
          </p:cNvSpPr>
          <p:nvPr>
            <p:ph type="sldNum" sz="quarter" idx="17"/>
          </p:nvPr>
        </p:nvSpPr>
        <p:spPr>
          <a:xfrm>
            <a:off x="0" y="5143500"/>
            <a:ext cx="0" cy="0"/>
          </a:xfrm>
        </p:spPr>
        <p:txBody>
          <a:bodyPr/>
          <a:lstStyle>
            <a:lvl1pPr>
              <a:defRPr sz="100">
                <a:no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25966326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9144000" cy="51435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450"/>
              </a:spcBef>
              <a:buClr>
                <a:srgbClr val="003755"/>
              </a:buClr>
            </a:pPr>
            <a:endParaRPr lang="da-DK" sz="1050" err="1">
              <a:solidFill>
                <a:schemeClr val="tx1"/>
              </a:solidFill>
            </a:endParaRPr>
          </a:p>
        </p:txBody>
      </p:sp>
      <p:sp>
        <p:nvSpPr>
          <p:cNvPr id="5" name="Do not use"/>
          <p:cNvSpPr txBox="1"/>
          <p:nvPr userDrawn="1"/>
        </p:nvSpPr>
        <p:spPr>
          <a:xfrm>
            <a:off x="322660" y="492618"/>
            <a:ext cx="8517733" cy="2169825"/>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da-DK" sz="3300" b="0" noProof="1">
                <a:solidFill>
                  <a:schemeClr val="bg1"/>
                </a:solidFill>
              </a:rPr>
              <a:t>Hvis du ser andre </a:t>
            </a:r>
            <a:r>
              <a:rPr lang="da-DK" sz="3300" b="1" i="1" noProof="1">
                <a:solidFill>
                  <a:schemeClr val="bg1"/>
                </a:solidFill>
              </a:rPr>
              <a:t>layouts efter dette,</a:t>
            </a:r>
            <a:br>
              <a:rPr lang="da-DK" sz="3300" b="0" i="0" noProof="1">
                <a:solidFill>
                  <a:schemeClr val="bg1"/>
                </a:solidFill>
              </a:rPr>
            </a:br>
            <a:r>
              <a:rPr lang="da-DK" sz="3300" b="0" noProof="1">
                <a:solidFill>
                  <a:schemeClr val="bg1"/>
                </a:solidFill>
              </a:rPr>
              <a:t>brug dem ikke. Disse layouts </a:t>
            </a:r>
            <a:r>
              <a:rPr lang="da-DK" sz="3300" b="1" i="1" u="none" noProof="1">
                <a:solidFill>
                  <a:schemeClr val="bg1"/>
                </a:solidFill>
              </a:rPr>
              <a:t>tilhører ikke </a:t>
            </a:r>
            <a:r>
              <a:rPr lang="da-DK" sz="3300" b="0" i="0" u="none" noProof="1">
                <a:solidFill>
                  <a:schemeClr val="bg1"/>
                </a:solidFill>
              </a:rPr>
              <a:t>vores corporate </a:t>
            </a:r>
            <a:r>
              <a:rPr lang="da-DK" sz="3300" b="0" noProof="1">
                <a:solidFill>
                  <a:schemeClr val="bg1"/>
                </a:solidFill>
              </a:rPr>
              <a:t>skabelon.</a:t>
            </a:r>
            <a:br>
              <a:rPr lang="da-DK" sz="2100" b="0" noProof="1">
                <a:solidFill>
                  <a:schemeClr val="bg1"/>
                </a:solidFill>
              </a:rPr>
            </a:br>
            <a:br>
              <a:rPr lang="da-DK" sz="2100" b="0" noProof="1">
                <a:solidFill>
                  <a:schemeClr val="bg1"/>
                </a:solidFill>
              </a:rPr>
            </a:br>
            <a:endParaRPr lang="da-DK" sz="2100" b="0" noProof="1">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7803656" y="2493920"/>
            <a:ext cx="777591" cy="777591"/>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da-DK" sz="105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da-DK" sz="105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354402" y="2240014"/>
            <a:ext cx="7614260" cy="1246495"/>
          </a:xfrm>
          <a:prstGeom prst="rect">
            <a:avLst/>
          </a:prstGeom>
        </p:spPr>
        <p:txBody>
          <a:bodyPr wrap="square">
            <a:spAutoFit/>
          </a:bodyPr>
          <a:lstStyle/>
          <a:p>
            <a:pPr algn="ctr"/>
            <a:r>
              <a:rPr lang="da-DK" sz="7500" b="1" i="1" noProof="1">
                <a:solidFill>
                  <a:schemeClr val="bg1"/>
                </a:solidFill>
              </a:rPr>
              <a:t>Brug dem ikke </a:t>
            </a:r>
            <a:endParaRPr lang="da-DK" sz="7500" b="1" i="1" noProof="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22660" y="3889841"/>
            <a:ext cx="8517731" cy="733534"/>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da-DK" sz="1500" b="0" noProof="1">
                <a:solidFill>
                  <a:schemeClr val="bg1"/>
                </a:solidFill>
              </a:rPr>
              <a:t>Pga. PowerPoints standard Kopier/Indsæt funktionalitet kan ekstra uønskede layouts forekomme.</a:t>
            </a:r>
          </a:p>
          <a:p>
            <a:pPr marL="0" marR="0" indent="0" algn="ctr" fontAlgn="auto">
              <a:lnSpc>
                <a:spcPct val="100000"/>
              </a:lnSpc>
              <a:spcBef>
                <a:spcPts val="450"/>
              </a:spcBef>
              <a:spcAft>
                <a:spcPts val="0"/>
              </a:spcAft>
              <a:buClr>
                <a:srgbClr val="003755"/>
              </a:buClr>
              <a:buSzTx/>
              <a:buFontTx/>
              <a:buNone/>
              <a:tabLst/>
            </a:pPr>
            <a:r>
              <a:rPr lang="da-DK" sz="1500" b="0" noProof="1">
                <a:solidFill>
                  <a:schemeClr val="bg1"/>
                </a:solidFill>
              </a:rPr>
              <a:t>OBS! Layouts efter dette kan indeholde potentiel fortrolig information.</a:t>
            </a:r>
            <a:br>
              <a:rPr lang="da-DK" sz="1350" b="0" noProof="1">
                <a:solidFill>
                  <a:schemeClr val="bg1"/>
                </a:solidFill>
              </a:rPr>
            </a:br>
            <a:endParaRPr lang="da-DK" sz="1350" b="0" noProof="1">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5143500"/>
            <a:ext cx="0" cy="0"/>
          </a:xfrm>
        </p:spPr>
        <p:txBody>
          <a:bodyPr/>
          <a:lstStyle>
            <a:lvl1pPr>
              <a:defRPr sz="100">
                <a:noFill/>
              </a:defRPr>
            </a:lvl1pPr>
          </a:lstStyle>
          <a:p>
            <a:fld id="{205F122B-2541-481B-A65D-B7A79C5314AF}" type="datetime2">
              <a:rPr lang="da-DK" smtClean="0"/>
              <a:t>11. december 2025</a:t>
            </a:fld>
            <a:endParaRPr lang="da-DK"/>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326089862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193320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orger.dk cover A">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4" name="Picture 3" descr="A logo with a crown on it&#10;&#10;Description automatically generated">
            <a:extLst>
              <a:ext uri="{FF2B5EF4-FFF2-40B4-BE49-F238E27FC236}">
                <a16:creationId xmlns:a16="http://schemas.microsoft.com/office/drawing/2014/main" id="{F246919F-0D79-F358-57DD-7E1402D506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1783" y="209188"/>
            <a:ext cx="2137345" cy="305335"/>
          </a:xfrm>
          <a:prstGeom prst="rect">
            <a:avLst/>
          </a:prstGeom>
        </p:spPr>
      </p:pic>
      <p:sp>
        <p:nvSpPr>
          <p:cNvPr id="3" name="TextBox 1">
            <a:extLst>
              <a:ext uri="{FF2B5EF4-FFF2-40B4-BE49-F238E27FC236}">
                <a16:creationId xmlns:a16="http://schemas.microsoft.com/office/drawing/2014/main" id="{B7671AF2-8DC3-1888-3FA5-9F16ED28C3AA}"/>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3700634874"/>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orger.dk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3" name="Picture 2">
            <a:extLst>
              <a:ext uri="{FF2B5EF4-FFF2-40B4-BE49-F238E27FC236}">
                <a16:creationId xmlns:a16="http://schemas.microsoft.com/office/drawing/2014/main" id="{7C475E0B-718E-FF80-8B3F-26D7F9B56084}"/>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1784" y="209188"/>
            <a:ext cx="2137343" cy="305335"/>
          </a:xfrm>
          <a:prstGeom prst="rect">
            <a:avLst/>
          </a:prstGeom>
        </p:spPr>
      </p:pic>
      <p:sp>
        <p:nvSpPr>
          <p:cNvPr id="6" name="TextBox 1">
            <a:extLst>
              <a:ext uri="{FF2B5EF4-FFF2-40B4-BE49-F238E27FC236}">
                <a16:creationId xmlns:a16="http://schemas.microsoft.com/office/drawing/2014/main" id="{BE819E2E-33F7-432A-D4B6-935E690F38DB}"/>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4048179920"/>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gital Post cover A">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7" name="Picture 6" descr="A logo with a crown on it&#10;&#10;Description automatically generated">
            <a:extLst>
              <a:ext uri="{FF2B5EF4-FFF2-40B4-BE49-F238E27FC236}">
                <a16:creationId xmlns:a16="http://schemas.microsoft.com/office/drawing/2014/main" id="{AB0B0ECC-5405-9BC0-47C7-E62422A4712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4813" y="207967"/>
            <a:ext cx="2150000" cy="307143"/>
          </a:xfrm>
          <a:prstGeom prst="rect">
            <a:avLst/>
          </a:prstGeom>
        </p:spPr>
      </p:pic>
      <p:sp>
        <p:nvSpPr>
          <p:cNvPr id="3" name="TextBox 1">
            <a:extLst>
              <a:ext uri="{FF2B5EF4-FFF2-40B4-BE49-F238E27FC236}">
                <a16:creationId xmlns:a16="http://schemas.microsoft.com/office/drawing/2014/main" id="{CE70F30D-8308-9BAA-20A0-76973E181BA5}"/>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3899737836"/>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igital Post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4" name="Picture 3">
            <a:extLst>
              <a:ext uri="{FF2B5EF4-FFF2-40B4-BE49-F238E27FC236}">
                <a16:creationId xmlns:a16="http://schemas.microsoft.com/office/drawing/2014/main" id="{B618DB2B-2262-BB0A-780A-B3B11740F76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4813" y="207967"/>
            <a:ext cx="2150000" cy="307142"/>
          </a:xfrm>
          <a:prstGeom prst="rect">
            <a:avLst/>
          </a:prstGeom>
        </p:spPr>
      </p:pic>
      <p:sp>
        <p:nvSpPr>
          <p:cNvPr id="3" name="TextBox 1">
            <a:extLst>
              <a:ext uri="{FF2B5EF4-FFF2-40B4-BE49-F238E27FC236}">
                <a16:creationId xmlns:a16="http://schemas.microsoft.com/office/drawing/2014/main" id="{6C5811E8-1E56-32D4-E71B-5544561DFE55}"/>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2201071363"/>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MitID cover A">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978683" y="387710"/>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7" name="Picture 6" descr="A logo with a crown on it&#10;&#10;Description automatically generated">
            <a:extLst>
              <a:ext uri="{FF2B5EF4-FFF2-40B4-BE49-F238E27FC236}">
                <a16:creationId xmlns:a16="http://schemas.microsoft.com/office/drawing/2014/main" id="{FE83A7B7-DD0E-E9ED-7085-42258D60F70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5001" y="207900"/>
            <a:ext cx="2150000" cy="307143"/>
          </a:xfrm>
          <a:prstGeom prst="rect">
            <a:avLst/>
          </a:prstGeom>
        </p:spPr>
      </p:pic>
      <p:sp>
        <p:nvSpPr>
          <p:cNvPr id="3" name="TextBox 1">
            <a:extLst>
              <a:ext uri="{FF2B5EF4-FFF2-40B4-BE49-F238E27FC236}">
                <a16:creationId xmlns:a16="http://schemas.microsoft.com/office/drawing/2014/main" id="{2AE2A07C-1452-06D8-8BEA-29C24118E7D4}"/>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2794547474"/>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MitID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3" name="Picture 2">
            <a:extLst>
              <a:ext uri="{FF2B5EF4-FFF2-40B4-BE49-F238E27FC236}">
                <a16:creationId xmlns:a16="http://schemas.microsoft.com/office/drawing/2014/main" id="{B6773088-F904-305E-B07C-C0C1AD136B1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5001" y="207901"/>
            <a:ext cx="2150000" cy="307142"/>
          </a:xfrm>
          <a:prstGeom prst="rect">
            <a:avLst/>
          </a:prstGeom>
        </p:spPr>
      </p:pic>
      <p:sp>
        <p:nvSpPr>
          <p:cNvPr id="4" name="TextBox 1">
            <a:extLst>
              <a:ext uri="{FF2B5EF4-FFF2-40B4-BE49-F238E27FC236}">
                <a16:creationId xmlns:a16="http://schemas.microsoft.com/office/drawing/2014/main" id="{BF3D9D61-36C1-389C-8BD5-77F014F2FFEC}"/>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805006458"/>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MitID Erhverv cover A">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978683" y="387710"/>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4" name="Picture 3" descr="A logo with a crown on it&#10;&#10;Description automatically generated">
            <a:extLst>
              <a:ext uri="{FF2B5EF4-FFF2-40B4-BE49-F238E27FC236}">
                <a16:creationId xmlns:a16="http://schemas.microsoft.com/office/drawing/2014/main" id="{AEC092CD-7A5A-A8E9-64F2-E9A960EA998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5001" y="207900"/>
            <a:ext cx="2150000" cy="307143"/>
          </a:xfrm>
          <a:prstGeom prst="rect">
            <a:avLst/>
          </a:prstGeom>
        </p:spPr>
      </p:pic>
      <p:sp>
        <p:nvSpPr>
          <p:cNvPr id="3" name="TextBox 1">
            <a:extLst>
              <a:ext uri="{FF2B5EF4-FFF2-40B4-BE49-F238E27FC236}">
                <a16:creationId xmlns:a16="http://schemas.microsoft.com/office/drawing/2014/main" id="{1448603D-0338-C172-50C3-37A4F733BAA4}"/>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2435216017"/>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ortrætter (6 el. 9)">
    <p:spTree>
      <p:nvGrpSpPr>
        <p:cNvPr id="1" name=""/>
        <p:cNvGrpSpPr/>
        <p:nvPr/>
      </p:nvGrpSpPr>
      <p:grpSpPr>
        <a:xfrm>
          <a:off x="0" y="0"/>
          <a:ext cx="0" cy="0"/>
          <a:chOff x="0" y="0"/>
          <a:chExt cx="0" cy="0"/>
        </a:xfrm>
      </p:grpSpPr>
      <p:sp>
        <p:nvSpPr>
          <p:cNvPr id="3" name="Pladsholder til billede 5">
            <a:extLst>
              <a:ext uri="{FF2B5EF4-FFF2-40B4-BE49-F238E27FC236}">
                <a16:creationId xmlns:a16="http://schemas.microsoft.com/office/drawing/2014/main" id="{070C87B3-473D-BAA3-B871-825DD0DF37A4}"/>
              </a:ext>
            </a:extLst>
          </p:cNvPr>
          <p:cNvSpPr>
            <a:spLocks noGrp="1" noChangeAspect="1"/>
          </p:cNvSpPr>
          <p:nvPr>
            <p:ph type="pic" sz="quarter" idx="10"/>
          </p:nvPr>
        </p:nvSpPr>
        <p:spPr>
          <a:xfrm>
            <a:off x="484003" y="1428854"/>
            <a:ext cx="864096" cy="864096"/>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noProof="0"/>
              <a:t>Klik på ikonet for at tilføje et billede</a:t>
            </a:r>
          </a:p>
        </p:txBody>
      </p:sp>
      <p:sp>
        <p:nvSpPr>
          <p:cNvPr id="4" name="Pladsholder til tekst 3">
            <a:extLst>
              <a:ext uri="{FF2B5EF4-FFF2-40B4-BE49-F238E27FC236}">
                <a16:creationId xmlns:a16="http://schemas.microsoft.com/office/drawing/2014/main" id="{C2EDAD55-A7F4-5B25-A8DC-F70270CD0480}"/>
              </a:ext>
            </a:extLst>
          </p:cNvPr>
          <p:cNvSpPr>
            <a:spLocks noGrp="1"/>
          </p:cNvSpPr>
          <p:nvPr>
            <p:ph type="body" sz="quarter" idx="15" hasCustomPrompt="1"/>
          </p:nvPr>
        </p:nvSpPr>
        <p:spPr>
          <a:xfrm>
            <a:off x="1504728" y="1434956"/>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Fornavn</a:t>
            </a:r>
          </a:p>
        </p:txBody>
      </p:sp>
      <p:sp>
        <p:nvSpPr>
          <p:cNvPr id="5" name="Pladsholder til tekst 3">
            <a:extLst>
              <a:ext uri="{FF2B5EF4-FFF2-40B4-BE49-F238E27FC236}">
                <a16:creationId xmlns:a16="http://schemas.microsoft.com/office/drawing/2014/main" id="{BE721C77-7419-9D0B-B82F-06496C42C3FA}"/>
              </a:ext>
            </a:extLst>
          </p:cNvPr>
          <p:cNvSpPr>
            <a:spLocks noGrp="1"/>
          </p:cNvSpPr>
          <p:nvPr>
            <p:ph type="body" sz="quarter" idx="19"/>
          </p:nvPr>
        </p:nvSpPr>
        <p:spPr>
          <a:xfrm>
            <a:off x="1504728" y="1782511"/>
            <a:ext cx="1620000" cy="510440"/>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noProof="0"/>
              <a:t>Klik for at redigere teksttypografierne i masteren</a:t>
            </a:r>
          </a:p>
        </p:txBody>
      </p:sp>
      <p:sp>
        <p:nvSpPr>
          <p:cNvPr id="6" name="Pladsholder til tekst 3">
            <a:extLst>
              <a:ext uri="{FF2B5EF4-FFF2-40B4-BE49-F238E27FC236}">
                <a16:creationId xmlns:a16="http://schemas.microsoft.com/office/drawing/2014/main" id="{6440A9A6-1676-EB07-0143-78F08C58E9D7}"/>
              </a:ext>
            </a:extLst>
          </p:cNvPr>
          <p:cNvSpPr>
            <a:spLocks noGrp="1"/>
          </p:cNvSpPr>
          <p:nvPr>
            <p:ph type="body" sz="quarter" idx="20" hasCustomPrompt="1"/>
          </p:nvPr>
        </p:nvSpPr>
        <p:spPr>
          <a:xfrm>
            <a:off x="1504728" y="1583639"/>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Efternavn</a:t>
            </a:r>
          </a:p>
        </p:txBody>
      </p:sp>
      <p:sp>
        <p:nvSpPr>
          <p:cNvPr id="7" name="Pladsholder til billede 5">
            <a:extLst>
              <a:ext uri="{FF2B5EF4-FFF2-40B4-BE49-F238E27FC236}">
                <a16:creationId xmlns:a16="http://schemas.microsoft.com/office/drawing/2014/main" id="{482A5E1A-5D6D-EBC8-CAED-2066E631A837}"/>
              </a:ext>
            </a:extLst>
          </p:cNvPr>
          <p:cNvSpPr>
            <a:spLocks noGrp="1" noChangeAspect="1"/>
          </p:cNvSpPr>
          <p:nvPr>
            <p:ph type="pic" sz="quarter" idx="21"/>
          </p:nvPr>
        </p:nvSpPr>
        <p:spPr>
          <a:xfrm>
            <a:off x="3281357" y="1428854"/>
            <a:ext cx="864096" cy="864096"/>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noProof="0"/>
              <a:t>Klik på ikonet for at tilføje et billede</a:t>
            </a:r>
          </a:p>
        </p:txBody>
      </p:sp>
      <p:sp>
        <p:nvSpPr>
          <p:cNvPr id="8" name="Pladsholder til tekst 3">
            <a:extLst>
              <a:ext uri="{FF2B5EF4-FFF2-40B4-BE49-F238E27FC236}">
                <a16:creationId xmlns:a16="http://schemas.microsoft.com/office/drawing/2014/main" id="{8CB47331-95D8-D802-D5E6-BCBBBEDA86D9}"/>
              </a:ext>
            </a:extLst>
          </p:cNvPr>
          <p:cNvSpPr>
            <a:spLocks noGrp="1"/>
          </p:cNvSpPr>
          <p:nvPr>
            <p:ph type="body" sz="quarter" idx="22" hasCustomPrompt="1"/>
          </p:nvPr>
        </p:nvSpPr>
        <p:spPr>
          <a:xfrm>
            <a:off x="4302082" y="1434956"/>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Fornavn</a:t>
            </a:r>
          </a:p>
        </p:txBody>
      </p:sp>
      <p:sp>
        <p:nvSpPr>
          <p:cNvPr id="9" name="Pladsholder til tekst 3">
            <a:extLst>
              <a:ext uri="{FF2B5EF4-FFF2-40B4-BE49-F238E27FC236}">
                <a16:creationId xmlns:a16="http://schemas.microsoft.com/office/drawing/2014/main" id="{CE4890B4-ABA5-E0C8-F125-E7DB211380DD}"/>
              </a:ext>
            </a:extLst>
          </p:cNvPr>
          <p:cNvSpPr>
            <a:spLocks noGrp="1"/>
          </p:cNvSpPr>
          <p:nvPr>
            <p:ph type="body" sz="quarter" idx="23"/>
          </p:nvPr>
        </p:nvSpPr>
        <p:spPr>
          <a:xfrm>
            <a:off x="4302082" y="1782511"/>
            <a:ext cx="1620000" cy="510440"/>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noProof="0"/>
              <a:t>Klik for at redigere teksttypografierne i masteren</a:t>
            </a:r>
          </a:p>
        </p:txBody>
      </p:sp>
      <p:sp>
        <p:nvSpPr>
          <p:cNvPr id="10" name="Pladsholder til tekst 3">
            <a:extLst>
              <a:ext uri="{FF2B5EF4-FFF2-40B4-BE49-F238E27FC236}">
                <a16:creationId xmlns:a16="http://schemas.microsoft.com/office/drawing/2014/main" id="{D4216E8E-D5DE-C9A9-D7B7-AEF2AF54B1CB}"/>
              </a:ext>
            </a:extLst>
          </p:cNvPr>
          <p:cNvSpPr>
            <a:spLocks noGrp="1"/>
          </p:cNvSpPr>
          <p:nvPr>
            <p:ph type="body" sz="quarter" idx="24" hasCustomPrompt="1"/>
          </p:nvPr>
        </p:nvSpPr>
        <p:spPr>
          <a:xfrm>
            <a:off x="4302082" y="1583639"/>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Efternavn</a:t>
            </a:r>
          </a:p>
        </p:txBody>
      </p:sp>
      <p:sp>
        <p:nvSpPr>
          <p:cNvPr id="2" name="Pladsholder til billede 5">
            <a:extLst>
              <a:ext uri="{FF2B5EF4-FFF2-40B4-BE49-F238E27FC236}">
                <a16:creationId xmlns:a16="http://schemas.microsoft.com/office/drawing/2014/main" id="{C65363CD-8FAF-BF36-6F74-5A0BCC8BE6CB}"/>
              </a:ext>
            </a:extLst>
          </p:cNvPr>
          <p:cNvSpPr>
            <a:spLocks noGrp="1" noChangeAspect="1"/>
          </p:cNvSpPr>
          <p:nvPr>
            <p:ph type="pic" sz="quarter" idx="25"/>
          </p:nvPr>
        </p:nvSpPr>
        <p:spPr>
          <a:xfrm>
            <a:off x="484003" y="2506613"/>
            <a:ext cx="864096" cy="864096"/>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noProof="0"/>
              <a:t>Klik på ikonet for at tilføje et billede</a:t>
            </a:r>
          </a:p>
        </p:txBody>
      </p:sp>
      <p:sp>
        <p:nvSpPr>
          <p:cNvPr id="11" name="Pladsholder til tekst 3">
            <a:extLst>
              <a:ext uri="{FF2B5EF4-FFF2-40B4-BE49-F238E27FC236}">
                <a16:creationId xmlns:a16="http://schemas.microsoft.com/office/drawing/2014/main" id="{8DEDB2D6-1AFF-EAF9-3643-7E663B1C1037}"/>
              </a:ext>
            </a:extLst>
          </p:cNvPr>
          <p:cNvSpPr>
            <a:spLocks noGrp="1"/>
          </p:cNvSpPr>
          <p:nvPr>
            <p:ph type="body" sz="quarter" idx="26" hasCustomPrompt="1"/>
          </p:nvPr>
        </p:nvSpPr>
        <p:spPr>
          <a:xfrm>
            <a:off x="1504728" y="2512715"/>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Fornavn</a:t>
            </a:r>
          </a:p>
        </p:txBody>
      </p:sp>
      <p:sp>
        <p:nvSpPr>
          <p:cNvPr id="12" name="Pladsholder til tekst 3">
            <a:extLst>
              <a:ext uri="{FF2B5EF4-FFF2-40B4-BE49-F238E27FC236}">
                <a16:creationId xmlns:a16="http://schemas.microsoft.com/office/drawing/2014/main" id="{A2DC81DF-853C-D3F4-265C-B27726F7DF4E}"/>
              </a:ext>
            </a:extLst>
          </p:cNvPr>
          <p:cNvSpPr>
            <a:spLocks noGrp="1"/>
          </p:cNvSpPr>
          <p:nvPr>
            <p:ph type="body" sz="quarter" idx="27"/>
          </p:nvPr>
        </p:nvSpPr>
        <p:spPr>
          <a:xfrm>
            <a:off x="1504728" y="2860270"/>
            <a:ext cx="1620000" cy="510440"/>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noProof="0"/>
              <a:t>Klik for at redigere teksttypografierne i masteren</a:t>
            </a:r>
          </a:p>
        </p:txBody>
      </p:sp>
      <p:sp>
        <p:nvSpPr>
          <p:cNvPr id="13" name="Pladsholder til tekst 3">
            <a:extLst>
              <a:ext uri="{FF2B5EF4-FFF2-40B4-BE49-F238E27FC236}">
                <a16:creationId xmlns:a16="http://schemas.microsoft.com/office/drawing/2014/main" id="{5520A6BD-6DE7-2638-2BD4-D586F9F87580}"/>
              </a:ext>
            </a:extLst>
          </p:cNvPr>
          <p:cNvSpPr>
            <a:spLocks noGrp="1"/>
          </p:cNvSpPr>
          <p:nvPr>
            <p:ph type="body" sz="quarter" idx="28" hasCustomPrompt="1"/>
          </p:nvPr>
        </p:nvSpPr>
        <p:spPr>
          <a:xfrm>
            <a:off x="1504728" y="2661398"/>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Efternavn</a:t>
            </a:r>
          </a:p>
        </p:txBody>
      </p:sp>
      <p:sp>
        <p:nvSpPr>
          <p:cNvPr id="14" name="Pladsholder til billede 5">
            <a:extLst>
              <a:ext uri="{FF2B5EF4-FFF2-40B4-BE49-F238E27FC236}">
                <a16:creationId xmlns:a16="http://schemas.microsoft.com/office/drawing/2014/main" id="{75A74AD5-C83D-7897-3AA5-2E4B39CF4653}"/>
              </a:ext>
            </a:extLst>
          </p:cNvPr>
          <p:cNvSpPr>
            <a:spLocks noGrp="1" noChangeAspect="1"/>
          </p:cNvSpPr>
          <p:nvPr>
            <p:ph type="pic" sz="quarter" idx="29"/>
          </p:nvPr>
        </p:nvSpPr>
        <p:spPr>
          <a:xfrm>
            <a:off x="3281357" y="2506613"/>
            <a:ext cx="864096" cy="864096"/>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noProof="0"/>
              <a:t>Klik på ikonet for at tilføje et billede</a:t>
            </a:r>
          </a:p>
        </p:txBody>
      </p:sp>
      <p:sp>
        <p:nvSpPr>
          <p:cNvPr id="15" name="Pladsholder til tekst 3">
            <a:extLst>
              <a:ext uri="{FF2B5EF4-FFF2-40B4-BE49-F238E27FC236}">
                <a16:creationId xmlns:a16="http://schemas.microsoft.com/office/drawing/2014/main" id="{21D8DE0D-B32A-238C-55C8-0ED0EDD6159F}"/>
              </a:ext>
            </a:extLst>
          </p:cNvPr>
          <p:cNvSpPr>
            <a:spLocks noGrp="1"/>
          </p:cNvSpPr>
          <p:nvPr>
            <p:ph type="body" sz="quarter" idx="30" hasCustomPrompt="1"/>
          </p:nvPr>
        </p:nvSpPr>
        <p:spPr>
          <a:xfrm>
            <a:off x="4302082" y="2512715"/>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Fornavn</a:t>
            </a:r>
          </a:p>
        </p:txBody>
      </p:sp>
      <p:sp>
        <p:nvSpPr>
          <p:cNvPr id="16" name="Pladsholder til tekst 3">
            <a:extLst>
              <a:ext uri="{FF2B5EF4-FFF2-40B4-BE49-F238E27FC236}">
                <a16:creationId xmlns:a16="http://schemas.microsoft.com/office/drawing/2014/main" id="{6F715CB2-A1EA-D243-2E29-C4CD804D8865}"/>
              </a:ext>
            </a:extLst>
          </p:cNvPr>
          <p:cNvSpPr>
            <a:spLocks noGrp="1"/>
          </p:cNvSpPr>
          <p:nvPr>
            <p:ph type="body" sz="quarter" idx="31"/>
          </p:nvPr>
        </p:nvSpPr>
        <p:spPr>
          <a:xfrm>
            <a:off x="4302082" y="2860270"/>
            <a:ext cx="1620000" cy="510440"/>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noProof="0"/>
              <a:t>Klik for at redigere teksttypografierne i masteren</a:t>
            </a:r>
          </a:p>
        </p:txBody>
      </p:sp>
      <p:sp>
        <p:nvSpPr>
          <p:cNvPr id="17" name="Pladsholder til tekst 3">
            <a:extLst>
              <a:ext uri="{FF2B5EF4-FFF2-40B4-BE49-F238E27FC236}">
                <a16:creationId xmlns:a16="http://schemas.microsoft.com/office/drawing/2014/main" id="{C95F10A0-C60A-ECF6-E36E-27A58FBD2D79}"/>
              </a:ext>
            </a:extLst>
          </p:cNvPr>
          <p:cNvSpPr>
            <a:spLocks noGrp="1"/>
          </p:cNvSpPr>
          <p:nvPr>
            <p:ph type="body" sz="quarter" idx="32" hasCustomPrompt="1"/>
          </p:nvPr>
        </p:nvSpPr>
        <p:spPr>
          <a:xfrm>
            <a:off x="4302082" y="2661398"/>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Efternavn</a:t>
            </a:r>
          </a:p>
        </p:txBody>
      </p:sp>
      <p:sp>
        <p:nvSpPr>
          <p:cNvPr id="18" name="Pladsholder til billede 5">
            <a:extLst>
              <a:ext uri="{FF2B5EF4-FFF2-40B4-BE49-F238E27FC236}">
                <a16:creationId xmlns:a16="http://schemas.microsoft.com/office/drawing/2014/main" id="{D8F20035-BF4C-E8E9-7629-95EB57613D77}"/>
              </a:ext>
            </a:extLst>
          </p:cNvPr>
          <p:cNvSpPr>
            <a:spLocks noGrp="1" noChangeAspect="1"/>
          </p:cNvSpPr>
          <p:nvPr>
            <p:ph type="pic" sz="quarter" idx="33"/>
          </p:nvPr>
        </p:nvSpPr>
        <p:spPr>
          <a:xfrm>
            <a:off x="484003" y="3578270"/>
            <a:ext cx="864096" cy="864096"/>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noProof="0"/>
              <a:t>Klik på ikonet for at tilføje et billede</a:t>
            </a:r>
          </a:p>
        </p:txBody>
      </p:sp>
      <p:sp>
        <p:nvSpPr>
          <p:cNvPr id="19" name="Pladsholder til tekst 3">
            <a:extLst>
              <a:ext uri="{FF2B5EF4-FFF2-40B4-BE49-F238E27FC236}">
                <a16:creationId xmlns:a16="http://schemas.microsoft.com/office/drawing/2014/main" id="{E5DD68DF-0955-D2E0-9EC7-C8E5E09C9DEB}"/>
              </a:ext>
            </a:extLst>
          </p:cNvPr>
          <p:cNvSpPr>
            <a:spLocks noGrp="1"/>
          </p:cNvSpPr>
          <p:nvPr>
            <p:ph type="body" sz="quarter" idx="34" hasCustomPrompt="1"/>
          </p:nvPr>
        </p:nvSpPr>
        <p:spPr>
          <a:xfrm>
            <a:off x="1504728" y="3584372"/>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Fornavn</a:t>
            </a:r>
          </a:p>
        </p:txBody>
      </p:sp>
      <p:sp>
        <p:nvSpPr>
          <p:cNvPr id="20" name="Pladsholder til tekst 3">
            <a:extLst>
              <a:ext uri="{FF2B5EF4-FFF2-40B4-BE49-F238E27FC236}">
                <a16:creationId xmlns:a16="http://schemas.microsoft.com/office/drawing/2014/main" id="{DE8F6174-F745-2E11-6D8E-B821CD399521}"/>
              </a:ext>
            </a:extLst>
          </p:cNvPr>
          <p:cNvSpPr>
            <a:spLocks noGrp="1"/>
          </p:cNvSpPr>
          <p:nvPr>
            <p:ph type="body" sz="quarter" idx="35"/>
          </p:nvPr>
        </p:nvSpPr>
        <p:spPr>
          <a:xfrm>
            <a:off x="1504728" y="3931927"/>
            <a:ext cx="1620000" cy="510440"/>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noProof="0"/>
              <a:t>Klik for at redigere teksttypografierne i masteren</a:t>
            </a:r>
          </a:p>
        </p:txBody>
      </p:sp>
      <p:sp>
        <p:nvSpPr>
          <p:cNvPr id="21" name="Pladsholder til tekst 3">
            <a:extLst>
              <a:ext uri="{FF2B5EF4-FFF2-40B4-BE49-F238E27FC236}">
                <a16:creationId xmlns:a16="http://schemas.microsoft.com/office/drawing/2014/main" id="{5DBA5425-3A6F-5F2C-847C-2459D1AB335D}"/>
              </a:ext>
            </a:extLst>
          </p:cNvPr>
          <p:cNvSpPr>
            <a:spLocks noGrp="1"/>
          </p:cNvSpPr>
          <p:nvPr>
            <p:ph type="body" sz="quarter" idx="36" hasCustomPrompt="1"/>
          </p:nvPr>
        </p:nvSpPr>
        <p:spPr>
          <a:xfrm>
            <a:off x="1504728" y="3733055"/>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Efternavn</a:t>
            </a:r>
          </a:p>
        </p:txBody>
      </p:sp>
      <p:sp>
        <p:nvSpPr>
          <p:cNvPr id="22" name="Pladsholder til billede 5">
            <a:extLst>
              <a:ext uri="{FF2B5EF4-FFF2-40B4-BE49-F238E27FC236}">
                <a16:creationId xmlns:a16="http://schemas.microsoft.com/office/drawing/2014/main" id="{CE71A5FD-BEB7-115E-D689-E604327F18F7}"/>
              </a:ext>
            </a:extLst>
          </p:cNvPr>
          <p:cNvSpPr>
            <a:spLocks noGrp="1" noChangeAspect="1"/>
          </p:cNvSpPr>
          <p:nvPr>
            <p:ph type="pic" sz="quarter" idx="37"/>
          </p:nvPr>
        </p:nvSpPr>
        <p:spPr>
          <a:xfrm>
            <a:off x="3281357" y="3578270"/>
            <a:ext cx="864096" cy="864096"/>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noProof="0"/>
              <a:t>Klik på ikonet for at tilføje et billede</a:t>
            </a:r>
          </a:p>
        </p:txBody>
      </p:sp>
      <p:sp>
        <p:nvSpPr>
          <p:cNvPr id="23" name="Pladsholder til tekst 3">
            <a:extLst>
              <a:ext uri="{FF2B5EF4-FFF2-40B4-BE49-F238E27FC236}">
                <a16:creationId xmlns:a16="http://schemas.microsoft.com/office/drawing/2014/main" id="{03755236-EF25-1910-CC1E-CA3EFFFAC006}"/>
              </a:ext>
            </a:extLst>
          </p:cNvPr>
          <p:cNvSpPr>
            <a:spLocks noGrp="1"/>
          </p:cNvSpPr>
          <p:nvPr>
            <p:ph type="body" sz="quarter" idx="38" hasCustomPrompt="1"/>
          </p:nvPr>
        </p:nvSpPr>
        <p:spPr>
          <a:xfrm>
            <a:off x="4302082" y="3584372"/>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Fornavn</a:t>
            </a:r>
          </a:p>
        </p:txBody>
      </p:sp>
      <p:sp>
        <p:nvSpPr>
          <p:cNvPr id="24" name="Pladsholder til tekst 3">
            <a:extLst>
              <a:ext uri="{FF2B5EF4-FFF2-40B4-BE49-F238E27FC236}">
                <a16:creationId xmlns:a16="http://schemas.microsoft.com/office/drawing/2014/main" id="{3F9FC192-CF34-F7F4-2E0A-D1E089B04A5F}"/>
              </a:ext>
            </a:extLst>
          </p:cNvPr>
          <p:cNvSpPr>
            <a:spLocks noGrp="1"/>
          </p:cNvSpPr>
          <p:nvPr>
            <p:ph type="body" sz="quarter" idx="39"/>
          </p:nvPr>
        </p:nvSpPr>
        <p:spPr>
          <a:xfrm>
            <a:off x="4302082" y="3931927"/>
            <a:ext cx="1620000" cy="510440"/>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noProof="0"/>
              <a:t>Klik for at redigere teksttypografierne i masteren</a:t>
            </a:r>
          </a:p>
        </p:txBody>
      </p:sp>
      <p:sp>
        <p:nvSpPr>
          <p:cNvPr id="25" name="Pladsholder til tekst 3">
            <a:extLst>
              <a:ext uri="{FF2B5EF4-FFF2-40B4-BE49-F238E27FC236}">
                <a16:creationId xmlns:a16="http://schemas.microsoft.com/office/drawing/2014/main" id="{844B268E-5C54-1D96-9E0F-4846C40ACE78}"/>
              </a:ext>
            </a:extLst>
          </p:cNvPr>
          <p:cNvSpPr>
            <a:spLocks noGrp="1"/>
          </p:cNvSpPr>
          <p:nvPr>
            <p:ph type="body" sz="quarter" idx="40" hasCustomPrompt="1"/>
          </p:nvPr>
        </p:nvSpPr>
        <p:spPr>
          <a:xfrm>
            <a:off x="4302082" y="3733055"/>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Efternavn</a:t>
            </a:r>
          </a:p>
        </p:txBody>
      </p:sp>
      <p:sp>
        <p:nvSpPr>
          <p:cNvPr id="26" name="Titel 1">
            <a:extLst>
              <a:ext uri="{FF2B5EF4-FFF2-40B4-BE49-F238E27FC236}">
                <a16:creationId xmlns:a16="http://schemas.microsoft.com/office/drawing/2014/main" id="{5354E46A-4252-9BFC-BE9A-10E1E4D81696}"/>
              </a:ext>
            </a:extLst>
          </p:cNvPr>
          <p:cNvSpPr>
            <a:spLocks noGrp="1"/>
          </p:cNvSpPr>
          <p:nvPr>
            <p:ph type="title"/>
          </p:nvPr>
        </p:nvSpPr>
        <p:spPr>
          <a:xfrm>
            <a:off x="468313" y="555625"/>
            <a:ext cx="3959671" cy="647973"/>
          </a:xfrm>
        </p:spPr>
        <p:txBody>
          <a:bodyPr/>
          <a:lstStyle/>
          <a:p>
            <a:r>
              <a:rPr lang="da-DK"/>
              <a:t>Klik for at redigere titeltypografien i masteren</a:t>
            </a:r>
            <a:endParaRPr lang="en-GB"/>
          </a:p>
        </p:txBody>
      </p:sp>
      <p:sp>
        <p:nvSpPr>
          <p:cNvPr id="27" name="Pladsholder til tekst 5">
            <a:extLst>
              <a:ext uri="{FF2B5EF4-FFF2-40B4-BE49-F238E27FC236}">
                <a16:creationId xmlns:a16="http://schemas.microsoft.com/office/drawing/2014/main" id="{1EEEA10E-A59B-6FE7-6108-B556F083760E}"/>
              </a:ext>
            </a:extLst>
          </p:cNvPr>
          <p:cNvSpPr>
            <a:spLocks noGrp="1"/>
          </p:cNvSpPr>
          <p:nvPr>
            <p:ph type="body" sz="quarter" idx="11"/>
          </p:nvPr>
        </p:nvSpPr>
        <p:spPr>
          <a:xfrm>
            <a:off x="468313" y="339726"/>
            <a:ext cx="4103687" cy="144462"/>
          </a:xfrm>
        </p:spPr>
        <p:txBody>
          <a:bodyPr vert="horz" lIns="14400" tIns="0" rIns="0" bIns="0" rtlCol="0">
            <a:noAutofit/>
          </a:bodyPr>
          <a:lstStyle>
            <a:lvl1pPr marL="0" indent="0">
              <a:buNone/>
              <a:defRPr lang="en-GB" sz="1000" cap="all" dirty="0">
                <a:solidFill>
                  <a:srgbClr val="878787"/>
                </a:solidFill>
                <a:latin typeface="Neue Haas Grotesk Text Pro" panose="020B0504020202020204" pitchFamily="34" charset="77"/>
              </a:defRPr>
            </a:lvl1pPr>
          </a:lstStyle>
          <a:p>
            <a:pPr marL="171450" lvl="0" indent="-171450"/>
            <a:r>
              <a:rPr lang="da-DK"/>
              <a:t>Klik for at redigere teksttypografierne i masteren</a:t>
            </a:r>
          </a:p>
        </p:txBody>
      </p:sp>
      <p:sp>
        <p:nvSpPr>
          <p:cNvPr id="28" name="Pladsholder til billede 5">
            <a:extLst>
              <a:ext uri="{FF2B5EF4-FFF2-40B4-BE49-F238E27FC236}">
                <a16:creationId xmlns:a16="http://schemas.microsoft.com/office/drawing/2014/main" id="{4F334368-B4FB-366D-C197-0AFE0188E0C7}"/>
              </a:ext>
            </a:extLst>
          </p:cNvPr>
          <p:cNvSpPr>
            <a:spLocks noGrp="1" noChangeAspect="1"/>
          </p:cNvSpPr>
          <p:nvPr>
            <p:ph type="pic" sz="quarter" idx="41"/>
          </p:nvPr>
        </p:nvSpPr>
        <p:spPr>
          <a:xfrm>
            <a:off x="6026395" y="1428854"/>
            <a:ext cx="864096" cy="864096"/>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noProof="0"/>
              <a:t>Klik på ikonet for at tilføje et billede</a:t>
            </a:r>
          </a:p>
        </p:txBody>
      </p:sp>
      <p:sp>
        <p:nvSpPr>
          <p:cNvPr id="29" name="Pladsholder til tekst 3">
            <a:extLst>
              <a:ext uri="{FF2B5EF4-FFF2-40B4-BE49-F238E27FC236}">
                <a16:creationId xmlns:a16="http://schemas.microsoft.com/office/drawing/2014/main" id="{2A89F82F-FD02-E57B-A2C2-183DF290799A}"/>
              </a:ext>
            </a:extLst>
          </p:cNvPr>
          <p:cNvSpPr>
            <a:spLocks noGrp="1"/>
          </p:cNvSpPr>
          <p:nvPr>
            <p:ph type="body" sz="quarter" idx="42" hasCustomPrompt="1"/>
          </p:nvPr>
        </p:nvSpPr>
        <p:spPr>
          <a:xfrm>
            <a:off x="7047120" y="1434956"/>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Fornavn</a:t>
            </a:r>
          </a:p>
        </p:txBody>
      </p:sp>
      <p:sp>
        <p:nvSpPr>
          <p:cNvPr id="30" name="Pladsholder til tekst 3">
            <a:extLst>
              <a:ext uri="{FF2B5EF4-FFF2-40B4-BE49-F238E27FC236}">
                <a16:creationId xmlns:a16="http://schemas.microsoft.com/office/drawing/2014/main" id="{7A7673EC-7F6C-45C2-9BBB-955450D5C618}"/>
              </a:ext>
            </a:extLst>
          </p:cNvPr>
          <p:cNvSpPr>
            <a:spLocks noGrp="1"/>
          </p:cNvSpPr>
          <p:nvPr>
            <p:ph type="body" sz="quarter" idx="43"/>
          </p:nvPr>
        </p:nvSpPr>
        <p:spPr>
          <a:xfrm>
            <a:off x="7047120" y="1782511"/>
            <a:ext cx="1620000" cy="510440"/>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noProof="0"/>
              <a:t>Klik for at redigere teksttypografierne i masteren</a:t>
            </a:r>
          </a:p>
        </p:txBody>
      </p:sp>
      <p:sp>
        <p:nvSpPr>
          <p:cNvPr id="31" name="Pladsholder til tekst 3">
            <a:extLst>
              <a:ext uri="{FF2B5EF4-FFF2-40B4-BE49-F238E27FC236}">
                <a16:creationId xmlns:a16="http://schemas.microsoft.com/office/drawing/2014/main" id="{2A71BA22-2D8C-6DD3-B2ED-12B1D692E1DF}"/>
              </a:ext>
            </a:extLst>
          </p:cNvPr>
          <p:cNvSpPr>
            <a:spLocks noGrp="1"/>
          </p:cNvSpPr>
          <p:nvPr>
            <p:ph type="body" sz="quarter" idx="44" hasCustomPrompt="1"/>
          </p:nvPr>
        </p:nvSpPr>
        <p:spPr>
          <a:xfrm>
            <a:off x="7047120" y="1583639"/>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Efternavn</a:t>
            </a:r>
          </a:p>
        </p:txBody>
      </p:sp>
      <p:sp>
        <p:nvSpPr>
          <p:cNvPr id="32" name="Pladsholder til billede 5">
            <a:extLst>
              <a:ext uri="{FF2B5EF4-FFF2-40B4-BE49-F238E27FC236}">
                <a16:creationId xmlns:a16="http://schemas.microsoft.com/office/drawing/2014/main" id="{63147FEA-D1DF-4D4B-33F3-6AF054BD5C7A}"/>
              </a:ext>
            </a:extLst>
          </p:cNvPr>
          <p:cNvSpPr>
            <a:spLocks noGrp="1" noChangeAspect="1"/>
          </p:cNvSpPr>
          <p:nvPr>
            <p:ph type="pic" sz="quarter" idx="45"/>
          </p:nvPr>
        </p:nvSpPr>
        <p:spPr>
          <a:xfrm>
            <a:off x="6026395" y="2506613"/>
            <a:ext cx="864096" cy="864096"/>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noProof="0"/>
              <a:t>Klik på ikonet for at tilføje et billede</a:t>
            </a:r>
          </a:p>
        </p:txBody>
      </p:sp>
      <p:sp>
        <p:nvSpPr>
          <p:cNvPr id="33" name="Pladsholder til tekst 3">
            <a:extLst>
              <a:ext uri="{FF2B5EF4-FFF2-40B4-BE49-F238E27FC236}">
                <a16:creationId xmlns:a16="http://schemas.microsoft.com/office/drawing/2014/main" id="{C778F24C-14A2-EF02-D8D0-2C912180E537}"/>
              </a:ext>
            </a:extLst>
          </p:cNvPr>
          <p:cNvSpPr>
            <a:spLocks noGrp="1"/>
          </p:cNvSpPr>
          <p:nvPr>
            <p:ph type="body" sz="quarter" idx="46" hasCustomPrompt="1"/>
          </p:nvPr>
        </p:nvSpPr>
        <p:spPr>
          <a:xfrm>
            <a:off x="7047120" y="2512715"/>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Fornavn</a:t>
            </a:r>
          </a:p>
        </p:txBody>
      </p:sp>
      <p:sp>
        <p:nvSpPr>
          <p:cNvPr id="34" name="Pladsholder til tekst 3">
            <a:extLst>
              <a:ext uri="{FF2B5EF4-FFF2-40B4-BE49-F238E27FC236}">
                <a16:creationId xmlns:a16="http://schemas.microsoft.com/office/drawing/2014/main" id="{F78C7943-8667-B79B-BB41-F963B5F39165}"/>
              </a:ext>
            </a:extLst>
          </p:cNvPr>
          <p:cNvSpPr>
            <a:spLocks noGrp="1"/>
          </p:cNvSpPr>
          <p:nvPr>
            <p:ph type="body" sz="quarter" idx="47"/>
          </p:nvPr>
        </p:nvSpPr>
        <p:spPr>
          <a:xfrm>
            <a:off x="7047120" y="2860270"/>
            <a:ext cx="1620000" cy="510440"/>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noProof="0"/>
              <a:t>Klik for at redigere teksttypografierne i masteren</a:t>
            </a:r>
          </a:p>
        </p:txBody>
      </p:sp>
      <p:sp>
        <p:nvSpPr>
          <p:cNvPr id="35" name="Pladsholder til tekst 3">
            <a:extLst>
              <a:ext uri="{FF2B5EF4-FFF2-40B4-BE49-F238E27FC236}">
                <a16:creationId xmlns:a16="http://schemas.microsoft.com/office/drawing/2014/main" id="{98D3940C-FDB8-B41E-1CB1-210990DB89AF}"/>
              </a:ext>
            </a:extLst>
          </p:cNvPr>
          <p:cNvSpPr>
            <a:spLocks noGrp="1"/>
          </p:cNvSpPr>
          <p:nvPr>
            <p:ph type="body" sz="quarter" idx="48" hasCustomPrompt="1"/>
          </p:nvPr>
        </p:nvSpPr>
        <p:spPr>
          <a:xfrm>
            <a:off x="7047120" y="2661398"/>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Efternavn</a:t>
            </a:r>
          </a:p>
        </p:txBody>
      </p:sp>
      <p:sp>
        <p:nvSpPr>
          <p:cNvPr id="36" name="Pladsholder til billede 5">
            <a:extLst>
              <a:ext uri="{FF2B5EF4-FFF2-40B4-BE49-F238E27FC236}">
                <a16:creationId xmlns:a16="http://schemas.microsoft.com/office/drawing/2014/main" id="{C1F975EA-62DA-6ADC-A974-9DC1CCA65B03}"/>
              </a:ext>
            </a:extLst>
          </p:cNvPr>
          <p:cNvSpPr>
            <a:spLocks noGrp="1" noChangeAspect="1"/>
          </p:cNvSpPr>
          <p:nvPr>
            <p:ph type="pic" sz="quarter" idx="49"/>
          </p:nvPr>
        </p:nvSpPr>
        <p:spPr>
          <a:xfrm>
            <a:off x="6026395" y="3578270"/>
            <a:ext cx="864096" cy="864096"/>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noProof="0"/>
              <a:t>Klik på ikonet for at tilføje et billede</a:t>
            </a:r>
          </a:p>
        </p:txBody>
      </p:sp>
      <p:sp>
        <p:nvSpPr>
          <p:cNvPr id="37" name="Pladsholder til tekst 3">
            <a:extLst>
              <a:ext uri="{FF2B5EF4-FFF2-40B4-BE49-F238E27FC236}">
                <a16:creationId xmlns:a16="http://schemas.microsoft.com/office/drawing/2014/main" id="{FC5763B6-541B-41E9-C28D-2CF0111C5D11}"/>
              </a:ext>
            </a:extLst>
          </p:cNvPr>
          <p:cNvSpPr>
            <a:spLocks noGrp="1"/>
          </p:cNvSpPr>
          <p:nvPr>
            <p:ph type="body" sz="quarter" idx="50" hasCustomPrompt="1"/>
          </p:nvPr>
        </p:nvSpPr>
        <p:spPr>
          <a:xfrm>
            <a:off x="7047120" y="3584372"/>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Fornavn</a:t>
            </a:r>
          </a:p>
        </p:txBody>
      </p:sp>
      <p:sp>
        <p:nvSpPr>
          <p:cNvPr id="38" name="Pladsholder til tekst 3">
            <a:extLst>
              <a:ext uri="{FF2B5EF4-FFF2-40B4-BE49-F238E27FC236}">
                <a16:creationId xmlns:a16="http://schemas.microsoft.com/office/drawing/2014/main" id="{1A59A722-1EBD-8D21-498C-DDA42022CAE7}"/>
              </a:ext>
            </a:extLst>
          </p:cNvPr>
          <p:cNvSpPr>
            <a:spLocks noGrp="1"/>
          </p:cNvSpPr>
          <p:nvPr>
            <p:ph type="body" sz="quarter" idx="51"/>
          </p:nvPr>
        </p:nvSpPr>
        <p:spPr>
          <a:xfrm>
            <a:off x="7047120" y="3931927"/>
            <a:ext cx="1620000" cy="510440"/>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noProof="0"/>
              <a:t>Klik for at redigere teksttypografierne i masteren</a:t>
            </a:r>
          </a:p>
        </p:txBody>
      </p:sp>
      <p:sp>
        <p:nvSpPr>
          <p:cNvPr id="39" name="Pladsholder til tekst 3">
            <a:extLst>
              <a:ext uri="{FF2B5EF4-FFF2-40B4-BE49-F238E27FC236}">
                <a16:creationId xmlns:a16="http://schemas.microsoft.com/office/drawing/2014/main" id="{480696B4-4016-3B87-6CF1-A9852DE47102}"/>
              </a:ext>
            </a:extLst>
          </p:cNvPr>
          <p:cNvSpPr>
            <a:spLocks noGrp="1"/>
          </p:cNvSpPr>
          <p:nvPr>
            <p:ph type="body" sz="quarter" idx="52" hasCustomPrompt="1"/>
          </p:nvPr>
        </p:nvSpPr>
        <p:spPr>
          <a:xfrm>
            <a:off x="7047120" y="3733055"/>
            <a:ext cx="1620000" cy="144413"/>
          </a:xfrm>
        </p:spPr>
        <p:txBody>
          <a:bodyPr rIns="0" anchor="t"/>
          <a:lstStyle>
            <a:lvl1pPr marL="0" indent="0" algn="l">
              <a:buNone/>
              <a:defRPr sz="1100" b="1" i="0" kern="0" baseline="0">
                <a:solidFill>
                  <a:schemeClr val="tx1"/>
                </a:solidFill>
                <a:latin typeface="Neue Haas Grotesk Text Pro" panose="020B0504020202020204" pitchFamily="34" charset="77"/>
              </a:defRPr>
            </a:lvl1pPr>
          </a:lstStyle>
          <a:p>
            <a:pPr lvl="0"/>
            <a:r>
              <a:rPr lang="da-DK" noProof="0"/>
              <a:t>Efternavn</a:t>
            </a:r>
          </a:p>
        </p:txBody>
      </p:sp>
    </p:spTree>
    <p:extLst>
      <p:ext uri="{BB962C8B-B14F-4D97-AF65-F5344CB8AC3E}">
        <p14:creationId xmlns:p14="http://schemas.microsoft.com/office/powerpoint/2010/main" val="22021246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MitID Erhverv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4" name="Picture 3">
            <a:extLst>
              <a:ext uri="{FF2B5EF4-FFF2-40B4-BE49-F238E27FC236}">
                <a16:creationId xmlns:a16="http://schemas.microsoft.com/office/drawing/2014/main" id="{F59C0FE2-C77D-F582-2D59-9DC1D8EBEC0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5001" y="207901"/>
            <a:ext cx="2150000" cy="307142"/>
          </a:xfrm>
          <a:prstGeom prst="rect">
            <a:avLst/>
          </a:prstGeom>
        </p:spPr>
      </p:pic>
      <p:sp>
        <p:nvSpPr>
          <p:cNvPr id="3" name="TextBox 1">
            <a:extLst>
              <a:ext uri="{FF2B5EF4-FFF2-40B4-BE49-F238E27FC236}">
                <a16:creationId xmlns:a16="http://schemas.microsoft.com/office/drawing/2014/main" id="{9A2FC0E8-C238-D09D-5D75-A3B457FBF307}"/>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4000440097"/>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Nemkonto cover A">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978683" y="387710"/>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6" name="Picture 5" descr="A logo with a crown on it&#10;&#10;Description automatically generated">
            <a:extLst>
              <a:ext uri="{FF2B5EF4-FFF2-40B4-BE49-F238E27FC236}">
                <a16:creationId xmlns:a16="http://schemas.microsoft.com/office/drawing/2014/main" id="{3C0DD04C-FDC6-ECF8-36D2-1F0874E8C86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5000" y="207900"/>
            <a:ext cx="2150000" cy="307143"/>
          </a:xfrm>
          <a:prstGeom prst="rect">
            <a:avLst/>
          </a:prstGeom>
        </p:spPr>
      </p:pic>
      <p:sp>
        <p:nvSpPr>
          <p:cNvPr id="3" name="TextBox 1">
            <a:extLst>
              <a:ext uri="{FF2B5EF4-FFF2-40B4-BE49-F238E27FC236}">
                <a16:creationId xmlns:a16="http://schemas.microsoft.com/office/drawing/2014/main" id="{9091ED0A-7381-040A-27F5-7FE3C4E155CD}"/>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3522534359"/>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Nemkonto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3" name="Picture 2">
            <a:extLst>
              <a:ext uri="{FF2B5EF4-FFF2-40B4-BE49-F238E27FC236}">
                <a16:creationId xmlns:a16="http://schemas.microsoft.com/office/drawing/2014/main" id="{148FF818-ED63-1988-B443-DC23A878F6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5000" y="207901"/>
            <a:ext cx="2150000" cy="307142"/>
          </a:xfrm>
          <a:prstGeom prst="rect">
            <a:avLst/>
          </a:prstGeom>
        </p:spPr>
      </p:pic>
      <p:sp>
        <p:nvSpPr>
          <p:cNvPr id="4" name="TextBox 1">
            <a:extLst>
              <a:ext uri="{FF2B5EF4-FFF2-40B4-BE49-F238E27FC236}">
                <a16:creationId xmlns:a16="http://schemas.microsoft.com/office/drawing/2014/main" id="{889FC669-94C0-1C86-1DA1-A298AA8E396C}"/>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3214618177"/>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NemLog-in cover A">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6" name="Picture 5" descr="A black background with purple text&#10;&#10;Description automatically generated">
            <a:extLst>
              <a:ext uri="{FF2B5EF4-FFF2-40B4-BE49-F238E27FC236}">
                <a16:creationId xmlns:a16="http://schemas.microsoft.com/office/drawing/2014/main" id="{E2E035C2-1559-7C0B-51B6-D2844FB8ABEF}"/>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b="5300"/>
          <a:stretch/>
        </p:blipFill>
        <p:spPr>
          <a:xfrm>
            <a:off x="405000" y="207900"/>
            <a:ext cx="2150000" cy="290864"/>
          </a:xfrm>
          <a:prstGeom prst="rect">
            <a:avLst/>
          </a:prstGeom>
        </p:spPr>
      </p:pic>
      <p:sp>
        <p:nvSpPr>
          <p:cNvPr id="3" name="TextBox 1">
            <a:extLst>
              <a:ext uri="{FF2B5EF4-FFF2-40B4-BE49-F238E27FC236}">
                <a16:creationId xmlns:a16="http://schemas.microsoft.com/office/drawing/2014/main" id="{56BFAB81-170D-8268-37A8-8C5036AEC405}"/>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3775607268"/>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NemLog-in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4" name="Picture 3">
            <a:extLst>
              <a:ext uri="{FF2B5EF4-FFF2-40B4-BE49-F238E27FC236}">
                <a16:creationId xmlns:a16="http://schemas.microsoft.com/office/drawing/2014/main" id="{C465B008-198D-4F8C-8187-8BB55A2A9865}"/>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5000" y="207901"/>
            <a:ext cx="2150000" cy="307142"/>
          </a:xfrm>
          <a:prstGeom prst="rect">
            <a:avLst/>
          </a:prstGeom>
        </p:spPr>
      </p:pic>
      <p:sp>
        <p:nvSpPr>
          <p:cNvPr id="3" name="TextBox 1">
            <a:extLst>
              <a:ext uri="{FF2B5EF4-FFF2-40B4-BE49-F238E27FC236}">
                <a16:creationId xmlns:a16="http://schemas.microsoft.com/office/drawing/2014/main" id="{B5068DCF-317C-6F8A-6998-D19705121BCE}"/>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966019650"/>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ikkerdigital cover A">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4" name="Picture 3" descr="A logo with a crown on it&#10;&#10;Description automatically generated">
            <a:extLst>
              <a:ext uri="{FF2B5EF4-FFF2-40B4-BE49-F238E27FC236}">
                <a16:creationId xmlns:a16="http://schemas.microsoft.com/office/drawing/2014/main" id="{A21B514E-3A5C-F020-F1CE-29A71CBECF1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5001" y="207900"/>
            <a:ext cx="2150000" cy="307143"/>
          </a:xfrm>
          <a:prstGeom prst="rect">
            <a:avLst/>
          </a:prstGeom>
        </p:spPr>
      </p:pic>
      <p:sp>
        <p:nvSpPr>
          <p:cNvPr id="3" name="TextBox 1">
            <a:extLst>
              <a:ext uri="{FF2B5EF4-FFF2-40B4-BE49-F238E27FC236}">
                <a16:creationId xmlns:a16="http://schemas.microsoft.com/office/drawing/2014/main" id="{A39681EE-1004-00C0-869F-BAE156E56FAA}"/>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744246704"/>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ikkerdigital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pic>
        <p:nvPicPr>
          <p:cNvPr id="11" name="Picture 10">
            <a:extLst>
              <a:ext uri="{FF2B5EF4-FFF2-40B4-BE49-F238E27FC236}">
                <a16:creationId xmlns:a16="http://schemas.microsoft.com/office/drawing/2014/main" id="{2F5CF440-4268-2D3A-7B7C-350EFD4B940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5001" y="207901"/>
            <a:ext cx="2150000" cy="307142"/>
          </a:xfrm>
          <a:prstGeom prst="rect">
            <a:avLst/>
          </a:prstGeom>
        </p:spPr>
      </p:pic>
      <p:sp>
        <p:nvSpPr>
          <p:cNvPr id="3" name="TextBox 1">
            <a:extLst>
              <a:ext uri="{FF2B5EF4-FFF2-40B4-BE49-F238E27FC236}">
                <a16:creationId xmlns:a16="http://schemas.microsoft.com/office/drawing/2014/main" id="{40167067-95C6-EAA2-5269-633398F09F96}"/>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a:t>Skift til andet Subbrand: Klik på Layout-knappen i topbåndet, Klik på andet Subbrand Cover-layout.</a:t>
            </a:r>
          </a:p>
        </p:txBody>
      </p:sp>
    </p:spTree>
    <p:extLst>
      <p:ext uri="{BB962C8B-B14F-4D97-AF65-F5344CB8AC3E}">
        <p14:creationId xmlns:p14="http://schemas.microsoft.com/office/powerpoint/2010/main" val="484235996"/>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CD22E9-9AE9-424B-A7A1-AFD0F990FCCC}"/>
              </a:ext>
            </a:extLst>
          </p:cNvPr>
          <p:cNvSpPr>
            <a:spLocks noGrp="1"/>
          </p:cNvSpPr>
          <p:nvPr>
            <p:ph type="title" hasCustomPrompt="1"/>
          </p:nvPr>
        </p:nvSpPr>
        <p:spPr>
          <a:xfrm>
            <a:off x="405000" y="675000"/>
            <a:ext cx="4099135" cy="621000"/>
          </a:xfrm>
        </p:spPr>
        <p:txBody>
          <a:bodyPr/>
          <a:lstStyle>
            <a:lvl1pPr>
              <a:defRPr/>
            </a:lvl1pPr>
          </a:lstStyle>
          <a:p>
            <a:r>
              <a:rPr lang="da-DK"/>
              <a:t>Klik for at tilføje agenda titel</a:t>
            </a:r>
          </a:p>
        </p:txBody>
      </p:sp>
      <p:sp>
        <p:nvSpPr>
          <p:cNvPr id="7" name="Text Placeholder 2"/>
          <p:cNvSpPr>
            <a:spLocks noGrp="1"/>
          </p:cNvSpPr>
          <p:nvPr>
            <p:ph type="body" sz="quarter" idx="13" hasCustomPrompt="1"/>
          </p:nvPr>
        </p:nvSpPr>
        <p:spPr>
          <a:xfrm>
            <a:off x="405000" y="1431000"/>
            <a:ext cx="4099135" cy="3172500"/>
          </a:xfrm>
        </p:spPr>
        <p:txBody>
          <a:bodyPr/>
          <a:lstStyle>
            <a:lvl1pPr marL="135000" indent="-135000">
              <a:spcAft>
                <a:spcPts val="900"/>
              </a:spcAft>
              <a:buFont typeface="Arial" panose="020B0604020202020204" pitchFamily="34" charset="0"/>
              <a:buChar char="•"/>
              <a:defRPr b="0">
                <a:latin typeface="+mn-lt"/>
              </a:defRPr>
            </a:lvl1pPr>
            <a:lvl2pPr marL="135000" indent="-135000">
              <a:spcBef>
                <a:spcPts val="0"/>
              </a:spcBef>
              <a:spcAft>
                <a:spcPts val="900"/>
              </a:spcAft>
              <a:buFont typeface="Arial" panose="020B0604020202020204" pitchFamily="34" charset="0"/>
              <a:buChar char="•"/>
              <a:defRPr sz="1200" b="0">
                <a:latin typeface="+mn-lt"/>
              </a:defRPr>
            </a:lvl2pPr>
            <a:lvl3pPr marL="135000" indent="-135000">
              <a:spcBef>
                <a:spcPts val="0"/>
              </a:spcBef>
              <a:spcAft>
                <a:spcPts val="900"/>
              </a:spcAft>
              <a:buFont typeface="Arial" panose="020B0604020202020204" pitchFamily="34" charset="0"/>
              <a:buChar char="•"/>
              <a:defRPr sz="1200" b="0">
                <a:latin typeface="+mn-lt"/>
              </a:defRPr>
            </a:lvl3pPr>
            <a:lvl4pPr marL="135000" indent="-135000">
              <a:spcBef>
                <a:spcPts val="0"/>
              </a:spcBef>
              <a:spcAft>
                <a:spcPts val="900"/>
              </a:spcAft>
              <a:buFont typeface="Arial" panose="020B0604020202020204" pitchFamily="34" charset="0"/>
              <a:buChar char="•"/>
              <a:defRPr sz="1200" b="0">
                <a:latin typeface="+mn-lt"/>
              </a:defRPr>
            </a:lvl4pPr>
            <a:lvl5pPr marL="135000" indent="-135000">
              <a:spcBef>
                <a:spcPts val="0"/>
              </a:spcBef>
              <a:spcAft>
                <a:spcPts val="900"/>
              </a:spcAft>
              <a:buFont typeface="Arial" panose="020B0604020202020204" pitchFamily="34" charset="0"/>
              <a:buChar char="•"/>
              <a:defRPr sz="1200" b="0">
                <a:latin typeface="+mn-lt"/>
              </a:defRPr>
            </a:lvl5pPr>
            <a:lvl6pPr marL="135000" indent="-135000">
              <a:spcBef>
                <a:spcPts val="0"/>
              </a:spcBef>
              <a:spcAft>
                <a:spcPts val="900"/>
              </a:spcAft>
              <a:buFont typeface="Arial" panose="020B0604020202020204" pitchFamily="34" charset="0"/>
              <a:buChar char="•"/>
              <a:defRPr sz="1200" b="0">
                <a:latin typeface="+mn-lt"/>
              </a:defRPr>
            </a:lvl6pPr>
            <a:lvl7pPr marL="135000" indent="-135000">
              <a:spcBef>
                <a:spcPts val="0"/>
              </a:spcBef>
              <a:spcAft>
                <a:spcPts val="900"/>
              </a:spcAft>
              <a:buFont typeface="Arial" panose="020B0604020202020204" pitchFamily="34" charset="0"/>
              <a:buChar char="•"/>
              <a:defRPr sz="1200" b="0">
                <a:latin typeface="+mn-lt"/>
              </a:defRPr>
            </a:lvl7pPr>
            <a:lvl8pPr marL="135000" indent="-135000">
              <a:spcBef>
                <a:spcPts val="0"/>
              </a:spcBef>
              <a:spcAft>
                <a:spcPts val="900"/>
              </a:spcAft>
              <a:buFont typeface="Arial" panose="020B0604020202020204" pitchFamily="34" charset="0"/>
              <a:buChar char="•"/>
              <a:defRPr sz="1200" b="0">
                <a:latin typeface="+mn-lt"/>
              </a:defRPr>
            </a:lvl8pPr>
            <a:lvl9pPr marL="135000" indent="-135000">
              <a:spcBef>
                <a:spcPts val="0"/>
              </a:spcBef>
              <a:spcAft>
                <a:spcPts val="900"/>
              </a:spcAft>
              <a:buFont typeface="Arial" panose="020B0604020202020204" pitchFamily="34" charset="0"/>
              <a:buChar char="•"/>
              <a:defRPr sz="1200" b="0">
                <a:latin typeface="+mn-lt"/>
              </a:defRPr>
            </a:lvl9pPr>
          </a:lstStyle>
          <a:p>
            <a:pPr lvl="0"/>
            <a:r>
              <a:rPr lang="da-DK" noProof="0"/>
              <a:t>Klik for at tilføje agendapunkt</a:t>
            </a:r>
          </a:p>
          <a:p>
            <a:pPr lvl="1"/>
            <a:r>
              <a:rPr lang="da-DK" noProof="0"/>
              <a:t>Anden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16" name="Pladsholder til dato 15">
            <a:extLst>
              <a:ext uri="{FF2B5EF4-FFF2-40B4-BE49-F238E27FC236}">
                <a16:creationId xmlns:a16="http://schemas.microsoft.com/office/drawing/2014/main" id="{07B7D8D3-77D2-E785-81E3-AB119F5B3A7C}"/>
              </a:ext>
            </a:extLst>
          </p:cNvPr>
          <p:cNvSpPr>
            <a:spLocks noGrp="1"/>
          </p:cNvSpPr>
          <p:nvPr>
            <p:ph type="dt" sz="half" idx="19"/>
          </p:nvPr>
        </p:nvSpPr>
        <p:spPr/>
        <p:txBody>
          <a:bodyPr/>
          <a:lstStyle/>
          <a:p>
            <a:fld id="{61BEDC24-6319-4BBB-9782-63587D1632F0}" type="datetime2">
              <a:rPr lang="da-DK" smtClean="0"/>
              <a:t>11. december 2025</a:t>
            </a:fld>
            <a:endParaRPr lang="da-DK"/>
          </a:p>
        </p:txBody>
      </p:sp>
      <p:sp>
        <p:nvSpPr>
          <p:cNvPr id="17" name="Pladsholder til sidefod 16">
            <a:extLst>
              <a:ext uri="{FF2B5EF4-FFF2-40B4-BE49-F238E27FC236}">
                <a16:creationId xmlns:a16="http://schemas.microsoft.com/office/drawing/2014/main" id="{19E82096-1CE6-E092-C8ED-9A675CC7FFC6}"/>
              </a:ext>
            </a:extLst>
          </p:cNvPr>
          <p:cNvSpPr>
            <a:spLocks noGrp="1"/>
          </p:cNvSpPr>
          <p:nvPr>
            <p:ph type="ftr" sz="quarter" idx="20"/>
          </p:nvPr>
        </p:nvSpPr>
        <p:spPr/>
        <p:txBody>
          <a:bodyPr/>
          <a:lstStyle/>
          <a:p>
            <a:r>
              <a:rPr lang="da-DK"/>
              <a:t>Digitaliseringsstyrelsen</a:t>
            </a:r>
          </a:p>
        </p:txBody>
      </p:sp>
      <p:sp>
        <p:nvSpPr>
          <p:cNvPr id="18" name="Pladsholder til slidenummer 17">
            <a:extLst>
              <a:ext uri="{FF2B5EF4-FFF2-40B4-BE49-F238E27FC236}">
                <a16:creationId xmlns:a16="http://schemas.microsoft.com/office/drawing/2014/main" id="{385BC0ED-51CA-C2C1-3A79-5B97AB7EB508}"/>
              </a:ext>
            </a:extLst>
          </p:cNvPr>
          <p:cNvSpPr>
            <a:spLocks noGrp="1"/>
          </p:cNvSpPr>
          <p:nvPr>
            <p:ph type="sldNum" sz="quarter" idx="21"/>
          </p:nvPr>
        </p:nvSpPr>
        <p:spPr/>
        <p:txBody>
          <a:bodyPr/>
          <a:lstStyle/>
          <a:p>
            <a:fld id="{24C8C45C-947F-4981-8B3F-4F32E973C901}" type="slidenum">
              <a:rPr lang="da-DK" smtClean="0"/>
              <a:pPr/>
              <a:t>‹nr.›</a:t>
            </a:fld>
            <a:endParaRPr lang="da-DK"/>
          </a:p>
        </p:txBody>
      </p:sp>
      <p:sp>
        <p:nvSpPr>
          <p:cNvPr id="5" name="Mikro grafik 1">
            <a:extLst>
              <a:ext uri="{FF2B5EF4-FFF2-40B4-BE49-F238E27FC236}">
                <a16:creationId xmlns:a16="http://schemas.microsoft.com/office/drawing/2014/main" id="{B7391C28-918F-1989-0558-6E9FBDFF6FEF}"/>
              </a:ext>
            </a:extLst>
          </p:cNvPr>
          <p:cNvSpPr/>
          <p:nvPr userDrawn="1"/>
        </p:nvSpPr>
        <p:spPr>
          <a:xfrm>
            <a:off x="4816131" y="575232"/>
            <a:ext cx="4124069" cy="3344379"/>
          </a:xfrm>
          <a:custGeom>
            <a:avLst/>
            <a:gdLst>
              <a:gd name="connsiteX0" fmla="*/ 6423906 w 9114518"/>
              <a:gd name="connsiteY0" fmla="*/ 7111086 h 7391342"/>
              <a:gd name="connsiteX1" fmla="*/ 6633262 w 9114518"/>
              <a:gd name="connsiteY1" fmla="*/ 7111086 h 7391342"/>
              <a:gd name="connsiteX2" fmla="*/ 6633262 w 9114518"/>
              <a:gd name="connsiteY2" fmla="*/ 7286668 h 7391342"/>
              <a:gd name="connsiteX3" fmla="*/ 6423906 w 9114518"/>
              <a:gd name="connsiteY3" fmla="*/ 7286668 h 7391342"/>
              <a:gd name="connsiteX4" fmla="*/ 3371709 w 9114518"/>
              <a:gd name="connsiteY4" fmla="*/ 6959141 h 7391342"/>
              <a:gd name="connsiteX5" fmla="*/ 4286770 w 9114518"/>
              <a:gd name="connsiteY5" fmla="*/ 6959141 h 7391342"/>
              <a:gd name="connsiteX6" fmla="*/ 4286770 w 9114518"/>
              <a:gd name="connsiteY6" fmla="*/ 7067193 h 7391342"/>
              <a:gd name="connsiteX7" fmla="*/ 3371709 w 9114518"/>
              <a:gd name="connsiteY7" fmla="*/ 7067193 h 7391342"/>
              <a:gd name="connsiteX8" fmla="*/ 3371709 w 9114518"/>
              <a:gd name="connsiteY8" fmla="*/ 6606288 h 7391342"/>
              <a:gd name="connsiteX9" fmla="*/ 4286770 w 9114518"/>
              <a:gd name="connsiteY9" fmla="*/ 6606288 h 7391342"/>
              <a:gd name="connsiteX10" fmla="*/ 4286770 w 9114518"/>
              <a:gd name="connsiteY10" fmla="*/ 6714340 h 7391342"/>
              <a:gd name="connsiteX11" fmla="*/ 3371709 w 9114518"/>
              <a:gd name="connsiteY11" fmla="*/ 6714340 h 7391342"/>
              <a:gd name="connsiteX12" fmla="*/ 5418710 w 9114518"/>
              <a:gd name="connsiteY12" fmla="*/ 6084039 h 7391342"/>
              <a:gd name="connsiteX13" fmla="*/ 5796891 w 9114518"/>
              <a:gd name="connsiteY13" fmla="*/ 6084039 h 7391342"/>
              <a:gd name="connsiteX14" fmla="*/ 5796891 w 9114518"/>
              <a:gd name="connsiteY14" fmla="*/ 6180559 h 7391342"/>
              <a:gd name="connsiteX15" fmla="*/ 5796891 w 9114518"/>
              <a:gd name="connsiteY15" fmla="*/ 7291809 h 7391342"/>
              <a:gd name="connsiteX16" fmla="*/ 5796891 w 9114518"/>
              <a:gd name="connsiteY16" fmla="*/ 7388329 h 7391342"/>
              <a:gd name="connsiteX17" fmla="*/ 5418710 w 9114518"/>
              <a:gd name="connsiteY17" fmla="*/ 7388329 h 7391342"/>
              <a:gd name="connsiteX18" fmla="*/ 5418710 w 9114518"/>
              <a:gd name="connsiteY18" fmla="*/ 7291809 h 7391342"/>
              <a:gd name="connsiteX19" fmla="*/ 5680394 w 9114518"/>
              <a:gd name="connsiteY19" fmla="*/ 7291809 h 7391342"/>
              <a:gd name="connsiteX20" fmla="*/ 5680394 w 9114518"/>
              <a:gd name="connsiteY20" fmla="*/ 6180559 h 7391342"/>
              <a:gd name="connsiteX21" fmla="*/ 5418710 w 9114518"/>
              <a:gd name="connsiteY21" fmla="*/ 6180559 h 7391342"/>
              <a:gd name="connsiteX22" fmla="*/ 4939629 w 9114518"/>
              <a:gd name="connsiteY22" fmla="*/ 6084039 h 7391342"/>
              <a:gd name="connsiteX23" fmla="*/ 5317797 w 9114518"/>
              <a:gd name="connsiteY23" fmla="*/ 6084039 h 7391342"/>
              <a:gd name="connsiteX24" fmla="*/ 5317797 w 9114518"/>
              <a:gd name="connsiteY24" fmla="*/ 6180559 h 7391342"/>
              <a:gd name="connsiteX25" fmla="*/ 5056113 w 9114518"/>
              <a:gd name="connsiteY25" fmla="*/ 6180559 h 7391342"/>
              <a:gd name="connsiteX26" fmla="*/ 5056113 w 9114518"/>
              <a:gd name="connsiteY26" fmla="*/ 7291809 h 7391342"/>
              <a:gd name="connsiteX27" fmla="*/ 5317797 w 9114518"/>
              <a:gd name="connsiteY27" fmla="*/ 7291809 h 7391342"/>
              <a:gd name="connsiteX28" fmla="*/ 5317797 w 9114518"/>
              <a:gd name="connsiteY28" fmla="*/ 7388329 h 7391342"/>
              <a:gd name="connsiteX29" fmla="*/ 4939629 w 9114518"/>
              <a:gd name="connsiteY29" fmla="*/ 7388329 h 7391342"/>
              <a:gd name="connsiteX30" fmla="*/ 4939629 w 9114518"/>
              <a:gd name="connsiteY30" fmla="*/ 7291809 h 7391342"/>
              <a:gd name="connsiteX31" fmla="*/ 4939629 w 9114518"/>
              <a:gd name="connsiteY31" fmla="*/ 6180559 h 7391342"/>
              <a:gd name="connsiteX32" fmla="*/ 8646856 w 9114518"/>
              <a:gd name="connsiteY32" fmla="*/ 6077851 h 7391342"/>
              <a:gd name="connsiteX33" fmla="*/ 8698064 w 9114518"/>
              <a:gd name="connsiteY33" fmla="*/ 6079573 h 7391342"/>
              <a:gd name="connsiteX34" fmla="*/ 8745644 w 9114518"/>
              <a:gd name="connsiteY34" fmla="*/ 6084693 h 7391342"/>
              <a:gd name="connsiteX35" fmla="*/ 8789712 w 9114518"/>
              <a:gd name="connsiteY35" fmla="*/ 6093139 h 7391342"/>
              <a:gd name="connsiteX36" fmla="*/ 8830382 w 9114518"/>
              <a:gd name="connsiteY36" fmla="*/ 6104840 h 7391342"/>
              <a:gd name="connsiteX37" fmla="*/ 8867774 w 9114518"/>
              <a:gd name="connsiteY37" fmla="*/ 6119725 h 7391342"/>
              <a:gd name="connsiteX38" fmla="*/ 8902000 w 9114518"/>
              <a:gd name="connsiteY38" fmla="*/ 6137723 h 7391342"/>
              <a:gd name="connsiteX39" fmla="*/ 8961424 w 9114518"/>
              <a:gd name="connsiteY39" fmla="*/ 6182774 h 7391342"/>
              <a:gd name="connsiteX40" fmla="*/ 9009582 w 9114518"/>
              <a:gd name="connsiteY40" fmla="*/ 6239424 h 7391342"/>
              <a:gd name="connsiteX41" fmla="*/ 9029726 w 9114518"/>
              <a:gd name="connsiteY41" fmla="*/ 6271921 h 7391342"/>
              <a:gd name="connsiteX42" fmla="*/ 9047402 w 9114518"/>
              <a:gd name="connsiteY42" fmla="*/ 6307104 h 7391342"/>
              <a:gd name="connsiteX43" fmla="*/ 9062724 w 9114518"/>
              <a:gd name="connsiteY43" fmla="*/ 6344902 h 7391342"/>
              <a:gd name="connsiteX44" fmla="*/ 9075810 w 9114518"/>
              <a:gd name="connsiteY44" fmla="*/ 6385245 h 7391342"/>
              <a:gd name="connsiteX45" fmla="*/ 9086774 w 9114518"/>
              <a:gd name="connsiteY45" fmla="*/ 6428061 h 7391342"/>
              <a:gd name="connsiteX46" fmla="*/ 9095734 w 9114518"/>
              <a:gd name="connsiteY46" fmla="*/ 6473278 h 7391342"/>
              <a:gd name="connsiteX47" fmla="*/ 9102806 w 9114518"/>
              <a:gd name="connsiteY47" fmla="*/ 6520827 h 7391342"/>
              <a:gd name="connsiteX48" fmla="*/ 9108104 w 9114518"/>
              <a:gd name="connsiteY48" fmla="*/ 6570635 h 7391342"/>
              <a:gd name="connsiteX49" fmla="*/ 9111744 w 9114518"/>
              <a:gd name="connsiteY49" fmla="*/ 6622632 h 7391342"/>
              <a:gd name="connsiteX50" fmla="*/ 9113844 w 9114518"/>
              <a:gd name="connsiteY50" fmla="*/ 6676747 h 7391342"/>
              <a:gd name="connsiteX51" fmla="*/ 9114518 w 9114518"/>
              <a:gd name="connsiteY51" fmla="*/ 6732908 h 7391342"/>
              <a:gd name="connsiteX52" fmla="*/ 9113876 w 9114518"/>
              <a:gd name="connsiteY52" fmla="*/ 6789310 h 7391342"/>
              <a:gd name="connsiteX53" fmla="*/ 9111870 w 9114518"/>
              <a:gd name="connsiteY53" fmla="*/ 6843665 h 7391342"/>
              <a:gd name="connsiteX54" fmla="*/ 9108370 w 9114518"/>
              <a:gd name="connsiteY54" fmla="*/ 6895900 h 7391342"/>
              <a:gd name="connsiteX55" fmla="*/ 9103252 w 9114518"/>
              <a:gd name="connsiteY55" fmla="*/ 6945943 h 7391342"/>
              <a:gd name="connsiteX56" fmla="*/ 9096392 w 9114518"/>
              <a:gd name="connsiteY56" fmla="*/ 6993721 h 7391342"/>
              <a:gd name="connsiteX57" fmla="*/ 9087662 w 9114518"/>
              <a:gd name="connsiteY57" fmla="*/ 7039164 h 7391342"/>
              <a:gd name="connsiteX58" fmla="*/ 9076936 w 9114518"/>
              <a:gd name="connsiteY58" fmla="*/ 7082197 h 7391342"/>
              <a:gd name="connsiteX59" fmla="*/ 9064090 w 9114518"/>
              <a:gd name="connsiteY59" fmla="*/ 7122750 h 7391342"/>
              <a:gd name="connsiteX60" fmla="*/ 9048998 w 9114518"/>
              <a:gd name="connsiteY60" fmla="*/ 7160750 h 7391342"/>
              <a:gd name="connsiteX61" fmla="*/ 9031532 w 9114518"/>
              <a:gd name="connsiteY61" fmla="*/ 7196125 h 7391342"/>
              <a:gd name="connsiteX62" fmla="*/ 9011568 w 9114518"/>
              <a:gd name="connsiteY62" fmla="*/ 7228803 h 7391342"/>
              <a:gd name="connsiteX63" fmla="*/ 8963644 w 9114518"/>
              <a:gd name="connsiteY63" fmla="*/ 7285777 h 7391342"/>
              <a:gd name="connsiteX64" fmla="*/ 8904216 w 9114518"/>
              <a:gd name="connsiteY64" fmla="*/ 7331095 h 7391342"/>
              <a:gd name="connsiteX65" fmla="*/ 8869874 w 9114518"/>
              <a:gd name="connsiteY65" fmla="*/ 7349203 h 7391342"/>
              <a:gd name="connsiteX66" fmla="*/ 8832280 w 9114518"/>
              <a:gd name="connsiteY66" fmla="*/ 7364181 h 7391342"/>
              <a:gd name="connsiteX67" fmla="*/ 8791306 w 9114518"/>
              <a:gd name="connsiteY67" fmla="*/ 7375956 h 7391342"/>
              <a:gd name="connsiteX68" fmla="*/ 8746828 w 9114518"/>
              <a:gd name="connsiteY68" fmla="*/ 7384456 h 7391342"/>
              <a:gd name="connsiteX69" fmla="*/ 8698720 w 9114518"/>
              <a:gd name="connsiteY69" fmla="*/ 7389609 h 7391342"/>
              <a:gd name="connsiteX70" fmla="*/ 8646856 w 9114518"/>
              <a:gd name="connsiteY70" fmla="*/ 7391342 h 7391342"/>
              <a:gd name="connsiteX71" fmla="*/ 8646856 w 9114518"/>
              <a:gd name="connsiteY71" fmla="*/ 7293421 h 7391342"/>
              <a:gd name="connsiteX72" fmla="*/ 8697104 w 9114518"/>
              <a:gd name="connsiteY72" fmla="*/ 7291162 h 7391342"/>
              <a:gd name="connsiteX73" fmla="*/ 8742536 w 9114518"/>
              <a:gd name="connsiteY73" fmla="*/ 7284467 h 7391342"/>
              <a:gd name="connsiteX74" fmla="*/ 8783376 w 9114518"/>
              <a:gd name="connsiteY74" fmla="*/ 7273454 h 7391342"/>
              <a:gd name="connsiteX75" fmla="*/ 8819856 w 9114518"/>
              <a:gd name="connsiteY75" fmla="*/ 7258243 h 7391342"/>
              <a:gd name="connsiteX76" fmla="*/ 8880650 w 9114518"/>
              <a:gd name="connsiteY76" fmla="*/ 7215706 h 7391342"/>
              <a:gd name="connsiteX77" fmla="*/ 8926746 w 9114518"/>
              <a:gd name="connsiteY77" fmla="*/ 7157813 h 7391342"/>
              <a:gd name="connsiteX78" fmla="*/ 8944856 w 9114518"/>
              <a:gd name="connsiteY78" fmla="*/ 7123407 h 7391342"/>
              <a:gd name="connsiteX79" fmla="*/ 8959978 w 9114518"/>
              <a:gd name="connsiteY79" fmla="*/ 7085520 h 7391342"/>
              <a:gd name="connsiteX80" fmla="*/ 8972340 w 9114518"/>
              <a:gd name="connsiteY80" fmla="*/ 7044272 h 7391342"/>
              <a:gd name="connsiteX81" fmla="*/ 8982174 w 9114518"/>
              <a:gd name="connsiteY81" fmla="*/ 6999784 h 7391342"/>
              <a:gd name="connsiteX82" fmla="*/ 8989706 w 9114518"/>
              <a:gd name="connsiteY82" fmla="*/ 6952173 h 7391342"/>
              <a:gd name="connsiteX83" fmla="*/ 8995166 w 9114518"/>
              <a:gd name="connsiteY83" fmla="*/ 6901561 h 7391342"/>
              <a:gd name="connsiteX84" fmla="*/ 8998782 w 9114518"/>
              <a:gd name="connsiteY84" fmla="*/ 6848066 h 7391342"/>
              <a:gd name="connsiteX85" fmla="*/ 9000784 w 9114518"/>
              <a:gd name="connsiteY85" fmla="*/ 6791809 h 7391342"/>
              <a:gd name="connsiteX86" fmla="*/ 9001400 w 9114518"/>
              <a:gd name="connsiteY86" fmla="*/ 6732908 h 7391342"/>
              <a:gd name="connsiteX87" fmla="*/ 9000750 w 9114518"/>
              <a:gd name="connsiteY87" fmla="*/ 6674585 h 7391342"/>
              <a:gd name="connsiteX88" fmla="*/ 8998658 w 9114518"/>
              <a:gd name="connsiteY88" fmla="*/ 6618871 h 7391342"/>
              <a:gd name="connsiteX89" fmla="*/ 8994906 w 9114518"/>
              <a:gd name="connsiteY89" fmla="*/ 6565885 h 7391342"/>
              <a:gd name="connsiteX90" fmla="*/ 8989276 w 9114518"/>
              <a:gd name="connsiteY90" fmla="*/ 6515745 h 7391342"/>
              <a:gd name="connsiteX91" fmla="*/ 8981556 w 9114518"/>
              <a:gd name="connsiteY91" fmla="*/ 6468573 h 7391342"/>
              <a:gd name="connsiteX92" fmla="*/ 8971524 w 9114518"/>
              <a:gd name="connsiteY92" fmla="*/ 6424488 h 7391342"/>
              <a:gd name="connsiteX93" fmla="*/ 8958968 w 9114518"/>
              <a:gd name="connsiteY93" fmla="*/ 6383608 h 7391342"/>
              <a:gd name="connsiteX94" fmla="*/ 8943670 w 9114518"/>
              <a:gd name="connsiteY94" fmla="*/ 6346054 h 7391342"/>
              <a:gd name="connsiteX95" fmla="*/ 8925412 w 9114518"/>
              <a:gd name="connsiteY95" fmla="*/ 6311946 h 7391342"/>
              <a:gd name="connsiteX96" fmla="*/ 8879156 w 9114518"/>
              <a:gd name="connsiteY96" fmla="*/ 6254543 h 7391342"/>
              <a:gd name="connsiteX97" fmla="*/ 8818464 w 9114518"/>
              <a:gd name="connsiteY97" fmla="*/ 6212357 h 7391342"/>
              <a:gd name="connsiteX98" fmla="*/ 8782166 w 9114518"/>
              <a:gd name="connsiteY98" fmla="*/ 6197269 h 7391342"/>
              <a:gd name="connsiteX99" fmla="*/ 8741608 w 9114518"/>
              <a:gd name="connsiteY99" fmla="*/ 6186344 h 7391342"/>
              <a:gd name="connsiteX100" fmla="*/ 8696578 w 9114518"/>
              <a:gd name="connsiteY100" fmla="*/ 6179701 h 7391342"/>
              <a:gd name="connsiteX101" fmla="*/ 8646856 w 9114518"/>
              <a:gd name="connsiteY101" fmla="*/ 6177460 h 7391342"/>
              <a:gd name="connsiteX102" fmla="*/ 8553970 w 9114518"/>
              <a:gd name="connsiteY102" fmla="*/ 6077851 h 7391342"/>
              <a:gd name="connsiteX103" fmla="*/ 8553970 w 9114518"/>
              <a:gd name="connsiteY103" fmla="*/ 6177460 h 7391342"/>
              <a:gd name="connsiteX104" fmla="*/ 8504528 w 9114518"/>
              <a:gd name="connsiteY104" fmla="*/ 6179701 h 7391342"/>
              <a:gd name="connsiteX105" fmla="*/ 8459744 w 9114518"/>
              <a:gd name="connsiteY105" fmla="*/ 6186344 h 7391342"/>
              <a:gd name="connsiteX106" fmla="*/ 8419404 w 9114518"/>
              <a:gd name="connsiteY106" fmla="*/ 6197269 h 7391342"/>
              <a:gd name="connsiteX107" fmla="*/ 8383292 w 9114518"/>
              <a:gd name="connsiteY107" fmla="*/ 6212357 h 7391342"/>
              <a:gd name="connsiteX108" fmla="*/ 8322900 w 9114518"/>
              <a:gd name="connsiteY108" fmla="*/ 6254543 h 7391342"/>
              <a:gd name="connsiteX109" fmla="*/ 8276848 w 9114518"/>
              <a:gd name="connsiteY109" fmla="*/ 6311946 h 7391342"/>
              <a:gd name="connsiteX110" fmla="*/ 8258666 w 9114518"/>
              <a:gd name="connsiteY110" fmla="*/ 6346054 h 7391342"/>
              <a:gd name="connsiteX111" fmla="*/ 8243424 w 9114518"/>
              <a:gd name="connsiteY111" fmla="*/ 6383608 h 7391342"/>
              <a:gd name="connsiteX112" fmla="*/ 8230912 w 9114518"/>
              <a:gd name="connsiteY112" fmla="*/ 6424488 h 7391342"/>
              <a:gd name="connsiteX113" fmla="*/ 8220912 w 9114518"/>
              <a:gd name="connsiteY113" fmla="*/ 6468573 h 7391342"/>
              <a:gd name="connsiteX114" fmla="*/ 8213212 w 9114518"/>
              <a:gd name="connsiteY114" fmla="*/ 6515745 h 7391342"/>
              <a:gd name="connsiteX115" fmla="*/ 8207596 w 9114518"/>
              <a:gd name="connsiteY115" fmla="*/ 6565885 h 7391342"/>
              <a:gd name="connsiteX116" fmla="*/ 8203850 w 9114518"/>
              <a:gd name="connsiteY116" fmla="*/ 6618871 h 7391342"/>
              <a:gd name="connsiteX117" fmla="*/ 8201760 w 9114518"/>
              <a:gd name="connsiteY117" fmla="*/ 6674585 h 7391342"/>
              <a:gd name="connsiteX118" fmla="*/ 8201110 w 9114518"/>
              <a:gd name="connsiteY118" fmla="*/ 6732908 h 7391342"/>
              <a:gd name="connsiteX119" fmla="*/ 8201744 w 9114518"/>
              <a:gd name="connsiteY119" fmla="*/ 6791809 h 7391342"/>
              <a:gd name="connsiteX120" fmla="*/ 8203788 w 9114518"/>
              <a:gd name="connsiteY120" fmla="*/ 6848066 h 7391342"/>
              <a:gd name="connsiteX121" fmla="*/ 8207466 w 9114518"/>
              <a:gd name="connsiteY121" fmla="*/ 6901561 h 7391342"/>
              <a:gd name="connsiteX122" fmla="*/ 8212998 w 9114518"/>
              <a:gd name="connsiteY122" fmla="*/ 6952173 h 7391342"/>
              <a:gd name="connsiteX123" fmla="*/ 8220604 w 9114518"/>
              <a:gd name="connsiteY123" fmla="*/ 6999784 h 7391342"/>
              <a:gd name="connsiteX124" fmla="*/ 8230504 w 9114518"/>
              <a:gd name="connsiteY124" fmla="*/ 7044272 h 7391342"/>
              <a:gd name="connsiteX125" fmla="*/ 8242920 w 9114518"/>
              <a:gd name="connsiteY125" fmla="*/ 7085520 h 7391342"/>
              <a:gd name="connsiteX126" fmla="*/ 8258072 w 9114518"/>
              <a:gd name="connsiteY126" fmla="*/ 7123407 h 7391342"/>
              <a:gd name="connsiteX127" fmla="*/ 8276182 w 9114518"/>
              <a:gd name="connsiteY127" fmla="*/ 7157813 h 7391342"/>
              <a:gd name="connsiteX128" fmla="*/ 8322152 w 9114518"/>
              <a:gd name="connsiteY128" fmla="*/ 7215706 h 7391342"/>
              <a:gd name="connsiteX129" fmla="*/ 8382596 w 9114518"/>
              <a:gd name="connsiteY129" fmla="*/ 7258243 h 7391342"/>
              <a:gd name="connsiteX130" fmla="*/ 8418798 w 9114518"/>
              <a:gd name="connsiteY130" fmla="*/ 7273454 h 7391342"/>
              <a:gd name="connsiteX131" fmla="*/ 8459280 w 9114518"/>
              <a:gd name="connsiteY131" fmla="*/ 7284467 h 7391342"/>
              <a:gd name="connsiteX132" fmla="*/ 8504264 w 9114518"/>
              <a:gd name="connsiteY132" fmla="*/ 7291162 h 7391342"/>
              <a:gd name="connsiteX133" fmla="*/ 8553970 w 9114518"/>
              <a:gd name="connsiteY133" fmla="*/ 7293421 h 7391342"/>
              <a:gd name="connsiteX134" fmla="*/ 8553970 w 9114518"/>
              <a:gd name="connsiteY134" fmla="*/ 7391342 h 7391342"/>
              <a:gd name="connsiteX135" fmla="*/ 8502324 w 9114518"/>
              <a:gd name="connsiteY135" fmla="*/ 7389609 h 7391342"/>
              <a:gd name="connsiteX136" fmla="*/ 8454390 w 9114518"/>
              <a:gd name="connsiteY136" fmla="*/ 7384456 h 7391342"/>
              <a:gd name="connsiteX137" fmla="*/ 8410050 w 9114518"/>
              <a:gd name="connsiteY137" fmla="*/ 7375956 h 7391342"/>
              <a:gd name="connsiteX138" fmla="*/ 8369176 w 9114518"/>
              <a:gd name="connsiteY138" fmla="*/ 7364181 h 7391342"/>
              <a:gd name="connsiteX139" fmla="*/ 8331650 w 9114518"/>
              <a:gd name="connsiteY139" fmla="*/ 7349203 h 7391342"/>
              <a:gd name="connsiteX140" fmla="*/ 8297346 w 9114518"/>
              <a:gd name="connsiteY140" fmla="*/ 7331095 h 7391342"/>
              <a:gd name="connsiteX141" fmla="*/ 8237920 w 9114518"/>
              <a:gd name="connsiteY141" fmla="*/ 7285777 h 7391342"/>
              <a:gd name="connsiteX142" fmla="*/ 8189918 w 9114518"/>
              <a:gd name="connsiteY142" fmla="*/ 7228803 h 7391342"/>
              <a:gd name="connsiteX143" fmla="*/ 8169894 w 9114518"/>
              <a:gd name="connsiteY143" fmla="*/ 7196125 h 7391342"/>
              <a:gd name="connsiteX144" fmla="*/ 8152358 w 9114518"/>
              <a:gd name="connsiteY144" fmla="*/ 7160750 h 7391342"/>
              <a:gd name="connsiteX145" fmla="*/ 8137190 w 9114518"/>
              <a:gd name="connsiteY145" fmla="*/ 7122750 h 7391342"/>
              <a:gd name="connsiteX146" fmla="*/ 8124264 w 9114518"/>
              <a:gd name="connsiteY146" fmla="*/ 7082197 h 7391342"/>
              <a:gd name="connsiteX147" fmla="*/ 8113458 w 9114518"/>
              <a:gd name="connsiteY147" fmla="*/ 7039164 h 7391342"/>
              <a:gd name="connsiteX148" fmla="*/ 8104652 w 9114518"/>
              <a:gd name="connsiteY148" fmla="*/ 6993721 h 7391342"/>
              <a:gd name="connsiteX149" fmla="*/ 8097722 w 9114518"/>
              <a:gd name="connsiteY149" fmla="*/ 6945943 h 7391342"/>
              <a:gd name="connsiteX150" fmla="*/ 8092544 w 9114518"/>
              <a:gd name="connsiteY150" fmla="*/ 6895900 h 7391342"/>
              <a:gd name="connsiteX151" fmla="*/ 8088998 w 9114518"/>
              <a:gd name="connsiteY151" fmla="*/ 6843665 h 7391342"/>
              <a:gd name="connsiteX152" fmla="*/ 8086960 w 9114518"/>
              <a:gd name="connsiteY152" fmla="*/ 6789310 h 7391342"/>
              <a:gd name="connsiteX153" fmla="*/ 8086308 w 9114518"/>
              <a:gd name="connsiteY153" fmla="*/ 6732908 h 7391342"/>
              <a:gd name="connsiteX154" fmla="*/ 8086982 w 9114518"/>
              <a:gd name="connsiteY154" fmla="*/ 6676747 h 7391342"/>
              <a:gd name="connsiteX155" fmla="*/ 8089082 w 9114518"/>
              <a:gd name="connsiteY155" fmla="*/ 6622632 h 7391342"/>
              <a:gd name="connsiteX156" fmla="*/ 8092722 w 9114518"/>
              <a:gd name="connsiteY156" fmla="*/ 6570635 h 7391342"/>
              <a:gd name="connsiteX157" fmla="*/ 8098020 w 9114518"/>
              <a:gd name="connsiteY157" fmla="*/ 6520827 h 7391342"/>
              <a:gd name="connsiteX158" fmla="*/ 8105090 w 9114518"/>
              <a:gd name="connsiteY158" fmla="*/ 6473278 h 7391342"/>
              <a:gd name="connsiteX159" fmla="*/ 8114050 w 9114518"/>
              <a:gd name="connsiteY159" fmla="*/ 6428061 h 7391342"/>
              <a:gd name="connsiteX160" fmla="*/ 8125014 w 9114518"/>
              <a:gd name="connsiteY160" fmla="*/ 6385245 h 7391342"/>
              <a:gd name="connsiteX161" fmla="*/ 8138100 w 9114518"/>
              <a:gd name="connsiteY161" fmla="*/ 6344902 h 7391342"/>
              <a:gd name="connsiteX162" fmla="*/ 8153424 w 9114518"/>
              <a:gd name="connsiteY162" fmla="*/ 6307104 h 7391342"/>
              <a:gd name="connsiteX163" fmla="*/ 8171098 w 9114518"/>
              <a:gd name="connsiteY163" fmla="*/ 6271921 h 7391342"/>
              <a:gd name="connsiteX164" fmla="*/ 8191242 w 9114518"/>
              <a:gd name="connsiteY164" fmla="*/ 6239424 h 7391342"/>
              <a:gd name="connsiteX165" fmla="*/ 8239400 w 9114518"/>
              <a:gd name="connsiteY165" fmla="*/ 6182774 h 7391342"/>
              <a:gd name="connsiteX166" fmla="*/ 8298824 w 9114518"/>
              <a:gd name="connsiteY166" fmla="*/ 6137723 h 7391342"/>
              <a:gd name="connsiteX167" fmla="*/ 8333052 w 9114518"/>
              <a:gd name="connsiteY167" fmla="*/ 6119725 h 7391342"/>
              <a:gd name="connsiteX168" fmla="*/ 8370442 w 9114518"/>
              <a:gd name="connsiteY168" fmla="*/ 6104840 h 7391342"/>
              <a:gd name="connsiteX169" fmla="*/ 8411114 w 9114518"/>
              <a:gd name="connsiteY169" fmla="*/ 6093139 h 7391342"/>
              <a:gd name="connsiteX170" fmla="*/ 8455182 w 9114518"/>
              <a:gd name="connsiteY170" fmla="*/ 6084693 h 7391342"/>
              <a:gd name="connsiteX171" fmla="*/ 8502762 w 9114518"/>
              <a:gd name="connsiteY171" fmla="*/ 6079573 h 7391342"/>
              <a:gd name="connsiteX172" fmla="*/ 1425338 w 9114518"/>
              <a:gd name="connsiteY172" fmla="*/ 6077851 h 7391342"/>
              <a:gd name="connsiteX173" fmla="*/ 1476547 w 9114518"/>
              <a:gd name="connsiteY173" fmla="*/ 6079573 h 7391342"/>
              <a:gd name="connsiteX174" fmla="*/ 1524127 w 9114518"/>
              <a:gd name="connsiteY174" fmla="*/ 6084693 h 7391342"/>
              <a:gd name="connsiteX175" fmla="*/ 1568196 w 9114518"/>
              <a:gd name="connsiteY175" fmla="*/ 6093139 h 7391342"/>
              <a:gd name="connsiteX176" fmla="*/ 1608868 w 9114518"/>
              <a:gd name="connsiteY176" fmla="*/ 6104840 h 7391342"/>
              <a:gd name="connsiteX177" fmla="*/ 1646259 w 9114518"/>
              <a:gd name="connsiteY177" fmla="*/ 6119725 h 7391342"/>
              <a:gd name="connsiteX178" fmla="*/ 1680486 w 9114518"/>
              <a:gd name="connsiteY178" fmla="*/ 6137723 h 7391342"/>
              <a:gd name="connsiteX179" fmla="*/ 1739910 w 9114518"/>
              <a:gd name="connsiteY179" fmla="*/ 6182774 h 7391342"/>
              <a:gd name="connsiteX180" fmla="*/ 1788068 w 9114518"/>
              <a:gd name="connsiteY180" fmla="*/ 6239424 h 7391342"/>
              <a:gd name="connsiteX181" fmla="*/ 1808212 w 9114518"/>
              <a:gd name="connsiteY181" fmla="*/ 6271921 h 7391342"/>
              <a:gd name="connsiteX182" fmla="*/ 1825887 w 9114518"/>
              <a:gd name="connsiteY182" fmla="*/ 6307104 h 7391342"/>
              <a:gd name="connsiteX183" fmla="*/ 1841209 w 9114518"/>
              <a:gd name="connsiteY183" fmla="*/ 6344902 h 7391342"/>
              <a:gd name="connsiteX184" fmla="*/ 1854294 w 9114518"/>
              <a:gd name="connsiteY184" fmla="*/ 6385245 h 7391342"/>
              <a:gd name="connsiteX185" fmla="*/ 1865258 w 9114518"/>
              <a:gd name="connsiteY185" fmla="*/ 6428061 h 7391342"/>
              <a:gd name="connsiteX186" fmla="*/ 1874218 w 9114518"/>
              <a:gd name="connsiteY186" fmla="*/ 6473278 h 7391342"/>
              <a:gd name="connsiteX187" fmla="*/ 1881288 w 9114518"/>
              <a:gd name="connsiteY187" fmla="*/ 6520827 h 7391342"/>
              <a:gd name="connsiteX188" fmla="*/ 1886585 w 9114518"/>
              <a:gd name="connsiteY188" fmla="*/ 6570635 h 7391342"/>
              <a:gd name="connsiteX189" fmla="*/ 1890226 w 9114518"/>
              <a:gd name="connsiteY189" fmla="*/ 6622632 h 7391342"/>
              <a:gd name="connsiteX190" fmla="*/ 1892325 w 9114518"/>
              <a:gd name="connsiteY190" fmla="*/ 6676747 h 7391342"/>
              <a:gd name="connsiteX191" fmla="*/ 1892999 w 9114518"/>
              <a:gd name="connsiteY191" fmla="*/ 6732908 h 7391342"/>
              <a:gd name="connsiteX192" fmla="*/ 1892357 w 9114518"/>
              <a:gd name="connsiteY192" fmla="*/ 6789310 h 7391342"/>
              <a:gd name="connsiteX193" fmla="*/ 1890350 w 9114518"/>
              <a:gd name="connsiteY193" fmla="*/ 6843665 h 7391342"/>
              <a:gd name="connsiteX194" fmla="*/ 1886851 w 9114518"/>
              <a:gd name="connsiteY194" fmla="*/ 6895900 h 7391342"/>
              <a:gd name="connsiteX195" fmla="*/ 1881734 w 9114518"/>
              <a:gd name="connsiteY195" fmla="*/ 6945943 h 7391342"/>
              <a:gd name="connsiteX196" fmla="*/ 1874873 w 9114518"/>
              <a:gd name="connsiteY196" fmla="*/ 6993721 h 7391342"/>
              <a:gd name="connsiteX197" fmla="*/ 1866143 w 9114518"/>
              <a:gd name="connsiteY197" fmla="*/ 7039164 h 7391342"/>
              <a:gd name="connsiteX198" fmla="*/ 1855418 w 9114518"/>
              <a:gd name="connsiteY198" fmla="*/ 7082197 h 7391342"/>
              <a:gd name="connsiteX199" fmla="*/ 1842572 w 9114518"/>
              <a:gd name="connsiteY199" fmla="*/ 7122750 h 7391342"/>
              <a:gd name="connsiteX200" fmla="*/ 1827479 w 9114518"/>
              <a:gd name="connsiteY200" fmla="*/ 7160750 h 7391342"/>
              <a:gd name="connsiteX201" fmla="*/ 1810014 w 9114518"/>
              <a:gd name="connsiteY201" fmla="*/ 7196125 h 7391342"/>
              <a:gd name="connsiteX202" fmla="*/ 1790050 w 9114518"/>
              <a:gd name="connsiteY202" fmla="*/ 7228803 h 7391342"/>
              <a:gd name="connsiteX203" fmla="*/ 1742125 w 9114518"/>
              <a:gd name="connsiteY203" fmla="*/ 7285777 h 7391342"/>
              <a:gd name="connsiteX204" fmla="*/ 1682698 w 9114518"/>
              <a:gd name="connsiteY204" fmla="*/ 7331095 h 7391342"/>
              <a:gd name="connsiteX205" fmla="*/ 1648356 w 9114518"/>
              <a:gd name="connsiteY205" fmla="*/ 7349203 h 7391342"/>
              <a:gd name="connsiteX206" fmla="*/ 1610762 w 9114518"/>
              <a:gd name="connsiteY206" fmla="*/ 7364181 h 7391342"/>
              <a:gd name="connsiteX207" fmla="*/ 1569788 w 9114518"/>
              <a:gd name="connsiteY207" fmla="*/ 7375956 h 7391342"/>
              <a:gd name="connsiteX208" fmla="*/ 1525310 w 9114518"/>
              <a:gd name="connsiteY208" fmla="*/ 7384456 h 7391342"/>
              <a:gd name="connsiteX209" fmla="*/ 1477202 w 9114518"/>
              <a:gd name="connsiteY209" fmla="*/ 7389609 h 7391342"/>
              <a:gd name="connsiteX210" fmla="*/ 1425338 w 9114518"/>
              <a:gd name="connsiteY210" fmla="*/ 7391342 h 7391342"/>
              <a:gd name="connsiteX211" fmla="*/ 1425338 w 9114518"/>
              <a:gd name="connsiteY211" fmla="*/ 7293421 h 7391342"/>
              <a:gd name="connsiteX212" fmla="*/ 1475586 w 9114518"/>
              <a:gd name="connsiteY212" fmla="*/ 7291162 h 7391342"/>
              <a:gd name="connsiteX213" fmla="*/ 1521017 w 9114518"/>
              <a:gd name="connsiteY213" fmla="*/ 7284467 h 7391342"/>
              <a:gd name="connsiteX214" fmla="*/ 1561858 w 9114518"/>
              <a:gd name="connsiteY214" fmla="*/ 7273454 h 7391342"/>
              <a:gd name="connsiteX215" fmla="*/ 1598338 w 9114518"/>
              <a:gd name="connsiteY215" fmla="*/ 7258243 h 7391342"/>
              <a:gd name="connsiteX216" fmla="*/ 1659131 w 9114518"/>
              <a:gd name="connsiteY216" fmla="*/ 7215706 h 7391342"/>
              <a:gd name="connsiteX217" fmla="*/ 1705228 w 9114518"/>
              <a:gd name="connsiteY217" fmla="*/ 7157813 h 7391342"/>
              <a:gd name="connsiteX218" fmla="*/ 1723337 w 9114518"/>
              <a:gd name="connsiteY218" fmla="*/ 7123407 h 7391342"/>
              <a:gd name="connsiteX219" fmla="*/ 1738459 w 9114518"/>
              <a:gd name="connsiteY219" fmla="*/ 7085520 h 7391342"/>
              <a:gd name="connsiteX220" fmla="*/ 1750822 w 9114518"/>
              <a:gd name="connsiteY220" fmla="*/ 7044272 h 7391342"/>
              <a:gd name="connsiteX221" fmla="*/ 1760655 w 9114518"/>
              <a:gd name="connsiteY221" fmla="*/ 6999784 h 7391342"/>
              <a:gd name="connsiteX222" fmla="*/ 1768187 w 9114518"/>
              <a:gd name="connsiteY222" fmla="*/ 6952173 h 7391342"/>
              <a:gd name="connsiteX223" fmla="*/ 1773647 w 9114518"/>
              <a:gd name="connsiteY223" fmla="*/ 6901561 h 7391342"/>
              <a:gd name="connsiteX224" fmla="*/ 1777263 w 9114518"/>
              <a:gd name="connsiteY224" fmla="*/ 6848066 h 7391342"/>
              <a:gd name="connsiteX225" fmla="*/ 1779265 w 9114518"/>
              <a:gd name="connsiteY225" fmla="*/ 6791809 h 7391342"/>
              <a:gd name="connsiteX226" fmla="*/ 1779882 w 9114518"/>
              <a:gd name="connsiteY226" fmla="*/ 6732908 h 7391342"/>
              <a:gd name="connsiteX227" fmla="*/ 1779232 w 9114518"/>
              <a:gd name="connsiteY227" fmla="*/ 6674585 h 7391342"/>
              <a:gd name="connsiteX228" fmla="*/ 1777140 w 9114518"/>
              <a:gd name="connsiteY228" fmla="*/ 6618871 h 7391342"/>
              <a:gd name="connsiteX229" fmla="*/ 1773387 w 9114518"/>
              <a:gd name="connsiteY229" fmla="*/ 6565885 h 7391342"/>
              <a:gd name="connsiteX230" fmla="*/ 1767758 w 9114518"/>
              <a:gd name="connsiteY230" fmla="*/ 6515745 h 7391342"/>
              <a:gd name="connsiteX231" fmla="*/ 1760037 w 9114518"/>
              <a:gd name="connsiteY231" fmla="*/ 6468573 h 7391342"/>
              <a:gd name="connsiteX232" fmla="*/ 1750006 w 9114518"/>
              <a:gd name="connsiteY232" fmla="*/ 6424488 h 7391342"/>
              <a:gd name="connsiteX233" fmla="*/ 1737450 w 9114518"/>
              <a:gd name="connsiteY233" fmla="*/ 6383608 h 7391342"/>
              <a:gd name="connsiteX234" fmla="*/ 1722151 w 9114518"/>
              <a:gd name="connsiteY234" fmla="*/ 6346054 h 7391342"/>
              <a:gd name="connsiteX235" fmla="*/ 1703894 w 9114518"/>
              <a:gd name="connsiteY235" fmla="*/ 6311946 h 7391342"/>
              <a:gd name="connsiteX236" fmla="*/ 1657637 w 9114518"/>
              <a:gd name="connsiteY236" fmla="*/ 6254543 h 7391342"/>
              <a:gd name="connsiteX237" fmla="*/ 1596946 w 9114518"/>
              <a:gd name="connsiteY237" fmla="*/ 6212357 h 7391342"/>
              <a:gd name="connsiteX238" fmla="*/ 1560647 w 9114518"/>
              <a:gd name="connsiteY238" fmla="*/ 6197269 h 7391342"/>
              <a:gd name="connsiteX239" fmla="*/ 1520090 w 9114518"/>
              <a:gd name="connsiteY239" fmla="*/ 6186344 h 7391342"/>
              <a:gd name="connsiteX240" fmla="*/ 1475059 w 9114518"/>
              <a:gd name="connsiteY240" fmla="*/ 6179701 h 7391342"/>
              <a:gd name="connsiteX241" fmla="*/ 1425338 w 9114518"/>
              <a:gd name="connsiteY241" fmla="*/ 6177460 h 7391342"/>
              <a:gd name="connsiteX242" fmla="*/ 1332420 w 9114518"/>
              <a:gd name="connsiteY242" fmla="*/ 6077851 h 7391342"/>
              <a:gd name="connsiteX243" fmla="*/ 1332420 w 9114518"/>
              <a:gd name="connsiteY243" fmla="*/ 6177460 h 7391342"/>
              <a:gd name="connsiteX244" fmla="*/ 1282980 w 9114518"/>
              <a:gd name="connsiteY244" fmla="*/ 6179701 h 7391342"/>
              <a:gd name="connsiteX245" fmla="*/ 1238197 w 9114518"/>
              <a:gd name="connsiteY245" fmla="*/ 6186344 h 7391342"/>
              <a:gd name="connsiteX246" fmla="*/ 1197858 w 9114518"/>
              <a:gd name="connsiteY246" fmla="*/ 6197269 h 7391342"/>
              <a:gd name="connsiteX247" fmla="*/ 1161747 w 9114518"/>
              <a:gd name="connsiteY247" fmla="*/ 6212357 h 7391342"/>
              <a:gd name="connsiteX248" fmla="*/ 1101354 w 9114518"/>
              <a:gd name="connsiteY248" fmla="*/ 6254543 h 7391342"/>
              <a:gd name="connsiteX249" fmla="*/ 1055303 w 9114518"/>
              <a:gd name="connsiteY249" fmla="*/ 6311946 h 7391342"/>
              <a:gd name="connsiteX250" fmla="*/ 1037120 w 9114518"/>
              <a:gd name="connsiteY250" fmla="*/ 6346054 h 7391342"/>
              <a:gd name="connsiteX251" fmla="*/ 1021878 w 9114518"/>
              <a:gd name="connsiteY251" fmla="*/ 6383608 h 7391342"/>
              <a:gd name="connsiteX252" fmla="*/ 1009365 w 9114518"/>
              <a:gd name="connsiteY252" fmla="*/ 6424488 h 7391342"/>
              <a:gd name="connsiteX253" fmla="*/ 999365 w 9114518"/>
              <a:gd name="connsiteY253" fmla="*/ 6468573 h 7391342"/>
              <a:gd name="connsiteX254" fmla="*/ 991664 w 9114518"/>
              <a:gd name="connsiteY254" fmla="*/ 6515745 h 7391342"/>
              <a:gd name="connsiteX255" fmla="*/ 986047 w 9114518"/>
              <a:gd name="connsiteY255" fmla="*/ 6565885 h 7391342"/>
              <a:gd name="connsiteX256" fmla="*/ 982301 w 9114518"/>
              <a:gd name="connsiteY256" fmla="*/ 6618871 h 7391342"/>
              <a:gd name="connsiteX257" fmla="*/ 980210 w 9114518"/>
              <a:gd name="connsiteY257" fmla="*/ 6674585 h 7391342"/>
              <a:gd name="connsiteX258" fmla="*/ 979561 w 9114518"/>
              <a:gd name="connsiteY258" fmla="*/ 6732908 h 7391342"/>
              <a:gd name="connsiteX259" fmla="*/ 980194 w 9114518"/>
              <a:gd name="connsiteY259" fmla="*/ 6791809 h 7391342"/>
              <a:gd name="connsiteX260" fmla="*/ 982239 w 9114518"/>
              <a:gd name="connsiteY260" fmla="*/ 6848066 h 7391342"/>
              <a:gd name="connsiteX261" fmla="*/ 985918 w 9114518"/>
              <a:gd name="connsiteY261" fmla="*/ 6901561 h 7391342"/>
              <a:gd name="connsiteX262" fmla="*/ 991450 w 9114518"/>
              <a:gd name="connsiteY262" fmla="*/ 6952173 h 7391342"/>
              <a:gd name="connsiteX263" fmla="*/ 999056 w 9114518"/>
              <a:gd name="connsiteY263" fmla="*/ 6999784 h 7391342"/>
              <a:gd name="connsiteX264" fmla="*/ 1008957 w 9114518"/>
              <a:gd name="connsiteY264" fmla="*/ 7044272 h 7391342"/>
              <a:gd name="connsiteX265" fmla="*/ 1021374 w 9114518"/>
              <a:gd name="connsiteY265" fmla="*/ 7085520 h 7391342"/>
              <a:gd name="connsiteX266" fmla="*/ 1036527 w 9114518"/>
              <a:gd name="connsiteY266" fmla="*/ 7123407 h 7391342"/>
              <a:gd name="connsiteX267" fmla="*/ 1054636 w 9114518"/>
              <a:gd name="connsiteY267" fmla="*/ 7157813 h 7391342"/>
              <a:gd name="connsiteX268" fmla="*/ 1100607 w 9114518"/>
              <a:gd name="connsiteY268" fmla="*/ 7215706 h 7391342"/>
              <a:gd name="connsiteX269" fmla="*/ 1161051 w 9114518"/>
              <a:gd name="connsiteY269" fmla="*/ 7258243 h 7391342"/>
              <a:gd name="connsiteX270" fmla="*/ 1197253 w 9114518"/>
              <a:gd name="connsiteY270" fmla="*/ 7273454 h 7391342"/>
              <a:gd name="connsiteX271" fmla="*/ 1237734 w 9114518"/>
              <a:gd name="connsiteY271" fmla="*/ 7284467 h 7391342"/>
              <a:gd name="connsiteX272" fmla="*/ 1282716 w 9114518"/>
              <a:gd name="connsiteY272" fmla="*/ 7291162 h 7391342"/>
              <a:gd name="connsiteX273" fmla="*/ 1332420 w 9114518"/>
              <a:gd name="connsiteY273" fmla="*/ 7293421 h 7391342"/>
              <a:gd name="connsiteX274" fmla="*/ 1332420 w 9114518"/>
              <a:gd name="connsiteY274" fmla="*/ 7391342 h 7391342"/>
              <a:gd name="connsiteX275" fmla="*/ 1280774 w 9114518"/>
              <a:gd name="connsiteY275" fmla="*/ 7389609 h 7391342"/>
              <a:gd name="connsiteX276" fmla="*/ 1232841 w 9114518"/>
              <a:gd name="connsiteY276" fmla="*/ 7384456 h 7391342"/>
              <a:gd name="connsiteX277" fmla="*/ 1188500 w 9114518"/>
              <a:gd name="connsiteY277" fmla="*/ 7375956 h 7391342"/>
              <a:gd name="connsiteX278" fmla="*/ 1147627 w 9114518"/>
              <a:gd name="connsiteY278" fmla="*/ 7364181 h 7391342"/>
              <a:gd name="connsiteX279" fmla="*/ 1110100 w 9114518"/>
              <a:gd name="connsiteY279" fmla="*/ 7349203 h 7391342"/>
              <a:gd name="connsiteX280" fmla="*/ 1075796 w 9114518"/>
              <a:gd name="connsiteY280" fmla="*/ 7331095 h 7391342"/>
              <a:gd name="connsiteX281" fmla="*/ 1016370 w 9114518"/>
              <a:gd name="connsiteY281" fmla="*/ 7285777 h 7391342"/>
              <a:gd name="connsiteX282" fmla="*/ 968368 w 9114518"/>
              <a:gd name="connsiteY282" fmla="*/ 7228803 h 7391342"/>
              <a:gd name="connsiteX283" fmla="*/ 948344 w 9114518"/>
              <a:gd name="connsiteY283" fmla="*/ 7196125 h 7391342"/>
              <a:gd name="connsiteX284" fmla="*/ 930809 w 9114518"/>
              <a:gd name="connsiteY284" fmla="*/ 7160750 h 7391342"/>
              <a:gd name="connsiteX285" fmla="*/ 915640 w 9114518"/>
              <a:gd name="connsiteY285" fmla="*/ 7122750 h 7391342"/>
              <a:gd name="connsiteX286" fmla="*/ 902714 w 9114518"/>
              <a:gd name="connsiteY286" fmla="*/ 7082197 h 7391342"/>
              <a:gd name="connsiteX287" fmla="*/ 891909 w 9114518"/>
              <a:gd name="connsiteY287" fmla="*/ 7039164 h 7391342"/>
              <a:gd name="connsiteX288" fmla="*/ 883103 w 9114518"/>
              <a:gd name="connsiteY288" fmla="*/ 6993721 h 7391342"/>
              <a:gd name="connsiteX289" fmla="*/ 876172 w 9114518"/>
              <a:gd name="connsiteY289" fmla="*/ 6945943 h 7391342"/>
              <a:gd name="connsiteX290" fmla="*/ 870995 w 9114518"/>
              <a:gd name="connsiteY290" fmla="*/ 6895900 h 7391342"/>
              <a:gd name="connsiteX291" fmla="*/ 867449 w 9114518"/>
              <a:gd name="connsiteY291" fmla="*/ 6843665 h 7391342"/>
              <a:gd name="connsiteX292" fmla="*/ 865411 w 9114518"/>
              <a:gd name="connsiteY292" fmla="*/ 6789310 h 7391342"/>
              <a:gd name="connsiteX293" fmla="*/ 864759 w 9114518"/>
              <a:gd name="connsiteY293" fmla="*/ 6732908 h 7391342"/>
              <a:gd name="connsiteX294" fmla="*/ 865433 w 9114518"/>
              <a:gd name="connsiteY294" fmla="*/ 6676747 h 7391342"/>
              <a:gd name="connsiteX295" fmla="*/ 867532 w 9114518"/>
              <a:gd name="connsiteY295" fmla="*/ 6622632 h 7391342"/>
              <a:gd name="connsiteX296" fmla="*/ 871172 w 9114518"/>
              <a:gd name="connsiteY296" fmla="*/ 6570635 h 7391342"/>
              <a:gd name="connsiteX297" fmla="*/ 876470 w 9114518"/>
              <a:gd name="connsiteY297" fmla="*/ 6520827 h 7391342"/>
              <a:gd name="connsiteX298" fmla="*/ 883541 w 9114518"/>
              <a:gd name="connsiteY298" fmla="*/ 6473278 h 7391342"/>
              <a:gd name="connsiteX299" fmla="*/ 892501 w 9114518"/>
              <a:gd name="connsiteY299" fmla="*/ 6428061 h 7391342"/>
              <a:gd name="connsiteX300" fmla="*/ 903465 w 9114518"/>
              <a:gd name="connsiteY300" fmla="*/ 6385245 h 7391342"/>
              <a:gd name="connsiteX301" fmla="*/ 916551 w 9114518"/>
              <a:gd name="connsiteY301" fmla="*/ 6344902 h 7391342"/>
              <a:gd name="connsiteX302" fmla="*/ 931874 w 9114518"/>
              <a:gd name="connsiteY302" fmla="*/ 6307104 h 7391342"/>
              <a:gd name="connsiteX303" fmla="*/ 949549 w 9114518"/>
              <a:gd name="connsiteY303" fmla="*/ 6271921 h 7391342"/>
              <a:gd name="connsiteX304" fmla="*/ 969693 w 9114518"/>
              <a:gd name="connsiteY304" fmla="*/ 6239424 h 7391342"/>
              <a:gd name="connsiteX305" fmla="*/ 1017851 w 9114518"/>
              <a:gd name="connsiteY305" fmla="*/ 6182774 h 7391342"/>
              <a:gd name="connsiteX306" fmla="*/ 1077275 w 9114518"/>
              <a:gd name="connsiteY306" fmla="*/ 6137723 h 7391342"/>
              <a:gd name="connsiteX307" fmla="*/ 1111502 w 9114518"/>
              <a:gd name="connsiteY307" fmla="*/ 6119725 h 7391342"/>
              <a:gd name="connsiteX308" fmla="*/ 1148893 w 9114518"/>
              <a:gd name="connsiteY308" fmla="*/ 6104840 h 7391342"/>
              <a:gd name="connsiteX309" fmla="*/ 1189565 w 9114518"/>
              <a:gd name="connsiteY309" fmla="*/ 6093139 h 7391342"/>
              <a:gd name="connsiteX310" fmla="*/ 1233632 w 9114518"/>
              <a:gd name="connsiteY310" fmla="*/ 6084693 h 7391342"/>
              <a:gd name="connsiteX311" fmla="*/ 1281212 w 9114518"/>
              <a:gd name="connsiteY311" fmla="*/ 6079573 h 7391342"/>
              <a:gd name="connsiteX312" fmla="*/ 510883 w 9114518"/>
              <a:gd name="connsiteY312" fmla="*/ 5591624 h 7391342"/>
              <a:gd name="connsiteX313" fmla="*/ 553593 w 9114518"/>
              <a:gd name="connsiteY313" fmla="*/ 5595343 h 7391342"/>
              <a:gd name="connsiteX314" fmla="*/ 586648 w 9114518"/>
              <a:gd name="connsiteY314" fmla="*/ 5608717 h 7391342"/>
              <a:gd name="connsiteX315" fmla="*/ 607989 w 9114518"/>
              <a:gd name="connsiteY315" fmla="*/ 5635070 h 7391342"/>
              <a:gd name="connsiteX316" fmla="*/ 615560 w 9114518"/>
              <a:gd name="connsiteY316" fmla="*/ 5677726 h 7391342"/>
              <a:gd name="connsiteX317" fmla="*/ 607989 w 9114518"/>
              <a:gd name="connsiteY317" fmla="*/ 5722334 h 7391342"/>
              <a:gd name="connsiteX318" fmla="*/ 586648 w 9114518"/>
              <a:gd name="connsiteY318" fmla="*/ 5749689 h 7391342"/>
              <a:gd name="connsiteX319" fmla="*/ 553593 w 9114518"/>
              <a:gd name="connsiteY319" fmla="*/ 5763433 h 7391342"/>
              <a:gd name="connsiteX320" fmla="*/ 510883 w 9114518"/>
              <a:gd name="connsiteY320" fmla="*/ 5767206 h 7391342"/>
              <a:gd name="connsiteX321" fmla="*/ 468173 w 9114518"/>
              <a:gd name="connsiteY321" fmla="*/ 5763433 h 7391342"/>
              <a:gd name="connsiteX322" fmla="*/ 435118 w 9114518"/>
              <a:gd name="connsiteY322" fmla="*/ 5749689 h 7391342"/>
              <a:gd name="connsiteX323" fmla="*/ 413777 w 9114518"/>
              <a:gd name="connsiteY323" fmla="*/ 5722334 h 7391342"/>
              <a:gd name="connsiteX324" fmla="*/ 406206 w 9114518"/>
              <a:gd name="connsiteY324" fmla="*/ 5677726 h 7391342"/>
              <a:gd name="connsiteX325" fmla="*/ 414015 w 9114518"/>
              <a:gd name="connsiteY325" fmla="*/ 5635070 h 7391342"/>
              <a:gd name="connsiteX326" fmla="*/ 435754 w 9114518"/>
              <a:gd name="connsiteY326" fmla="*/ 5608717 h 7391342"/>
              <a:gd name="connsiteX327" fmla="*/ 468888 w 9114518"/>
              <a:gd name="connsiteY327" fmla="*/ 5595343 h 7391342"/>
              <a:gd name="connsiteX328" fmla="*/ 2493379 w 9114518"/>
              <a:gd name="connsiteY328" fmla="*/ 5439680 h 7391342"/>
              <a:gd name="connsiteX329" fmla="*/ 3408440 w 9114518"/>
              <a:gd name="connsiteY329" fmla="*/ 5439680 h 7391342"/>
              <a:gd name="connsiteX330" fmla="*/ 3408440 w 9114518"/>
              <a:gd name="connsiteY330" fmla="*/ 5547731 h 7391342"/>
              <a:gd name="connsiteX331" fmla="*/ 2493379 w 9114518"/>
              <a:gd name="connsiteY331" fmla="*/ 5547731 h 7391342"/>
              <a:gd name="connsiteX332" fmla="*/ 2493379 w 9114518"/>
              <a:gd name="connsiteY332" fmla="*/ 5086827 h 7391342"/>
              <a:gd name="connsiteX333" fmla="*/ 3408440 w 9114518"/>
              <a:gd name="connsiteY333" fmla="*/ 5086827 h 7391342"/>
              <a:gd name="connsiteX334" fmla="*/ 3408440 w 9114518"/>
              <a:gd name="connsiteY334" fmla="*/ 5194878 h 7391342"/>
              <a:gd name="connsiteX335" fmla="*/ 2493379 w 9114518"/>
              <a:gd name="connsiteY335" fmla="*/ 5194878 h 7391342"/>
              <a:gd name="connsiteX336" fmla="*/ 510883 w 9114518"/>
              <a:gd name="connsiteY336" fmla="*/ 4882541 h 7391342"/>
              <a:gd name="connsiteX337" fmla="*/ 553593 w 9114518"/>
              <a:gd name="connsiteY337" fmla="*/ 4886049 h 7391342"/>
              <a:gd name="connsiteX338" fmla="*/ 586648 w 9114518"/>
              <a:gd name="connsiteY338" fmla="*/ 4899212 h 7391342"/>
              <a:gd name="connsiteX339" fmla="*/ 607989 w 9114518"/>
              <a:gd name="connsiteY339" fmla="*/ 4925987 h 7391342"/>
              <a:gd name="connsiteX340" fmla="*/ 615560 w 9114518"/>
              <a:gd name="connsiteY340" fmla="*/ 4970332 h 7391342"/>
              <a:gd name="connsiteX341" fmla="*/ 607989 w 9114518"/>
              <a:gd name="connsiteY341" fmla="*/ 5013251 h 7391342"/>
              <a:gd name="connsiteX342" fmla="*/ 586648 w 9114518"/>
              <a:gd name="connsiteY342" fmla="*/ 5040185 h 7391342"/>
              <a:gd name="connsiteX343" fmla="*/ 553593 w 9114518"/>
              <a:gd name="connsiteY343" fmla="*/ 5054139 h 7391342"/>
              <a:gd name="connsiteX344" fmla="*/ 510883 w 9114518"/>
              <a:gd name="connsiteY344" fmla="*/ 5058123 h 7391342"/>
              <a:gd name="connsiteX345" fmla="*/ 469154 w 9114518"/>
              <a:gd name="connsiteY345" fmla="*/ 5054139 h 7391342"/>
              <a:gd name="connsiteX346" fmla="*/ 436602 w 9114518"/>
              <a:gd name="connsiteY346" fmla="*/ 5040185 h 7391342"/>
              <a:gd name="connsiteX347" fmla="*/ 415446 w 9114518"/>
              <a:gd name="connsiteY347" fmla="*/ 5013251 h 7391342"/>
              <a:gd name="connsiteX348" fmla="*/ 407902 w 9114518"/>
              <a:gd name="connsiteY348" fmla="*/ 4970332 h 7391342"/>
              <a:gd name="connsiteX349" fmla="*/ 415446 w 9114518"/>
              <a:gd name="connsiteY349" fmla="*/ 4925987 h 7391342"/>
              <a:gd name="connsiteX350" fmla="*/ 436602 w 9114518"/>
              <a:gd name="connsiteY350" fmla="*/ 4899212 h 7391342"/>
              <a:gd name="connsiteX351" fmla="*/ 469154 w 9114518"/>
              <a:gd name="connsiteY351" fmla="*/ 4886049 h 7391342"/>
              <a:gd name="connsiteX352" fmla="*/ 4158261 w 9114518"/>
              <a:gd name="connsiteY352" fmla="*/ 4558390 h 7391342"/>
              <a:gd name="connsiteX353" fmla="*/ 4209470 w 9114518"/>
              <a:gd name="connsiteY353" fmla="*/ 4560112 h 7391342"/>
              <a:gd name="connsiteX354" fmla="*/ 4257050 w 9114518"/>
              <a:gd name="connsiteY354" fmla="*/ 4565232 h 7391342"/>
              <a:gd name="connsiteX355" fmla="*/ 4301119 w 9114518"/>
              <a:gd name="connsiteY355" fmla="*/ 4573678 h 7391342"/>
              <a:gd name="connsiteX356" fmla="*/ 4341791 w 9114518"/>
              <a:gd name="connsiteY356" fmla="*/ 4585379 h 7391342"/>
              <a:gd name="connsiteX357" fmla="*/ 4379182 w 9114518"/>
              <a:gd name="connsiteY357" fmla="*/ 4600264 h 7391342"/>
              <a:gd name="connsiteX358" fmla="*/ 4413410 w 9114518"/>
              <a:gd name="connsiteY358" fmla="*/ 4618262 h 7391342"/>
              <a:gd name="connsiteX359" fmla="*/ 4472834 w 9114518"/>
              <a:gd name="connsiteY359" fmla="*/ 4663313 h 7391342"/>
              <a:gd name="connsiteX360" fmla="*/ 4520992 w 9114518"/>
              <a:gd name="connsiteY360" fmla="*/ 4719963 h 7391342"/>
              <a:gd name="connsiteX361" fmla="*/ 4541136 w 9114518"/>
              <a:gd name="connsiteY361" fmla="*/ 4752460 h 7391342"/>
              <a:gd name="connsiteX362" fmla="*/ 4558811 w 9114518"/>
              <a:gd name="connsiteY362" fmla="*/ 4787643 h 7391342"/>
              <a:gd name="connsiteX363" fmla="*/ 4574133 w 9114518"/>
              <a:gd name="connsiteY363" fmla="*/ 4825441 h 7391342"/>
              <a:gd name="connsiteX364" fmla="*/ 4587218 w 9114518"/>
              <a:gd name="connsiteY364" fmla="*/ 4865784 h 7391342"/>
              <a:gd name="connsiteX365" fmla="*/ 4598182 w 9114518"/>
              <a:gd name="connsiteY365" fmla="*/ 4908599 h 7391342"/>
              <a:gd name="connsiteX366" fmla="*/ 4607142 w 9114518"/>
              <a:gd name="connsiteY366" fmla="*/ 4953817 h 7391342"/>
              <a:gd name="connsiteX367" fmla="*/ 4614212 w 9114518"/>
              <a:gd name="connsiteY367" fmla="*/ 5001365 h 7391342"/>
              <a:gd name="connsiteX368" fmla="*/ 4619509 w 9114518"/>
              <a:gd name="connsiteY368" fmla="*/ 5051174 h 7391342"/>
              <a:gd name="connsiteX369" fmla="*/ 4623150 w 9114518"/>
              <a:gd name="connsiteY369" fmla="*/ 5103171 h 7391342"/>
              <a:gd name="connsiteX370" fmla="*/ 4625249 w 9114518"/>
              <a:gd name="connsiteY370" fmla="*/ 5157286 h 7391342"/>
              <a:gd name="connsiteX371" fmla="*/ 4625923 w 9114518"/>
              <a:gd name="connsiteY371" fmla="*/ 5213447 h 7391342"/>
              <a:gd name="connsiteX372" fmla="*/ 4625281 w 9114518"/>
              <a:gd name="connsiteY372" fmla="*/ 5269849 h 7391342"/>
              <a:gd name="connsiteX373" fmla="*/ 4623274 w 9114518"/>
              <a:gd name="connsiteY373" fmla="*/ 5324204 h 7391342"/>
              <a:gd name="connsiteX374" fmla="*/ 4619775 w 9114518"/>
              <a:gd name="connsiteY374" fmla="*/ 5376438 h 7391342"/>
              <a:gd name="connsiteX375" fmla="*/ 4614658 w 9114518"/>
              <a:gd name="connsiteY375" fmla="*/ 5426481 h 7391342"/>
              <a:gd name="connsiteX376" fmla="*/ 4607797 w 9114518"/>
              <a:gd name="connsiteY376" fmla="*/ 5474260 h 7391342"/>
              <a:gd name="connsiteX377" fmla="*/ 4599067 w 9114518"/>
              <a:gd name="connsiteY377" fmla="*/ 5519702 h 7391342"/>
              <a:gd name="connsiteX378" fmla="*/ 4588342 w 9114518"/>
              <a:gd name="connsiteY378" fmla="*/ 5562735 h 7391342"/>
              <a:gd name="connsiteX379" fmla="*/ 4575496 w 9114518"/>
              <a:gd name="connsiteY379" fmla="*/ 5603288 h 7391342"/>
              <a:gd name="connsiteX380" fmla="*/ 4560403 w 9114518"/>
              <a:gd name="connsiteY380" fmla="*/ 5641288 h 7391342"/>
              <a:gd name="connsiteX381" fmla="*/ 4542938 w 9114518"/>
              <a:gd name="connsiteY381" fmla="*/ 5676663 h 7391342"/>
              <a:gd name="connsiteX382" fmla="*/ 4522974 w 9114518"/>
              <a:gd name="connsiteY382" fmla="*/ 5709341 h 7391342"/>
              <a:gd name="connsiteX383" fmla="*/ 4475049 w 9114518"/>
              <a:gd name="connsiteY383" fmla="*/ 5766315 h 7391342"/>
              <a:gd name="connsiteX384" fmla="*/ 4415622 w 9114518"/>
              <a:gd name="connsiteY384" fmla="*/ 5811633 h 7391342"/>
              <a:gd name="connsiteX385" fmla="*/ 4381279 w 9114518"/>
              <a:gd name="connsiteY385" fmla="*/ 5829741 h 7391342"/>
              <a:gd name="connsiteX386" fmla="*/ 4343685 w 9114518"/>
              <a:gd name="connsiteY386" fmla="*/ 5844719 h 7391342"/>
              <a:gd name="connsiteX387" fmla="*/ 4302711 w 9114518"/>
              <a:gd name="connsiteY387" fmla="*/ 5856494 h 7391342"/>
              <a:gd name="connsiteX388" fmla="*/ 4258233 w 9114518"/>
              <a:gd name="connsiteY388" fmla="*/ 5864994 h 7391342"/>
              <a:gd name="connsiteX389" fmla="*/ 4210125 w 9114518"/>
              <a:gd name="connsiteY389" fmla="*/ 5870147 h 7391342"/>
              <a:gd name="connsiteX390" fmla="*/ 4158261 w 9114518"/>
              <a:gd name="connsiteY390" fmla="*/ 5871880 h 7391342"/>
              <a:gd name="connsiteX391" fmla="*/ 4158261 w 9114518"/>
              <a:gd name="connsiteY391" fmla="*/ 5773960 h 7391342"/>
              <a:gd name="connsiteX392" fmla="*/ 4208509 w 9114518"/>
              <a:gd name="connsiteY392" fmla="*/ 5771701 h 7391342"/>
              <a:gd name="connsiteX393" fmla="*/ 4253940 w 9114518"/>
              <a:gd name="connsiteY393" fmla="*/ 5765006 h 7391342"/>
              <a:gd name="connsiteX394" fmla="*/ 4294781 w 9114518"/>
              <a:gd name="connsiteY394" fmla="*/ 5753993 h 7391342"/>
              <a:gd name="connsiteX395" fmla="*/ 4331261 w 9114518"/>
              <a:gd name="connsiteY395" fmla="*/ 5738782 h 7391342"/>
              <a:gd name="connsiteX396" fmla="*/ 4392054 w 9114518"/>
              <a:gd name="connsiteY396" fmla="*/ 5696245 h 7391342"/>
              <a:gd name="connsiteX397" fmla="*/ 4438152 w 9114518"/>
              <a:gd name="connsiteY397" fmla="*/ 5638352 h 7391342"/>
              <a:gd name="connsiteX398" fmla="*/ 4456261 w 9114518"/>
              <a:gd name="connsiteY398" fmla="*/ 5603946 h 7391342"/>
              <a:gd name="connsiteX399" fmla="*/ 4471383 w 9114518"/>
              <a:gd name="connsiteY399" fmla="*/ 5566059 h 7391342"/>
              <a:gd name="connsiteX400" fmla="*/ 4483746 w 9114518"/>
              <a:gd name="connsiteY400" fmla="*/ 5524811 h 7391342"/>
              <a:gd name="connsiteX401" fmla="*/ 4493579 w 9114518"/>
              <a:gd name="connsiteY401" fmla="*/ 5480323 h 7391342"/>
              <a:gd name="connsiteX402" fmla="*/ 4501111 w 9114518"/>
              <a:gd name="connsiteY402" fmla="*/ 5432712 h 7391342"/>
              <a:gd name="connsiteX403" fmla="*/ 4506571 w 9114518"/>
              <a:gd name="connsiteY403" fmla="*/ 5382100 h 7391342"/>
              <a:gd name="connsiteX404" fmla="*/ 4510187 w 9114518"/>
              <a:gd name="connsiteY404" fmla="*/ 5328605 h 7391342"/>
              <a:gd name="connsiteX405" fmla="*/ 4512189 w 9114518"/>
              <a:gd name="connsiteY405" fmla="*/ 5272348 h 7391342"/>
              <a:gd name="connsiteX406" fmla="*/ 4512806 w 9114518"/>
              <a:gd name="connsiteY406" fmla="*/ 5213447 h 7391342"/>
              <a:gd name="connsiteX407" fmla="*/ 4512156 w 9114518"/>
              <a:gd name="connsiteY407" fmla="*/ 5155124 h 7391342"/>
              <a:gd name="connsiteX408" fmla="*/ 4510064 w 9114518"/>
              <a:gd name="connsiteY408" fmla="*/ 5099410 h 7391342"/>
              <a:gd name="connsiteX409" fmla="*/ 4506311 w 9114518"/>
              <a:gd name="connsiteY409" fmla="*/ 5046423 h 7391342"/>
              <a:gd name="connsiteX410" fmla="*/ 4500682 w 9114518"/>
              <a:gd name="connsiteY410" fmla="*/ 4996284 h 7391342"/>
              <a:gd name="connsiteX411" fmla="*/ 4492961 w 9114518"/>
              <a:gd name="connsiteY411" fmla="*/ 4949112 h 7391342"/>
              <a:gd name="connsiteX412" fmla="*/ 4482930 w 9114518"/>
              <a:gd name="connsiteY412" fmla="*/ 4905026 h 7391342"/>
              <a:gd name="connsiteX413" fmla="*/ 4470374 w 9114518"/>
              <a:gd name="connsiteY413" fmla="*/ 4864147 h 7391342"/>
              <a:gd name="connsiteX414" fmla="*/ 4455075 w 9114518"/>
              <a:gd name="connsiteY414" fmla="*/ 4826593 h 7391342"/>
              <a:gd name="connsiteX415" fmla="*/ 4436818 w 9114518"/>
              <a:gd name="connsiteY415" fmla="*/ 4792484 h 7391342"/>
              <a:gd name="connsiteX416" fmla="*/ 4390560 w 9114518"/>
              <a:gd name="connsiteY416" fmla="*/ 4735082 h 7391342"/>
              <a:gd name="connsiteX417" fmla="*/ 4329869 w 9114518"/>
              <a:gd name="connsiteY417" fmla="*/ 4692895 h 7391342"/>
              <a:gd name="connsiteX418" fmla="*/ 4293570 w 9114518"/>
              <a:gd name="connsiteY418" fmla="*/ 4677807 h 7391342"/>
              <a:gd name="connsiteX419" fmla="*/ 4253013 w 9114518"/>
              <a:gd name="connsiteY419" fmla="*/ 4666882 h 7391342"/>
              <a:gd name="connsiteX420" fmla="*/ 4207982 w 9114518"/>
              <a:gd name="connsiteY420" fmla="*/ 4660239 h 7391342"/>
              <a:gd name="connsiteX421" fmla="*/ 4158261 w 9114518"/>
              <a:gd name="connsiteY421" fmla="*/ 4657998 h 7391342"/>
              <a:gd name="connsiteX422" fmla="*/ 4065343 w 9114518"/>
              <a:gd name="connsiteY422" fmla="*/ 4558390 h 7391342"/>
              <a:gd name="connsiteX423" fmla="*/ 4065343 w 9114518"/>
              <a:gd name="connsiteY423" fmla="*/ 4657998 h 7391342"/>
              <a:gd name="connsiteX424" fmla="*/ 4015903 w 9114518"/>
              <a:gd name="connsiteY424" fmla="*/ 4660239 h 7391342"/>
              <a:gd name="connsiteX425" fmla="*/ 3971120 w 9114518"/>
              <a:gd name="connsiteY425" fmla="*/ 4666882 h 7391342"/>
              <a:gd name="connsiteX426" fmla="*/ 3930781 w 9114518"/>
              <a:gd name="connsiteY426" fmla="*/ 4677807 h 7391342"/>
              <a:gd name="connsiteX427" fmla="*/ 3894670 w 9114518"/>
              <a:gd name="connsiteY427" fmla="*/ 4692895 h 7391342"/>
              <a:gd name="connsiteX428" fmla="*/ 3834276 w 9114518"/>
              <a:gd name="connsiteY428" fmla="*/ 4735082 h 7391342"/>
              <a:gd name="connsiteX429" fmla="*/ 3788225 w 9114518"/>
              <a:gd name="connsiteY429" fmla="*/ 4792484 h 7391342"/>
              <a:gd name="connsiteX430" fmla="*/ 3770042 w 9114518"/>
              <a:gd name="connsiteY430" fmla="*/ 4826593 h 7391342"/>
              <a:gd name="connsiteX431" fmla="*/ 3754800 w 9114518"/>
              <a:gd name="connsiteY431" fmla="*/ 4864147 h 7391342"/>
              <a:gd name="connsiteX432" fmla="*/ 3742287 w 9114518"/>
              <a:gd name="connsiteY432" fmla="*/ 4905026 h 7391342"/>
              <a:gd name="connsiteX433" fmla="*/ 3732287 w 9114518"/>
              <a:gd name="connsiteY433" fmla="*/ 4949112 h 7391342"/>
              <a:gd name="connsiteX434" fmla="*/ 3724586 w 9114518"/>
              <a:gd name="connsiteY434" fmla="*/ 4996284 h 7391342"/>
              <a:gd name="connsiteX435" fmla="*/ 3718969 w 9114518"/>
              <a:gd name="connsiteY435" fmla="*/ 5046423 h 7391342"/>
              <a:gd name="connsiteX436" fmla="*/ 3715223 w 9114518"/>
              <a:gd name="connsiteY436" fmla="*/ 5099410 h 7391342"/>
              <a:gd name="connsiteX437" fmla="*/ 3713132 w 9114518"/>
              <a:gd name="connsiteY437" fmla="*/ 5155124 h 7391342"/>
              <a:gd name="connsiteX438" fmla="*/ 3712483 w 9114518"/>
              <a:gd name="connsiteY438" fmla="*/ 5213447 h 7391342"/>
              <a:gd name="connsiteX439" fmla="*/ 3713116 w 9114518"/>
              <a:gd name="connsiteY439" fmla="*/ 5272348 h 7391342"/>
              <a:gd name="connsiteX440" fmla="*/ 3715161 w 9114518"/>
              <a:gd name="connsiteY440" fmla="*/ 5328605 h 7391342"/>
              <a:gd name="connsiteX441" fmla="*/ 3718840 w 9114518"/>
              <a:gd name="connsiteY441" fmla="*/ 5382100 h 7391342"/>
              <a:gd name="connsiteX442" fmla="*/ 3724372 w 9114518"/>
              <a:gd name="connsiteY442" fmla="*/ 5432712 h 7391342"/>
              <a:gd name="connsiteX443" fmla="*/ 3731978 w 9114518"/>
              <a:gd name="connsiteY443" fmla="*/ 5480323 h 7391342"/>
              <a:gd name="connsiteX444" fmla="*/ 3741879 w 9114518"/>
              <a:gd name="connsiteY444" fmla="*/ 5524811 h 7391342"/>
              <a:gd name="connsiteX445" fmla="*/ 3754296 w 9114518"/>
              <a:gd name="connsiteY445" fmla="*/ 5566059 h 7391342"/>
              <a:gd name="connsiteX446" fmla="*/ 3769449 w 9114518"/>
              <a:gd name="connsiteY446" fmla="*/ 5603946 h 7391342"/>
              <a:gd name="connsiteX447" fmla="*/ 3787558 w 9114518"/>
              <a:gd name="connsiteY447" fmla="*/ 5638352 h 7391342"/>
              <a:gd name="connsiteX448" fmla="*/ 3833530 w 9114518"/>
              <a:gd name="connsiteY448" fmla="*/ 5696245 h 7391342"/>
              <a:gd name="connsiteX449" fmla="*/ 3893974 w 9114518"/>
              <a:gd name="connsiteY449" fmla="*/ 5738782 h 7391342"/>
              <a:gd name="connsiteX450" fmla="*/ 3930176 w 9114518"/>
              <a:gd name="connsiteY450" fmla="*/ 5753993 h 7391342"/>
              <a:gd name="connsiteX451" fmla="*/ 3970657 w 9114518"/>
              <a:gd name="connsiteY451" fmla="*/ 5765006 h 7391342"/>
              <a:gd name="connsiteX452" fmla="*/ 4015639 w 9114518"/>
              <a:gd name="connsiteY452" fmla="*/ 5771701 h 7391342"/>
              <a:gd name="connsiteX453" fmla="*/ 4065343 w 9114518"/>
              <a:gd name="connsiteY453" fmla="*/ 5773960 h 7391342"/>
              <a:gd name="connsiteX454" fmla="*/ 4065343 w 9114518"/>
              <a:gd name="connsiteY454" fmla="*/ 5871880 h 7391342"/>
              <a:gd name="connsiteX455" fmla="*/ 4013697 w 9114518"/>
              <a:gd name="connsiteY455" fmla="*/ 5870147 h 7391342"/>
              <a:gd name="connsiteX456" fmla="*/ 3965764 w 9114518"/>
              <a:gd name="connsiteY456" fmla="*/ 5864994 h 7391342"/>
              <a:gd name="connsiteX457" fmla="*/ 3921423 w 9114518"/>
              <a:gd name="connsiteY457" fmla="*/ 5856494 h 7391342"/>
              <a:gd name="connsiteX458" fmla="*/ 3880550 w 9114518"/>
              <a:gd name="connsiteY458" fmla="*/ 5844719 h 7391342"/>
              <a:gd name="connsiteX459" fmla="*/ 3843023 w 9114518"/>
              <a:gd name="connsiteY459" fmla="*/ 5829741 h 7391342"/>
              <a:gd name="connsiteX460" fmla="*/ 3808718 w 9114518"/>
              <a:gd name="connsiteY460" fmla="*/ 5811633 h 7391342"/>
              <a:gd name="connsiteX461" fmla="*/ 3749292 w 9114518"/>
              <a:gd name="connsiteY461" fmla="*/ 5766315 h 7391342"/>
              <a:gd name="connsiteX462" fmla="*/ 3701290 w 9114518"/>
              <a:gd name="connsiteY462" fmla="*/ 5709341 h 7391342"/>
              <a:gd name="connsiteX463" fmla="*/ 3681266 w 9114518"/>
              <a:gd name="connsiteY463" fmla="*/ 5676663 h 7391342"/>
              <a:gd name="connsiteX464" fmla="*/ 3663731 w 9114518"/>
              <a:gd name="connsiteY464" fmla="*/ 5641288 h 7391342"/>
              <a:gd name="connsiteX465" fmla="*/ 3648562 w 9114518"/>
              <a:gd name="connsiteY465" fmla="*/ 5603288 h 7391342"/>
              <a:gd name="connsiteX466" fmla="*/ 3635636 w 9114518"/>
              <a:gd name="connsiteY466" fmla="*/ 5562735 h 7391342"/>
              <a:gd name="connsiteX467" fmla="*/ 3624831 w 9114518"/>
              <a:gd name="connsiteY467" fmla="*/ 5519702 h 7391342"/>
              <a:gd name="connsiteX468" fmla="*/ 3616025 w 9114518"/>
              <a:gd name="connsiteY468" fmla="*/ 5474260 h 7391342"/>
              <a:gd name="connsiteX469" fmla="*/ 3609094 w 9114518"/>
              <a:gd name="connsiteY469" fmla="*/ 5426481 h 7391342"/>
              <a:gd name="connsiteX470" fmla="*/ 3603917 w 9114518"/>
              <a:gd name="connsiteY470" fmla="*/ 5376438 h 7391342"/>
              <a:gd name="connsiteX471" fmla="*/ 3600371 w 9114518"/>
              <a:gd name="connsiteY471" fmla="*/ 5324204 h 7391342"/>
              <a:gd name="connsiteX472" fmla="*/ 3598333 w 9114518"/>
              <a:gd name="connsiteY472" fmla="*/ 5269849 h 7391342"/>
              <a:gd name="connsiteX473" fmla="*/ 3597681 w 9114518"/>
              <a:gd name="connsiteY473" fmla="*/ 5213447 h 7391342"/>
              <a:gd name="connsiteX474" fmla="*/ 3598355 w 9114518"/>
              <a:gd name="connsiteY474" fmla="*/ 5157286 h 7391342"/>
              <a:gd name="connsiteX475" fmla="*/ 3600454 w 9114518"/>
              <a:gd name="connsiteY475" fmla="*/ 5103171 h 7391342"/>
              <a:gd name="connsiteX476" fmla="*/ 3604094 w 9114518"/>
              <a:gd name="connsiteY476" fmla="*/ 5051174 h 7391342"/>
              <a:gd name="connsiteX477" fmla="*/ 3609392 w 9114518"/>
              <a:gd name="connsiteY477" fmla="*/ 5001365 h 7391342"/>
              <a:gd name="connsiteX478" fmla="*/ 3616463 w 9114518"/>
              <a:gd name="connsiteY478" fmla="*/ 4953817 h 7391342"/>
              <a:gd name="connsiteX479" fmla="*/ 3625423 w 9114518"/>
              <a:gd name="connsiteY479" fmla="*/ 4908599 h 7391342"/>
              <a:gd name="connsiteX480" fmla="*/ 3636387 w 9114518"/>
              <a:gd name="connsiteY480" fmla="*/ 4865784 h 7391342"/>
              <a:gd name="connsiteX481" fmla="*/ 3649473 w 9114518"/>
              <a:gd name="connsiteY481" fmla="*/ 4825441 h 7391342"/>
              <a:gd name="connsiteX482" fmla="*/ 3664796 w 9114518"/>
              <a:gd name="connsiteY482" fmla="*/ 4787643 h 7391342"/>
              <a:gd name="connsiteX483" fmla="*/ 3682471 w 9114518"/>
              <a:gd name="connsiteY483" fmla="*/ 4752460 h 7391342"/>
              <a:gd name="connsiteX484" fmla="*/ 3702615 w 9114518"/>
              <a:gd name="connsiteY484" fmla="*/ 4719963 h 7391342"/>
              <a:gd name="connsiteX485" fmla="*/ 3750773 w 9114518"/>
              <a:gd name="connsiteY485" fmla="*/ 4663313 h 7391342"/>
              <a:gd name="connsiteX486" fmla="*/ 3810197 w 9114518"/>
              <a:gd name="connsiteY486" fmla="*/ 4618262 h 7391342"/>
              <a:gd name="connsiteX487" fmla="*/ 3844425 w 9114518"/>
              <a:gd name="connsiteY487" fmla="*/ 4600264 h 7391342"/>
              <a:gd name="connsiteX488" fmla="*/ 3881816 w 9114518"/>
              <a:gd name="connsiteY488" fmla="*/ 4585379 h 7391342"/>
              <a:gd name="connsiteX489" fmla="*/ 3922488 w 9114518"/>
              <a:gd name="connsiteY489" fmla="*/ 4573678 h 7391342"/>
              <a:gd name="connsiteX490" fmla="*/ 3966555 w 9114518"/>
              <a:gd name="connsiteY490" fmla="*/ 4565232 h 7391342"/>
              <a:gd name="connsiteX491" fmla="*/ 4014135 w 9114518"/>
              <a:gd name="connsiteY491" fmla="*/ 4560112 h 7391342"/>
              <a:gd name="connsiteX492" fmla="*/ 0 w 9114518"/>
              <a:gd name="connsiteY492" fmla="*/ 3920215 h 7391342"/>
              <a:gd name="connsiteX493" fmla="*/ 915049 w 9114518"/>
              <a:gd name="connsiteY493" fmla="*/ 3920215 h 7391342"/>
              <a:gd name="connsiteX494" fmla="*/ 915049 w 9114518"/>
              <a:gd name="connsiteY494" fmla="*/ 4028265 h 7391342"/>
              <a:gd name="connsiteX495" fmla="*/ 0 w 9114518"/>
              <a:gd name="connsiteY495" fmla="*/ 4028265 h 7391342"/>
              <a:gd name="connsiteX496" fmla="*/ 0 w 9114518"/>
              <a:gd name="connsiteY496" fmla="*/ 3567362 h 7391342"/>
              <a:gd name="connsiteX497" fmla="*/ 915049 w 9114518"/>
              <a:gd name="connsiteY497" fmla="*/ 3567362 h 7391342"/>
              <a:gd name="connsiteX498" fmla="*/ 915049 w 9114518"/>
              <a:gd name="connsiteY498" fmla="*/ 3675412 h 7391342"/>
              <a:gd name="connsiteX499" fmla="*/ 0 w 9114518"/>
              <a:gd name="connsiteY499" fmla="*/ 3675412 h 7391342"/>
              <a:gd name="connsiteX500" fmla="*/ 1617156 w 9114518"/>
              <a:gd name="connsiteY500" fmla="*/ 3046199 h 7391342"/>
              <a:gd name="connsiteX501" fmla="*/ 1995337 w 9114518"/>
              <a:gd name="connsiteY501" fmla="*/ 3046199 h 7391342"/>
              <a:gd name="connsiteX502" fmla="*/ 1995337 w 9114518"/>
              <a:gd name="connsiteY502" fmla="*/ 3141449 h 7391342"/>
              <a:gd name="connsiteX503" fmla="*/ 1995337 w 9114518"/>
              <a:gd name="connsiteY503" fmla="*/ 4252699 h 7391342"/>
              <a:gd name="connsiteX504" fmla="*/ 1995337 w 9114518"/>
              <a:gd name="connsiteY504" fmla="*/ 4349219 h 7391342"/>
              <a:gd name="connsiteX505" fmla="*/ 1617156 w 9114518"/>
              <a:gd name="connsiteY505" fmla="*/ 4349219 h 7391342"/>
              <a:gd name="connsiteX506" fmla="*/ 1617156 w 9114518"/>
              <a:gd name="connsiteY506" fmla="*/ 4252699 h 7391342"/>
              <a:gd name="connsiteX507" fmla="*/ 1878853 w 9114518"/>
              <a:gd name="connsiteY507" fmla="*/ 4252699 h 7391342"/>
              <a:gd name="connsiteX508" fmla="*/ 1878853 w 9114518"/>
              <a:gd name="connsiteY508" fmla="*/ 3141449 h 7391342"/>
              <a:gd name="connsiteX509" fmla="*/ 1617156 w 9114518"/>
              <a:gd name="connsiteY509" fmla="*/ 3141449 h 7391342"/>
              <a:gd name="connsiteX510" fmla="*/ 1138061 w 9114518"/>
              <a:gd name="connsiteY510" fmla="*/ 3046199 h 7391342"/>
              <a:gd name="connsiteX511" fmla="*/ 1516242 w 9114518"/>
              <a:gd name="connsiteY511" fmla="*/ 3046199 h 7391342"/>
              <a:gd name="connsiteX512" fmla="*/ 1516242 w 9114518"/>
              <a:gd name="connsiteY512" fmla="*/ 3141449 h 7391342"/>
              <a:gd name="connsiteX513" fmla="*/ 1254558 w 9114518"/>
              <a:gd name="connsiteY513" fmla="*/ 3141449 h 7391342"/>
              <a:gd name="connsiteX514" fmla="*/ 1254558 w 9114518"/>
              <a:gd name="connsiteY514" fmla="*/ 4252699 h 7391342"/>
              <a:gd name="connsiteX515" fmla="*/ 1516242 w 9114518"/>
              <a:gd name="connsiteY515" fmla="*/ 4252699 h 7391342"/>
              <a:gd name="connsiteX516" fmla="*/ 1516242 w 9114518"/>
              <a:gd name="connsiteY516" fmla="*/ 4349219 h 7391342"/>
              <a:gd name="connsiteX517" fmla="*/ 1138061 w 9114518"/>
              <a:gd name="connsiteY517" fmla="*/ 4349219 h 7391342"/>
              <a:gd name="connsiteX518" fmla="*/ 1138061 w 9114518"/>
              <a:gd name="connsiteY518" fmla="*/ 4252699 h 7391342"/>
              <a:gd name="connsiteX519" fmla="*/ 1138061 w 9114518"/>
              <a:gd name="connsiteY519" fmla="*/ 3141449 h 7391342"/>
              <a:gd name="connsiteX520" fmla="*/ 3641480 w 9114518"/>
              <a:gd name="connsiteY520" fmla="*/ 3038926 h 7391342"/>
              <a:gd name="connsiteX521" fmla="*/ 3692687 w 9114518"/>
              <a:gd name="connsiteY521" fmla="*/ 3040648 h 7391342"/>
              <a:gd name="connsiteX522" fmla="*/ 3740267 w 9114518"/>
              <a:gd name="connsiteY522" fmla="*/ 3045768 h 7391342"/>
              <a:gd name="connsiteX523" fmla="*/ 3784335 w 9114518"/>
              <a:gd name="connsiteY523" fmla="*/ 3054214 h 7391342"/>
              <a:gd name="connsiteX524" fmla="*/ 3825006 w 9114518"/>
              <a:gd name="connsiteY524" fmla="*/ 3065915 h 7391342"/>
              <a:gd name="connsiteX525" fmla="*/ 3862397 w 9114518"/>
              <a:gd name="connsiteY525" fmla="*/ 3080800 h 7391342"/>
              <a:gd name="connsiteX526" fmla="*/ 3896625 w 9114518"/>
              <a:gd name="connsiteY526" fmla="*/ 3098798 h 7391342"/>
              <a:gd name="connsiteX527" fmla="*/ 3956049 w 9114518"/>
              <a:gd name="connsiteY527" fmla="*/ 3143849 h 7391342"/>
              <a:gd name="connsiteX528" fmla="*/ 4004207 w 9114518"/>
              <a:gd name="connsiteY528" fmla="*/ 3200499 h 7391342"/>
              <a:gd name="connsiteX529" fmla="*/ 4024351 w 9114518"/>
              <a:gd name="connsiteY529" fmla="*/ 3232996 h 7391342"/>
              <a:gd name="connsiteX530" fmla="*/ 4042026 w 9114518"/>
              <a:gd name="connsiteY530" fmla="*/ 3268179 h 7391342"/>
              <a:gd name="connsiteX531" fmla="*/ 4057349 w 9114518"/>
              <a:gd name="connsiteY531" fmla="*/ 3305977 h 7391342"/>
              <a:gd name="connsiteX532" fmla="*/ 4070435 w 9114518"/>
              <a:gd name="connsiteY532" fmla="*/ 3346320 h 7391342"/>
              <a:gd name="connsiteX533" fmla="*/ 4081399 w 9114518"/>
              <a:gd name="connsiteY533" fmla="*/ 3389137 h 7391342"/>
              <a:gd name="connsiteX534" fmla="*/ 4090359 w 9114518"/>
              <a:gd name="connsiteY534" fmla="*/ 3434354 h 7391342"/>
              <a:gd name="connsiteX535" fmla="*/ 4097430 w 9114518"/>
              <a:gd name="connsiteY535" fmla="*/ 3481903 h 7391342"/>
              <a:gd name="connsiteX536" fmla="*/ 4102728 w 9114518"/>
              <a:gd name="connsiteY536" fmla="*/ 3531711 h 7391342"/>
              <a:gd name="connsiteX537" fmla="*/ 4106368 w 9114518"/>
              <a:gd name="connsiteY537" fmla="*/ 3583708 h 7391342"/>
              <a:gd name="connsiteX538" fmla="*/ 4108468 w 9114518"/>
              <a:gd name="connsiteY538" fmla="*/ 3637823 h 7391342"/>
              <a:gd name="connsiteX539" fmla="*/ 4109142 w 9114518"/>
              <a:gd name="connsiteY539" fmla="*/ 3693984 h 7391342"/>
              <a:gd name="connsiteX540" fmla="*/ 4108500 w 9114518"/>
              <a:gd name="connsiteY540" fmla="*/ 3750386 h 7391342"/>
              <a:gd name="connsiteX541" fmla="*/ 4106493 w 9114518"/>
              <a:gd name="connsiteY541" fmla="*/ 3804741 h 7391342"/>
              <a:gd name="connsiteX542" fmla="*/ 4102994 w 9114518"/>
              <a:gd name="connsiteY542" fmla="*/ 3856976 h 7391342"/>
              <a:gd name="connsiteX543" fmla="*/ 4097877 w 9114518"/>
              <a:gd name="connsiteY543" fmla="*/ 3907019 h 7391342"/>
              <a:gd name="connsiteX544" fmla="*/ 4091016 w 9114518"/>
              <a:gd name="connsiteY544" fmla="*/ 3954797 h 7391342"/>
              <a:gd name="connsiteX545" fmla="*/ 4082286 w 9114518"/>
              <a:gd name="connsiteY545" fmla="*/ 4000240 h 7391342"/>
              <a:gd name="connsiteX546" fmla="*/ 4071561 w 9114518"/>
              <a:gd name="connsiteY546" fmla="*/ 4043273 h 7391342"/>
              <a:gd name="connsiteX547" fmla="*/ 4058715 w 9114518"/>
              <a:gd name="connsiteY547" fmla="*/ 4083826 h 7391342"/>
              <a:gd name="connsiteX548" fmla="*/ 4043622 w 9114518"/>
              <a:gd name="connsiteY548" fmla="*/ 4121826 h 7391342"/>
              <a:gd name="connsiteX549" fmla="*/ 4026157 w 9114518"/>
              <a:gd name="connsiteY549" fmla="*/ 4157201 h 7391342"/>
              <a:gd name="connsiteX550" fmla="*/ 4006193 w 9114518"/>
              <a:gd name="connsiteY550" fmla="*/ 4189879 h 7391342"/>
              <a:gd name="connsiteX551" fmla="*/ 3958268 w 9114518"/>
              <a:gd name="connsiteY551" fmla="*/ 4246853 h 7391342"/>
              <a:gd name="connsiteX552" fmla="*/ 3898841 w 9114518"/>
              <a:gd name="connsiteY552" fmla="*/ 4292171 h 7391342"/>
              <a:gd name="connsiteX553" fmla="*/ 3864498 w 9114518"/>
              <a:gd name="connsiteY553" fmla="*/ 4310279 h 7391342"/>
              <a:gd name="connsiteX554" fmla="*/ 3826904 w 9114518"/>
              <a:gd name="connsiteY554" fmla="*/ 4325257 h 7391342"/>
              <a:gd name="connsiteX555" fmla="*/ 3785930 w 9114518"/>
              <a:gd name="connsiteY555" fmla="*/ 4337032 h 7391342"/>
              <a:gd name="connsiteX556" fmla="*/ 3741452 w 9114518"/>
              <a:gd name="connsiteY556" fmla="*/ 4345532 h 7391342"/>
              <a:gd name="connsiteX557" fmla="*/ 3693344 w 9114518"/>
              <a:gd name="connsiteY557" fmla="*/ 4350685 h 7391342"/>
              <a:gd name="connsiteX558" fmla="*/ 3641480 w 9114518"/>
              <a:gd name="connsiteY558" fmla="*/ 4352418 h 7391342"/>
              <a:gd name="connsiteX559" fmla="*/ 3641480 w 9114518"/>
              <a:gd name="connsiteY559" fmla="*/ 4254498 h 7391342"/>
              <a:gd name="connsiteX560" fmla="*/ 3691728 w 9114518"/>
              <a:gd name="connsiteY560" fmla="*/ 4252239 h 7391342"/>
              <a:gd name="connsiteX561" fmla="*/ 3737159 w 9114518"/>
              <a:gd name="connsiteY561" fmla="*/ 4245544 h 7391342"/>
              <a:gd name="connsiteX562" fmla="*/ 3778000 w 9114518"/>
              <a:gd name="connsiteY562" fmla="*/ 4234531 h 7391342"/>
              <a:gd name="connsiteX563" fmla="*/ 3814480 w 9114518"/>
              <a:gd name="connsiteY563" fmla="*/ 4219320 h 7391342"/>
              <a:gd name="connsiteX564" fmla="*/ 3875274 w 9114518"/>
              <a:gd name="connsiteY564" fmla="*/ 4176783 h 7391342"/>
              <a:gd name="connsiteX565" fmla="*/ 3921371 w 9114518"/>
              <a:gd name="connsiteY565" fmla="*/ 4118890 h 7391342"/>
              <a:gd name="connsiteX566" fmla="*/ 3939480 w 9114518"/>
              <a:gd name="connsiteY566" fmla="*/ 4084484 h 7391342"/>
              <a:gd name="connsiteX567" fmla="*/ 3954602 w 9114518"/>
              <a:gd name="connsiteY567" fmla="*/ 4046597 h 7391342"/>
              <a:gd name="connsiteX568" fmla="*/ 3966965 w 9114518"/>
              <a:gd name="connsiteY568" fmla="*/ 4005349 h 7391342"/>
              <a:gd name="connsiteX569" fmla="*/ 3976798 w 9114518"/>
              <a:gd name="connsiteY569" fmla="*/ 3960860 h 7391342"/>
              <a:gd name="connsiteX570" fmla="*/ 3984330 w 9114518"/>
              <a:gd name="connsiteY570" fmla="*/ 3913250 h 7391342"/>
              <a:gd name="connsiteX571" fmla="*/ 3989790 w 9114518"/>
              <a:gd name="connsiteY571" fmla="*/ 3862638 h 7391342"/>
              <a:gd name="connsiteX572" fmla="*/ 3993406 w 9114518"/>
              <a:gd name="connsiteY572" fmla="*/ 3809143 h 7391342"/>
              <a:gd name="connsiteX573" fmla="*/ 3995408 w 9114518"/>
              <a:gd name="connsiteY573" fmla="*/ 3752885 h 7391342"/>
              <a:gd name="connsiteX574" fmla="*/ 3996025 w 9114518"/>
              <a:gd name="connsiteY574" fmla="*/ 3693984 h 7391342"/>
              <a:gd name="connsiteX575" fmla="*/ 3995375 w 9114518"/>
              <a:gd name="connsiteY575" fmla="*/ 3635662 h 7391342"/>
              <a:gd name="connsiteX576" fmla="*/ 3993282 w 9114518"/>
              <a:gd name="connsiteY576" fmla="*/ 3579947 h 7391342"/>
              <a:gd name="connsiteX577" fmla="*/ 3989529 w 9114518"/>
              <a:gd name="connsiteY577" fmla="*/ 3526961 h 7391342"/>
              <a:gd name="connsiteX578" fmla="*/ 3983900 w 9114518"/>
              <a:gd name="connsiteY578" fmla="*/ 3476822 h 7391342"/>
              <a:gd name="connsiteX579" fmla="*/ 3976178 w 9114518"/>
              <a:gd name="connsiteY579" fmla="*/ 3429650 h 7391342"/>
              <a:gd name="connsiteX580" fmla="*/ 3966147 w 9114518"/>
              <a:gd name="connsiteY580" fmla="*/ 3385563 h 7391342"/>
              <a:gd name="connsiteX581" fmla="*/ 3953590 w 9114518"/>
              <a:gd name="connsiteY581" fmla="*/ 3344684 h 7391342"/>
              <a:gd name="connsiteX582" fmla="*/ 3938291 w 9114518"/>
              <a:gd name="connsiteY582" fmla="*/ 3307130 h 7391342"/>
              <a:gd name="connsiteX583" fmla="*/ 3920033 w 9114518"/>
              <a:gd name="connsiteY583" fmla="*/ 3273021 h 7391342"/>
              <a:gd name="connsiteX584" fmla="*/ 3873774 w 9114518"/>
              <a:gd name="connsiteY584" fmla="*/ 3215619 h 7391342"/>
              <a:gd name="connsiteX585" fmla="*/ 3813084 w 9114518"/>
              <a:gd name="connsiteY585" fmla="*/ 3173432 h 7391342"/>
              <a:gd name="connsiteX586" fmla="*/ 3776785 w 9114518"/>
              <a:gd name="connsiteY586" fmla="*/ 3158344 h 7391342"/>
              <a:gd name="connsiteX587" fmla="*/ 3736230 w 9114518"/>
              <a:gd name="connsiteY587" fmla="*/ 3147419 h 7391342"/>
              <a:gd name="connsiteX588" fmla="*/ 3691200 w 9114518"/>
              <a:gd name="connsiteY588" fmla="*/ 3140776 h 7391342"/>
              <a:gd name="connsiteX589" fmla="*/ 3641480 w 9114518"/>
              <a:gd name="connsiteY589" fmla="*/ 3138535 h 7391342"/>
              <a:gd name="connsiteX590" fmla="*/ 3548584 w 9114518"/>
              <a:gd name="connsiteY590" fmla="*/ 3038926 h 7391342"/>
              <a:gd name="connsiteX591" fmla="*/ 3548584 w 9114518"/>
              <a:gd name="connsiteY591" fmla="*/ 3138535 h 7391342"/>
              <a:gd name="connsiteX592" fmla="*/ 3499144 w 9114518"/>
              <a:gd name="connsiteY592" fmla="*/ 3140776 h 7391342"/>
              <a:gd name="connsiteX593" fmla="*/ 3454362 w 9114518"/>
              <a:gd name="connsiteY593" fmla="*/ 3147419 h 7391342"/>
              <a:gd name="connsiteX594" fmla="*/ 3414023 w 9114518"/>
              <a:gd name="connsiteY594" fmla="*/ 3158344 h 7391342"/>
              <a:gd name="connsiteX595" fmla="*/ 3377913 w 9114518"/>
              <a:gd name="connsiteY595" fmla="*/ 3173432 h 7391342"/>
              <a:gd name="connsiteX596" fmla="*/ 3317522 w 9114518"/>
              <a:gd name="connsiteY596" fmla="*/ 3215619 h 7391342"/>
              <a:gd name="connsiteX597" fmla="*/ 3271471 w 9114518"/>
              <a:gd name="connsiteY597" fmla="*/ 3273021 h 7391342"/>
              <a:gd name="connsiteX598" fmla="*/ 3253289 w 9114518"/>
              <a:gd name="connsiteY598" fmla="*/ 3307130 h 7391342"/>
              <a:gd name="connsiteX599" fmla="*/ 3238049 w 9114518"/>
              <a:gd name="connsiteY599" fmla="*/ 3344684 h 7391342"/>
              <a:gd name="connsiteX600" fmla="*/ 3225536 w 9114518"/>
              <a:gd name="connsiteY600" fmla="*/ 3385563 h 7391342"/>
              <a:gd name="connsiteX601" fmla="*/ 3215537 w 9114518"/>
              <a:gd name="connsiteY601" fmla="*/ 3429650 h 7391342"/>
              <a:gd name="connsiteX602" fmla="*/ 3207836 w 9114518"/>
              <a:gd name="connsiteY602" fmla="*/ 3476822 h 7391342"/>
              <a:gd name="connsiteX603" fmla="*/ 3202221 w 9114518"/>
              <a:gd name="connsiteY603" fmla="*/ 3526961 h 7391342"/>
              <a:gd name="connsiteX604" fmla="*/ 3198475 w 9114518"/>
              <a:gd name="connsiteY604" fmla="*/ 3579947 h 7391342"/>
              <a:gd name="connsiteX605" fmla="*/ 3196384 w 9114518"/>
              <a:gd name="connsiteY605" fmla="*/ 3635662 h 7391342"/>
              <a:gd name="connsiteX606" fmla="*/ 3195735 w 9114518"/>
              <a:gd name="connsiteY606" fmla="*/ 3693984 h 7391342"/>
              <a:gd name="connsiteX607" fmla="*/ 3196368 w 9114518"/>
              <a:gd name="connsiteY607" fmla="*/ 3752885 h 7391342"/>
              <a:gd name="connsiteX608" fmla="*/ 3198413 w 9114518"/>
              <a:gd name="connsiteY608" fmla="*/ 3809143 h 7391342"/>
              <a:gd name="connsiteX609" fmla="*/ 3202091 w 9114518"/>
              <a:gd name="connsiteY609" fmla="*/ 3862638 h 7391342"/>
              <a:gd name="connsiteX610" fmla="*/ 3207622 w 9114518"/>
              <a:gd name="connsiteY610" fmla="*/ 3913250 h 7391342"/>
              <a:gd name="connsiteX611" fmla="*/ 3215228 w 9114518"/>
              <a:gd name="connsiteY611" fmla="*/ 3960860 h 7391342"/>
              <a:gd name="connsiteX612" fmla="*/ 3225128 w 9114518"/>
              <a:gd name="connsiteY612" fmla="*/ 4005349 h 7391342"/>
              <a:gd name="connsiteX613" fmla="*/ 3237544 w 9114518"/>
              <a:gd name="connsiteY613" fmla="*/ 4046597 h 7391342"/>
              <a:gd name="connsiteX614" fmla="*/ 3252696 w 9114518"/>
              <a:gd name="connsiteY614" fmla="*/ 4084484 h 7391342"/>
              <a:gd name="connsiteX615" fmla="*/ 3270804 w 9114518"/>
              <a:gd name="connsiteY615" fmla="*/ 4118890 h 7391342"/>
              <a:gd name="connsiteX616" fmla="*/ 3316774 w 9114518"/>
              <a:gd name="connsiteY616" fmla="*/ 4176783 h 7391342"/>
              <a:gd name="connsiteX617" fmla="*/ 3377217 w 9114518"/>
              <a:gd name="connsiteY617" fmla="*/ 4219320 h 7391342"/>
              <a:gd name="connsiteX618" fmla="*/ 3413418 w 9114518"/>
              <a:gd name="connsiteY618" fmla="*/ 4234531 h 7391342"/>
              <a:gd name="connsiteX619" fmla="*/ 3453899 w 9114518"/>
              <a:gd name="connsiteY619" fmla="*/ 4245544 h 7391342"/>
              <a:gd name="connsiteX620" fmla="*/ 3498881 w 9114518"/>
              <a:gd name="connsiteY620" fmla="*/ 4252239 h 7391342"/>
              <a:gd name="connsiteX621" fmla="*/ 3548584 w 9114518"/>
              <a:gd name="connsiteY621" fmla="*/ 4254498 h 7391342"/>
              <a:gd name="connsiteX622" fmla="*/ 3548584 w 9114518"/>
              <a:gd name="connsiteY622" fmla="*/ 4352418 h 7391342"/>
              <a:gd name="connsiteX623" fmla="*/ 3496940 w 9114518"/>
              <a:gd name="connsiteY623" fmla="*/ 4350685 h 7391342"/>
              <a:gd name="connsiteX624" fmla="*/ 3449008 w 9114518"/>
              <a:gd name="connsiteY624" fmla="*/ 4345532 h 7391342"/>
              <a:gd name="connsiteX625" fmla="*/ 3404668 w 9114518"/>
              <a:gd name="connsiteY625" fmla="*/ 4337032 h 7391342"/>
              <a:gd name="connsiteX626" fmla="*/ 3363796 w 9114518"/>
              <a:gd name="connsiteY626" fmla="*/ 4325257 h 7391342"/>
              <a:gd name="connsiteX627" fmla="*/ 3326270 w 9114518"/>
              <a:gd name="connsiteY627" fmla="*/ 4310279 h 7391342"/>
              <a:gd name="connsiteX628" fmla="*/ 3291967 w 9114518"/>
              <a:gd name="connsiteY628" fmla="*/ 4292171 h 7391342"/>
              <a:gd name="connsiteX629" fmla="*/ 3232542 w 9114518"/>
              <a:gd name="connsiteY629" fmla="*/ 4246853 h 7391342"/>
              <a:gd name="connsiteX630" fmla="*/ 3184540 w 9114518"/>
              <a:gd name="connsiteY630" fmla="*/ 4189879 h 7391342"/>
              <a:gd name="connsiteX631" fmla="*/ 3164517 w 9114518"/>
              <a:gd name="connsiteY631" fmla="*/ 4157201 h 7391342"/>
              <a:gd name="connsiteX632" fmla="*/ 3146982 w 9114518"/>
              <a:gd name="connsiteY632" fmla="*/ 4121826 h 7391342"/>
              <a:gd name="connsiteX633" fmla="*/ 3131813 w 9114518"/>
              <a:gd name="connsiteY633" fmla="*/ 4083826 h 7391342"/>
              <a:gd name="connsiteX634" fmla="*/ 3118888 w 9114518"/>
              <a:gd name="connsiteY634" fmla="*/ 4043273 h 7391342"/>
              <a:gd name="connsiteX635" fmla="*/ 3108083 w 9114518"/>
              <a:gd name="connsiteY635" fmla="*/ 4000240 h 7391342"/>
              <a:gd name="connsiteX636" fmla="*/ 3099276 w 9114518"/>
              <a:gd name="connsiteY636" fmla="*/ 3954797 h 7391342"/>
              <a:gd name="connsiteX637" fmla="*/ 3092346 w 9114518"/>
              <a:gd name="connsiteY637" fmla="*/ 3907019 h 7391342"/>
              <a:gd name="connsiteX638" fmla="*/ 3087169 w 9114518"/>
              <a:gd name="connsiteY638" fmla="*/ 3856976 h 7391342"/>
              <a:gd name="connsiteX639" fmla="*/ 3083623 w 9114518"/>
              <a:gd name="connsiteY639" fmla="*/ 3804741 h 7391342"/>
              <a:gd name="connsiteX640" fmla="*/ 3081585 w 9114518"/>
              <a:gd name="connsiteY640" fmla="*/ 3750386 h 7391342"/>
              <a:gd name="connsiteX641" fmla="*/ 3080933 w 9114518"/>
              <a:gd name="connsiteY641" fmla="*/ 3693984 h 7391342"/>
              <a:gd name="connsiteX642" fmla="*/ 3081606 w 9114518"/>
              <a:gd name="connsiteY642" fmla="*/ 3637823 h 7391342"/>
              <a:gd name="connsiteX643" fmla="*/ 3083706 w 9114518"/>
              <a:gd name="connsiteY643" fmla="*/ 3583708 h 7391342"/>
              <a:gd name="connsiteX644" fmla="*/ 3087346 w 9114518"/>
              <a:gd name="connsiteY644" fmla="*/ 3531711 h 7391342"/>
              <a:gd name="connsiteX645" fmla="*/ 3092643 w 9114518"/>
              <a:gd name="connsiteY645" fmla="*/ 3481903 h 7391342"/>
              <a:gd name="connsiteX646" fmla="*/ 3099713 w 9114518"/>
              <a:gd name="connsiteY646" fmla="*/ 3434354 h 7391342"/>
              <a:gd name="connsiteX647" fmla="*/ 3108673 w 9114518"/>
              <a:gd name="connsiteY647" fmla="*/ 3389137 h 7391342"/>
              <a:gd name="connsiteX648" fmla="*/ 3119637 w 9114518"/>
              <a:gd name="connsiteY648" fmla="*/ 3346320 h 7391342"/>
              <a:gd name="connsiteX649" fmla="*/ 3132722 w 9114518"/>
              <a:gd name="connsiteY649" fmla="*/ 3305977 h 7391342"/>
              <a:gd name="connsiteX650" fmla="*/ 3148044 w 9114518"/>
              <a:gd name="connsiteY650" fmla="*/ 3268179 h 7391342"/>
              <a:gd name="connsiteX651" fmla="*/ 3165718 w 9114518"/>
              <a:gd name="connsiteY651" fmla="*/ 3232996 h 7391342"/>
              <a:gd name="connsiteX652" fmla="*/ 3185862 w 9114518"/>
              <a:gd name="connsiteY652" fmla="*/ 3200499 h 7391342"/>
              <a:gd name="connsiteX653" fmla="*/ 3234018 w 9114518"/>
              <a:gd name="connsiteY653" fmla="*/ 3143849 h 7391342"/>
              <a:gd name="connsiteX654" fmla="*/ 3293441 w 9114518"/>
              <a:gd name="connsiteY654" fmla="*/ 3098798 h 7391342"/>
              <a:gd name="connsiteX655" fmla="*/ 3327668 w 9114518"/>
              <a:gd name="connsiteY655" fmla="*/ 3080800 h 7391342"/>
              <a:gd name="connsiteX656" fmla="*/ 3365059 w 9114518"/>
              <a:gd name="connsiteY656" fmla="*/ 3065915 h 7391342"/>
              <a:gd name="connsiteX657" fmla="*/ 3405730 w 9114518"/>
              <a:gd name="connsiteY657" fmla="*/ 3054214 h 7391342"/>
              <a:gd name="connsiteX658" fmla="*/ 3449797 w 9114518"/>
              <a:gd name="connsiteY658" fmla="*/ 3045768 h 7391342"/>
              <a:gd name="connsiteX659" fmla="*/ 3497376 w 9114518"/>
              <a:gd name="connsiteY659" fmla="*/ 3040648 h 7391342"/>
              <a:gd name="connsiteX660" fmla="*/ 3678369 w 9114518"/>
              <a:gd name="connsiteY660" fmla="*/ 2400757 h 7391342"/>
              <a:gd name="connsiteX661" fmla="*/ 4593430 w 9114518"/>
              <a:gd name="connsiteY661" fmla="*/ 2400757 h 7391342"/>
              <a:gd name="connsiteX662" fmla="*/ 4593430 w 9114518"/>
              <a:gd name="connsiteY662" fmla="*/ 2508807 h 7391342"/>
              <a:gd name="connsiteX663" fmla="*/ 3678369 w 9114518"/>
              <a:gd name="connsiteY663" fmla="*/ 2508807 h 7391342"/>
              <a:gd name="connsiteX664" fmla="*/ 2579115 w 9114518"/>
              <a:gd name="connsiteY664" fmla="*/ 2400753 h 7391342"/>
              <a:gd name="connsiteX665" fmla="*/ 3494165 w 9114518"/>
              <a:gd name="connsiteY665" fmla="*/ 2400753 h 7391342"/>
              <a:gd name="connsiteX666" fmla="*/ 3494165 w 9114518"/>
              <a:gd name="connsiteY666" fmla="*/ 2508804 h 7391342"/>
              <a:gd name="connsiteX667" fmla="*/ 2579115 w 9114518"/>
              <a:gd name="connsiteY667" fmla="*/ 2508804 h 7391342"/>
              <a:gd name="connsiteX668" fmla="*/ 3678369 w 9114518"/>
              <a:gd name="connsiteY668" fmla="*/ 2047903 h 7391342"/>
              <a:gd name="connsiteX669" fmla="*/ 4593430 w 9114518"/>
              <a:gd name="connsiteY669" fmla="*/ 2047903 h 7391342"/>
              <a:gd name="connsiteX670" fmla="*/ 4593430 w 9114518"/>
              <a:gd name="connsiteY670" fmla="*/ 2155954 h 7391342"/>
              <a:gd name="connsiteX671" fmla="*/ 3678369 w 9114518"/>
              <a:gd name="connsiteY671" fmla="*/ 2155954 h 7391342"/>
              <a:gd name="connsiteX672" fmla="*/ 2579115 w 9114518"/>
              <a:gd name="connsiteY672" fmla="*/ 2047899 h 7391342"/>
              <a:gd name="connsiteX673" fmla="*/ 3494165 w 9114518"/>
              <a:gd name="connsiteY673" fmla="*/ 2047899 h 7391342"/>
              <a:gd name="connsiteX674" fmla="*/ 3494165 w 9114518"/>
              <a:gd name="connsiteY674" fmla="*/ 2155950 h 7391342"/>
              <a:gd name="connsiteX675" fmla="*/ 2579115 w 9114518"/>
              <a:gd name="connsiteY675" fmla="*/ 2155950 h 7391342"/>
              <a:gd name="connsiteX676" fmla="*/ 6202942 w 9114518"/>
              <a:gd name="connsiteY676" fmla="*/ 1519467 h 7391342"/>
              <a:gd name="connsiteX677" fmla="*/ 6254150 w 9114518"/>
              <a:gd name="connsiteY677" fmla="*/ 1521189 h 7391342"/>
              <a:gd name="connsiteX678" fmla="*/ 6301730 w 9114518"/>
              <a:gd name="connsiteY678" fmla="*/ 1526309 h 7391342"/>
              <a:gd name="connsiteX679" fmla="*/ 6345796 w 9114518"/>
              <a:gd name="connsiteY679" fmla="*/ 1534755 h 7391342"/>
              <a:gd name="connsiteX680" fmla="*/ 6386468 w 9114518"/>
              <a:gd name="connsiteY680" fmla="*/ 1546456 h 7391342"/>
              <a:gd name="connsiteX681" fmla="*/ 6423858 w 9114518"/>
              <a:gd name="connsiteY681" fmla="*/ 1561341 h 7391342"/>
              <a:gd name="connsiteX682" fmla="*/ 6458084 w 9114518"/>
              <a:gd name="connsiteY682" fmla="*/ 1579339 h 7391342"/>
              <a:gd name="connsiteX683" fmla="*/ 6517506 w 9114518"/>
              <a:gd name="connsiteY683" fmla="*/ 1624390 h 7391342"/>
              <a:gd name="connsiteX684" fmla="*/ 6565664 w 9114518"/>
              <a:gd name="connsiteY684" fmla="*/ 1681040 h 7391342"/>
              <a:gd name="connsiteX685" fmla="*/ 6585806 w 9114518"/>
              <a:gd name="connsiteY685" fmla="*/ 1713537 h 7391342"/>
              <a:gd name="connsiteX686" fmla="*/ 6603482 w 9114518"/>
              <a:gd name="connsiteY686" fmla="*/ 1748720 h 7391342"/>
              <a:gd name="connsiteX687" fmla="*/ 6618804 w 9114518"/>
              <a:gd name="connsiteY687" fmla="*/ 1786518 h 7391342"/>
              <a:gd name="connsiteX688" fmla="*/ 6631888 w 9114518"/>
              <a:gd name="connsiteY688" fmla="*/ 1826861 h 7391342"/>
              <a:gd name="connsiteX689" fmla="*/ 6642852 w 9114518"/>
              <a:gd name="connsiteY689" fmla="*/ 1869678 h 7391342"/>
              <a:gd name="connsiteX690" fmla="*/ 6651812 w 9114518"/>
              <a:gd name="connsiteY690" fmla="*/ 1914895 h 7391342"/>
              <a:gd name="connsiteX691" fmla="*/ 6658882 w 9114518"/>
              <a:gd name="connsiteY691" fmla="*/ 1962443 h 7391342"/>
              <a:gd name="connsiteX692" fmla="*/ 6664180 w 9114518"/>
              <a:gd name="connsiteY692" fmla="*/ 2012251 h 7391342"/>
              <a:gd name="connsiteX693" fmla="*/ 6667820 w 9114518"/>
              <a:gd name="connsiteY693" fmla="*/ 2064248 h 7391342"/>
              <a:gd name="connsiteX694" fmla="*/ 6669918 w 9114518"/>
              <a:gd name="connsiteY694" fmla="*/ 2118363 h 7391342"/>
              <a:gd name="connsiteX695" fmla="*/ 6670594 w 9114518"/>
              <a:gd name="connsiteY695" fmla="*/ 2174524 h 7391342"/>
              <a:gd name="connsiteX696" fmla="*/ 6669952 w 9114518"/>
              <a:gd name="connsiteY696" fmla="*/ 2230926 h 7391342"/>
              <a:gd name="connsiteX697" fmla="*/ 6667946 w 9114518"/>
              <a:gd name="connsiteY697" fmla="*/ 2285281 h 7391342"/>
              <a:gd name="connsiteX698" fmla="*/ 6664446 w 9114518"/>
              <a:gd name="connsiteY698" fmla="*/ 2337516 h 7391342"/>
              <a:gd name="connsiteX699" fmla="*/ 6659328 w 9114518"/>
              <a:gd name="connsiteY699" fmla="*/ 2387560 h 7391342"/>
              <a:gd name="connsiteX700" fmla="*/ 6652468 w 9114518"/>
              <a:gd name="connsiteY700" fmla="*/ 2435337 h 7391342"/>
              <a:gd name="connsiteX701" fmla="*/ 6643740 w 9114518"/>
              <a:gd name="connsiteY701" fmla="*/ 2480781 h 7391342"/>
              <a:gd name="connsiteX702" fmla="*/ 6633014 w 9114518"/>
              <a:gd name="connsiteY702" fmla="*/ 2523814 h 7391342"/>
              <a:gd name="connsiteX703" fmla="*/ 6620170 w 9114518"/>
              <a:gd name="connsiteY703" fmla="*/ 2564367 h 7391342"/>
              <a:gd name="connsiteX704" fmla="*/ 6605078 w 9114518"/>
              <a:gd name="connsiteY704" fmla="*/ 2602367 h 7391342"/>
              <a:gd name="connsiteX705" fmla="*/ 6587612 w 9114518"/>
              <a:gd name="connsiteY705" fmla="*/ 2637742 h 7391342"/>
              <a:gd name="connsiteX706" fmla="*/ 6567650 w 9114518"/>
              <a:gd name="connsiteY706" fmla="*/ 2670420 h 7391342"/>
              <a:gd name="connsiteX707" fmla="*/ 6519726 w 9114518"/>
              <a:gd name="connsiteY707" fmla="*/ 2727394 h 7391342"/>
              <a:gd name="connsiteX708" fmla="*/ 6460300 w 9114518"/>
              <a:gd name="connsiteY708" fmla="*/ 2772712 h 7391342"/>
              <a:gd name="connsiteX709" fmla="*/ 6425960 w 9114518"/>
              <a:gd name="connsiteY709" fmla="*/ 2790820 h 7391342"/>
              <a:gd name="connsiteX710" fmla="*/ 6388366 w 9114518"/>
              <a:gd name="connsiteY710" fmla="*/ 2805798 h 7391342"/>
              <a:gd name="connsiteX711" fmla="*/ 6347392 w 9114518"/>
              <a:gd name="connsiteY711" fmla="*/ 2817573 h 7391342"/>
              <a:gd name="connsiteX712" fmla="*/ 6302914 w 9114518"/>
              <a:gd name="connsiteY712" fmla="*/ 2826073 h 7391342"/>
              <a:gd name="connsiteX713" fmla="*/ 6254806 w 9114518"/>
              <a:gd name="connsiteY713" fmla="*/ 2831226 h 7391342"/>
              <a:gd name="connsiteX714" fmla="*/ 6202942 w 9114518"/>
              <a:gd name="connsiteY714" fmla="*/ 2832959 h 7391342"/>
              <a:gd name="connsiteX715" fmla="*/ 6202942 w 9114518"/>
              <a:gd name="connsiteY715" fmla="*/ 2735039 h 7391342"/>
              <a:gd name="connsiteX716" fmla="*/ 6253190 w 9114518"/>
              <a:gd name="connsiteY716" fmla="*/ 2732780 h 7391342"/>
              <a:gd name="connsiteX717" fmla="*/ 6298622 w 9114518"/>
              <a:gd name="connsiteY717" fmla="*/ 2726085 h 7391342"/>
              <a:gd name="connsiteX718" fmla="*/ 6339462 w 9114518"/>
              <a:gd name="connsiteY718" fmla="*/ 2715072 h 7391342"/>
              <a:gd name="connsiteX719" fmla="*/ 6375942 w 9114518"/>
              <a:gd name="connsiteY719" fmla="*/ 2699861 h 7391342"/>
              <a:gd name="connsiteX720" fmla="*/ 6436736 w 9114518"/>
              <a:gd name="connsiteY720" fmla="*/ 2657324 h 7391342"/>
              <a:gd name="connsiteX721" fmla="*/ 6482832 w 9114518"/>
              <a:gd name="connsiteY721" fmla="*/ 2599431 h 7391342"/>
              <a:gd name="connsiteX722" fmla="*/ 6500942 w 9114518"/>
              <a:gd name="connsiteY722" fmla="*/ 2565024 h 7391342"/>
              <a:gd name="connsiteX723" fmla="*/ 6516064 w 9114518"/>
              <a:gd name="connsiteY723" fmla="*/ 2527138 h 7391342"/>
              <a:gd name="connsiteX724" fmla="*/ 6528426 w 9114518"/>
              <a:gd name="connsiteY724" fmla="*/ 2485890 h 7391342"/>
              <a:gd name="connsiteX725" fmla="*/ 6538260 w 9114518"/>
              <a:gd name="connsiteY725" fmla="*/ 2441401 h 7391342"/>
              <a:gd name="connsiteX726" fmla="*/ 6545792 w 9114518"/>
              <a:gd name="connsiteY726" fmla="*/ 2393791 h 7391342"/>
              <a:gd name="connsiteX727" fmla="*/ 6551252 w 9114518"/>
              <a:gd name="connsiteY727" fmla="*/ 2343178 h 7391342"/>
              <a:gd name="connsiteX728" fmla="*/ 6554868 w 9114518"/>
              <a:gd name="connsiteY728" fmla="*/ 2289683 h 7391342"/>
              <a:gd name="connsiteX729" fmla="*/ 6556870 w 9114518"/>
              <a:gd name="connsiteY729" fmla="*/ 2233425 h 7391342"/>
              <a:gd name="connsiteX730" fmla="*/ 6557486 w 9114518"/>
              <a:gd name="connsiteY730" fmla="*/ 2174524 h 7391342"/>
              <a:gd name="connsiteX731" fmla="*/ 6556836 w 9114518"/>
              <a:gd name="connsiteY731" fmla="*/ 2116203 h 7391342"/>
              <a:gd name="connsiteX732" fmla="*/ 6554744 w 9114518"/>
              <a:gd name="connsiteY732" fmla="*/ 2060487 h 7391342"/>
              <a:gd name="connsiteX733" fmla="*/ 6550990 w 9114518"/>
              <a:gd name="connsiteY733" fmla="*/ 2007501 h 7391342"/>
              <a:gd name="connsiteX734" fmla="*/ 6545362 w 9114518"/>
              <a:gd name="connsiteY734" fmla="*/ 1957362 h 7391342"/>
              <a:gd name="connsiteX735" fmla="*/ 6537640 w 9114518"/>
              <a:gd name="connsiteY735" fmla="*/ 1910190 h 7391342"/>
              <a:gd name="connsiteX736" fmla="*/ 6527608 w 9114518"/>
              <a:gd name="connsiteY736" fmla="*/ 1866104 h 7391342"/>
              <a:gd name="connsiteX737" fmla="*/ 6515052 w 9114518"/>
              <a:gd name="connsiteY737" fmla="*/ 1825226 h 7391342"/>
              <a:gd name="connsiteX738" fmla="*/ 6499752 w 9114518"/>
              <a:gd name="connsiteY738" fmla="*/ 1787671 h 7391342"/>
              <a:gd name="connsiteX739" fmla="*/ 6481494 w 9114518"/>
              <a:gd name="connsiteY739" fmla="*/ 1753562 h 7391342"/>
              <a:gd name="connsiteX740" fmla="*/ 6435236 w 9114518"/>
              <a:gd name="connsiteY740" fmla="*/ 1696160 h 7391342"/>
              <a:gd name="connsiteX741" fmla="*/ 6374546 w 9114518"/>
              <a:gd name="connsiteY741" fmla="*/ 1653973 h 7391342"/>
              <a:gd name="connsiteX742" fmla="*/ 6338248 w 9114518"/>
              <a:gd name="connsiteY742" fmla="*/ 1638885 h 7391342"/>
              <a:gd name="connsiteX743" fmla="*/ 6297692 w 9114518"/>
              <a:gd name="connsiteY743" fmla="*/ 1627960 h 7391342"/>
              <a:gd name="connsiteX744" fmla="*/ 6252662 w 9114518"/>
              <a:gd name="connsiteY744" fmla="*/ 1621317 h 7391342"/>
              <a:gd name="connsiteX745" fmla="*/ 6202942 w 9114518"/>
              <a:gd name="connsiteY745" fmla="*/ 1619076 h 7391342"/>
              <a:gd name="connsiteX746" fmla="*/ 6110023 w 9114518"/>
              <a:gd name="connsiteY746" fmla="*/ 1519467 h 7391342"/>
              <a:gd name="connsiteX747" fmla="*/ 6110023 w 9114518"/>
              <a:gd name="connsiteY747" fmla="*/ 1619076 h 7391342"/>
              <a:gd name="connsiteX748" fmla="*/ 6060583 w 9114518"/>
              <a:gd name="connsiteY748" fmla="*/ 1621317 h 7391342"/>
              <a:gd name="connsiteX749" fmla="*/ 6015801 w 9114518"/>
              <a:gd name="connsiteY749" fmla="*/ 1627960 h 7391342"/>
              <a:gd name="connsiteX750" fmla="*/ 5975462 w 9114518"/>
              <a:gd name="connsiteY750" fmla="*/ 1638885 h 7391342"/>
              <a:gd name="connsiteX751" fmla="*/ 5939352 w 9114518"/>
              <a:gd name="connsiteY751" fmla="*/ 1653973 h 7391342"/>
              <a:gd name="connsiteX752" fmla="*/ 5878960 w 9114518"/>
              <a:gd name="connsiteY752" fmla="*/ 1696160 h 7391342"/>
              <a:gd name="connsiteX753" fmla="*/ 5832910 w 9114518"/>
              <a:gd name="connsiteY753" fmla="*/ 1753562 h 7391342"/>
              <a:gd name="connsiteX754" fmla="*/ 5814728 w 9114518"/>
              <a:gd name="connsiteY754" fmla="*/ 1787671 h 7391342"/>
              <a:gd name="connsiteX755" fmla="*/ 5799488 w 9114518"/>
              <a:gd name="connsiteY755" fmla="*/ 1825226 h 7391342"/>
              <a:gd name="connsiteX756" fmla="*/ 5786975 w 9114518"/>
              <a:gd name="connsiteY756" fmla="*/ 1866104 h 7391342"/>
              <a:gd name="connsiteX757" fmla="*/ 5776976 w 9114518"/>
              <a:gd name="connsiteY757" fmla="*/ 1910190 h 7391342"/>
              <a:gd name="connsiteX758" fmla="*/ 5769275 w 9114518"/>
              <a:gd name="connsiteY758" fmla="*/ 1957362 h 7391342"/>
              <a:gd name="connsiteX759" fmla="*/ 5763660 w 9114518"/>
              <a:gd name="connsiteY759" fmla="*/ 2007501 h 7391342"/>
              <a:gd name="connsiteX760" fmla="*/ 5759914 w 9114518"/>
              <a:gd name="connsiteY760" fmla="*/ 2060487 h 7391342"/>
              <a:gd name="connsiteX761" fmla="*/ 5757823 w 9114518"/>
              <a:gd name="connsiteY761" fmla="*/ 2116203 h 7391342"/>
              <a:gd name="connsiteX762" fmla="*/ 5757174 w 9114518"/>
              <a:gd name="connsiteY762" fmla="*/ 2174524 h 7391342"/>
              <a:gd name="connsiteX763" fmla="*/ 5757807 w 9114518"/>
              <a:gd name="connsiteY763" fmla="*/ 2233425 h 7391342"/>
              <a:gd name="connsiteX764" fmla="*/ 5759852 w 9114518"/>
              <a:gd name="connsiteY764" fmla="*/ 2289683 h 7391342"/>
              <a:gd name="connsiteX765" fmla="*/ 5763530 w 9114518"/>
              <a:gd name="connsiteY765" fmla="*/ 2343178 h 7391342"/>
              <a:gd name="connsiteX766" fmla="*/ 5769061 w 9114518"/>
              <a:gd name="connsiteY766" fmla="*/ 2393791 h 7391342"/>
              <a:gd name="connsiteX767" fmla="*/ 5776667 w 9114518"/>
              <a:gd name="connsiteY767" fmla="*/ 2441401 h 7391342"/>
              <a:gd name="connsiteX768" fmla="*/ 5786567 w 9114518"/>
              <a:gd name="connsiteY768" fmla="*/ 2485890 h 7391342"/>
              <a:gd name="connsiteX769" fmla="*/ 5798983 w 9114518"/>
              <a:gd name="connsiteY769" fmla="*/ 2527138 h 7391342"/>
              <a:gd name="connsiteX770" fmla="*/ 5814135 w 9114518"/>
              <a:gd name="connsiteY770" fmla="*/ 2565024 h 7391342"/>
              <a:gd name="connsiteX771" fmla="*/ 5832243 w 9114518"/>
              <a:gd name="connsiteY771" fmla="*/ 2599431 h 7391342"/>
              <a:gd name="connsiteX772" fmla="*/ 5878214 w 9114518"/>
              <a:gd name="connsiteY772" fmla="*/ 2657324 h 7391342"/>
              <a:gd name="connsiteX773" fmla="*/ 5938656 w 9114518"/>
              <a:gd name="connsiteY773" fmla="*/ 2699861 h 7391342"/>
              <a:gd name="connsiteX774" fmla="*/ 5974857 w 9114518"/>
              <a:gd name="connsiteY774" fmla="*/ 2715072 h 7391342"/>
              <a:gd name="connsiteX775" fmla="*/ 6015338 w 9114518"/>
              <a:gd name="connsiteY775" fmla="*/ 2726085 h 7391342"/>
              <a:gd name="connsiteX776" fmla="*/ 6060320 w 9114518"/>
              <a:gd name="connsiteY776" fmla="*/ 2732780 h 7391342"/>
              <a:gd name="connsiteX777" fmla="*/ 6110023 w 9114518"/>
              <a:gd name="connsiteY777" fmla="*/ 2735039 h 7391342"/>
              <a:gd name="connsiteX778" fmla="*/ 6110023 w 9114518"/>
              <a:gd name="connsiteY778" fmla="*/ 2832959 h 7391342"/>
              <a:gd name="connsiteX779" fmla="*/ 6058379 w 9114518"/>
              <a:gd name="connsiteY779" fmla="*/ 2831226 h 7391342"/>
              <a:gd name="connsiteX780" fmla="*/ 6010447 w 9114518"/>
              <a:gd name="connsiteY780" fmla="*/ 2826073 h 7391342"/>
              <a:gd name="connsiteX781" fmla="*/ 5966107 w 9114518"/>
              <a:gd name="connsiteY781" fmla="*/ 2817573 h 7391342"/>
              <a:gd name="connsiteX782" fmla="*/ 5925235 w 9114518"/>
              <a:gd name="connsiteY782" fmla="*/ 2805798 h 7391342"/>
              <a:gd name="connsiteX783" fmla="*/ 5887709 w 9114518"/>
              <a:gd name="connsiteY783" fmla="*/ 2790820 h 7391342"/>
              <a:gd name="connsiteX784" fmla="*/ 5853406 w 9114518"/>
              <a:gd name="connsiteY784" fmla="*/ 2772712 h 7391342"/>
              <a:gd name="connsiteX785" fmla="*/ 5793981 w 9114518"/>
              <a:gd name="connsiteY785" fmla="*/ 2727394 h 7391342"/>
              <a:gd name="connsiteX786" fmla="*/ 5745979 w 9114518"/>
              <a:gd name="connsiteY786" fmla="*/ 2670420 h 7391342"/>
              <a:gd name="connsiteX787" fmla="*/ 5725956 w 9114518"/>
              <a:gd name="connsiteY787" fmla="*/ 2637742 h 7391342"/>
              <a:gd name="connsiteX788" fmla="*/ 5708421 w 9114518"/>
              <a:gd name="connsiteY788" fmla="*/ 2602367 h 7391342"/>
              <a:gd name="connsiteX789" fmla="*/ 5693252 w 9114518"/>
              <a:gd name="connsiteY789" fmla="*/ 2564367 h 7391342"/>
              <a:gd name="connsiteX790" fmla="*/ 5680327 w 9114518"/>
              <a:gd name="connsiteY790" fmla="*/ 2523814 h 7391342"/>
              <a:gd name="connsiteX791" fmla="*/ 5669522 w 9114518"/>
              <a:gd name="connsiteY791" fmla="*/ 2480781 h 7391342"/>
              <a:gd name="connsiteX792" fmla="*/ 5660715 w 9114518"/>
              <a:gd name="connsiteY792" fmla="*/ 2435337 h 7391342"/>
              <a:gd name="connsiteX793" fmla="*/ 5653785 w 9114518"/>
              <a:gd name="connsiteY793" fmla="*/ 2387560 h 7391342"/>
              <a:gd name="connsiteX794" fmla="*/ 5648608 w 9114518"/>
              <a:gd name="connsiteY794" fmla="*/ 2337516 h 7391342"/>
              <a:gd name="connsiteX795" fmla="*/ 5645062 w 9114518"/>
              <a:gd name="connsiteY795" fmla="*/ 2285281 h 7391342"/>
              <a:gd name="connsiteX796" fmla="*/ 5643024 w 9114518"/>
              <a:gd name="connsiteY796" fmla="*/ 2230926 h 7391342"/>
              <a:gd name="connsiteX797" fmla="*/ 5642372 w 9114518"/>
              <a:gd name="connsiteY797" fmla="*/ 2174524 h 7391342"/>
              <a:gd name="connsiteX798" fmla="*/ 5643045 w 9114518"/>
              <a:gd name="connsiteY798" fmla="*/ 2118363 h 7391342"/>
              <a:gd name="connsiteX799" fmla="*/ 5645145 w 9114518"/>
              <a:gd name="connsiteY799" fmla="*/ 2064248 h 7391342"/>
              <a:gd name="connsiteX800" fmla="*/ 5648785 w 9114518"/>
              <a:gd name="connsiteY800" fmla="*/ 2012251 h 7391342"/>
              <a:gd name="connsiteX801" fmla="*/ 5654082 w 9114518"/>
              <a:gd name="connsiteY801" fmla="*/ 1962443 h 7391342"/>
              <a:gd name="connsiteX802" fmla="*/ 5661152 w 9114518"/>
              <a:gd name="connsiteY802" fmla="*/ 1914895 h 7391342"/>
              <a:gd name="connsiteX803" fmla="*/ 5670112 w 9114518"/>
              <a:gd name="connsiteY803" fmla="*/ 1869678 h 7391342"/>
              <a:gd name="connsiteX804" fmla="*/ 5681076 w 9114518"/>
              <a:gd name="connsiteY804" fmla="*/ 1826861 h 7391342"/>
              <a:gd name="connsiteX805" fmla="*/ 5694161 w 9114518"/>
              <a:gd name="connsiteY805" fmla="*/ 1786518 h 7391342"/>
              <a:gd name="connsiteX806" fmla="*/ 5709483 w 9114518"/>
              <a:gd name="connsiteY806" fmla="*/ 1748720 h 7391342"/>
              <a:gd name="connsiteX807" fmla="*/ 5727157 w 9114518"/>
              <a:gd name="connsiteY807" fmla="*/ 1713537 h 7391342"/>
              <a:gd name="connsiteX808" fmla="*/ 5747301 w 9114518"/>
              <a:gd name="connsiteY808" fmla="*/ 1681040 h 7391342"/>
              <a:gd name="connsiteX809" fmla="*/ 5795457 w 9114518"/>
              <a:gd name="connsiteY809" fmla="*/ 1624390 h 7391342"/>
              <a:gd name="connsiteX810" fmla="*/ 5854880 w 9114518"/>
              <a:gd name="connsiteY810" fmla="*/ 1579339 h 7391342"/>
              <a:gd name="connsiteX811" fmla="*/ 5889107 w 9114518"/>
              <a:gd name="connsiteY811" fmla="*/ 1561341 h 7391342"/>
              <a:gd name="connsiteX812" fmla="*/ 5926498 w 9114518"/>
              <a:gd name="connsiteY812" fmla="*/ 1546456 h 7391342"/>
              <a:gd name="connsiteX813" fmla="*/ 5967169 w 9114518"/>
              <a:gd name="connsiteY813" fmla="*/ 1534755 h 7391342"/>
              <a:gd name="connsiteX814" fmla="*/ 6011236 w 9114518"/>
              <a:gd name="connsiteY814" fmla="*/ 1526309 h 7391342"/>
              <a:gd name="connsiteX815" fmla="*/ 6058815 w 9114518"/>
              <a:gd name="connsiteY815" fmla="*/ 1521189 h 7391342"/>
              <a:gd name="connsiteX816" fmla="*/ 4207776 w 9114518"/>
              <a:gd name="connsiteY816" fmla="*/ 1033233 h 7391342"/>
              <a:gd name="connsiteX817" fmla="*/ 4417120 w 9114518"/>
              <a:gd name="connsiteY817" fmla="*/ 1033233 h 7391342"/>
              <a:gd name="connsiteX818" fmla="*/ 4417120 w 9114518"/>
              <a:gd name="connsiteY818" fmla="*/ 1208814 h 7391342"/>
              <a:gd name="connsiteX819" fmla="*/ 4207776 w 9114518"/>
              <a:gd name="connsiteY819" fmla="*/ 1208814 h 7391342"/>
              <a:gd name="connsiteX820" fmla="*/ 5865088 w 9114518"/>
              <a:gd name="connsiteY820" fmla="*/ 881295 h 7391342"/>
              <a:gd name="connsiteX821" fmla="*/ 6780150 w 9114518"/>
              <a:gd name="connsiteY821" fmla="*/ 881295 h 7391342"/>
              <a:gd name="connsiteX822" fmla="*/ 6780150 w 9114518"/>
              <a:gd name="connsiteY822" fmla="*/ 989345 h 7391342"/>
              <a:gd name="connsiteX823" fmla="*/ 5865088 w 9114518"/>
              <a:gd name="connsiteY823" fmla="*/ 989345 h 7391342"/>
              <a:gd name="connsiteX824" fmla="*/ 5865088 w 9114518"/>
              <a:gd name="connsiteY824" fmla="*/ 528441 h 7391342"/>
              <a:gd name="connsiteX825" fmla="*/ 6780150 w 9114518"/>
              <a:gd name="connsiteY825" fmla="*/ 528441 h 7391342"/>
              <a:gd name="connsiteX826" fmla="*/ 6780150 w 9114518"/>
              <a:gd name="connsiteY826" fmla="*/ 636492 h 7391342"/>
              <a:gd name="connsiteX827" fmla="*/ 5865088 w 9114518"/>
              <a:gd name="connsiteY827" fmla="*/ 636492 h 7391342"/>
              <a:gd name="connsiteX828" fmla="*/ 7862878 w 9114518"/>
              <a:gd name="connsiteY828" fmla="*/ 7089 h 7391342"/>
              <a:gd name="connsiteX829" fmla="*/ 8241058 w 9114518"/>
              <a:gd name="connsiteY829" fmla="*/ 7089 h 7391342"/>
              <a:gd name="connsiteX830" fmla="*/ 8241058 w 9114518"/>
              <a:gd name="connsiteY830" fmla="*/ 103609 h 7391342"/>
              <a:gd name="connsiteX831" fmla="*/ 7979374 w 9114518"/>
              <a:gd name="connsiteY831" fmla="*/ 103609 h 7391342"/>
              <a:gd name="connsiteX832" fmla="*/ 7979374 w 9114518"/>
              <a:gd name="connsiteY832" fmla="*/ 1213589 h 7391342"/>
              <a:gd name="connsiteX833" fmla="*/ 8241058 w 9114518"/>
              <a:gd name="connsiteY833" fmla="*/ 1213589 h 7391342"/>
              <a:gd name="connsiteX834" fmla="*/ 8241058 w 9114518"/>
              <a:gd name="connsiteY834" fmla="*/ 1310109 h 7391342"/>
              <a:gd name="connsiteX835" fmla="*/ 7862878 w 9114518"/>
              <a:gd name="connsiteY835" fmla="*/ 1310109 h 7391342"/>
              <a:gd name="connsiteX836" fmla="*/ 7862878 w 9114518"/>
              <a:gd name="connsiteY836" fmla="*/ 1213589 h 7391342"/>
              <a:gd name="connsiteX837" fmla="*/ 7862878 w 9114518"/>
              <a:gd name="connsiteY837" fmla="*/ 103609 h 7391342"/>
              <a:gd name="connsiteX838" fmla="*/ 3051834 w 9114518"/>
              <a:gd name="connsiteY838" fmla="*/ 2 h 7391342"/>
              <a:gd name="connsiteX839" fmla="*/ 3051834 w 9114518"/>
              <a:gd name="connsiteY839" fmla="*/ 99613 h 7391342"/>
              <a:gd name="connsiteX840" fmla="*/ 3002394 w 9114518"/>
              <a:gd name="connsiteY840" fmla="*/ 101852 h 7391342"/>
              <a:gd name="connsiteX841" fmla="*/ 2957611 w 9114518"/>
              <a:gd name="connsiteY841" fmla="*/ 108497 h 7391342"/>
              <a:gd name="connsiteX842" fmla="*/ 2917272 w 9114518"/>
              <a:gd name="connsiteY842" fmla="*/ 119421 h 7391342"/>
              <a:gd name="connsiteX843" fmla="*/ 2881161 w 9114518"/>
              <a:gd name="connsiteY843" fmla="*/ 134509 h 7391342"/>
              <a:gd name="connsiteX844" fmla="*/ 2820768 w 9114518"/>
              <a:gd name="connsiteY844" fmla="*/ 176694 h 7391342"/>
              <a:gd name="connsiteX845" fmla="*/ 2774716 w 9114518"/>
              <a:gd name="connsiteY845" fmla="*/ 234098 h 7391342"/>
              <a:gd name="connsiteX846" fmla="*/ 2756533 w 9114518"/>
              <a:gd name="connsiteY846" fmla="*/ 268206 h 7391342"/>
              <a:gd name="connsiteX847" fmla="*/ 2741291 w 9114518"/>
              <a:gd name="connsiteY847" fmla="*/ 305760 h 7391342"/>
              <a:gd name="connsiteX848" fmla="*/ 2728778 w 9114518"/>
              <a:gd name="connsiteY848" fmla="*/ 346640 h 7391342"/>
              <a:gd name="connsiteX849" fmla="*/ 2718778 w 9114518"/>
              <a:gd name="connsiteY849" fmla="*/ 390725 h 7391342"/>
              <a:gd name="connsiteX850" fmla="*/ 2711077 w 9114518"/>
              <a:gd name="connsiteY850" fmla="*/ 437898 h 7391342"/>
              <a:gd name="connsiteX851" fmla="*/ 2705460 w 9114518"/>
              <a:gd name="connsiteY851" fmla="*/ 488037 h 7391342"/>
              <a:gd name="connsiteX852" fmla="*/ 2701714 w 9114518"/>
              <a:gd name="connsiteY852" fmla="*/ 541024 h 7391342"/>
              <a:gd name="connsiteX853" fmla="*/ 2699623 w 9114518"/>
              <a:gd name="connsiteY853" fmla="*/ 596738 h 7391342"/>
              <a:gd name="connsiteX854" fmla="*/ 2698974 w 9114518"/>
              <a:gd name="connsiteY854" fmla="*/ 655061 h 7391342"/>
              <a:gd name="connsiteX855" fmla="*/ 2699607 w 9114518"/>
              <a:gd name="connsiteY855" fmla="*/ 713962 h 7391342"/>
              <a:gd name="connsiteX856" fmla="*/ 2701652 w 9114518"/>
              <a:gd name="connsiteY856" fmla="*/ 770219 h 7391342"/>
              <a:gd name="connsiteX857" fmla="*/ 2705331 w 9114518"/>
              <a:gd name="connsiteY857" fmla="*/ 823713 h 7391342"/>
              <a:gd name="connsiteX858" fmla="*/ 2710863 w 9114518"/>
              <a:gd name="connsiteY858" fmla="*/ 874325 h 7391342"/>
              <a:gd name="connsiteX859" fmla="*/ 2718469 w 9114518"/>
              <a:gd name="connsiteY859" fmla="*/ 921936 h 7391342"/>
              <a:gd name="connsiteX860" fmla="*/ 2728370 w 9114518"/>
              <a:gd name="connsiteY860" fmla="*/ 966424 h 7391342"/>
              <a:gd name="connsiteX861" fmla="*/ 2740787 w 9114518"/>
              <a:gd name="connsiteY861" fmla="*/ 1007672 h 7391342"/>
              <a:gd name="connsiteX862" fmla="*/ 2755940 w 9114518"/>
              <a:gd name="connsiteY862" fmla="*/ 1045559 h 7391342"/>
              <a:gd name="connsiteX863" fmla="*/ 2774049 w 9114518"/>
              <a:gd name="connsiteY863" fmla="*/ 1079966 h 7391342"/>
              <a:gd name="connsiteX864" fmla="*/ 2820020 w 9114518"/>
              <a:gd name="connsiteY864" fmla="*/ 1137858 h 7391342"/>
              <a:gd name="connsiteX865" fmla="*/ 2880465 w 9114518"/>
              <a:gd name="connsiteY865" fmla="*/ 1180395 h 7391342"/>
              <a:gd name="connsiteX866" fmla="*/ 2916667 w 9114518"/>
              <a:gd name="connsiteY866" fmla="*/ 1195607 h 7391342"/>
              <a:gd name="connsiteX867" fmla="*/ 2957148 w 9114518"/>
              <a:gd name="connsiteY867" fmla="*/ 1206620 h 7391342"/>
              <a:gd name="connsiteX868" fmla="*/ 3002130 w 9114518"/>
              <a:gd name="connsiteY868" fmla="*/ 1213314 h 7391342"/>
              <a:gd name="connsiteX869" fmla="*/ 3051834 w 9114518"/>
              <a:gd name="connsiteY869" fmla="*/ 1215573 h 7391342"/>
              <a:gd name="connsiteX870" fmla="*/ 3051834 w 9114518"/>
              <a:gd name="connsiteY870" fmla="*/ 1313495 h 7391342"/>
              <a:gd name="connsiteX871" fmla="*/ 3000188 w 9114518"/>
              <a:gd name="connsiteY871" fmla="*/ 1311761 h 7391342"/>
              <a:gd name="connsiteX872" fmla="*/ 2952255 w 9114518"/>
              <a:gd name="connsiteY872" fmla="*/ 1306609 h 7391342"/>
              <a:gd name="connsiteX873" fmla="*/ 2907914 w 9114518"/>
              <a:gd name="connsiteY873" fmla="*/ 1298108 h 7391342"/>
              <a:gd name="connsiteX874" fmla="*/ 2867041 w 9114518"/>
              <a:gd name="connsiteY874" fmla="*/ 1286333 h 7391342"/>
              <a:gd name="connsiteX875" fmla="*/ 2829514 w 9114518"/>
              <a:gd name="connsiteY875" fmla="*/ 1271355 h 7391342"/>
              <a:gd name="connsiteX876" fmla="*/ 2795209 w 9114518"/>
              <a:gd name="connsiteY876" fmla="*/ 1253247 h 7391342"/>
              <a:gd name="connsiteX877" fmla="*/ 2735783 w 9114518"/>
              <a:gd name="connsiteY877" fmla="*/ 1207930 h 7391342"/>
              <a:gd name="connsiteX878" fmla="*/ 2687781 w 9114518"/>
              <a:gd name="connsiteY878" fmla="*/ 1150955 h 7391342"/>
              <a:gd name="connsiteX879" fmla="*/ 2667757 w 9114518"/>
              <a:gd name="connsiteY879" fmla="*/ 1118277 h 7391342"/>
              <a:gd name="connsiteX880" fmla="*/ 2650222 w 9114518"/>
              <a:gd name="connsiteY880" fmla="*/ 1082902 h 7391342"/>
              <a:gd name="connsiteX881" fmla="*/ 2635053 w 9114518"/>
              <a:gd name="connsiteY881" fmla="*/ 1044902 h 7391342"/>
              <a:gd name="connsiteX882" fmla="*/ 2622127 w 9114518"/>
              <a:gd name="connsiteY882" fmla="*/ 1004349 h 7391342"/>
              <a:gd name="connsiteX883" fmla="*/ 2611322 w 9114518"/>
              <a:gd name="connsiteY883" fmla="*/ 961316 h 7391342"/>
              <a:gd name="connsiteX884" fmla="*/ 2602516 w 9114518"/>
              <a:gd name="connsiteY884" fmla="*/ 915873 h 7391342"/>
              <a:gd name="connsiteX885" fmla="*/ 2595585 w 9114518"/>
              <a:gd name="connsiteY885" fmla="*/ 868095 h 7391342"/>
              <a:gd name="connsiteX886" fmla="*/ 2590408 w 9114518"/>
              <a:gd name="connsiteY886" fmla="*/ 818052 h 7391342"/>
              <a:gd name="connsiteX887" fmla="*/ 2586862 w 9114518"/>
              <a:gd name="connsiteY887" fmla="*/ 765818 h 7391342"/>
              <a:gd name="connsiteX888" fmla="*/ 2584824 w 9114518"/>
              <a:gd name="connsiteY888" fmla="*/ 711463 h 7391342"/>
              <a:gd name="connsiteX889" fmla="*/ 2584172 w 9114518"/>
              <a:gd name="connsiteY889" fmla="*/ 655061 h 7391342"/>
              <a:gd name="connsiteX890" fmla="*/ 2584846 w 9114518"/>
              <a:gd name="connsiteY890" fmla="*/ 598899 h 7391342"/>
              <a:gd name="connsiteX891" fmla="*/ 2586945 w 9114518"/>
              <a:gd name="connsiteY891" fmla="*/ 544784 h 7391342"/>
              <a:gd name="connsiteX892" fmla="*/ 2590585 w 9114518"/>
              <a:gd name="connsiteY892" fmla="*/ 492788 h 7391342"/>
              <a:gd name="connsiteX893" fmla="*/ 2595883 w 9114518"/>
              <a:gd name="connsiteY893" fmla="*/ 442980 h 7391342"/>
              <a:gd name="connsiteX894" fmla="*/ 2602954 w 9114518"/>
              <a:gd name="connsiteY894" fmla="*/ 395431 h 7391342"/>
              <a:gd name="connsiteX895" fmla="*/ 2611914 w 9114518"/>
              <a:gd name="connsiteY895" fmla="*/ 350213 h 7391342"/>
              <a:gd name="connsiteX896" fmla="*/ 2622878 w 9114518"/>
              <a:gd name="connsiteY896" fmla="*/ 307398 h 7391342"/>
              <a:gd name="connsiteX897" fmla="*/ 2635964 w 9114518"/>
              <a:gd name="connsiteY897" fmla="*/ 267054 h 7391342"/>
              <a:gd name="connsiteX898" fmla="*/ 2651287 w 9114518"/>
              <a:gd name="connsiteY898" fmla="*/ 229257 h 7391342"/>
              <a:gd name="connsiteX899" fmla="*/ 2668962 w 9114518"/>
              <a:gd name="connsiteY899" fmla="*/ 194074 h 7391342"/>
              <a:gd name="connsiteX900" fmla="*/ 2689106 w 9114518"/>
              <a:gd name="connsiteY900" fmla="*/ 161576 h 7391342"/>
              <a:gd name="connsiteX901" fmla="*/ 2737264 w 9114518"/>
              <a:gd name="connsiteY901" fmla="*/ 104925 h 7391342"/>
              <a:gd name="connsiteX902" fmla="*/ 2796688 w 9114518"/>
              <a:gd name="connsiteY902" fmla="*/ 59876 h 7391342"/>
              <a:gd name="connsiteX903" fmla="*/ 2830916 w 9114518"/>
              <a:gd name="connsiteY903" fmla="*/ 41878 h 7391342"/>
              <a:gd name="connsiteX904" fmla="*/ 2868307 w 9114518"/>
              <a:gd name="connsiteY904" fmla="*/ 26992 h 7391342"/>
              <a:gd name="connsiteX905" fmla="*/ 2908979 w 9114518"/>
              <a:gd name="connsiteY905" fmla="*/ 15290 h 7391342"/>
              <a:gd name="connsiteX906" fmla="*/ 2953046 w 9114518"/>
              <a:gd name="connsiteY906" fmla="*/ 6845 h 7391342"/>
              <a:gd name="connsiteX907" fmla="*/ 3000626 w 9114518"/>
              <a:gd name="connsiteY907" fmla="*/ 1724 h 7391342"/>
              <a:gd name="connsiteX908" fmla="*/ 8336918 w 9114518"/>
              <a:gd name="connsiteY908" fmla="*/ 1 h 7391342"/>
              <a:gd name="connsiteX909" fmla="*/ 8388126 w 9114518"/>
              <a:gd name="connsiteY909" fmla="*/ 1723 h 7391342"/>
              <a:gd name="connsiteX910" fmla="*/ 8435706 w 9114518"/>
              <a:gd name="connsiteY910" fmla="*/ 6843 h 7391342"/>
              <a:gd name="connsiteX911" fmla="*/ 8479774 w 9114518"/>
              <a:gd name="connsiteY911" fmla="*/ 15289 h 7391342"/>
              <a:gd name="connsiteX912" fmla="*/ 8520444 w 9114518"/>
              <a:gd name="connsiteY912" fmla="*/ 26990 h 7391342"/>
              <a:gd name="connsiteX913" fmla="*/ 8557834 w 9114518"/>
              <a:gd name="connsiteY913" fmla="*/ 41875 h 7391342"/>
              <a:gd name="connsiteX914" fmla="*/ 8592062 w 9114518"/>
              <a:gd name="connsiteY914" fmla="*/ 59873 h 7391342"/>
              <a:gd name="connsiteX915" fmla="*/ 8651484 w 9114518"/>
              <a:gd name="connsiteY915" fmla="*/ 104924 h 7391342"/>
              <a:gd name="connsiteX916" fmla="*/ 8699640 w 9114518"/>
              <a:gd name="connsiteY916" fmla="*/ 161574 h 7391342"/>
              <a:gd name="connsiteX917" fmla="*/ 8719784 w 9114518"/>
              <a:gd name="connsiteY917" fmla="*/ 194071 h 7391342"/>
              <a:gd name="connsiteX918" fmla="*/ 8737458 w 9114518"/>
              <a:gd name="connsiteY918" fmla="*/ 229254 h 7391342"/>
              <a:gd name="connsiteX919" fmla="*/ 8752780 w 9114518"/>
              <a:gd name="connsiteY919" fmla="*/ 267052 h 7391342"/>
              <a:gd name="connsiteX920" fmla="*/ 8765866 w 9114518"/>
              <a:gd name="connsiteY920" fmla="*/ 307395 h 7391342"/>
              <a:gd name="connsiteX921" fmla="*/ 8776830 w 9114518"/>
              <a:gd name="connsiteY921" fmla="*/ 350211 h 7391342"/>
              <a:gd name="connsiteX922" fmla="*/ 8785788 w 9114518"/>
              <a:gd name="connsiteY922" fmla="*/ 395428 h 7391342"/>
              <a:gd name="connsiteX923" fmla="*/ 8792860 w 9114518"/>
              <a:gd name="connsiteY923" fmla="*/ 442977 h 7391342"/>
              <a:gd name="connsiteX924" fmla="*/ 8798158 w 9114518"/>
              <a:gd name="connsiteY924" fmla="*/ 492785 h 7391342"/>
              <a:gd name="connsiteX925" fmla="*/ 8801798 w 9114518"/>
              <a:gd name="connsiteY925" fmla="*/ 544782 h 7391342"/>
              <a:gd name="connsiteX926" fmla="*/ 8803896 w 9114518"/>
              <a:gd name="connsiteY926" fmla="*/ 598897 h 7391342"/>
              <a:gd name="connsiteX927" fmla="*/ 8804570 w 9114518"/>
              <a:gd name="connsiteY927" fmla="*/ 655058 h 7391342"/>
              <a:gd name="connsiteX928" fmla="*/ 8803930 w 9114518"/>
              <a:gd name="connsiteY928" fmla="*/ 711460 h 7391342"/>
              <a:gd name="connsiteX929" fmla="*/ 8801922 w 9114518"/>
              <a:gd name="connsiteY929" fmla="*/ 765815 h 7391342"/>
              <a:gd name="connsiteX930" fmla="*/ 8798422 w 9114518"/>
              <a:gd name="connsiteY930" fmla="*/ 818050 h 7391342"/>
              <a:gd name="connsiteX931" fmla="*/ 8793306 w 9114518"/>
              <a:gd name="connsiteY931" fmla="*/ 868094 h 7391342"/>
              <a:gd name="connsiteX932" fmla="*/ 8786446 w 9114518"/>
              <a:gd name="connsiteY932" fmla="*/ 915872 h 7391342"/>
              <a:gd name="connsiteX933" fmla="*/ 8777716 w 9114518"/>
              <a:gd name="connsiteY933" fmla="*/ 961315 h 7391342"/>
              <a:gd name="connsiteX934" fmla="*/ 8766992 w 9114518"/>
              <a:gd name="connsiteY934" fmla="*/ 1004348 h 7391342"/>
              <a:gd name="connsiteX935" fmla="*/ 8754146 w 9114518"/>
              <a:gd name="connsiteY935" fmla="*/ 1044900 h 7391342"/>
              <a:gd name="connsiteX936" fmla="*/ 8739054 w 9114518"/>
              <a:gd name="connsiteY936" fmla="*/ 1082901 h 7391342"/>
              <a:gd name="connsiteX937" fmla="*/ 8721590 w 9114518"/>
              <a:gd name="connsiteY937" fmla="*/ 1118276 h 7391342"/>
              <a:gd name="connsiteX938" fmla="*/ 8701628 w 9114518"/>
              <a:gd name="connsiteY938" fmla="*/ 1150954 h 7391342"/>
              <a:gd name="connsiteX939" fmla="*/ 8653704 w 9114518"/>
              <a:gd name="connsiteY939" fmla="*/ 1207928 h 7391342"/>
              <a:gd name="connsiteX940" fmla="*/ 8594278 w 9114518"/>
              <a:gd name="connsiteY940" fmla="*/ 1253246 h 7391342"/>
              <a:gd name="connsiteX941" fmla="*/ 8559936 w 9114518"/>
              <a:gd name="connsiteY941" fmla="*/ 1271354 h 7391342"/>
              <a:gd name="connsiteX942" fmla="*/ 8522342 w 9114518"/>
              <a:gd name="connsiteY942" fmla="*/ 1286332 h 7391342"/>
              <a:gd name="connsiteX943" fmla="*/ 8481370 w 9114518"/>
              <a:gd name="connsiteY943" fmla="*/ 1298107 h 7391342"/>
              <a:gd name="connsiteX944" fmla="*/ 8436892 w 9114518"/>
              <a:gd name="connsiteY944" fmla="*/ 1306607 h 7391342"/>
              <a:gd name="connsiteX945" fmla="*/ 8388784 w 9114518"/>
              <a:gd name="connsiteY945" fmla="*/ 1311760 h 7391342"/>
              <a:gd name="connsiteX946" fmla="*/ 8336918 w 9114518"/>
              <a:gd name="connsiteY946" fmla="*/ 1313493 h 7391342"/>
              <a:gd name="connsiteX947" fmla="*/ 8336918 w 9114518"/>
              <a:gd name="connsiteY947" fmla="*/ 1215572 h 7391342"/>
              <a:gd name="connsiteX948" fmla="*/ 8387168 w 9114518"/>
              <a:gd name="connsiteY948" fmla="*/ 1213313 h 7391342"/>
              <a:gd name="connsiteX949" fmla="*/ 8432598 w 9114518"/>
              <a:gd name="connsiteY949" fmla="*/ 1206618 h 7391342"/>
              <a:gd name="connsiteX950" fmla="*/ 8473438 w 9114518"/>
              <a:gd name="connsiteY950" fmla="*/ 1195605 h 7391342"/>
              <a:gd name="connsiteX951" fmla="*/ 8509918 w 9114518"/>
              <a:gd name="connsiteY951" fmla="*/ 1180394 h 7391342"/>
              <a:gd name="connsiteX952" fmla="*/ 8570710 w 9114518"/>
              <a:gd name="connsiteY952" fmla="*/ 1137857 h 7391342"/>
              <a:gd name="connsiteX953" fmla="*/ 8616804 w 9114518"/>
              <a:gd name="connsiteY953" fmla="*/ 1079964 h 7391342"/>
              <a:gd name="connsiteX954" fmla="*/ 8634912 w 9114518"/>
              <a:gd name="connsiteY954" fmla="*/ 1045558 h 7391342"/>
              <a:gd name="connsiteX955" fmla="*/ 8650034 w 9114518"/>
              <a:gd name="connsiteY955" fmla="*/ 1007671 h 7391342"/>
              <a:gd name="connsiteX956" fmla="*/ 8662396 w 9114518"/>
              <a:gd name="connsiteY956" fmla="*/ 966423 h 7391342"/>
              <a:gd name="connsiteX957" fmla="*/ 8672228 w 9114518"/>
              <a:gd name="connsiteY957" fmla="*/ 921934 h 7391342"/>
              <a:gd name="connsiteX958" fmla="*/ 8679760 w 9114518"/>
              <a:gd name="connsiteY958" fmla="*/ 874323 h 7391342"/>
              <a:gd name="connsiteX959" fmla="*/ 8685218 w 9114518"/>
              <a:gd name="connsiteY959" fmla="*/ 823711 h 7391342"/>
              <a:gd name="connsiteX960" fmla="*/ 8688834 w 9114518"/>
              <a:gd name="connsiteY960" fmla="*/ 770216 h 7391342"/>
              <a:gd name="connsiteX961" fmla="*/ 8690836 w 9114518"/>
              <a:gd name="connsiteY961" fmla="*/ 713959 h 7391342"/>
              <a:gd name="connsiteX962" fmla="*/ 8691452 w 9114518"/>
              <a:gd name="connsiteY962" fmla="*/ 655058 h 7391342"/>
              <a:gd name="connsiteX963" fmla="*/ 8690804 w 9114518"/>
              <a:gd name="connsiteY963" fmla="*/ 596735 h 7391342"/>
              <a:gd name="connsiteX964" fmla="*/ 8688710 w 9114518"/>
              <a:gd name="connsiteY964" fmla="*/ 541021 h 7391342"/>
              <a:gd name="connsiteX965" fmla="*/ 8684958 w 9114518"/>
              <a:gd name="connsiteY965" fmla="*/ 488035 h 7391342"/>
              <a:gd name="connsiteX966" fmla="*/ 8679330 w 9114518"/>
              <a:gd name="connsiteY966" fmla="*/ 437895 h 7391342"/>
              <a:gd name="connsiteX967" fmla="*/ 8671608 w 9114518"/>
              <a:gd name="connsiteY967" fmla="*/ 390723 h 7391342"/>
              <a:gd name="connsiteX968" fmla="*/ 8661578 w 9114518"/>
              <a:gd name="connsiteY968" fmla="*/ 346638 h 7391342"/>
              <a:gd name="connsiteX969" fmla="*/ 8649022 w 9114518"/>
              <a:gd name="connsiteY969" fmla="*/ 305758 h 7391342"/>
              <a:gd name="connsiteX970" fmla="*/ 8633724 w 9114518"/>
              <a:gd name="connsiteY970" fmla="*/ 268204 h 7391342"/>
              <a:gd name="connsiteX971" fmla="*/ 8615466 w 9114518"/>
              <a:gd name="connsiteY971" fmla="*/ 234096 h 7391342"/>
              <a:gd name="connsiteX972" fmla="*/ 8569210 w 9114518"/>
              <a:gd name="connsiteY972" fmla="*/ 176693 h 7391342"/>
              <a:gd name="connsiteX973" fmla="*/ 8508522 w 9114518"/>
              <a:gd name="connsiteY973" fmla="*/ 134507 h 7391342"/>
              <a:gd name="connsiteX974" fmla="*/ 8472224 w 9114518"/>
              <a:gd name="connsiteY974" fmla="*/ 119419 h 7391342"/>
              <a:gd name="connsiteX975" fmla="*/ 8431668 w 9114518"/>
              <a:gd name="connsiteY975" fmla="*/ 108494 h 7391342"/>
              <a:gd name="connsiteX976" fmla="*/ 8386640 w 9114518"/>
              <a:gd name="connsiteY976" fmla="*/ 101851 h 7391342"/>
              <a:gd name="connsiteX977" fmla="*/ 8336918 w 9114518"/>
              <a:gd name="connsiteY977" fmla="*/ 99610 h 7391342"/>
              <a:gd name="connsiteX978" fmla="*/ 3144752 w 9114518"/>
              <a:gd name="connsiteY978" fmla="*/ 0 h 7391342"/>
              <a:gd name="connsiteX979" fmla="*/ 3195959 w 9114518"/>
              <a:gd name="connsiteY979" fmla="*/ 1722 h 7391342"/>
              <a:gd name="connsiteX980" fmla="*/ 3243539 w 9114518"/>
              <a:gd name="connsiteY980" fmla="*/ 6842 h 7391342"/>
              <a:gd name="connsiteX981" fmla="*/ 3287606 w 9114518"/>
              <a:gd name="connsiteY981" fmla="*/ 15288 h 7391342"/>
              <a:gd name="connsiteX982" fmla="*/ 3328277 w 9114518"/>
              <a:gd name="connsiteY982" fmla="*/ 26989 h 7391342"/>
              <a:gd name="connsiteX983" fmla="*/ 3365667 w 9114518"/>
              <a:gd name="connsiteY983" fmla="*/ 41874 h 7391342"/>
              <a:gd name="connsiteX984" fmla="*/ 3399895 w 9114518"/>
              <a:gd name="connsiteY984" fmla="*/ 59872 h 7391342"/>
              <a:gd name="connsiteX985" fmla="*/ 3459317 w 9114518"/>
              <a:gd name="connsiteY985" fmla="*/ 104923 h 7391342"/>
              <a:gd name="connsiteX986" fmla="*/ 3507474 w 9114518"/>
              <a:gd name="connsiteY986" fmla="*/ 161573 h 7391342"/>
              <a:gd name="connsiteX987" fmla="*/ 3527617 w 9114518"/>
              <a:gd name="connsiteY987" fmla="*/ 194070 h 7391342"/>
              <a:gd name="connsiteX988" fmla="*/ 3545292 w 9114518"/>
              <a:gd name="connsiteY988" fmla="*/ 229253 h 7391342"/>
              <a:gd name="connsiteX989" fmla="*/ 3560614 w 9114518"/>
              <a:gd name="connsiteY989" fmla="*/ 267051 h 7391342"/>
              <a:gd name="connsiteX990" fmla="*/ 3573699 w 9114518"/>
              <a:gd name="connsiteY990" fmla="*/ 307394 h 7391342"/>
              <a:gd name="connsiteX991" fmla="*/ 3584663 w 9114518"/>
              <a:gd name="connsiteY991" fmla="*/ 350210 h 7391342"/>
              <a:gd name="connsiteX992" fmla="*/ 3593622 w 9114518"/>
              <a:gd name="connsiteY992" fmla="*/ 395427 h 7391342"/>
              <a:gd name="connsiteX993" fmla="*/ 3600693 w 9114518"/>
              <a:gd name="connsiteY993" fmla="*/ 442977 h 7391342"/>
              <a:gd name="connsiteX994" fmla="*/ 3605990 w 9114518"/>
              <a:gd name="connsiteY994" fmla="*/ 492785 h 7391342"/>
              <a:gd name="connsiteX995" fmla="*/ 3609630 w 9114518"/>
              <a:gd name="connsiteY995" fmla="*/ 544782 h 7391342"/>
              <a:gd name="connsiteX996" fmla="*/ 3611729 w 9114518"/>
              <a:gd name="connsiteY996" fmla="*/ 598897 h 7391342"/>
              <a:gd name="connsiteX997" fmla="*/ 3612403 w 9114518"/>
              <a:gd name="connsiteY997" fmla="*/ 655058 h 7391342"/>
              <a:gd name="connsiteX998" fmla="*/ 3611762 w 9114518"/>
              <a:gd name="connsiteY998" fmla="*/ 711460 h 7391342"/>
              <a:gd name="connsiteX999" fmla="*/ 3609755 w 9114518"/>
              <a:gd name="connsiteY999" fmla="*/ 765815 h 7391342"/>
              <a:gd name="connsiteX1000" fmla="*/ 3606255 w 9114518"/>
              <a:gd name="connsiteY1000" fmla="*/ 818050 h 7391342"/>
              <a:gd name="connsiteX1001" fmla="*/ 3601138 w 9114518"/>
              <a:gd name="connsiteY1001" fmla="*/ 868093 h 7391342"/>
              <a:gd name="connsiteX1002" fmla="*/ 3594278 w 9114518"/>
              <a:gd name="connsiteY1002" fmla="*/ 915871 h 7391342"/>
              <a:gd name="connsiteX1003" fmla="*/ 3585548 w 9114518"/>
              <a:gd name="connsiteY1003" fmla="*/ 961314 h 7391342"/>
              <a:gd name="connsiteX1004" fmla="*/ 3574823 w 9114518"/>
              <a:gd name="connsiteY1004" fmla="*/ 1004347 h 7391342"/>
              <a:gd name="connsiteX1005" fmla="*/ 3561977 w 9114518"/>
              <a:gd name="connsiteY1005" fmla="*/ 1044900 h 7391342"/>
              <a:gd name="connsiteX1006" fmla="*/ 3546884 w 9114518"/>
              <a:gd name="connsiteY1006" fmla="*/ 1082900 h 7391342"/>
              <a:gd name="connsiteX1007" fmla="*/ 3529420 w 9114518"/>
              <a:gd name="connsiteY1007" fmla="*/ 1118275 h 7391342"/>
              <a:gd name="connsiteX1008" fmla="*/ 3509456 w 9114518"/>
              <a:gd name="connsiteY1008" fmla="*/ 1150953 h 7391342"/>
              <a:gd name="connsiteX1009" fmla="*/ 3461532 w 9114518"/>
              <a:gd name="connsiteY1009" fmla="*/ 1207927 h 7391342"/>
              <a:gd name="connsiteX1010" fmla="*/ 3402106 w 9114518"/>
              <a:gd name="connsiteY1010" fmla="*/ 1253245 h 7391342"/>
              <a:gd name="connsiteX1011" fmla="*/ 3367764 w 9114518"/>
              <a:gd name="connsiteY1011" fmla="*/ 1271353 h 7391342"/>
              <a:gd name="connsiteX1012" fmla="*/ 3330171 w 9114518"/>
              <a:gd name="connsiteY1012" fmla="*/ 1286331 h 7391342"/>
              <a:gd name="connsiteX1013" fmla="*/ 3289198 w 9114518"/>
              <a:gd name="connsiteY1013" fmla="*/ 1298106 h 7391342"/>
              <a:gd name="connsiteX1014" fmla="*/ 3244722 w 9114518"/>
              <a:gd name="connsiteY1014" fmla="*/ 1306606 h 7391342"/>
              <a:gd name="connsiteX1015" fmla="*/ 3196615 w 9114518"/>
              <a:gd name="connsiteY1015" fmla="*/ 1311759 h 7391342"/>
              <a:gd name="connsiteX1016" fmla="*/ 3144752 w 9114518"/>
              <a:gd name="connsiteY1016" fmla="*/ 1313492 h 7391342"/>
              <a:gd name="connsiteX1017" fmla="*/ 3144752 w 9114518"/>
              <a:gd name="connsiteY1017" fmla="*/ 1215571 h 7391342"/>
              <a:gd name="connsiteX1018" fmla="*/ 3194999 w 9114518"/>
              <a:gd name="connsiteY1018" fmla="*/ 1213312 h 7391342"/>
              <a:gd name="connsiteX1019" fmla="*/ 3240428 w 9114518"/>
              <a:gd name="connsiteY1019" fmla="*/ 1206617 h 7391342"/>
              <a:gd name="connsiteX1020" fmla="*/ 3281267 w 9114518"/>
              <a:gd name="connsiteY1020" fmla="*/ 1195604 h 7391342"/>
              <a:gd name="connsiteX1021" fmla="*/ 3317746 w 9114518"/>
              <a:gd name="connsiteY1021" fmla="*/ 1180393 h 7391342"/>
              <a:gd name="connsiteX1022" fmla="*/ 3378538 w 9114518"/>
              <a:gd name="connsiteY1022" fmla="*/ 1137856 h 7391342"/>
              <a:gd name="connsiteX1023" fmla="*/ 3424634 w 9114518"/>
              <a:gd name="connsiteY1023" fmla="*/ 1079963 h 7391342"/>
              <a:gd name="connsiteX1024" fmla="*/ 3442743 w 9114518"/>
              <a:gd name="connsiteY1024" fmla="*/ 1045557 h 7391342"/>
              <a:gd name="connsiteX1025" fmla="*/ 3457864 w 9114518"/>
              <a:gd name="connsiteY1025" fmla="*/ 1007670 h 7391342"/>
              <a:gd name="connsiteX1026" fmla="*/ 3470227 w 9114518"/>
              <a:gd name="connsiteY1026" fmla="*/ 966422 h 7391342"/>
              <a:gd name="connsiteX1027" fmla="*/ 3480060 w 9114518"/>
              <a:gd name="connsiteY1027" fmla="*/ 921934 h 7391342"/>
              <a:gd name="connsiteX1028" fmla="*/ 3487591 w 9114518"/>
              <a:gd name="connsiteY1028" fmla="*/ 874323 h 7391342"/>
              <a:gd name="connsiteX1029" fmla="*/ 3493051 w 9114518"/>
              <a:gd name="connsiteY1029" fmla="*/ 823711 h 7391342"/>
              <a:gd name="connsiteX1030" fmla="*/ 3496668 w 9114518"/>
              <a:gd name="connsiteY1030" fmla="*/ 770216 h 7391342"/>
              <a:gd name="connsiteX1031" fmla="*/ 3498670 w 9114518"/>
              <a:gd name="connsiteY1031" fmla="*/ 713959 h 7391342"/>
              <a:gd name="connsiteX1032" fmla="*/ 3499286 w 9114518"/>
              <a:gd name="connsiteY1032" fmla="*/ 655058 h 7391342"/>
              <a:gd name="connsiteX1033" fmla="*/ 3498637 w 9114518"/>
              <a:gd name="connsiteY1033" fmla="*/ 596735 h 7391342"/>
              <a:gd name="connsiteX1034" fmla="*/ 3496544 w 9114518"/>
              <a:gd name="connsiteY1034" fmla="*/ 541021 h 7391342"/>
              <a:gd name="connsiteX1035" fmla="*/ 3492792 w 9114518"/>
              <a:gd name="connsiteY1035" fmla="*/ 488034 h 7391342"/>
              <a:gd name="connsiteX1036" fmla="*/ 3487163 w 9114518"/>
              <a:gd name="connsiteY1036" fmla="*/ 437895 h 7391342"/>
              <a:gd name="connsiteX1037" fmla="*/ 3479442 w 9114518"/>
              <a:gd name="connsiteY1037" fmla="*/ 390722 h 7391342"/>
              <a:gd name="connsiteX1038" fmla="*/ 3469411 w 9114518"/>
              <a:gd name="connsiteY1038" fmla="*/ 346637 h 7391342"/>
              <a:gd name="connsiteX1039" fmla="*/ 3456855 w 9114518"/>
              <a:gd name="connsiteY1039" fmla="*/ 305757 h 7391342"/>
              <a:gd name="connsiteX1040" fmla="*/ 3441557 w 9114518"/>
              <a:gd name="connsiteY1040" fmla="*/ 268203 h 7391342"/>
              <a:gd name="connsiteX1041" fmla="*/ 3423300 w 9114518"/>
              <a:gd name="connsiteY1041" fmla="*/ 234095 h 7391342"/>
              <a:gd name="connsiteX1042" fmla="*/ 3377044 w 9114518"/>
              <a:gd name="connsiteY1042" fmla="*/ 176692 h 7391342"/>
              <a:gd name="connsiteX1043" fmla="*/ 3316354 w 9114518"/>
              <a:gd name="connsiteY1043" fmla="*/ 134506 h 7391342"/>
              <a:gd name="connsiteX1044" fmla="*/ 3280057 w 9114518"/>
              <a:gd name="connsiteY1044" fmla="*/ 119418 h 7391342"/>
              <a:gd name="connsiteX1045" fmla="*/ 3239501 w 9114518"/>
              <a:gd name="connsiteY1045" fmla="*/ 108493 h 7391342"/>
              <a:gd name="connsiteX1046" fmla="*/ 3194472 w 9114518"/>
              <a:gd name="connsiteY1046" fmla="*/ 101850 h 7391342"/>
              <a:gd name="connsiteX1047" fmla="*/ 3144752 w 9114518"/>
              <a:gd name="connsiteY1047" fmla="*/ 99609 h 739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Lst>
            <a:rect l="l" t="t" r="r" b="b"/>
            <a:pathLst>
              <a:path w="9114518" h="7391342">
                <a:moveTo>
                  <a:pt x="6423906" y="7111086"/>
                </a:moveTo>
                <a:lnTo>
                  <a:pt x="6633262" y="7111086"/>
                </a:lnTo>
                <a:lnTo>
                  <a:pt x="6633262" y="7286668"/>
                </a:lnTo>
                <a:lnTo>
                  <a:pt x="6423906" y="7286668"/>
                </a:lnTo>
                <a:close/>
                <a:moveTo>
                  <a:pt x="3371709" y="6959141"/>
                </a:moveTo>
                <a:lnTo>
                  <a:pt x="4286770" y="6959141"/>
                </a:lnTo>
                <a:lnTo>
                  <a:pt x="4286770" y="7067193"/>
                </a:lnTo>
                <a:lnTo>
                  <a:pt x="3371709" y="7067193"/>
                </a:lnTo>
                <a:close/>
                <a:moveTo>
                  <a:pt x="3371709" y="6606288"/>
                </a:moveTo>
                <a:lnTo>
                  <a:pt x="4286770" y="6606288"/>
                </a:lnTo>
                <a:lnTo>
                  <a:pt x="4286770" y="6714340"/>
                </a:lnTo>
                <a:lnTo>
                  <a:pt x="3371709" y="6714340"/>
                </a:lnTo>
                <a:close/>
                <a:moveTo>
                  <a:pt x="5418710" y="6084039"/>
                </a:moveTo>
                <a:lnTo>
                  <a:pt x="5796891" y="6084039"/>
                </a:lnTo>
                <a:lnTo>
                  <a:pt x="5796891" y="6180559"/>
                </a:lnTo>
                <a:lnTo>
                  <a:pt x="5796891" y="7291809"/>
                </a:lnTo>
                <a:lnTo>
                  <a:pt x="5796891" y="7388329"/>
                </a:lnTo>
                <a:lnTo>
                  <a:pt x="5418710" y="7388329"/>
                </a:lnTo>
                <a:lnTo>
                  <a:pt x="5418710" y="7291809"/>
                </a:lnTo>
                <a:lnTo>
                  <a:pt x="5680394" y="7291809"/>
                </a:lnTo>
                <a:lnTo>
                  <a:pt x="5680394" y="6180559"/>
                </a:lnTo>
                <a:lnTo>
                  <a:pt x="5418710" y="6180559"/>
                </a:lnTo>
                <a:close/>
                <a:moveTo>
                  <a:pt x="4939629" y="6084039"/>
                </a:moveTo>
                <a:lnTo>
                  <a:pt x="5317797" y="6084039"/>
                </a:lnTo>
                <a:lnTo>
                  <a:pt x="5317797" y="6180559"/>
                </a:lnTo>
                <a:lnTo>
                  <a:pt x="5056113" y="6180559"/>
                </a:lnTo>
                <a:lnTo>
                  <a:pt x="5056113" y="7291809"/>
                </a:lnTo>
                <a:lnTo>
                  <a:pt x="5317797" y="7291809"/>
                </a:lnTo>
                <a:lnTo>
                  <a:pt x="5317797" y="7388329"/>
                </a:lnTo>
                <a:lnTo>
                  <a:pt x="4939629" y="7388329"/>
                </a:lnTo>
                <a:lnTo>
                  <a:pt x="4939629" y="7291809"/>
                </a:lnTo>
                <a:lnTo>
                  <a:pt x="4939629" y="6180559"/>
                </a:lnTo>
                <a:close/>
                <a:moveTo>
                  <a:pt x="8646856" y="6077851"/>
                </a:moveTo>
                <a:lnTo>
                  <a:pt x="8698064" y="6079573"/>
                </a:lnTo>
                <a:lnTo>
                  <a:pt x="8745644" y="6084693"/>
                </a:lnTo>
                <a:lnTo>
                  <a:pt x="8789712" y="6093139"/>
                </a:lnTo>
                <a:lnTo>
                  <a:pt x="8830382" y="6104840"/>
                </a:lnTo>
                <a:lnTo>
                  <a:pt x="8867774" y="6119725"/>
                </a:lnTo>
                <a:lnTo>
                  <a:pt x="8902000" y="6137723"/>
                </a:lnTo>
                <a:lnTo>
                  <a:pt x="8961424" y="6182774"/>
                </a:lnTo>
                <a:lnTo>
                  <a:pt x="9009582" y="6239424"/>
                </a:lnTo>
                <a:lnTo>
                  <a:pt x="9029726" y="6271921"/>
                </a:lnTo>
                <a:lnTo>
                  <a:pt x="9047402" y="6307104"/>
                </a:lnTo>
                <a:lnTo>
                  <a:pt x="9062724" y="6344902"/>
                </a:lnTo>
                <a:lnTo>
                  <a:pt x="9075810" y="6385245"/>
                </a:lnTo>
                <a:lnTo>
                  <a:pt x="9086774" y="6428061"/>
                </a:lnTo>
                <a:lnTo>
                  <a:pt x="9095734" y="6473278"/>
                </a:lnTo>
                <a:lnTo>
                  <a:pt x="9102806" y="6520827"/>
                </a:lnTo>
                <a:lnTo>
                  <a:pt x="9108104" y="6570635"/>
                </a:lnTo>
                <a:lnTo>
                  <a:pt x="9111744" y="6622632"/>
                </a:lnTo>
                <a:lnTo>
                  <a:pt x="9113844" y="6676747"/>
                </a:lnTo>
                <a:lnTo>
                  <a:pt x="9114518" y="6732908"/>
                </a:lnTo>
                <a:lnTo>
                  <a:pt x="9113876" y="6789310"/>
                </a:lnTo>
                <a:lnTo>
                  <a:pt x="9111870" y="6843665"/>
                </a:lnTo>
                <a:lnTo>
                  <a:pt x="9108370" y="6895900"/>
                </a:lnTo>
                <a:lnTo>
                  <a:pt x="9103252" y="6945943"/>
                </a:lnTo>
                <a:lnTo>
                  <a:pt x="9096392" y="6993721"/>
                </a:lnTo>
                <a:lnTo>
                  <a:pt x="9087662" y="7039164"/>
                </a:lnTo>
                <a:lnTo>
                  <a:pt x="9076936" y="7082197"/>
                </a:lnTo>
                <a:lnTo>
                  <a:pt x="9064090" y="7122750"/>
                </a:lnTo>
                <a:lnTo>
                  <a:pt x="9048998" y="7160750"/>
                </a:lnTo>
                <a:lnTo>
                  <a:pt x="9031532" y="7196125"/>
                </a:lnTo>
                <a:lnTo>
                  <a:pt x="9011568" y="7228803"/>
                </a:lnTo>
                <a:lnTo>
                  <a:pt x="8963644" y="7285777"/>
                </a:lnTo>
                <a:lnTo>
                  <a:pt x="8904216" y="7331095"/>
                </a:lnTo>
                <a:lnTo>
                  <a:pt x="8869874" y="7349203"/>
                </a:lnTo>
                <a:lnTo>
                  <a:pt x="8832280" y="7364181"/>
                </a:lnTo>
                <a:lnTo>
                  <a:pt x="8791306" y="7375956"/>
                </a:lnTo>
                <a:lnTo>
                  <a:pt x="8746828" y="7384456"/>
                </a:lnTo>
                <a:lnTo>
                  <a:pt x="8698720" y="7389609"/>
                </a:lnTo>
                <a:lnTo>
                  <a:pt x="8646856" y="7391342"/>
                </a:lnTo>
                <a:lnTo>
                  <a:pt x="8646856" y="7293421"/>
                </a:lnTo>
                <a:lnTo>
                  <a:pt x="8697104" y="7291162"/>
                </a:lnTo>
                <a:lnTo>
                  <a:pt x="8742536" y="7284467"/>
                </a:lnTo>
                <a:lnTo>
                  <a:pt x="8783376" y="7273454"/>
                </a:lnTo>
                <a:lnTo>
                  <a:pt x="8819856" y="7258243"/>
                </a:lnTo>
                <a:lnTo>
                  <a:pt x="8880650" y="7215706"/>
                </a:lnTo>
                <a:lnTo>
                  <a:pt x="8926746" y="7157813"/>
                </a:lnTo>
                <a:lnTo>
                  <a:pt x="8944856" y="7123407"/>
                </a:lnTo>
                <a:lnTo>
                  <a:pt x="8959978" y="7085520"/>
                </a:lnTo>
                <a:lnTo>
                  <a:pt x="8972340" y="7044272"/>
                </a:lnTo>
                <a:lnTo>
                  <a:pt x="8982174" y="6999784"/>
                </a:lnTo>
                <a:lnTo>
                  <a:pt x="8989706" y="6952173"/>
                </a:lnTo>
                <a:lnTo>
                  <a:pt x="8995166" y="6901561"/>
                </a:lnTo>
                <a:lnTo>
                  <a:pt x="8998782" y="6848066"/>
                </a:lnTo>
                <a:lnTo>
                  <a:pt x="9000784" y="6791809"/>
                </a:lnTo>
                <a:lnTo>
                  <a:pt x="9001400" y="6732908"/>
                </a:lnTo>
                <a:lnTo>
                  <a:pt x="9000750" y="6674585"/>
                </a:lnTo>
                <a:lnTo>
                  <a:pt x="8998658" y="6618871"/>
                </a:lnTo>
                <a:lnTo>
                  <a:pt x="8994906" y="6565885"/>
                </a:lnTo>
                <a:lnTo>
                  <a:pt x="8989276" y="6515745"/>
                </a:lnTo>
                <a:lnTo>
                  <a:pt x="8981556" y="6468573"/>
                </a:lnTo>
                <a:lnTo>
                  <a:pt x="8971524" y="6424488"/>
                </a:lnTo>
                <a:lnTo>
                  <a:pt x="8958968" y="6383608"/>
                </a:lnTo>
                <a:lnTo>
                  <a:pt x="8943670" y="6346054"/>
                </a:lnTo>
                <a:lnTo>
                  <a:pt x="8925412" y="6311946"/>
                </a:lnTo>
                <a:lnTo>
                  <a:pt x="8879156" y="6254543"/>
                </a:lnTo>
                <a:lnTo>
                  <a:pt x="8818464" y="6212357"/>
                </a:lnTo>
                <a:lnTo>
                  <a:pt x="8782166" y="6197269"/>
                </a:lnTo>
                <a:lnTo>
                  <a:pt x="8741608" y="6186344"/>
                </a:lnTo>
                <a:lnTo>
                  <a:pt x="8696578" y="6179701"/>
                </a:lnTo>
                <a:lnTo>
                  <a:pt x="8646856" y="6177460"/>
                </a:lnTo>
                <a:close/>
                <a:moveTo>
                  <a:pt x="8553970" y="6077851"/>
                </a:moveTo>
                <a:lnTo>
                  <a:pt x="8553970" y="6177460"/>
                </a:lnTo>
                <a:lnTo>
                  <a:pt x="8504528" y="6179701"/>
                </a:lnTo>
                <a:lnTo>
                  <a:pt x="8459744" y="6186344"/>
                </a:lnTo>
                <a:lnTo>
                  <a:pt x="8419404" y="6197269"/>
                </a:lnTo>
                <a:lnTo>
                  <a:pt x="8383292" y="6212357"/>
                </a:lnTo>
                <a:lnTo>
                  <a:pt x="8322900" y="6254543"/>
                </a:lnTo>
                <a:lnTo>
                  <a:pt x="8276848" y="6311946"/>
                </a:lnTo>
                <a:lnTo>
                  <a:pt x="8258666" y="6346054"/>
                </a:lnTo>
                <a:lnTo>
                  <a:pt x="8243424" y="6383608"/>
                </a:lnTo>
                <a:lnTo>
                  <a:pt x="8230912" y="6424488"/>
                </a:lnTo>
                <a:lnTo>
                  <a:pt x="8220912" y="6468573"/>
                </a:lnTo>
                <a:lnTo>
                  <a:pt x="8213212" y="6515745"/>
                </a:lnTo>
                <a:lnTo>
                  <a:pt x="8207596" y="6565885"/>
                </a:lnTo>
                <a:lnTo>
                  <a:pt x="8203850" y="6618871"/>
                </a:lnTo>
                <a:lnTo>
                  <a:pt x="8201760" y="6674585"/>
                </a:lnTo>
                <a:lnTo>
                  <a:pt x="8201110" y="6732908"/>
                </a:lnTo>
                <a:lnTo>
                  <a:pt x="8201744" y="6791809"/>
                </a:lnTo>
                <a:lnTo>
                  <a:pt x="8203788" y="6848066"/>
                </a:lnTo>
                <a:lnTo>
                  <a:pt x="8207466" y="6901561"/>
                </a:lnTo>
                <a:lnTo>
                  <a:pt x="8212998" y="6952173"/>
                </a:lnTo>
                <a:lnTo>
                  <a:pt x="8220604" y="6999784"/>
                </a:lnTo>
                <a:lnTo>
                  <a:pt x="8230504" y="7044272"/>
                </a:lnTo>
                <a:lnTo>
                  <a:pt x="8242920" y="7085520"/>
                </a:lnTo>
                <a:lnTo>
                  <a:pt x="8258072" y="7123407"/>
                </a:lnTo>
                <a:lnTo>
                  <a:pt x="8276182" y="7157813"/>
                </a:lnTo>
                <a:lnTo>
                  <a:pt x="8322152" y="7215706"/>
                </a:lnTo>
                <a:lnTo>
                  <a:pt x="8382596" y="7258243"/>
                </a:lnTo>
                <a:lnTo>
                  <a:pt x="8418798" y="7273454"/>
                </a:lnTo>
                <a:lnTo>
                  <a:pt x="8459280" y="7284467"/>
                </a:lnTo>
                <a:lnTo>
                  <a:pt x="8504264" y="7291162"/>
                </a:lnTo>
                <a:lnTo>
                  <a:pt x="8553970" y="7293421"/>
                </a:lnTo>
                <a:lnTo>
                  <a:pt x="8553970" y="7391342"/>
                </a:lnTo>
                <a:lnTo>
                  <a:pt x="8502324" y="7389609"/>
                </a:lnTo>
                <a:lnTo>
                  <a:pt x="8454390" y="7384456"/>
                </a:lnTo>
                <a:lnTo>
                  <a:pt x="8410050" y="7375956"/>
                </a:lnTo>
                <a:lnTo>
                  <a:pt x="8369176" y="7364181"/>
                </a:lnTo>
                <a:lnTo>
                  <a:pt x="8331650" y="7349203"/>
                </a:lnTo>
                <a:lnTo>
                  <a:pt x="8297346" y="7331095"/>
                </a:lnTo>
                <a:lnTo>
                  <a:pt x="8237920" y="7285777"/>
                </a:lnTo>
                <a:lnTo>
                  <a:pt x="8189918" y="7228803"/>
                </a:lnTo>
                <a:lnTo>
                  <a:pt x="8169894" y="7196125"/>
                </a:lnTo>
                <a:lnTo>
                  <a:pt x="8152358" y="7160750"/>
                </a:lnTo>
                <a:lnTo>
                  <a:pt x="8137190" y="7122750"/>
                </a:lnTo>
                <a:lnTo>
                  <a:pt x="8124264" y="7082197"/>
                </a:lnTo>
                <a:lnTo>
                  <a:pt x="8113458" y="7039164"/>
                </a:lnTo>
                <a:lnTo>
                  <a:pt x="8104652" y="6993721"/>
                </a:lnTo>
                <a:lnTo>
                  <a:pt x="8097722" y="6945943"/>
                </a:lnTo>
                <a:lnTo>
                  <a:pt x="8092544" y="6895900"/>
                </a:lnTo>
                <a:lnTo>
                  <a:pt x="8088998" y="6843665"/>
                </a:lnTo>
                <a:lnTo>
                  <a:pt x="8086960" y="6789310"/>
                </a:lnTo>
                <a:lnTo>
                  <a:pt x="8086308" y="6732908"/>
                </a:lnTo>
                <a:lnTo>
                  <a:pt x="8086982" y="6676747"/>
                </a:lnTo>
                <a:lnTo>
                  <a:pt x="8089082" y="6622632"/>
                </a:lnTo>
                <a:lnTo>
                  <a:pt x="8092722" y="6570635"/>
                </a:lnTo>
                <a:lnTo>
                  <a:pt x="8098020" y="6520827"/>
                </a:lnTo>
                <a:lnTo>
                  <a:pt x="8105090" y="6473278"/>
                </a:lnTo>
                <a:lnTo>
                  <a:pt x="8114050" y="6428061"/>
                </a:lnTo>
                <a:lnTo>
                  <a:pt x="8125014" y="6385245"/>
                </a:lnTo>
                <a:lnTo>
                  <a:pt x="8138100" y="6344902"/>
                </a:lnTo>
                <a:lnTo>
                  <a:pt x="8153424" y="6307104"/>
                </a:lnTo>
                <a:lnTo>
                  <a:pt x="8171098" y="6271921"/>
                </a:lnTo>
                <a:lnTo>
                  <a:pt x="8191242" y="6239424"/>
                </a:lnTo>
                <a:lnTo>
                  <a:pt x="8239400" y="6182774"/>
                </a:lnTo>
                <a:lnTo>
                  <a:pt x="8298824" y="6137723"/>
                </a:lnTo>
                <a:lnTo>
                  <a:pt x="8333052" y="6119725"/>
                </a:lnTo>
                <a:lnTo>
                  <a:pt x="8370442" y="6104840"/>
                </a:lnTo>
                <a:lnTo>
                  <a:pt x="8411114" y="6093139"/>
                </a:lnTo>
                <a:lnTo>
                  <a:pt x="8455182" y="6084693"/>
                </a:lnTo>
                <a:lnTo>
                  <a:pt x="8502762" y="6079573"/>
                </a:lnTo>
                <a:close/>
                <a:moveTo>
                  <a:pt x="1425338" y="6077851"/>
                </a:moveTo>
                <a:lnTo>
                  <a:pt x="1476547" y="6079573"/>
                </a:lnTo>
                <a:lnTo>
                  <a:pt x="1524127" y="6084693"/>
                </a:lnTo>
                <a:lnTo>
                  <a:pt x="1568196" y="6093139"/>
                </a:lnTo>
                <a:lnTo>
                  <a:pt x="1608868" y="6104840"/>
                </a:lnTo>
                <a:lnTo>
                  <a:pt x="1646259" y="6119725"/>
                </a:lnTo>
                <a:lnTo>
                  <a:pt x="1680486" y="6137723"/>
                </a:lnTo>
                <a:lnTo>
                  <a:pt x="1739910" y="6182774"/>
                </a:lnTo>
                <a:lnTo>
                  <a:pt x="1788068" y="6239424"/>
                </a:lnTo>
                <a:lnTo>
                  <a:pt x="1808212" y="6271921"/>
                </a:lnTo>
                <a:lnTo>
                  <a:pt x="1825887" y="6307104"/>
                </a:lnTo>
                <a:lnTo>
                  <a:pt x="1841209" y="6344902"/>
                </a:lnTo>
                <a:lnTo>
                  <a:pt x="1854294" y="6385245"/>
                </a:lnTo>
                <a:lnTo>
                  <a:pt x="1865258" y="6428061"/>
                </a:lnTo>
                <a:lnTo>
                  <a:pt x="1874218" y="6473278"/>
                </a:lnTo>
                <a:lnTo>
                  <a:pt x="1881288" y="6520827"/>
                </a:lnTo>
                <a:lnTo>
                  <a:pt x="1886585" y="6570635"/>
                </a:lnTo>
                <a:lnTo>
                  <a:pt x="1890226" y="6622632"/>
                </a:lnTo>
                <a:lnTo>
                  <a:pt x="1892325" y="6676747"/>
                </a:lnTo>
                <a:lnTo>
                  <a:pt x="1892999" y="6732908"/>
                </a:lnTo>
                <a:lnTo>
                  <a:pt x="1892357" y="6789310"/>
                </a:lnTo>
                <a:lnTo>
                  <a:pt x="1890350" y="6843665"/>
                </a:lnTo>
                <a:lnTo>
                  <a:pt x="1886851" y="6895900"/>
                </a:lnTo>
                <a:lnTo>
                  <a:pt x="1881734" y="6945943"/>
                </a:lnTo>
                <a:lnTo>
                  <a:pt x="1874873" y="6993721"/>
                </a:lnTo>
                <a:lnTo>
                  <a:pt x="1866143" y="7039164"/>
                </a:lnTo>
                <a:lnTo>
                  <a:pt x="1855418" y="7082197"/>
                </a:lnTo>
                <a:lnTo>
                  <a:pt x="1842572" y="7122750"/>
                </a:lnTo>
                <a:lnTo>
                  <a:pt x="1827479" y="7160750"/>
                </a:lnTo>
                <a:lnTo>
                  <a:pt x="1810014" y="7196125"/>
                </a:lnTo>
                <a:lnTo>
                  <a:pt x="1790050" y="7228803"/>
                </a:lnTo>
                <a:lnTo>
                  <a:pt x="1742125" y="7285777"/>
                </a:lnTo>
                <a:lnTo>
                  <a:pt x="1682698" y="7331095"/>
                </a:lnTo>
                <a:lnTo>
                  <a:pt x="1648356" y="7349203"/>
                </a:lnTo>
                <a:lnTo>
                  <a:pt x="1610762" y="7364181"/>
                </a:lnTo>
                <a:lnTo>
                  <a:pt x="1569788" y="7375956"/>
                </a:lnTo>
                <a:lnTo>
                  <a:pt x="1525310" y="7384456"/>
                </a:lnTo>
                <a:lnTo>
                  <a:pt x="1477202" y="7389609"/>
                </a:lnTo>
                <a:lnTo>
                  <a:pt x="1425338" y="7391342"/>
                </a:lnTo>
                <a:lnTo>
                  <a:pt x="1425338" y="7293421"/>
                </a:lnTo>
                <a:lnTo>
                  <a:pt x="1475586" y="7291162"/>
                </a:lnTo>
                <a:lnTo>
                  <a:pt x="1521017" y="7284467"/>
                </a:lnTo>
                <a:lnTo>
                  <a:pt x="1561858" y="7273454"/>
                </a:lnTo>
                <a:lnTo>
                  <a:pt x="1598338" y="7258243"/>
                </a:lnTo>
                <a:lnTo>
                  <a:pt x="1659131" y="7215706"/>
                </a:lnTo>
                <a:lnTo>
                  <a:pt x="1705228" y="7157813"/>
                </a:lnTo>
                <a:lnTo>
                  <a:pt x="1723337" y="7123407"/>
                </a:lnTo>
                <a:lnTo>
                  <a:pt x="1738459" y="7085520"/>
                </a:lnTo>
                <a:lnTo>
                  <a:pt x="1750822" y="7044272"/>
                </a:lnTo>
                <a:lnTo>
                  <a:pt x="1760655" y="6999784"/>
                </a:lnTo>
                <a:lnTo>
                  <a:pt x="1768187" y="6952173"/>
                </a:lnTo>
                <a:lnTo>
                  <a:pt x="1773647" y="6901561"/>
                </a:lnTo>
                <a:lnTo>
                  <a:pt x="1777263" y="6848066"/>
                </a:lnTo>
                <a:lnTo>
                  <a:pt x="1779265" y="6791809"/>
                </a:lnTo>
                <a:lnTo>
                  <a:pt x="1779882" y="6732908"/>
                </a:lnTo>
                <a:lnTo>
                  <a:pt x="1779232" y="6674585"/>
                </a:lnTo>
                <a:lnTo>
                  <a:pt x="1777140" y="6618871"/>
                </a:lnTo>
                <a:lnTo>
                  <a:pt x="1773387" y="6565885"/>
                </a:lnTo>
                <a:lnTo>
                  <a:pt x="1767758" y="6515745"/>
                </a:lnTo>
                <a:lnTo>
                  <a:pt x="1760037" y="6468573"/>
                </a:lnTo>
                <a:lnTo>
                  <a:pt x="1750006" y="6424488"/>
                </a:lnTo>
                <a:lnTo>
                  <a:pt x="1737450" y="6383608"/>
                </a:lnTo>
                <a:lnTo>
                  <a:pt x="1722151" y="6346054"/>
                </a:lnTo>
                <a:lnTo>
                  <a:pt x="1703894" y="6311946"/>
                </a:lnTo>
                <a:lnTo>
                  <a:pt x="1657637" y="6254543"/>
                </a:lnTo>
                <a:lnTo>
                  <a:pt x="1596946" y="6212357"/>
                </a:lnTo>
                <a:lnTo>
                  <a:pt x="1560647" y="6197269"/>
                </a:lnTo>
                <a:lnTo>
                  <a:pt x="1520090" y="6186344"/>
                </a:lnTo>
                <a:lnTo>
                  <a:pt x="1475059" y="6179701"/>
                </a:lnTo>
                <a:lnTo>
                  <a:pt x="1425338" y="6177460"/>
                </a:lnTo>
                <a:close/>
                <a:moveTo>
                  <a:pt x="1332420" y="6077851"/>
                </a:moveTo>
                <a:lnTo>
                  <a:pt x="1332420" y="6177460"/>
                </a:lnTo>
                <a:lnTo>
                  <a:pt x="1282980" y="6179701"/>
                </a:lnTo>
                <a:lnTo>
                  <a:pt x="1238197" y="6186344"/>
                </a:lnTo>
                <a:lnTo>
                  <a:pt x="1197858" y="6197269"/>
                </a:lnTo>
                <a:lnTo>
                  <a:pt x="1161747" y="6212357"/>
                </a:lnTo>
                <a:lnTo>
                  <a:pt x="1101354" y="6254543"/>
                </a:lnTo>
                <a:lnTo>
                  <a:pt x="1055303" y="6311946"/>
                </a:lnTo>
                <a:lnTo>
                  <a:pt x="1037120" y="6346054"/>
                </a:lnTo>
                <a:lnTo>
                  <a:pt x="1021878" y="6383608"/>
                </a:lnTo>
                <a:lnTo>
                  <a:pt x="1009365" y="6424488"/>
                </a:lnTo>
                <a:lnTo>
                  <a:pt x="999365" y="6468573"/>
                </a:lnTo>
                <a:lnTo>
                  <a:pt x="991664" y="6515745"/>
                </a:lnTo>
                <a:lnTo>
                  <a:pt x="986047" y="6565885"/>
                </a:lnTo>
                <a:lnTo>
                  <a:pt x="982301" y="6618871"/>
                </a:lnTo>
                <a:lnTo>
                  <a:pt x="980210" y="6674585"/>
                </a:lnTo>
                <a:lnTo>
                  <a:pt x="979561" y="6732908"/>
                </a:lnTo>
                <a:lnTo>
                  <a:pt x="980194" y="6791809"/>
                </a:lnTo>
                <a:lnTo>
                  <a:pt x="982239" y="6848066"/>
                </a:lnTo>
                <a:lnTo>
                  <a:pt x="985918" y="6901561"/>
                </a:lnTo>
                <a:lnTo>
                  <a:pt x="991450" y="6952173"/>
                </a:lnTo>
                <a:lnTo>
                  <a:pt x="999056" y="6999784"/>
                </a:lnTo>
                <a:lnTo>
                  <a:pt x="1008957" y="7044272"/>
                </a:lnTo>
                <a:lnTo>
                  <a:pt x="1021374" y="7085520"/>
                </a:lnTo>
                <a:lnTo>
                  <a:pt x="1036527" y="7123407"/>
                </a:lnTo>
                <a:lnTo>
                  <a:pt x="1054636" y="7157813"/>
                </a:lnTo>
                <a:lnTo>
                  <a:pt x="1100607" y="7215706"/>
                </a:lnTo>
                <a:lnTo>
                  <a:pt x="1161051" y="7258243"/>
                </a:lnTo>
                <a:lnTo>
                  <a:pt x="1197253" y="7273454"/>
                </a:lnTo>
                <a:lnTo>
                  <a:pt x="1237734" y="7284467"/>
                </a:lnTo>
                <a:lnTo>
                  <a:pt x="1282716" y="7291162"/>
                </a:lnTo>
                <a:lnTo>
                  <a:pt x="1332420" y="7293421"/>
                </a:lnTo>
                <a:lnTo>
                  <a:pt x="1332420" y="7391342"/>
                </a:lnTo>
                <a:lnTo>
                  <a:pt x="1280774" y="7389609"/>
                </a:lnTo>
                <a:lnTo>
                  <a:pt x="1232841" y="7384456"/>
                </a:lnTo>
                <a:lnTo>
                  <a:pt x="1188500" y="7375956"/>
                </a:lnTo>
                <a:lnTo>
                  <a:pt x="1147627" y="7364181"/>
                </a:lnTo>
                <a:lnTo>
                  <a:pt x="1110100" y="7349203"/>
                </a:lnTo>
                <a:lnTo>
                  <a:pt x="1075796" y="7331095"/>
                </a:lnTo>
                <a:lnTo>
                  <a:pt x="1016370" y="7285777"/>
                </a:lnTo>
                <a:lnTo>
                  <a:pt x="968368" y="7228803"/>
                </a:lnTo>
                <a:lnTo>
                  <a:pt x="948344" y="7196125"/>
                </a:lnTo>
                <a:lnTo>
                  <a:pt x="930809" y="7160750"/>
                </a:lnTo>
                <a:lnTo>
                  <a:pt x="915640" y="7122750"/>
                </a:lnTo>
                <a:lnTo>
                  <a:pt x="902714" y="7082197"/>
                </a:lnTo>
                <a:lnTo>
                  <a:pt x="891909" y="7039164"/>
                </a:lnTo>
                <a:lnTo>
                  <a:pt x="883103" y="6993721"/>
                </a:lnTo>
                <a:lnTo>
                  <a:pt x="876172" y="6945943"/>
                </a:lnTo>
                <a:lnTo>
                  <a:pt x="870995" y="6895900"/>
                </a:lnTo>
                <a:lnTo>
                  <a:pt x="867449" y="6843665"/>
                </a:lnTo>
                <a:lnTo>
                  <a:pt x="865411" y="6789310"/>
                </a:lnTo>
                <a:lnTo>
                  <a:pt x="864759" y="6732908"/>
                </a:lnTo>
                <a:lnTo>
                  <a:pt x="865433" y="6676747"/>
                </a:lnTo>
                <a:lnTo>
                  <a:pt x="867532" y="6622632"/>
                </a:lnTo>
                <a:lnTo>
                  <a:pt x="871172" y="6570635"/>
                </a:lnTo>
                <a:lnTo>
                  <a:pt x="876470" y="6520827"/>
                </a:lnTo>
                <a:lnTo>
                  <a:pt x="883541" y="6473278"/>
                </a:lnTo>
                <a:lnTo>
                  <a:pt x="892501" y="6428061"/>
                </a:lnTo>
                <a:lnTo>
                  <a:pt x="903465" y="6385245"/>
                </a:lnTo>
                <a:lnTo>
                  <a:pt x="916551" y="6344902"/>
                </a:lnTo>
                <a:lnTo>
                  <a:pt x="931874" y="6307104"/>
                </a:lnTo>
                <a:lnTo>
                  <a:pt x="949549" y="6271921"/>
                </a:lnTo>
                <a:lnTo>
                  <a:pt x="969693" y="6239424"/>
                </a:lnTo>
                <a:lnTo>
                  <a:pt x="1017851" y="6182774"/>
                </a:lnTo>
                <a:lnTo>
                  <a:pt x="1077275" y="6137723"/>
                </a:lnTo>
                <a:lnTo>
                  <a:pt x="1111502" y="6119725"/>
                </a:lnTo>
                <a:lnTo>
                  <a:pt x="1148893" y="6104840"/>
                </a:lnTo>
                <a:lnTo>
                  <a:pt x="1189565" y="6093139"/>
                </a:lnTo>
                <a:lnTo>
                  <a:pt x="1233632" y="6084693"/>
                </a:lnTo>
                <a:lnTo>
                  <a:pt x="1281212" y="6079573"/>
                </a:lnTo>
                <a:close/>
                <a:moveTo>
                  <a:pt x="510883" y="5591624"/>
                </a:moveTo>
                <a:lnTo>
                  <a:pt x="553593" y="5595343"/>
                </a:lnTo>
                <a:lnTo>
                  <a:pt x="586648" y="5608717"/>
                </a:lnTo>
                <a:lnTo>
                  <a:pt x="607989" y="5635070"/>
                </a:lnTo>
                <a:lnTo>
                  <a:pt x="615560" y="5677726"/>
                </a:lnTo>
                <a:lnTo>
                  <a:pt x="607989" y="5722334"/>
                </a:lnTo>
                <a:lnTo>
                  <a:pt x="586648" y="5749689"/>
                </a:lnTo>
                <a:lnTo>
                  <a:pt x="553593" y="5763433"/>
                </a:lnTo>
                <a:lnTo>
                  <a:pt x="510883" y="5767206"/>
                </a:lnTo>
                <a:lnTo>
                  <a:pt x="468173" y="5763433"/>
                </a:lnTo>
                <a:lnTo>
                  <a:pt x="435118" y="5749689"/>
                </a:lnTo>
                <a:lnTo>
                  <a:pt x="413777" y="5722334"/>
                </a:lnTo>
                <a:lnTo>
                  <a:pt x="406206" y="5677726"/>
                </a:lnTo>
                <a:lnTo>
                  <a:pt x="414015" y="5635070"/>
                </a:lnTo>
                <a:lnTo>
                  <a:pt x="435754" y="5608717"/>
                </a:lnTo>
                <a:lnTo>
                  <a:pt x="468888" y="5595343"/>
                </a:lnTo>
                <a:close/>
                <a:moveTo>
                  <a:pt x="2493379" y="5439680"/>
                </a:moveTo>
                <a:lnTo>
                  <a:pt x="3408440" y="5439680"/>
                </a:lnTo>
                <a:lnTo>
                  <a:pt x="3408440" y="5547731"/>
                </a:lnTo>
                <a:lnTo>
                  <a:pt x="2493379" y="5547731"/>
                </a:lnTo>
                <a:close/>
                <a:moveTo>
                  <a:pt x="2493379" y="5086827"/>
                </a:moveTo>
                <a:lnTo>
                  <a:pt x="3408440" y="5086827"/>
                </a:lnTo>
                <a:lnTo>
                  <a:pt x="3408440" y="5194878"/>
                </a:lnTo>
                <a:lnTo>
                  <a:pt x="2493379" y="5194878"/>
                </a:lnTo>
                <a:close/>
                <a:moveTo>
                  <a:pt x="510883" y="4882541"/>
                </a:moveTo>
                <a:lnTo>
                  <a:pt x="553593" y="4886049"/>
                </a:lnTo>
                <a:lnTo>
                  <a:pt x="586648" y="4899212"/>
                </a:lnTo>
                <a:lnTo>
                  <a:pt x="607989" y="4925987"/>
                </a:lnTo>
                <a:lnTo>
                  <a:pt x="615560" y="4970332"/>
                </a:lnTo>
                <a:lnTo>
                  <a:pt x="607989" y="5013251"/>
                </a:lnTo>
                <a:lnTo>
                  <a:pt x="586648" y="5040185"/>
                </a:lnTo>
                <a:lnTo>
                  <a:pt x="553593" y="5054139"/>
                </a:lnTo>
                <a:lnTo>
                  <a:pt x="510883" y="5058123"/>
                </a:lnTo>
                <a:lnTo>
                  <a:pt x="469154" y="5054139"/>
                </a:lnTo>
                <a:lnTo>
                  <a:pt x="436602" y="5040185"/>
                </a:lnTo>
                <a:lnTo>
                  <a:pt x="415446" y="5013251"/>
                </a:lnTo>
                <a:lnTo>
                  <a:pt x="407902" y="4970332"/>
                </a:lnTo>
                <a:lnTo>
                  <a:pt x="415446" y="4925987"/>
                </a:lnTo>
                <a:lnTo>
                  <a:pt x="436602" y="4899212"/>
                </a:lnTo>
                <a:lnTo>
                  <a:pt x="469154" y="4886049"/>
                </a:lnTo>
                <a:close/>
                <a:moveTo>
                  <a:pt x="4158261" y="4558390"/>
                </a:moveTo>
                <a:lnTo>
                  <a:pt x="4209470" y="4560112"/>
                </a:lnTo>
                <a:lnTo>
                  <a:pt x="4257050" y="4565232"/>
                </a:lnTo>
                <a:lnTo>
                  <a:pt x="4301119" y="4573678"/>
                </a:lnTo>
                <a:lnTo>
                  <a:pt x="4341791" y="4585379"/>
                </a:lnTo>
                <a:lnTo>
                  <a:pt x="4379182" y="4600264"/>
                </a:lnTo>
                <a:lnTo>
                  <a:pt x="4413410" y="4618262"/>
                </a:lnTo>
                <a:lnTo>
                  <a:pt x="4472834" y="4663313"/>
                </a:lnTo>
                <a:lnTo>
                  <a:pt x="4520992" y="4719963"/>
                </a:lnTo>
                <a:lnTo>
                  <a:pt x="4541136" y="4752460"/>
                </a:lnTo>
                <a:lnTo>
                  <a:pt x="4558811" y="4787643"/>
                </a:lnTo>
                <a:lnTo>
                  <a:pt x="4574133" y="4825441"/>
                </a:lnTo>
                <a:lnTo>
                  <a:pt x="4587218" y="4865784"/>
                </a:lnTo>
                <a:lnTo>
                  <a:pt x="4598182" y="4908599"/>
                </a:lnTo>
                <a:lnTo>
                  <a:pt x="4607142" y="4953817"/>
                </a:lnTo>
                <a:lnTo>
                  <a:pt x="4614212" y="5001365"/>
                </a:lnTo>
                <a:lnTo>
                  <a:pt x="4619509" y="5051174"/>
                </a:lnTo>
                <a:lnTo>
                  <a:pt x="4623150" y="5103171"/>
                </a:lnTo>
                <a:lnTo>
                  <a:pt x="4625249" y="5157286"/>
                </a:lnTo>
                <a:lnTo>
                  <a:pt x="4625923" y="5213447"/>
                </a:lnTo>
                <a:lnTo>
                  <a:pt x="4625281" y="5269849"/>
                </a:lnTo>
                <a:lnTo>
                  <a:pt x="4623274" y="5324204"/>
                </a:lnTo>
                <a:lnTo>
                  <a:pt x="4619775" y="5376438"/>
                </a:lnTo>
                <a:lnTo>
                  <a:pt x="4614658" y="5426481"/>
                </a:lnTo>
                <a:lnTo>
                  <a:pt x="4607797" y="5474260"/>
                </a:lnTo>
                <a:lnTo>
                  <a:pt x="4599067" y="5519702"/>
                </a:lnTo>
                <a:lnTo>
                  <a:pt x="4588342" y="5562735"/>
                </a:lnTo>
                <a:lnTo>
                  <a:pt x="4575496" y="5603288"/>
                </a:lnTo>
                <a:lnTo>
                  <a:pt x="4560403" y="5641288"/>
                </a:lnTo>
                <a:lnTo>
                  <a:pt x="4542938" y="5676663"/>
                </a:lnTo>
                <a:lnTo>
                  <a:pt x="4522974" y="5709341"/>
                </a:lnTo>
                <a:lnTo>
                  <a:pt x="4475049" y="5766315"/>
                </a:lnTo>
                <a:lnTo>
                  <a:pt x="4415622" y="5811633"/>
                </a:lnTo>
                <a:lnTo>
                  <a:pt x="4381279" y="5829741"/>
                </a:lnTo>
                <a:lnTo>
                  <a:pt x="4343685" y="5844719"/>
                </a:lnTo>
                <a:lnTo>
                  <a:pt x="4302711" y="5856494"/>
                </a:lnTo>
                <a:lnTo>
                  <a:pt x="4258233" y="5864994"/>
                </a:lnTo>
                <a:lnTo>
                  <a:pt x="4210125" y="5870147"/>
                </a:lnTo>
                <a:lnTo>
                  <a:pt x="4158261" y="5871880"/>
                </a:lnTo>
                <a:lnTo>
                  <a:pt x="4158261" y="5773960"/>
                </a:lnTo>
                <a:lnTo>
                  <a:pt x="4208509" y="5771701"/>
                </a:lnTo>
                <a:lnTo>
                  <a:pt x="4253940" y="5765006"/>
                </a:lnTo>
                <a:lnTo>
                  <a:pt x="4294781" y="5753993"/>
                </a:lnTo>
                <a:lnTo>
                  <a:pt x="4331261" y="5738782"/>
                </a:lnTo>
                <a:lnTo>
                  <a:pt x="4392054" y="5696245"/>
                </a:lnTo>
                <a:lnTo>
                  <a:pt x="4438152" y="5638352"/>
                </a:lnTo>
                <a:lnTo>
                  <a:pt x="4456261" y="5603946"/>
                </a:lnTo>
                <a:lnTo>
                  <a:pt x="4471383" y="5566059"/>
                </a:lnTo>
                <a:lnTo>
                  <a:pt x="4483746" y="5524811"/>
                </a:lnTo>
                <a:lnTo>
                  <a:pt x="4493579" y="5480323"/>
                </a:lnTo>
                <a:lnTo>
                  <a:pt x="4501111" y="5432712"/>
                </a:lnTo>
                <a:lnTo>
                  <a:pt x="4506571" y="5382100"/>
                </a:lnTo>
                <a:lnTo>
                  <a:pt x="4510187" y="5328605"/>
                </a:lnTo>
                <a:lnTo>
                  <a:pt x="4512189" y="5272348"/>
                </a:lnTo>
                <a:lnTo>
                  <a:pt x="4512806" y="5213447"/>
                </a:lnTo>
                <a:lnTo>
                  <a:pt x="4512156" y="5155124"/>
                </a:lnTo>
                <a:lnTo>
                  <a:pt x="4510064" y="5099410"/>
                </a:lnTo>
                <a:lnTo>
                  <a:pt x="4506311" y="5046423"/>
                </a:lnTo>
                <a:lnTo>
                  <a:pt x="4500682" y="4996284"/>
                </a:lnTo>
                <a:lnTo>
                  <a:pt x="4492961" y="4949112"/>
                </a:lnTo>
                <a:lnTo>
                  <a:pt x="4482930" y="4905026"/>
                </a:lnTo>
                <a:lnTo>
                  <a:pt x="4470374" y="4864147"/>
                </a:lnTo>
                <a:lnTo>
                  <a:pt x="4455075" y="4826593"/>
                </a:lnTo>
                <a:lnTo>
                  <a:pt x="4436818" y="4792484"/>
                </a:lnTo>
                <a:lnTo>
                  <a:pt x="4390560" y="4735082"/>
                </a:lnTo>
                <a:lnTo>
                  <a:pt x="4329869" y="4692895"/>
                </a:lnTo>
                <a:lnTo>
                  <a:pt x="4293570" y="4677807"/>
                </a:lnTo>
                <a:lnTo>
                  <a:pt x="4253013" y="4666882"/>
                </a:lnTo>
                <a:lnTo>
                  <a:pt x="4207982" y="4660239"/>
                </a:lnTo>
                <a:lnTo>
                  <a:pt x="4158261" y="4657998"/>
                </a:lnTo>
                <a:close/>
                <a:moveTo>
                  <a:pt x="4065343" y="4558390"/>
                </a:moveTo>
                <a:lnTo>
                  <a:pt x="4065343" y="4657998"/>
                </a:lnTo>
                <a:lnTo>
                  <a:pt x="4015903" y="4660239"/>
                </a:lnTo>
                <a:lnTo>
                  <a:pt x="3971120" y="4666882"/>
                </a:lnTo>
                <a:lnTo>
                  <a:pt x="3930781" y="4677807"/>
                </a:lnTo>
                <a:lnTo>
                  <a:pt x="3894670" y="4692895"/>
                </a:lnTo>
                <a:lnTo>
                  <a:pt x="3834276" y="4735082"/>
                </a:lnTo>
                <a:lnTo>
                  <a:pt x="3788225" y="4792484"/>
                </a:lnTo>
                <a:lnTo>
                  <a:pt x="3770042" y="4826593"/>
                </a:lnTo>
                <a:lnTo>
                  <a:pt x="3754800" y="4864147"/>
                </a:lnTo>
                <a:lnTo>
                  <a:pt x="3742287" y="4905026"/>
                </a:lnTo>
                <a:lnTo>
                  <a:pt x="3732287" y="4949112"/>
                </a:lnTo>
                <a:lnTo>
                  <a:pt x="3724586" y="4996284"/>
                </a:lnTo>
                <a:lnTo>
                  <a:pt x="3718969" y="5046423"/>
                </a:lnTo>
                <a:lnTo>
                  <a:pt x="3715223" y="5099410"/>
                </a:lnTo>
                <a:lnTo>
                  <a:pt x="3713132" y="5155124"/>
                </a:lnTo>
                <a:lnTo>
                  <a:pt x="3712483" y="5213447"/>
                </a:lnTo>
                <a:lnTo>
                  <a:pt x="3713116" y="5272348"/>
                </a:lnTo>
                <a:lnTo>
                  <a:pt x="3715161" y="5328605"/>
                </a:lnTo>
                <a:lnTo>
                  <a:pt x="3718840" y="5382100"/>
                </a:lnTo>
                <a:lnTo>
                  <a:pt x="3724372" y="5432712"/>
                </a:lnTo>
                <a:lnTo>
                  <a:pt x="3731978" y="5480323"/>
                </a:lnTo>
                <a:lnTo>
                  <a:pt x="3741879" y="5524811"/>
                </a:lnTo>
                <a:lnTo>
                  <a:pt x="3754296" y="5566059"/>
                </a:lnTo>
                <a:lnTo>
                  <a:pt x="3769449" y="5603946"/>
                </a:lnTo>
                <a:lnTo>
                  <a:pt x="3787558" y="5638352"/>
                </a:lnTo>
                <a:lnTo>
                  <a:pt x="3833530" y="5696245"/>
                </a:lnTo>
                <a:lnTo>
                  <a:pt x="3893974" y="5738782"/>
                </a:lnTo>
                <a:lnTo>
                  <a:pt x="3930176" y="5753993"/>
                </a:lnTo>
                <a:lnTo>
                  <a:pt x="3970657" y="5765006"/>
                </a:lnTo>
                <a:lnTo>
                  <a:pt x="4015639" y="5771701"/>
                </a:lnTo>
                <a:lnTo>
                  <a:pt x="4065343" y="5773960"/>
                </a:lnTo>
                <a:lnTo>
                  <a:pt x="4065343" y="5871880"/>
                </a:lnTo>
                <a:lnTo>
                  <a:pt x="4013697" y="5870147"/>
                </a:lnTo>
                <a:lnTo>
                  <a:pt x="3965764" y="5864994"/>
                </a:lnTo>
                <a:lnTo>
                  <a:pt x="3921423" y="5856494"/>
                </a:lnTo>
                <a:lnTo>
                  <a:pt x="3880550" y="5844719"/>
                </a:lnTo>
                <a:lnTo>
                  <a:pt x="3843023" y="5829741"/>
                </a:lnTo>
                <a:lnTo>
                  <a:pt x="3808718" y="5811633"/>
                </a:lnTo>
                <a:lnTo>
                  <a:pt x="3749292" y="5766315"/>
                </a:lnTo>
                <a:lnTo>
                  <a:pt x="3701290" y="5709341"/>
                </a:lnTo>
                <a:lnTo>
                  <a:pt x="3681266" y="5676663"/>
                </a:lnTo>
                <a:lnTo>
                  <a:pt x="3663731" y="5641288"/>
                </a:lnTo>
                <a:lnTo>
                  <a:pt x="3648562" y="5603288"/>
                </a:lnTo>
                <a:lnTo>
                  <a:pt x="3635636" y="5562735"/>
                </a:lnTo>
                <a:lnTo>
                  <a:pt x="3624831" y="5519702"/>
                </a:lnTo>
                <a:lnTo>
                  <a:pt x="3616025" y="5474260"/>
                </a:lnTo>
                <a:lnTo>
                  <a:pt x="3609094" y="5426481"/>
                </a:lnTo>
                <a:lnTo>
                  <a:pt x="3603917" y="5376438"/>
                </a:lnTo>
                <a:lnTo>
                  <a:pt x="3600371" y="5324204"/>
                </a:lnTo>
                <a:lnTo>
                  <a:pt x="3598333" y="5269849"/>
                </a:lnTo>
                <a:lnTo>
                  <a:pt x="3597681" y="5213447"/>
                </a:lnTo>
                <a:lnTo>
                  <a:pt x="3598355" y="5157286"/>
                </a:lnTo>
                <a:lnTo>
                  <a:pt x="3600454" y="5103171"/>
                </a:lnTo>
                <a:lnTo>
                  <a:pt x="3604094" y="5051174"/>
                </a:lnTo>
                <a:lnTo>
                  <a:pt x="3609392" y="5001365"/>
                </a:lnTo>
                <a:lnTo>
                  <a:pt x="3616463" y="4953817"/>
                </a:lnTo>
                <a:lnTo>
                  <a:pt x="3625423" y="4908599"/>
                </a:lnTo>
                <a:lnTo>
                  <a:pt x="3636387" y="4865784"/>
                </a:lnTo>
                <a:lnTo>
                  <a:pt x="3649473" y="4825441"/>
                </a:lnTo>
                <a:lnTo>
                  <a:pt x="3664796" y="4787643"/>
                </a:lnTo>
                <a:lnTo>
                  <a:pt x="3682471" y="4752460"/>
                </a:lnTo>
                <a:lnTo>
                  <a:pt x="3702615" y="4719963"/>
                </a:lnTo>
                <a:lnTo>
                  <a:pt x="3750773" y="4663313"/>
                </a:lnTo>
                <a:lnTo>
                  <a:pt x="3810197" y="4618262"/>
                </a:lnTo>
                <a:lnTo>
                  <a:pt x="3844425" y="4600264"/>
                </a:lnTo>
                <a:lnTo>
                  <a:pt x="3881816" y="4585379"/>
                </a:lnTo>
                <a:lnTo>
                  <a:pt x="3922488" y="4573678"/>
                </a:lnTo>
                <a:lnTo>
                  <a:pt x="3966555" y="4565232"/>
                </a:lnTo>
                <a:lnTo>
                  <a:pt x="4014135" y="4560112"/>
                </a:lnTo>
                <a:close/>
                <a:moveTo>
                  <a:pt x="0" y="3920215"/>
                </a:moveTo>
                <a:lnTo>
                  <a:pt x="915049" y="3920215"/>
                </a:lnTo>
                <a:lnTo>
                  <a:pt x="915049" y="4028265"/>
                </a:lnTo>
                <a:lnTo>
                  <a:pt x="0" y="4028265"/>
                </a:lnTo>
                <a:close/>
                <a:moveTo>
                  <a:pt x="0" y="3567362"/>
                </a:moveTo>
                <a:lnTo>
                  <a:pt x="915049" y="3567362"/>
                </a:lnTo>
                <a:lnTo>
                  <a:pt x="915049" y="3675412"/>
                </a:lnTo>
                <a:lnTo>
                  <a:pt x="0" y="3675412"/>
                </a:lnTo>
                <a:close/>
                <a:moveTo>
                  <a:pt x="1617156" y="3046199"/>
                </a:moveTo>
                <a:lnTo>
                  <a:pt x="1995337" y="3046199"/>
                </a:lnTo>
                <a:lnTo>
                  <a:pt x="1995337" y="3141449"/>
                </a:lnTo>
                <a:lnTo>
                  <a:pt x="1995337" y="4252699"/>
                </a:lnTo>
                <a:lnTo>
                  <a:pt x="1995337" y="4349219"/>
                </a:lnTo>
                <a:lnTo>
                  <a:pt x="1617156" y="4349219"/>
                </a:lnTo>
                <a:lnTo>
                  <a:pt x="1617156" y="4252699"/>
                </a:lnTo>
                <a:lnTo>
                  <a:pt x="1878853" y="4252699"/>
                </a:lnTo>
                <a:lnTo>
                  <a:pt x="1878853" y="3141449"/>
                </a:lnTo>
                <a:lnTo>
                  <a:pt x="1617156" y="3141449"/>
                </a:lnTo>
                <a:close/>
                <a:moveTo>
                  <a:pt x="1138061" y="3046199"/>
                </a:moveTo>
                <a:lnTo>
                  <a:pt x="1516242" y="3046199"/>
                </a:lnTo>
                <a:lnTo>
                  <a:pt x="1516242" y="3141449"/>
                </a:lnTo>
                <a:lnTo>
                  <a:pt x="1254558" y="3141449"/>
                </a:lnTo>
                <a:lnTo>
                  <a:pt x="1254558" y="4252699"/>
                </a:lnTo>
                <a:lnTo>
                  <a:pt x="1516242" y="4252699"/>
                </a:lnTo>
                <a:lnTo>
                  <a:pt x="1516242" y="4349219"/>
                </a:lnTo>
                <a:lnTo>
                  <a:pt x="1138061" y="4349219"/>
                </a:lnTo>
                <a:lnTo>
                  <a:pt x="1138061" y="4252699"/>
                </a:lnTo>
                <a:lnTo>
                  <a:pt x="1138061" y="3141449"/>
                </a:lnTo>
                <a:close/>
                <a:moveTo>
                  <a:pt x="3641480" y="3038926"/>
                </a:moveTo>
                <a:lnTo>
                  <a:pt x="3692687" y="3040648"/>
                </a:lnTo>
                <a:lnTo>
                  <a:pt x="3740267" y="3045768"/>
                </a:lnTo>
                <a:lnTo>
                  <a:pt x="3784335" y="3054214"/>
                </a:lnTo>
                <a:lnTo>
                  <a:pt x="3825006" y="3065915"/>
                </a:lnTo>
                <a:lnTo>
                  <a:pt x="3862397" y="3080800"/>
                </a:lnTo>
                <a:lnTo>
                  <a:pt x="3896625" y="3098798"/>
                </a:lnTo>
                <a:lnTo>
                  <a:pt x="3956049" y="3143849"/>
                </a:lnTo>
                <a:lnTo>
                  <a:pt x="4004207" y="3200499"/>
                </a:lnTo>
                <a:lnTo>
                  <a:pt x="4024351" y="3232996"/>
                </a:lnTo>
                <a:lnTo>
                  <a:pt x="4042026" y="3268179"/>
                </a:lnTo>
                <a:lnTo>
                  <a:pt x="4057349" y="3305977"/>
                </a:lnTo>
                <a:lnTo>
                  <a:pt x="4070435" y="3346320"/>
                </a:lnTo>
                <a:lnTo>
                  <a:pt x="4081399" y="3389137"/>
                </a:lnTo>
                <a:lnTo>
                  <a:pt x="4090359" y="3434354"/>
                </a:lnTo>
                <a:lnTo>
                  <a:pt x="4097430" y="3481903"/>
                </a:lnTo>
                <a:lnTo>
                  <a:pt x="4102728" y="3531711"/>
                </a:lnTo>
                <a:lnTo>
                  <a:pt x="4106368" y="3583708"/>
                </a:lnTo>
                <a:lnTo>
                  <a:pt x="4108468" y="3637823"/>
                </a:lnTo>
                <a:lnTo>
                  <a:pt x="4109142" y="3693984"/>
                </a:lnTo>
                <a:lnTo>
                  <a:pt x="4108500" y="3750386"/>
                </a:lnTo>
                <a:lnTo>
                  <a:pt x="4106493" y="3804741"/>
                </a:lnTo>
                <a:lnTo>
                  <a:pt x="4102994" y="3856976"/>
                </a:lnTo>
                <a:lnTo>
                  <a:pt x="4097877" y="3907019"/>
                </a:lnTo>
                <a:lnTo>
                  <a:pt x="4091016" y="3954797"/>
                </a:lnTo>
                <a:lnTo>
                  <a:pt x="4082286" y="4000240"/>
                </a:lnTo>
                <a:lnTo>
                  <a:pt x="4071561" y="4043273"/>
                </a:lnTo>
                <a:lnTo>
                  <a:pt x="4058715" y="4083826"/>
                </a:lnTo>
                <a:lnTo>
                  <a:pt x="4043622" y="4121826"/>
                </a:lnTo>
                <a:lnTo>
                  <a:pt x="4026157" y="4157201"/>
                </a:lnTo>
                <a:lnTo>
                  <a:pt x="4006193" y="4189879"/>
                </a:lnTo>
                <a:lnTo>
                  <a:pt x="3958268" y="4246853"/>
                </a:lnTo>
                <a:lnTo>
                  <a:pt x="3898841" y="4292171"/>
                </a:lnTo>
                <a:lnTo>
                  <a:pt x="3864498" y="4310279"/>
                </a:lnTo>
                <a:lnTo>
                  <a:pt x="3826904" y="4325257"/>
                </a:lnTo>
                <a:lnTo>
                  <a:pt x="3785930" y="4337032"/>
                </a:lnTo>
                <a:lnTo>
                  <a:pt x="3741452" y="4345532"/>
                </a:lnTo>
                <a:lnTo>
                  <a:pt x="3693344" y="4350685"/>
                </a:lnTo>
                <a:lnTo>
                  <a:pt x="3641480" y="4352418"/>
                </a:lnTo>
                <a:lnTo>
                  <a:pt x="3641480" y="4254498"/>
                </a:lnTo>
                <a:lnTo>
                  <a:pt x="3691728" y="4252239"/>
                </a:lnTo>
                <a:lnTo>
                  <a:pt x="3737159" y="4245544"/>
                </a:lnTo>
                <a:lnTo>
                  <a:pt x="3778000" y="4234531"/>
                </a:lnTo>
                <a:lnTo>
                  <a:pt x="3814480" y="4219320"/>
                </a:lnTo>
                <a:lnTo>
                  <a:pt x="3875274" y="4176783"/>
                </a:lnTo>
                <a:lnTo>
                  <a:pt x="3921371" y="4118890"/>
                </a:lnTo>
                <a:lnTo>
                  <a:pt x="3939480" y="4084484"/>
                </a:lnTo>
                <a:lnTo>
                  <a:pt x="3954602" y="4046597"/>
                </a:lnTo>
                <a:lnTo>
                  <a:pt x="3966965" y="4005349"/>
                </a:lnTo>
                <a:lnTo>
                  <a:pt x="3976798" y="3960860"/>
                </a:lnTo>
                <a:lnTo>
                  <a:pt x="3984330" y="3913250"/>
                </a:lnTo>
                <a:lnTo>
                  <a:pt x="3989790" y="3862638"/>
                </a:lnTo>
                <a:lnTo>
                  <a:pt x="3993406" y="3809143"/>
                </a:lnTo>
                <a:lnTo>
                  <a:pt x="3995408" y="3752885"/>
                </a:lnTo>
                <a:lnTo>
                  <a:pt x="3996025" y="3693984"/>
                </a:lnTo>
                <a:lnTo>
                  <a:pt x="3995375" y="3635662"/>
                </a:lnTo>
                <a:lnTo>
                  <a:pt x="3993282" y="3579947"/>
                </a:lnTo>
                <a:lnTo>
                  <a:pt x="3989529" y="3526961"/>
                </a:lnTo>
                <a:lnTo>
                  <a:pt x="3983900" y="3476822"/>
                </a:lnTo>
                <a:lnTo>
                  <a:pt x="3976178" y="3429650"/>
                </a:lnTo>
                <a:lnTo>
                  <a:pt x="3966147" y="3385563"/>
                </a:lnTo>
                <a:lnTo>
                  <a:pt x="3953590" y="3344684"/>
                </a:lnTo>
                <a:lnTo>
                  <a:pt x="3938291" y="3307130"/>
                </a:lnTo>
                <a:lnTo>
                  <a:pt x="3920033" y="3273021"/>
                </a:lnTo>
                <a:lnTo>
                  <a:pt x="3873774" y="3215619"/>
                </a:lnTo>
                <a:lnTo>
                  <a:pt x="3813084" y="3173432"/>
                </a:lnTo>
                <a:lnTo>
                  <a:pt x="3776785" y="3158344"/>
                </a:lnTo>
                <a:lnTo>
                  <a:pt x="3736230" y="3147419"/>
                </a:lnTo>
                <a:lnTo>
                  <a:pt x="3691200" y="3140776"/>
                </a:lnTo>
                <a:lnTo>
                  <a:pt x="3641480" y="3138535"/>
                </a:lnTo>
                <a:close/>
                <a:moveTo>
                  <a:pt x="3548584" y="3038926"/>
                </a:moveTo>
                <a:lnTo>
                  <a:pt x="3548584" y="3138535"/>
                </a:lnTo>
                <a:lnTo>
                  <a:pt x="3499144" y="3140776"/>
                </a:lnTo>
                <a:lnTo>
                  <a:pt x="3454362" y="3147419"/>
                </a:lnTo>
                <a:lnTo>
                  <a:pt x="3414023" y="3158344"/>
                </a:lnTo>
                <a:lnTo>
                  <a:pt x="3377913" y="3173432"/>
                </a:lnTo>
                <a:lnTo>
                  <a:pt x="3317522" y="3215619"/>
                </a:lnTo>
                <a:lnTo>
                  <a:pt x="3271471" y="3273021"/>
                </a:lnTo>
                <a:lnTo>
                  <a:pt x="3253289" y="3307130"/>
                </a:lnTo>
                <a:lnTo>
                  <a:pt x="3238049" y="3344684"/>
                </a:lnTo>
                <a:lnTo>
                  <a:pt x="3225536" y="3385563"/>
                </a:lnTo>
                <a:lnTo>
                  <a:pt x="3215537" y="3429650"/>
                </a:lnTo>
                <a:lnTo>
                  <a:pt x="3207836" y="3476822"/>
                </a:lnTo>
                <a:lnTo>
                  <a:pt x="3202221" y="3526961"/>
                </a:lnTo>
                <a:lnTo>
                  <a:pt x="3198475" y="3579947"/>
                </a:lnTo>
                <a:lnTo>
                  <a:pt x="3196384" y="3635662"/>
                </a:lnTo>
                <a:lnTo>
                  <a:pt x="3195735" y="3693984"/>
                </a:lnTo>
                <a:lnTo>
                  <a:pt x="3196368" y="3752885"/>
                </a:lnTo>
                <a:lnTo>
                  <a:pt x="3198413" y="3809143"/>
                </a:lnTo>
                <a:lnTo>
                  <a:pt x="3202091" y="3862638"/>
                </a:lnTo>
                <a:lnTo>
                  <a:pt x="3207622" y="3913250"/>
                </a:lnTo>
                <a:lnTo>
                  <a:pt x="3215228" y="3960860"/>
                </a:lnTo>
                <a:lnTo>
                  <a:pt x="3225128" y="4005349"/>
                </a:lnTo>
                <a:lnTo>
                  <a:pt x="3237544" y="4046597"/>
                </a:lnTo>
                <a:lnTo>
                  <a:pt x="3252696" y="4084484"/>
                </a:lnTo>
                <a:lnTo>
                  <a:pt x="3270804" y="4118890"/>
                </a:lnTo>
                <a:lnTo>
                  <a:pt x="3316774" y="4176783"/>
                </a:lnTo>
                <a:lnTo>
                  <a:pt x="3377217" y="4219320"/>
                </a:lnTo>
                <a:lnTo>
                  <a:pt x="3413418" y="4234531"/>
                </a:lnTo>
                <a:lnTo>
                  <a:pt x="3453899" y="4245544"/>
                </a:lnTo>
                <a:lnTo>
                  <a:pt x="3498881" y="4252239"/>
                </a:lnTo>
                <a:lnTo>
                  <a:pt x="3548584" y="4254498"/>
                </a:lnTo>
                <a:lnTo>
                  <a:pt x="3548584" y="4352418"/>
                </a:lnTo>
                <a:lnTo>
                  <a:pt x="3496940" y="4350685"/>
                </a:lnTo>
                <a:lnTo>
                  <a:pt x="3449008" y="4345532"/>
                </a:lnTo>
                <a:lnTo>
                  <a:pt x="3404668" y="4337032"/>
                </a:lnTo>
                <a:lnTo>
                  <a:pt x="3363796" y="4325257"/>
                </a:lnTo>
                <a:lnTo>
                  <a:pt x="3326270" y="4310279"/>
                </a:lnTo>
                <a:lnTo>
                  <a:pt x="3291967" y="4292171"/>
                </a:lnTo>
                <a:lnTo>
                  <a:pt x="3232542" y="4246853"/>
                </a:lnTo>
                <a:lnTo>
                  <a:pt x="3184540" y="4189879"/>
                </a:lnTo>
                <a:lnTo>
                  <a:pt x="3164517" y="4157201"/>
                </a:lnTo>
                <a:lnTo>
                  <a:pt x="3146982" y="4121826"/>
                </a:lnTo>
                <a:lnTo>
                  <a:pt x="3131813" y="4083826"/>
                </a:lnTo>
                <a:lnTo>
                  <a:pt x="3118888" y="4043273"/>
                </a:lnTo>
                <a:lnTo>
                  <a:pt x="3108083" y="4000240"/>
                </a:lnTo>
                <a:lnTo>
                  <a:pt x="3099276" y="3954797"/>
                </a:lnTo>
                <a:lnTo>
                  <a:pt x="3092346" y="3907019"/>
                </a:lnTo>
                <a:lnTo>
                  <a:pt x="3087169" y="3856976"/>
                </a:lnTo>
                <a:lnTo>
                  <a:pt x="3083623" y="3804741"/>
                </a:lnTo>
                <a:lnTo>
                  <a:pt x="3081585" y="3750386"/>
                </a:lnTo>
                <a:lnTo>
                  <a:pt x="3080933" y="3693984"/>
                </a:lnTo>
                <a:lnTo>
                  <a:pt x="3081606" y="3637823"/>
                </a:lnTo>
                <a:lnTo>
                  <a:pt x="3083706" y="3583708"/>
                </a:lnTo>
                <a:lnTo>
                  <a:pt x="3087346" y="3531711"/>
                </a:lnTo>
                <a:lnTo>
                  <a:pt x="3092643" y="3481903"/>
                </a:lnTo>
                <a:lnTo>
                  <a:pt x="3099713" y="3434354"/>
                </a:lnTo>
                <a:lnTo>
                  <a:pt x="3108673" y="3389137"/>
                </a:lnTo>
                <a:lnTo>
                  <a:pt x="3119637" y="3346320"/>
                </a:lnTo>
                <a:lnTo>
                  <a:pt x="3132722" y="3305977"/>
                </a:lnTo>
                <a:lnTo>
                  <a:pt x="3148044" y="3268179"/>
                </a:lnTo>
                <a:lnTo>
                  <a:pt x="3165718" y="3232996"/>
                </a:lnTo>
                <a:lnTo>
                  <a:pt x="3185862" y="3200499"/>
                </a:lnTo>
                <a:lnTo>
                  <a:pt x="3234018" y="3143849"/>
                </a:lnTo>
                <a:lnTo>
                  <a:pt x="3293441" y="3098798"/>
                </a:lnTo>
                <a:lnTo>
                  <a:pt x="3327668" y="3080800"/>
                </a:lnTo>
                <a:lnTo>
                  <a:pt x="3365059" y="3065915"/>
                </a:lnTo>
                <a:lnTo>
                  <a:pt x="3405730" y="3054214"/>
                </a:lnTo>
                <a:lnTo>
                  <a:pt x="3449797" y="3045768"/>
                </a:lnTo>
                <a:lnTo>
                  <a:pt x="3497376" y="3040648"/>
                </a:lnTo>
                <a:close/>
                <a:moveTo>
                  <a:pt x="3678369" y="2400757"/>
                </a:moveTo>
                <a:lnTo>
                  <a:pt x="4593430" y="2400757"/>
                </a:lnTo>
                <a:lnTo>
                  <a:pt x="4593430" y="2508807"/>
                </a:lnTo>
                <a:lnTo>
                  <a:pt x="3678369" y="2508807"/>
                </a:lnTo>
                <a:close/>
                <a:moveTo>
                  <a:pt x="2579115" y="2400753"/>
                </a:moveTo>
                <a:lnTo>
                  <a:pt x="3494165" y="2400753"/>
                </a:lnTo>
                <a:lnTo>
                  <a:pt x="3494165" y="2508804"/>
                </a:lnTo>
                <a:lnTo>
                  <a:pt x="2579115" y="2508804"/>
                </a:lnTo>
                <a:close/>
                <a:moveTo>
                  <a:pt x="3678369" y="2047903"/>
                </a:moveTo>
                <a:lnTo>
                  <a:pt x="4593430" y="2047903"/>
                </a:lnTo>
                <a:lnTo>
                  <a:pt x="4593430" y="2155954"/>
                </a:lnTo>
                <a:lnTo>
                  <a:pt x="3678369" y="2155954"/>
                </a:lnTo>
                <a:close/>
                <a:moveTo>
                  <a:pt x="2579115" y="2047899"/>
                </a:moveTo>
                <a:lnTo>
                  <a:pt x="3494165" y="2047899"/>
                </a:lnTo>
                <a:lnTo>
                  <a:pt x="3494165" y="2155950"/>
                </a:lnTo>
                <a:lnTo>
                  <a:pt x="2579115" y="2155950"/>
                </a:lnTo>
                <a:close/>
                <a:moveTo>
                  <a:pt x="6202942" y="1519467"/>
                </a:moveTo>
                <a:lnTo>
                  <a:pt x="6254150" y="1521189"/>
                </a:lnTo>
                <a:lnTo>
                  <a:pt x="6301730" y="1526309"/>
                </a:lnTo>
                <a:lnTo>
                  <a:pt x="6345796" y="1534755"/>
                </a:lnTo>
                <a:lnTo>
                  <a:pt x="6386468" y="1546456"/>
                </a:lnTo>
                <a:lnTo>
                  <a:pt x="6423858" y="1561341"/>
                </a:lnTo>
                <a:lnTo>
                  <a:pt x="6458084" y="1579339"/>
                </a:lnTo>
                <a:lnTo>
                  <a:pt x="6517506" y="1624390"/>
                </a:lnTo>
                <a:lnTo>
                  <a:pt x="6565664" y="1681040"/>
                </a:lnTo>
                <a:lnTo>
                  <a:pt x="6585806" y="1713537"/>
                </a:lnTo>
                <a:lnTo>
                  <a:pt x="6603482" y="1748720"/>
                </a:lnTo>
                <a:lnTo>
                  <a:pt x="6618804" y="1786518"/>
                </a:lnTo>
                <a:lnTo>
                  <a:pt x="6631888" y="1826861"/>
                </a:lnTo>
                <a:lnTo>
                  <a:pt x="6642852" y="1869678"/>
                </a:lnTo>
                <a:lnTo>
                  <a:pt x="6651812" y="1914895"/>
                </a:lnTo>
                <a:lnTo>
                  <a:pt x="6658882" y="1962443"/>
                </a:lnTo>
                <a:lnTo>
                  <a:pt x="6664180" y="2012251"/>
                </a:lnTo>
                <a:lnTo>
                  <a:pt x="6667820" y="2064248"/>
                </a:lnTo>
                <a:lnTo>
                  <a:pt x="6669918" y="2118363"/>
                </a:lnTo>
                <a:lnTo>
                  <a:pt x="6670594" y="2174524"/>
                </a:lnTo>
                <a:lnTo>
                  <a:pt x="6669952" y="2230926"/>
                </a:lnTo>
                <a:lnTo>
                  <a:pt x="6667946" y="2285281"/>
                </a:lnTo>
                <a:lnTo>
                  <a:pt x="6664446" y="2337516"/>
                </a:lnTo>
                <a:lnTo>
                  <a:pt x="6659328" y="2387560"/>
                </a:lnTo>
                <a:lnTo>
                  <a:pt x="6652468" y="2435337"/>
                </a:lnTo>
                <a:lnTo>
                  <a:pt x="6643740" y="2480781"/>
                </a:lnTo>
                <a:lnTo>
                  <a:pt x="6633014" y="2523814"/>
                </a:lnTo>
                <a:lnTo>
                  <a:pt x="6620170" y="2564367"/>
                </a:lnTo>
                <a:lnTo>
                  <a:pt x="6605078" y="2602367"/>
                </a:lnTo>
                <a:lnTo>
                  <a:pt x="6587612" y="2637742"/>
                </a:lnTo>
                <a:lnTo>
                  <a:pt x="6567650" y="2670420"/>
                </a:lnTo>
                <a:lnTo>
                  <a:pt x="6519726" y="2727394"/>
                </a:lnTo>
                <a:lnTo>
                  <a:pt x="6460300" y="2772712"/>
                </a:lnTo>
                <a:lnTo>
                  <a:pt x="6425960" y="2790820"/>
                </a:lnTo>
                <a:lnTo>
                  <a:pt x="6388366" y="2805798"/>
                </a:lnTo>
                <a:lnTo>
                  <a:pt x="6347392" y="2817573"/>
                </a:lnTo>
                <a:lnTo>
                  <a:pt x="6302914" y="2826073"/>
                </a:lnTo>
                <a:lnTo>
                  <a:pt x="6254806" y="2831226"/>
                </a:lnTo>
                <a:lnTo>
                  <a:pt x="6202942" y="2832959"/>
                </a:lnTo>
                <a:lnTo>
                  <a:pt x="6202942" y="2735039"/>
                </a:lnTo>
                <a:lnTo>
                  <a:pt x="6253190" y="2732780"/>
                </a:lnTo>
                <a:lnTo>
                  <a:pt x="6298622" y="2726085"/>
                </a:lnTo>
                <a:lnTo>
                  <a:pt x="6339462" y="2715072"/>
                </a:lnTo>
                <a:lnTo>
                  <a:pt x="6375942" y="2699861"/>
                </a:lnTo>
                <a:lnTo>
                  <a:pt x="6436736" y="2657324"/>
                </a:lnTo>
                <a:lnTo>
                  <a:pt x="6482832" y="2599431"/>
                </a:lnTo>
                <a:lnTo>
                  <a:pt x="6500942" y="2565024"/>
                </a:lnTo>
                <a:lnTo>
                  <a:pt x="6516064" y="2527138"/>
                </a:lnTo>
                <a:lnTo>
                  <a:pt x="6528426" y="2485890"/>
                </a:lnTo>
                <a:lnTo>
                  <a:pt x="6538260" y="2441401"/>
                </a:lnTo>
                <a:lnTo>
                  <a:pt x="6545792" y="2393791"/>
                </a:lnTo>
                <a:lnTo>
                  <a:pt x="6551252" y="2343178"/>
                </a:lnTo>
                <a:lnTo>
                  <a:pt x="6554868" y="2289683"/>
                </a:lnTo>
                <a:lnTo>
                  <a:pt x="6556870" y="2233425"/>
                </a:lnTo>
                <a:lnTo>
                  <a:pt x="6557486" y="2174524"/>
                </a:lnTo>
                <a:lnTo>
                  <a:pt x="6556836" y="2116203"/>
                </a:lnTo>
                <a:lnTo>
                  <a:pt x="6554744" y="2060487"/>
                </a:lnTo>
                <a:lnTo>
                  <a:pt x="6550990" y="2007501"/>
                </a:lnTo>
                <a:lnTo>
                  <a:pt x="6545362" y="1957362"/>
                </a:lnTo>
                <a:lnTo>
                  <a:pt x="6537640" y="1910190"/>
                </a:lnTo>
                <a:lnTo>
                  <a:pt x="6527608" y="1866104"/>
                </a:lnTo>
                <a:lnTo>
                  <a:pt x="6515052" y="1825226"/>
                </a:lnTo>
                <a:lnTo>
                  <a:pt x="6499752" y="1787671"/>
                </a:lnTo>
                <a:lnTo>
                  <a:pt x="6481494" y="1753562"/>
                </a:lnTo>
                <a:lnTo>
                  <a:pt x="6435236" y="1696160"/>
                </a:lnTo>
                <a:lnTo>
                  <a:pt x="6374546" y="1653973"/>
                </a:lnTo>
                <a:lnTo>
                  <a:pt x="6338248" y="1638885"/>
                </a:lnTo>
                <a:lnTo>
                  <a:pt x="6297692" y="1627960"/>
                </a:lnTo>
                <a:lnTo>
                  <a:pt x="6252662" y="1621317"/>
                </a:lnTo>
                <a:lnTo>
                  <a:pt x="6202942" y="1619076"/>
                </a:lnTo>
                <a:close/>
                <a:moveTo>
                  <a:pt x="6110023" y="1519467"/>
                </a:moveTo>
                <a:lnTo>
                  <a:pt x="6110023" y="1619076"/>
                </a:lnTo>
                <a:lnTo>
                  <a:pt x="6060583" y="1621317"/>
                </a:lnTo>
                <a:lnTo>
                  <a:pt x="6015801" y="1627960"/>
                </a:lnTo>
                <a:lnTo>
                  <a:pt x="5975462" y="1638885"/>
                </a:lnTo>
                <a:lnTo>
                  <a:pt x="5939352" y="1653973"/>
                </a:lnTo>
                <a:lnTo>
                  <a:pt x="5878960" y="1696160"/>
                </a:lnTo>
                <a:lnTo>
                  <a:pt x="5832910" y="1753562"/>
                </a:lnTo>
                <a:lnTo>
                  <a:pt x="5814728" y="1787671"/>
                </a:lnTo>
                <a:lnTo>
                  <a:pt x="5799488" y="1825226"/>
                </a:lnTo>
                <a:lnTo>
                  <a:pt x="5786975" y="1866104"/>
                </a:lnTo>
                <a:lnTo>
                  <a:pt x="5776976" y="1910190"/>
                </a:lnTo>
                <a:lnTo>
                  <a:pt x="5769275" y="1957362"/>
                </a:lnTo>
                <a:lnTo>
                  <a:pt x="5763660" y="2007501"/>
                </a:lnTo>
                <a:lnTo>
                  <a:pt x="5759914" y="2060487"/>
                </a:lnTo>
                <a:lnTo>
                  <a:pt x="5757823" y="2116203"/>
                </a:lnTo>
                <a:lnTo>
                  <a:pt x="5757174" y="2174524"/>
                </a:lnTo>
                <a:lnTo>
                  <a:pt x="5757807" y="2233425"/>
                </a:lnTo>
                <a:lnTo>
                  <a:pt x="5759852" y="2289683"/>
                </a:lnTo>
                <a:lnTo>
                  <a:pt x="5763530" y="2343178"/>
                </a:lnTo>
                <a:lnTo>
                  <a:pt x="5769061" y="2393791"/>
                </a:lnTo>
                <a:lnTo>
                  <a:pt x="5776667" y="2441401"/>
                </a:lnTo>
                <a:lnTo>
                  <a:pt x="5786567" y="2485890"/>
                </a:lnTo>
                <a:lnTo>
                  <a:pt x="5798983" y="2527138"/>
                </a:lnTo>
                <a:lnTo>
                  <a:pt x="5814135" y="2565024"/>
                </a:lnTo>
                <a:lnTo>
                  <a:pt x="5832243" y="2599431"/>
                </a:lnTo>
                <a:lnTo>
                  <a:pt x="5878214" y="2657324"/>
                </a:lnTo>
                <a:lnTo>
                  <a:pt x="5938656" y="2699861"/>
                </a:lnTo>
                <a:lnTo>
                  <a:pt x="5974857" y="2715072"/>
                </a:lnTo>
                <a:lnTo>
                  <a:pt x="6015338" y="2726085"/>
                </a:lnTo>
                <a:lnTo>
                  <a:pt x="6060320" y="2732780"/>
                </a:lnTo>
                <a:lnTo>
                  <a:pt x="6110023" y="2735039"/>
                </a:lnTo>
                <a:lnTo>
                  <a:pt x="6110023" y="2832959"/>
                </a:lnTo>
                <a:lnTo>
                  <a:pt x="6058379" y="2831226"/>
                </a:lnTo>
                <a:lnTo>
                  <a:pt x="6010447" y="2826073"/>
                </a:lnTo>
                <a:lnTo>
                  <a:pt x="5966107" y="2817573"/>
                </a:lnTo>
                <a:lnTo>
                  <a:pt x="5925235" y="2805798"/>
                </a:lnTo>
                <a:lnTo>
                  <a:pt x="5887709" y="2790820"/>
                </a:lnTo>
                <a:lnTo>
                  <a:pt x="5853406" y="2772712"/>
                </a:lnTo>
                <a:lnTo>
                  <a:pt x="5793981" y="2727394"/>
                </a:lnTo>
                <a:lnTo>
                  <a:pt x="5745979" y="2670420"/>
                </a:lnTo>
                <a:lnTo>
                  <a:pt x="5725956" y="2637742"/>
                </a:lnTo>
                <a:lnTo>
                  <a:pt x="5708421" y="2602367"/>
                </a:lnTo>
                <a:lnTo>
                  <a:pt x="5693252" y="2564367"/>
                </a:lnTo>
                <a:lnTo>
                  <a:pt x="5680327" y="2523814"/>
                </a:lnTo>
                <a:lnTo>
                  <a:pt x="5669522" y="2480781"/>
                </a:lnTo>
                <a:lnTo>
                  <a:pt x="5660715" y="2435337"/>
                </a:lnTo>
                <a:lnTo>
                  <a:pt x="5653785" y="2387560"/>
                </a:lnTo>
                <a:lnTo>
                  <a:pt x="5648608" y="2337516"/>
                </a:lnTo>
                <a:lnTo>
                  <a:pt x="5645062" y="2285281"/>
                </a:lnTo>
                <a:lnTo>
                  <a:pt x="5643024" y="2230926"/>
                </a:lnTo>
                <a:lnTo>
                  <a:pt x="5642372" y="2174524"/>
                </a:lnTo>
                <a:lnTo>
                  <a:pt x="5643045" y="2118363"/>
                </a:lnTo>
                <a:lnTo>
                  <a:pt x="5645145" y="2064248"/>
                </a:lnTo>
                <a:lnTo>
                  <a:pt x="5648785" y="2012251"/>
                </a:lnTo>
                <a:lnTo>
                  <a:pt x="5654082" y="1962443"/>
                </a:lnTo>
                <a:lnTo>
                  <a:pt x="5661152" y="1914895"/>
                </a:lnTo>
                <a:lnTo>
                  <a:pt x="5670112" y="1869678"/>
                </a:lnTo>
                <a:lnTo>
                  <a:pt x="5681076" y="1826861"/>
                </a:lnTo>
                <a:lnTo>
                  <a:pt x="5694161" y="1786518"/>
                </a:lnTo>
                <a:lnTo>
                  <a:pt x="5709483" y="1748720"/>
                </a:lnTo>
                <a:lnTo>
                  <a:pt x="5727157" y="1713537"/>
                </a:lnTo>
                <a:lnTo>
                  <a:pt x="5747301" y="1681040"/>
                </a:lnTo>
                <a:lnTo>
                  <a:pt x="5795457" y="1624390"/>
                </a:lnTo>
                <a:lnTo>
                  <a:pt x="5854880" y="1579339"/>
                </a:lnTo>
                <a:lnTo>
                  <a:pt x="5889107" y="1561341"/>
                </a:lnTo>
                <a:lnTo>
                  <a:pt x="5926498" y="1546456"/>
                </a:lnTo>
                <a:lnTo>
                  <a:pt x="5967169" y="1534755"/>
                </a:lnTo>
                <a:lnTo>
                  <a:pt x="6011236" y="1526309"/>
                </a:lnTo>
                <a:lnTo>
                  <a:pt x="6058815" y="1521189"/>
                </a:lnTo>
                <a:close/>
                <a:moveTo>
                  <a:pt x="4207776" y="1033233"/>
                </a:moveTo>
                <a:lnTo>
                  <a:pt x="4417120" y="1033233"/>
                </a:lnTo>
                <a:lnTo>
                  <a:pt x="4417120" y="1208814"/>
                </a:lnTo>
                <a:lnTo>
                  <a:pt x="4207776" y="1208814"/>
                </a:lnTo>
                <a:close/>
                <a:moveTo>
                  <a:pt x="5865088" y="881295"/>
                </a:moveTo>
                <a:lnTo>
                  <a:pt x="6780150" y="881295"/>
                </a:lnTo>
                <a:lnTo>
                  <a:pt x="6780150" y="989345"/>
                </a:lnTo>
                <a:lnTo>
                  <a:pt x="5865088" y="989345"/>
                </a:lnTo>
                <a:close/>
                <a:moveTo>
                  <a:pt x="5865088" y="528441"/>
                </a:moveTo>
                <a:lnTo>
                  <a:pt x="6780150" y="528441"/>
                </a:lnTo>
                <a:lnTo>
                  <a:pt x="6780150" y="636492"/>
                </a:lnTo>
                <a:lnTo>
                  <a:pt x="5865088" y="636492"/>
                </a:lnTo>
                <a:close/>
                <a:moveTo>
                  <a:pt x="7862878" y="7089"/>
                </a:moveTo>
                <a:lnTo>
                  <a:pt x="8241058" y="7089"/>
                </a:lnTo>
                <a:lnTo>
                  <a:pt x="8241058" y="103609"/>
                </a:lnTo>
                <a:lnTo>
                  <a:pt x="7979374" y="103609"/>
                </a:lnTo>
                <a:lnTo>
                  <a:pt x="7979374" y="1213589"/>
                </a:lnTo>
                <a:lnTo>
                  <a:pt x="8241058" y="1213589"/>
                </a:lnTo>
                <a:lnTo>
                  <a:pt x="8241058" y="1310109"/>
                </a:lnTo>
                <a:lnTo>
                  <a:pt x="7862878" y="1310109"/>
                </a:lnTo>
                <a:lnTo>
                  <a:pt x="7862878" y="1213589"/>
                </a:lnTo>
                <a:lnTo>
                  <a:pt x="7862878" y="103609"/>
                </a:lnTo>
                <a:close/>
                <a:moveTo>
                  <a:pt x="3051834" y="2"/>
                </a:moveTo>
                <a:lnTo>
                  <a:pt x="3051834" y="99613"/>
                </a:lnTo>
                <a:lnTo>
                  <a:pt x="3002394" y="101852"/>
                </a:lnTo>
                <a:lnTo>
                  <a:pt x="2957611" y="108497"/>
                </a:lnTo>
                <a:lnTo>
                  <a:pt x="2917272" y="119421"/>
                </a:lnTo>
                <a:lnTo>
                  <a:pt x="2881161" y="134509"/>
                </a:lnTo>
                <a:lnTo>
                  <a:pt x="2820768" y="176694"/>
                </a:lnTo>
                <a:lnTo>
                  <a:pt x="2774716" y="234098"/>
                </a:lnTo>
                <a:lnTo>
                  <a:pt x="2756533" y="268206"/>
                </a:lnTo>
                <a:lnTo>
                  <a:pt x="2741291" y="305760"/>
                </a:lnTo>
                <a:lnTo>
                  <a:pt x="2728778" y="346640"/>
                </a:lnTo>
                <a:lnTo>
                  <a:pt x="2718778" y="390725"/>
                </a:lnTo>
                <a:lnTo>
                  <a:pt x="2711077" y="437898"/>
                </a:lnTo>
                <a:lnTo>
                  <a:pt x="2705460" y="488037"/>
                </a:lnTo>
                <a:lnTo>
                  <a:pt x="2701714" y="541024"/>
                </a:lnTo>
                <a:lnTo>
                  <a:pt x="2699623" y="596738"/>
                </a:lnTo>
                <a:lnTo>
                  <a:pt x="2698974" y="655061"/>
                </a:lnTo>
                <a:lnTo>
                  <a:pt x="2699607" y="713962"/>
                </a:lnTo>
                <a:lnTo>
                  <a:pt x="2701652" y="770219"/>
                </a:lnTo>
                <a:lnTo>
                  <a:pt x="2705331" y="823713"/>
                </a:lnTo>
                <a:lnTo>
                  <a:pt x="2710863" y="874325"/>
                </a:lnTo>
                <a:lnTo>
                  <a:pt x="2718469" y="921936"/>
                </a:lnTo>
                <a:lnTo>
                  <a:pt x="2728370" y="966424"/>
                </a:lnTo>
                <a:lnTo>
                  <a:pt x="2740787" y="1007672"/>
                </a:lnTo>
                <a:lnTo>
                  <a:pt x="2755940" y="1045559"/>
                </a:lnTo>
                <a:lnTo>
                  <a:pt x="2774049" y="1079966"/>
                </a:lnTo>
                <a:lnTo>
                  <a:pt x="2820020" y="1137858"/>
                </a:lnTo>
                <a:lnTo>
                  <a:pt x="2880465" y="1180395"/>
                </a:lnTo>
                <a:lnTo>
                  <a:pt x="2916667" y="1195607"/>
                </a:lnTo>
                <a:lnTo>
                  <a:pt x="2957148" y="1206620"/>
                </a:lnTo>
                <a:lnTo>
                  <a:pt x="3002130" y="1213314"/>
                </a:lnTo>
                <a:lnTo>
                  <a:pt x="3051834" y="1215573"/>
                </a:lnTo>
                <a:lnTo>
                  <a:pt x="3051834" y="1313495"/>
                </a:lnTo>
                <a:lnTo>
                  <a:pt x="3000188" y="1311761"/>
                </a:lnTo>
                <a:lnTo>
                  <a:pt x="2952255" y="1306609"/>
                </a:lnTo>
                <a:lnTo>
                  <a:pt x="2907914" y="1298108"/>
                </a:lnTo>
                <a:lnTo>
                  <a:pt x="2867041" y="1286333"/>
                </a:lnTo>
                <a:lnTo>
                  <a:pt x="2829514" y="1271355"/>
                </a:lnTo>
                <a:lnTo>
                  <a:pt x="2795209" y="1253247"/>
                </a:lnTo>
                <a:lnTo>
                  <a:pt x="2735783" y="1207930"/>
                </a:lnTo>
                <a:lnTo>
                  <a:pt x="2687781" y="1150955"/>
                </a:lnTo>
                <a:lnTo>
                  <a:pt x="2667757" y="1118277"/>
                </a:lnTo>
                <a:lnTo>
                  <a:pt x="2650222" y="1082902"/>
                </a:lnTo>
                <a:lnTo>
                  <a:pt x="2635053" y="1044902"/>
                </a:lnTo>
                <a:lnTo>
                  <a:pt x="2622127" y="1004349"/>
                </a:lnTo>
                <a:lnTo>
                  <a:pt x="2611322" y="961316"/>
                </a:lnTo>
                <a:lnTo>
                  <a:pt x="2602516" y="915873"/>
                </a:lnTo>
                <a:lnTo>
                  <a:pt x="2595585" y="868095"/>
                </a:lnTo>
                <a:lnTo>
                  <a:pt x="2590408" y="818052"/>
                </a:lnTo>
                <a:lnTo>
                  <a:pt x="2586862" y="765818"/>
                </a:lnTo>
                <a:lnTo>
                  <a:pt x="2584824" y="711463"/>
                </a:lnTo>
                <a:lnTo>
                  <a:pt x="2584172" y="655061"/>
                </a:lnTo>
                <a:lnTo>
                  <a:pt x="2584846" y="598899"/>
                </a:lnTo>
                <a:lnTo>
                  <a:pt x="2586945" y="544784"/>
                </a:lnTo>
                <a:lnTo>
                  <a:pt x="2590585" y="492788"/>
                </a:lnTo>
                <a:lnTo>
                  <a:pt x="2595883" y="442980"/>
                </a:lnTo>
                <a:lnTo>
                  <a:pt x="2602954" y="395431"/>
                </a:lnTo>
                <a:lnTo>
                  <a:pt x="2611914" y="350213"/>
                </a:lnTo>
                <a:lnTo>
                  <a:pt x="2622878" y="307398"/>
                </a:lnTo>
                <a:lnTo>
                  <a:pt x="2635964" y="267054"/>
                </a:lnTo>
                <a:lnTo>
                  <a:pt x="2651287" y="229257"/>
                </a:lnTo>
                <a:lnTo>
                  <a:pt x="2668962" y="194074"/>
                </a:lnTo>
                <a:lnTo>
                  <a:pt x="2689106" y="161576"/>
                </a:lnTo>
                <a:lnTo>
                  <a:pt x="2737264" y="104925"/>
                </a:lnTo>
                <a:lnTo>
                  <a:pt x="2796688" y="59876"/>
                </a:lnTo>
                <a:lnTo>
                  <a:pt x="2830916" y="41878"/>
                </a:lnTo>
                <a:lnTo>
                  <a:pt x="2868307" y="26992"/>
                </a:lnTo>
                <a:lnTo>
                  <a:pt x="2908979" y="15290"/>
                </a:lnTo>
                <a:lnTo>
                  <a:pt x="2953046" y="6845"/>
                </a:lnTo>
                <a:lnTo>
                  <a:pt x="3000626" y="1724"/>
                </a:lnTo>
                <a:close/>
                <a:moveTo>
                  <a:pt x="8336918" y="1"/>
                </a:moveTo>
                <a:lnTo>
                  <a:pt x="8388126" y="1723"/>
                </a:lnTo>
                <a:lnTo>
                  <a:pt x="8435706" y="6843"/>
                </a:lnTo>
                <a:lnTo>
                  <a:pt x="8479774" y="15289"/>
                </a:lnTo>
                <a:lnTo>
                  <a:pt x="8520444" y="26990"/>
                </a:lnTo>
                <a:lnTo>
                  <a:pt x="8557834" y="41875"/>
                </a:lnTo>
                <a:lnTo>
                  <a:pt x="8592062" y="59873"/>
                </a:lnTo>
                <a:lnTo>
                  <a:pt x="8651484" y="104924"/>
                </a:lnTo>
                <a:lnTo>
                  <a:pt x="8699640" y="161574"/>
                </a:lnTo>
                <a:lnTo>
                  <a:pt x="8719784" y="194071"/>
                </a:lnTo>
                <a:lnTo>
                  <a:pt x="8737458" y="229254"/>
                </a:lnTo>
                <a:lnTo>
                  <a:pt x="8752780" y="267052"/>
                </a:lnTo>
                <a:lnTo>
                  <a:pt x="8765866" y="307395"/>
                </a:lnTo>
                <a:lnTo>
                  <a:pt x="8776830" y="350211"/>
                </a:lnTo>
                <a:lnTo>
                  <a:pt x="8785788" y="395428"/>
                </a:lnTo>
                <a:lnTo>
                  <a:pt x="8792860" y="442977"/>
                </a:lnTo>
                <a:lnTo>
                  <a:pt x="8798158" y="492785"/>
                </a:lnTo>
                <a:lnTo>
                  <a:pt x="8801798" y="544782"/>
                </a:lnTo>
                <a:lnTo>
                  <a:pt x="8803896" y="598897"/>
                </a:lnTo>
                <a:lnTo>
                  <a:pt x="8804570" y="655058"/>
                </a:lnTo>
                <a:lnTo>
                  <a:pt x="8803930" y="711460"/>
                </a:lnTo>
                <a:lnTo>
                  <a:pt x="8801922" y="765815"/>
                </a:lnTo>
                <a:lnTo>
                  <a:pt x="8798422" y="818050"/>
                </a:lnTo>
                <a:lnTo>
                  <a:pt x="8793306" y="868094"/>
                </a:lnTo>
                <a:lnTo>
                  <a:pt x="8786446" y="915872"/>
                </a:lnTo>
                <a:lnTo>
                  <a:pt x="8777716" y="961315"/>
                </a:lnTo>
                <a:lnTo>
                  <a:pt x="8766992" y="1004348"/>
                </a:lnTo>
                <a:lnTo>
                  <a:pt x="8754146" y="1044900"/>
                </a:lnTo>
                <a:lnTo>
                  <a:pt x="8739054" y="1082901"/>
                </a:lnTo>
                <a:lnTo>
                  <a:pt x="8721590" y="1118276"/>
                </a:lnTo>
                <a:lnTo>
                  <a:pt x="8701628" y="1150954"/>
                </a:lnTo>
                <a:lnTo>
                  <a:pt x="8653704" y="1207928"/>
                </a:lnTo>
                <a:lnTo>
                  <a:pt x="8594278" y="1253246"/>
                </a:lnTo>
                <a:lnTo>
                  <a:pt x="8559936" y="1271354"/>
                </a:lnTo>
                <a:lnTo>
                  <a:pt x="8522342" y="1286332"/>
                </a:lnTo>
                <a:lnTo>
                  <a:pt x="8481370" y="1298107"/>
                </a:lnTo>
                <a:lnTo>
                  <a:pt x="8436892" y="1306607"/>
                </a:lnTo>
                <a:lnTo>
                  <a:pt x="8388784" y="1311760"/>
                </a:lnTo>
                <a:lnTo>
                  <a:pt x="8336918" y="1313493"/>
                </a:lnTo>
                <a:lnTo>
                  <a:pt x="8336918" y="1215572"/>
                </a:lnTo>
                <a:lnTo>
                  <a:pt x="8387168" y="1213313"/>
                </a:lnTo>
                <a:lnTo>
                  <a:pt x="8432598" y="1206618"/>
                </a:lnTo>
                <a:lnTo>
                  <a:pt x="8473438" y="1195605"/>
                </a:lnTo>
                <a:lnTo>
                  <a:pt x="8509918" y="1180394"/>
                </a:lnTo>
                <a:lnTo>
                  <a:pt x="8570710" y="1137857"/>
                </a:lnTo>
                <a:lnTo>
                  <a:pt x="8616804" y="1079964"/>
                </a:lnTo>
                <a:lnTo>
                  <a:pt x="8634912" y="1045558"/>
                </a:lnTo>
                <a:lnTo>
                  <a:pt x="8650034" y="1007671"/>
                </a:lnTo>
                <a:lnTo>
                  <a:pt x="8662396" y="966423"/>
                </a:lnTo>
                <a:lnTo>
                  <a:pt x="8672228" y="921934"/>
                </a:lnTo>
                <a:lnTo>
                  <a:pt x="8679760" y="874323"/>
                </a:lnTo>
                <a:lnTo>
                  <a:pt x="8685218" y="823711"/>
                </a:lnTo>
                <a:lnTo>
                  <a:pt x="8688834" y="770216"/>
                </a:lnTo>
                <a:lnTo>
                  <a:pt x="8690836" y="713959"/>
                </a:lnTo>
                <a:lnTo>
                  <a:pt x="8691452" y="655058"/>
                </a:lnTo>
                <a:lnTo>
                  <a:pt x="8690804" y="596735"/>
                </a:lnTo>
                <a:lnTo>
                  <a:pt x="8688710" y="541021"/>
                </a:lnTo>
                <a:lnTo>
                  <a:pt x="8684958" y="488035"/>
                </a:lnTo>
                <a:lnTo>
                  <a:pt x="8679330" y="437895"/>
                </a:lnTo>
                <a:lnTo>
                  <a:pt x="8671608" y="390723"/>
                </a:lnTo>
                <a:lnTo>
                  <a:pt x="8661578" y="346638"/>
                </a:lnTo>
                <a:lnTo>
                  <a:pt x="8649022" y="305758"/>
                </a:lnTo>
                <a:lnTo>
                  <a:pt x="8633724" y="268204"/>
                </a:lnTo>
                <a:lnTo>
                  <a:pt x="8615466" y="234096"/>
                </a:lnTo>
                <a:lnTo>
                  <a:pt x="8569210" y="176693"/>
                </a:lnTo>
                <a:lnTo>
                  <a:pt x="8508522" y="134507"/>
                </a:lnTo>
                <a:lnTo>
                  <a:pt x="8472224" y="119419"/>
                </a:lnTo>
                <a:lnTo>
                  <a:pt x="8431668" y="108494"/>
                </a:lnTo>
                <a:lnTo>
                  <a:pt x="8386640" y="101851"/>
                </a:lnTo>
                <a:lnTo>
                  <a:pt x="8336918" y="99610"/>
                </a:lnTo>
                <a:close/>
                <a:moveTo>
                  <a:pt x="3144752" y="0"/>
                </a:moveTo>
                <a:lnTo>
                  <a:pt x="3195959" y="1722"/>
                </a:lnTo>
                <a:lnTo>
                  <a:pt x="3243539" y="6842"/>
                </a:lnTo>
                <a:lnTo>
                  <a:pt x="3287606" y="15288"/>
                </a:lnTo>
                <a:lnTo>
                  <a:pt x="3328277" y="26989"/>
                </a:lnTo>
                <a:lnTo>
                  <a:pt x="3365667" y="41874"/>
                </a:lnTo>
                <a:lnTo>
                  <a:pt x="3399895" y="59872"/>
                </a:lnTo>
                <a:lnTo>
                  <a:pt x="3459317" y="104923"/>
                </a:lnTo>
                <a:lnTo>
                  <a:pt x="3507474" y="161573"/>
                </a:lnTo>
                <a:lnTo>
                  <a:pt x="3527617" y="194070"/>
                </a:lnTo>
                <a:lnTo>
                  <a:pt x="3545292" y="229253"/>
                </a:lnTo>
                <a:lnTo>
                  <a:pt x="3560614" y="267051"/>
                </a:lnTo>
                <a:lnTo>
                  <a:pt x="3573699" y="307394"/>
                </a:lnTo>
                <a:lnTo>
                  <a:pt x="3584663" y="350210"/>
                </a:lnTo>
                <a:lnTo>
                  <a:pt x="3593622" y="395427"/>
                </a:lnTo>
                <a:lnTo>
                  <a:pt x="3600693" y="442977"/>
                </a:lnTo>
                <a:lnTo>
                  <a:pt x="3605990" y="492785"/>
                </a:lnTo>
                <a:lnTo>
                  <a:pt x="3609630" y="544782"/>
                </a:lnTo>
                <a:lnTo>
                  <a:pt x="3611729" y="598897"/>
                </a:lnTo>
                <a:lnTo>
                  <a:pt x="3612403" y="655058"/>
                </a:lnTo>
                <a:lnTo>
                  <a:pt x="3611762" y="711460"/>
                </a:lnTo>
                <a:lnTo>
                  <a:pt x="3609755" y="765815"/>
                </a:lnTo>
                <a:lnTo>
                  <a:pt x="3606255" y="818050"/>
                </a:lnTo>
                <a:lnTo>
                  <a:pt x="3601138" y="868093"/>
                </a:lnTo>
                <a:lnTo>
                  <a:pt x="3594278" y="915871"/>
                </a:lnTo>
                <a:lnTo>
                  <a:pt x="3585548" y="961314"/>
                </a:lnTo>
                <a:lnTo>
                  <a:pt x="3574823" y="1004347"/>
                </a:lnTo>
                <a:lnTo>
                  <a:pt x="3561977" y="1044900"/>
                </a:lnTo>
                <a:lnTo>
                  <a:pt x="3546884" y="1082900"/>
                </a:lnTo>
                <a:lnTo>
                  <a:pt x="3529420" y="1118275"/>
                </a:lnTo>
                <a:lnTo>
                  <a:pt x="3509456" y="1150953"/>
                </a:lnTo>
                <a:lnTo>
                  <a:pt x="3461532" y="1207927"/>
                </a:lnTo>
                <a:lnTo>
                  <a:pt x="3402106" y="1253245"/>
                </a:lnTo>
                <a:lnTo>
                  <a:pt x="3367764" y="1271353"/>
                </a:lnTo>
                <a:lnTo>
                  <a:pt x="3330171" y="1286331"/>
                </a:lnTo>
                <a:lnTo>
                  <a:pt x="3289198" y="1298106"/>
                </a:lnTo>
                <a:lnTo>
                  <a:pt x="3244722" y="1306606"/>
                </a:lnTo>
                <a:lnTo>
                  <a:pt x="3196615" y="1311759"/>
                </a:lnTo>
                <a:lnTo>
                  <a:pt x="3144752" y="1313492"/>
                </a:lnTo>
                <a:lnTo>
                  <a:pt x="3144752" y="1215571"/>
                </a:lnTo>
                <a:lnTo>
                  <a:pt x="3194999" y="1213312"/>
                </a:lnTo>
                <a:lnTo>
                  <a:pt x="3240428" y="1206617"/>
                </a:lnTo>
                <a:lnTo>
                  <a:pt x="3281267" y="1195604"/>
                </a:lnTo>
                <a:lnTo>
                  <a:pt x="3317746" y="1180393"/>
                </a:lnTo>
                <a:lnTo>
                  <a:pt x="3378538" y="1137856"/>
                </a:lnTo>
                <a:lnTo>
                  <a:pt x="3424634" y="1079963"/>
                </a:lnTo>
                <a:lnTo>
                  <a:pt x="3442743" y="1045557"/>
                </a:lnTo>
                <a:lnTo>
                  <a:pt x="3457864" y="1007670"/>
                </a:lnTo>
                <a:lnTo>
                  <a:pt x="3470227" y="966422"/>
                </a:lnTo>
                <a:lnTo>
                  <a:pt x="3480060" y="921934"/>
                </a:lnTo>
                <a:lnTo>
                  <a:pt x="3487591" y="874323"/>
                </a:lnTo>
                <a:lnTo>
                  <a:pt x="3493051" y="823711"/>
                </a:lnTo>
                <a:lnTo>
                  <a:pt x="3496668" y="770216"/>
                </a:lnTo>
                <a:lnTo>
                  <a:pt x="3498670" y="713959"/>
                </a:lnTo>
                <a:lnTo>
                  <a:pt x="3499286" y="655058"/>
                </a:lnTo>
                <a:lnTo>
                  <a:pt x="3498637" y="596735"/>
                </a:lnTo>
                <a:lnTo>
                  <a:pt x="3496544" y="541021"/>
                </a:lnTo>
                <a:lnTo>
                  <a:pt x="3492792" y="488034"/>
                </a:lnTo>
                <a:lnTo>
                  <a:pt x="3487163" y="437895"/>
                </a:lnTo>
                <a:lnTo>
                  <a:pt x="3479442" y="390722"/>
                </a:lnTo>
                <a:lnTo>
                  <a:pt x="3469411" y="346637"/>
                </a:lnTo>
                <a:lnTo>
                  <a:pt x="3456855" y="305757"/>
                </a:lnTo>
                <a:lnTo>
                  <a:pt x="3441557" y="268203"/>
                </a:lnTo>
                <a:lnTo>
                  <a:pt x="3423300" y="234095"/>
                </a:lnTo>
                <a:lnTo>
                  <a:pt x="3377044" y="176692"/>
                </a:lnTo>
                <a:lnTo>
                  <a:pt x="3316354" y="134506"/>
                </a:lnTo>
                <a:lnTo>
                  <a:pt x="3280057" y="119418"/>
                </a:lnTo>
                <a:lnTo>
                  <a:pt x="3239501" y="108493"/>
                </a:lnTo>
                <a:lnTo>
                  <a:pt x="3194472" y="101850"/>
                </a:lnTo>
                <a:lnTo>
                  <a:pt x="3144752" y="99609"/>
                </a:lnTo>
                <a:close/>
              </a:path>
            </a:pathLst>
          </a:custGeom>
          <a:solidFill>
            <a:srgbClr val="4D7836"/>
          </a:solidFill>
        </p:spPr>
        <p:txBody>
          <a:bodyPr wrap="square" lIns="0" tIns="0" rIns="0" bIns="0" rtlCol="0">
            <a:noAutofit/>
          </a:bodyPr>
          <a:lstStyle/>
          <a:p>
            <a:endParaRPr lang="da-DK" sz="1350"/>
          </a:p>
        </p:txBody>
      </p:sp>
    </p:spTree>
    <p:extLst>
      <p:ext uri="{BB962C8B-B14F-4D97-AF65-F5344CB8AC3E}">
        <p14:creationId xmlns:p14="http://schemas.microsoft.com/office/powerpoint/2010/main" val="2497484107"/>
      </p:ext>
    </p:extLst>
  </p:cSld>
  <p:clrMapOvr>
    <a:masterClrMapping/>
  </p:clrMapOvr>
  <p:extLst>
    <p:ext uri="{DCECCB84-F9BA-43D5-87BE-67443E8EF086}">
      <p15:sldGuideLst xmlns:p15="http://schemas.microsoft.com/office/powerpoint/2012/main">
        <p15:guide id="2" orient="horz" pos="1201">
          <p15:clr>
            <a:srgbClr val="A4A3A4"/>
          </p15:clr>
        </p15:guide>
        <p15:guide id="3" orient="horz" pos="566">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2" name="Baggrund">
            <a:extLst>
              <a:ext uri="{FF2B5EF4-FFF2-40B4-BE49-F238E27FC236}">
                <a16:creationId xmlns:a16="http://schemas.microsoft.com/office/drawing/2014/main" id="{81746C71-8987-04A5-1F82-995BB745E14B}"/>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3" name="Title 2">
            <a:extLst>
              <a:ext uri="{FF2B5EF4-FFF2-40B4-BE49-F238E27FC236}">
                <a16:creationId xmlns:a16="http://schemas.microsoft.com/office/drawing/2014/main" id="{9ACD22E9-9AE9-424B-A7A1-AFD0F990FCCC}"/>
              </a:ext>
            </a:extLst>
          </p:cNvPr>
          <p:cNvSpPr>
            <a:spLocks noGrp="1"/>
          </p:cNvSpPr>
          <p:nvPr>
            <p:ph type="title" hasCustomPrompt="1"/>
          </p:nvPr>
        </p:nvSpPr>
        <p:spPr>
          <a:xfrm>
            <a:off x="405000" y="675000"/>
            <a:ext cx="4099135" cy="621000"/>
          </a:xfrm>
        </p:spPr>
        <p:txBody>
          <a:bodyPr/>
          <a:lstStyle>
            <a:lvl1pPr>
              <a:defRPr>
                <a:solidFill>
                  <a:schemeClr val="bg1"/>
                </a:solidFill>
              </a:defRPr>
            </a:lvl1pPr>
          </a:lstStyle>
          <a:p>
            <a:r>
              <a:rPr lang="da-DK"/>
              <a:t>Klik for at tilføje agenda titel</a:t>
            </a:r>
          </a:p>
        </p:txBody>
      </p:sp>
      <p:sp>
        <p:nvSpPr>
          <p:cNvPr id="7" name="Text Placeholder 2"/>
          <p:cNvSpPr>
            <a:spLocks noGrp="1"/>
          </p:cNvSpPr>
          <p:nvPr>
            <p:ph type="body" sz="quarter" idx="13" hasCustomPrompt="1"/>
          </p:nvPr>
        </p:nvSpPr>
        <p:spPr>
          <a:xfrm>
            <a:off x="405000" y="1431000"/>
            <a:ext cx="4099135" cy="3172500"/>
          </a:xfrm>
        </p:spPr>
        <p:txBody>
          <a:bodyPr/>
          <a:lstStyle>
            <a:lvl1pPr marL="135000" indent="-135000">
              <a:spcAft>
                <a:spcPts val="900"/>
              </a:spcAft>
              <a:buFont typeface="Arial" panose="020B0604020202020204" pitchFamily="34" charset="0"/>
              <a:buChar char="•"/>
              <a:defRPr b="0">
                <a:solidFill>
                  <a:schemeClr val="bg1"/>
                </a:solidFill>
                <a:latin typeface="+mn-lt"/>
              </a:defRPr>
            </a:lvl1pPr>
            <a:lvl2pPr marL="135000" indent="-135000">
              <a:spcBef>
                <a:spcPts val="0"/>
              </a:spcBef>
              <a:spcAft>
                <a:spcPts val="900"/>
              </a:spcAft>
              <a:buFont typeface="Arial" panose="020B0604020202020204" pitchFamily="34" charset="0"/>
              <a:buChar char="•"/>
              <a:defRPr sz="1200" b="0">
                <a:solidFill>
                  <a:schemeClr val="bg1"/>
                </a:solidFill>
                <a:latin typeface="+mn-lt"/>
              </a:defRPr>
            </a:lvl2pPr>
            <a:lvl3pPr marL="135000" indent="-135000">
              <a:spcBef>
                <a:spcPts val="0"/>
              </a:spcBef>
              <a:spcAft>
                <a:spcPts val="900"/>
              </a:spcAft>
              <a:buFont typeface="Arial" panose="020B0604020202020204" pitchFamily="34" charset="0"/>
              <a:buChar char="•"/>
              <a:defRPr sz="1200" b="0">
                <a:solidFill>
                  <a:schemeClr val="bg1"/>
                </a:solidFill>
                <a:latin typeface="+mn-lt"/>
              </a:defRPr>
            </a:lvl3pPr>
            <a:lvl4pPr marL="135000" indent="-135000">
              <a:spcBef>
                <a:spcPts val="0"/>
              </a:spcBef>
              <a:spcAft>
                <a:spcPts val="900"/>
              </a:spcAft>
              <a:buFont typeface="Arial" panose="020B0604020202020204" pitchFamily="34" charset="0"/>
              <a:buChar char="•"/>
              <a:defRPr sz="1200" b="0">
                <a:solidFill>
                  <a:schemeClr val="bg1"/>
                </a:solidFill>
                <a:latin typeface="+mn-lt"/>
              </a:defRPr>
            </a:lvl4pPr>
            <a:lvl5pPr marL="135000" indent="-135000">
              <a:spcBef>
                <a:spcPts val="0"/>
              </a:spcBef>
              <a:spcAft>
                <a:spcPts val="900"/>
              </a:spcAft>
              <a:buFont typeface="Arial" panose="020B0604020202020204" pitchFamily="34" charset="0"/>
              <a:buChar char="•"/>
              <a:defRPr sz="1200" b="0">
                <a:solidFill>
                  <a:schemeClr val="bg1"/>
                </a:solidFill>
                <a:latin typeface="+mn-lt"/>
              </a:defRPr>
            </a:lvl5pPr>
            <a:lvl6pPr marL="135000" indent="-135000">
              <a:spcBef>
                <a:spcPts val="0"/>
              </a:spcBef>
              <a:spcAft>
                <a:spcPts val="900"/>
              </a:spcAft>
              <a:buFont typeface="Arial" panose="020B0604020202020204" pitchFamily="34" charset="0"/>
              <a:buChar char="•"/>
              <a:defRPr sz="1200" b="0">
                <a:solidFill>
                  <a:schemeClr val="bg1"/>
                </a:solidFill>
                <a:latin typeface="+mn-lt"/>
              </a:defRPr>
            </a:lvl6pPr>
            <a:lvl7pPr marL="135000" indent="-135000">
              <a:spcBef>
                <a:spcPts val="0"/>
              </a:spcBef>
              <a:spcAft>
                <a:spcPts val="900"/>
              </a:spcAft>
              <a:buFont typeface="Arial" panose="020B0604020202020204" pitchFamily="34" charset="0"/>
              <a:buChar char="•"/>
              <a:defRPr sz="1200" b="0">
                <a:solidFill>
                  <a:schemeClr val="bg1"/>
                </a:solidFill>
                <a:latin typeface="+mn-lt"/>
              </a:defRPr>
            </a:lvl7pPr>
            <a:lvl8pPr marL="135000" indent="-135000">
              <a:spcBef>
                <a:spcPts val="0"/>
              </a:spcBef>
              <a:spcAft>
                <a:spcPts val="900"/>
              </a:spcAft>
              <a:buFont typeface="Arial" panose="020B0604020202020204" pitchFamily="34" charset="0"/>
              <a:buChar char="•"/>
              <a:defRPr sz="1200" b="0">
                <a:solidFill>
                  <a:schemeClr val="bg1"/>
                </a:solidFill>
                <a:latin typeface="+mn-lt"/>
              </a:defRPr>
            </a:lvl8pPr>
            <a:lvl9pPr marL="135000" indent="-135000">
              <a:spcBef>
                <a:spcPts val="0"/>
              </a:spcBef>
              <a:spcAft>
                <a:spcPts val="900"/>
              </a:spcAft>
              <a:buFont typeface="Arial" panose="020B0604020202020204" pitchFamily="34" charset="0"/>
              <a:buChar char="•"/>
              <a:defRPr sz="1200" b="0">
                <a:solidFill>
                  <a:schemeClr val="bg1"/>
                </a:solidFill>
                <a:latin typeface="+mn-lt"/>
              </a:defRPr>
            </a:lvl9pPr>
          </a:lstStyle>
          <a:p>
            <a:pPr lvl="0"/>
            <a:r>
              <a:rPr lang="da-DK" noProof="0"/>
              <a:t>Klik for at tilføje agendapunkt</a:t>
            </a:r>
          </a:p>
          <a:p>
            <a:pPr lvl="1"/>
            <a:r>
              <a:rPr lang="da-DK" noProof="0"/>
              <a:t>Anden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16" name="Pladsholder til dato 15">
            <a:extLst>
              <a:ext uri="{FF2B5EF4-FFF2-40B4-BE49-F238E27FC236}">
                <a16:creationId xmlns:a16="http://schemas.microsoft.com/office/drawing/2014/main" id="{07B7D8D3-77D2-E785-81E3-AB119F5B3A7C}"/>
              </a:ext>
            </a:extLst>
          </p:cNvPr>
          <p:cNvSpPr>
            <a:spLocks noGrp="1"/>
          </p:cNvSpPr>
          <p:nvPr>
            <p:ph type="dt" sz="half" idx="19"/>
          </p:nvPr>
        </p:nvSpPr>
        <p:spPr/>
        <p:txBody>
          <a:bodyPr/>
          <a:lstStyle>
            <a:lvl1pPr>
              <a:defRPr>
                <a:solidFill>
                  <a:schemeClr val="bg1"/>
                </a:solidFill>
              </a:defRPr>
            </a:lvl1pPr>
          </a:lstStyle>
          <a:p>
            <a:fld id="{61BEDC24-6319-4BBB-9782-63587D1632F0}" type="datetime2">
              <a:rPr lang="da-DK" smtClean="0"/>
              <a:pPr/>
              <a:t>11. december 2025</a:t>
            </a:fld>
            <a:endParaRPr lang="da-DK"/>
          </a:p>
        </p:txBody>
      </p:sp>
      <p:sp>
        <p:nvSpPr>
          <p:cNvPr id="17" name="Pladsholder til sidefod 16">
            <a:extLst>
              <a:ext uri="{FF2B5EF4-FFF2-40B4-BE49-F238E27FC236}">
                <a16:creationId xmlns:a16="http://schemas.microsoft.com/office/drawing/2014/main" id="{19E82096-1CE6-E092-C8ED-9A675CC7FFC6}"/>
              </a:ext>
            </a:extLst>
          </p:cNvPr>
          <p:cNvSpPr>
            <a:spLocks noGrp="1"/>
          </p:cNvSpPr>
          <p:nvPr>
            <p:ph type="ftr" sz="quarter" idx="20"/>
          </p:nvPr>
        </p:nvSpPr>
        <p:spPr/>
        <p:txBody>
          <a:bodyPr/>
          <a:lstStyle>
            <a:lvl1pPr>
              <a:defRPr>
                <a:solidFill>
                  <a:schemeClr val="bg1"/>
                </a:solidFill>
              </a:defRPr>
            </a:lvl1pPr>
          </a:lstStyle>
          <a:p>
            <a:r>
              <a:rPr lang="da-DK"/>
              <a:t>Digitaliseringsstyrelsen</a:t>
            </a:r>
          </a:p>
        </p:txBody>
      </p:sp>
      <p:sp>
        <p:nvSpPr>
          <p:cNvPr id="18" name="Pladsholder til slidenummer 17">
            <a:extLst>
              <a:ext uri="{FF2B5EF4-FFF2-40B4-BE49-F238E27FC236}">
                <a16:creationId xmlns:a16="http://schemas.microsoft.com/office/drawing/2014/main" id="{385BC0ED-51CA-C2C1-3A79-5B97AB7EB508}"/>
              </a:ext>
            </a:extLst>
          </p:cNvPr>
          <p:cNvSpPr>
            <a:spLocks noGrp="1"/>
          </p:cNvSpPr>
          <p:nvPr>
            <p:ph type="sldNum" sz="quarter" idx="21"/>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5" name="Mikro grafik 1">
            <a:extLst>
              <a:ext uri="{FF2B5EF4-FFF2-40B4-BE49-F238E27FC236}">
                <a16:creationId xmlns:a16="http://schemas.microsoft.com/office/drawing/2014/main" id="{B7391C28-918F-1989-0558-6E9FBDFF6FEF}"/>
              </a:ext>
            </a:extLst>
          </p:cNvPr>
          <p:cNvSpPr/>
          <p:nvPr userDrawn="1"/>
        </p:nvSpPr>
        <p:spPr>
          <a:xfrm>
            <a:off x="4816131" y="575232"/>
            <a:ext cx="4124069" cy="3344379"/>
          </a:xfrm>
          <a:custGeom>
            <a:avLst/>
            <a:gdLst>
              <a:gd name="connsiteX0" fmla="*/ 6423906 w 9114518"/>
              <a:gd name="connsiteY0" fmla="*/ 7111086 h 7391342"/>
              <a:gd name="connsiteX1" fmla="*/ 6633262 w 9114518"/>
              <a:gd name="connsiteY1" fmla="*/ 7111086 h 7391342"/>
              <a:gd name="connsiteX2" fmla="*/ 6633262 w 9114518"/>
              <a:gd name="connsiteY2" fmla="*/ 7286668 h 7391342"/>
              <a:gd name="connsiteX3" fmla="*/ 6423906 w 9114518"/>
              <a:gd name="connsiteY3" fmla="*/ 7286668 h 7391342"/>
              <a:gd name="connsiteX4" fmla="*/ 3371709 w 9114518"/>
              <a:gd name="connsiteY4" fmla="*/ 6959141 h 7391342"/>
              <a:gd name="connsiteX5" fmla="*/ 4286770 w 9114518"/>
              <a:gd name="connsiteY5" fmla="*/ 6959141 h 7391342"/>
              <a:gd name="connsiteX6" fmla="*/ 4286770 w 9114518"/>
              <a:gd name="connsiteY6" fmla="*/ 7067193 h 7391342"/>
              <a:gd name="connsiteX7" fmla="*/ 3371709 w 9114518"/>
              <a:gd name="connsiteY7" fmla="*/ 7067193 h 7391342"/>
              <a:gd name="connsiteX8" fmla="*/ 3371709 w 9114518"/>
              <a:gd name="connsiteY8" fmla="*/ 6606288 h 7391342"/>
              <a:gd name="connsiteX9" fmla="*/ 4286770 w 9114518"/>
              <a:gd name="connsiteY9" fmla="*/ 6606288 h 7391342"/>
              <a:gd name="connsiteX10" fmla="*/ 4286770 w 9114518"/>
              <a:gd name="connsiteY10" fmla="*/ 6714340 h 7391342"/>
              <a:gd name="connsiteX11" fmla="*/ 3371709 w 9114518"/>
              <a:gd name="connsiteY11" fmla="*/ 6714340 h 7391342"/>
              <a:gd name="connsiteX12" fmla="*/ 5418710 w 9114518"/>
              <a:gd name="connsiteY12" fmla="*/ 6084039 h 7391342"/>
              <a:gd name="connsiteX13" fmla="*/ 5796891 w 9114518"/>
              <a:gd name="connsiteY13" fmla="*/ 6084039 h 7391342"/>
              <a:gd name="connsiteX14" fmla="*/ 5796891 w 9114518"/>
              <a:gd name="connsiteY14" fmla="*/ 6180559 h 7391342"/>
              <a:gd name="connsiteX15" fmla="*/ 5796891 w 9114518"/>
              <a:gd name="connsiteY15" fmla="*/ 7291809 h 7391342"/>
              <a:gd name="connsiteX16" fmla="*/ 5796891 w 9114518"/>
              <a:gd name="connsiteY16" fmla="*/ 7388329 h 7391342"/>
              <a:gd name="connsiteX17" fmla="*/ 5418710 w 9114518"/>
              <a:gd name="connsiteY17" fmla="*/ 7388329 h 7391342"/>
              <a:gd name="connsiteX18" fmla="*/ 5418710 w 9114518"/>
              <a:gd name="connsiteY18" fmla="*/ 7291809 h 7391342"/>
              <a:gd name="connsiteX19" fmla="*/ 5680394 w 9114518"/>
              <a:gd name="connsiteY19" fmla="*/ 7291809 h 7391342"/>
              <a:gd name="connsiteX20" fmla="*/ 5680394 w 9114518"/>
              <a:gd name="connsiteY20" fmla="*/ 6180559 h 7391342"/>
              <a:gd name="connsiteX21" fmla="*/ 5418710 w 9114518"/>
              <a:gd name="connsiteY21" fmla="*/ 6180559 h 7391342"/>
              <a:gd name="connsiteX22" fmla="*/ 4939629 w 9114518"/>
              <a:gd name="connsiteY22" fmla="*/ 6084039 h 7391342"/>
              <a:gd name="connsiteX23" fmla="*/ 5317797 w 9114518"/>
              <a:gd name="connsiteY23" fmla="*/ 6084039 h 7391342"/>
              <a:gd name="connsiteX24" fmla="*/ 5317797 w 9114518"/>
              <a:gd name="connsiteY24" fmla="*/ 6180559 h 7391342"/>
              <a:gd name="connsiteX25" fmla="*/ 5056113 w 9114518"/>
              <a:gd name="connsiteY25" fmla="*/ 6180559 h 7391342"/>
              <a:gd name="connsiteX26" fmla="*/ 5056113 w 9114518"/>
              <a:gd name="connsiteY26" fmla="*/ 7291809 h 7391342"/>
              <a:gd name="connsiteX27" fmla="*/ 5317797 w 9114518"/>
              <a:gd name="connsiteY27" fmla="*/ 7291809 h 7391342"/>
              <a:gd name="connsiteX28" fmla="*/ 5317797 w 9114518"/>
              <a:gd name="connsiteY28" fmla="*/ 7388329 h 7391342"/>
              <a:gd name="connsiteX29" fmla="*/ 4939629 w 9114518"/>
              <a:gd name="connsiteY29" fmla="*/ 7388329 h 7391342"/>
              <a:gd name="connsiteX30" fmla="*/ 4939629 w 9114518"/>
              <a:gd name="connsiteY30" fmla="*/ 7291809 h 7391342"/>
              <a:gd name="connsiteX31" fmla="*/ 4939629 w 9114518"/>
              <a:gd name="connsiteY31" fmla="*/ 6180559 h 7391342"/>
              <a:gd name="connsiteX32" fmla="*/ 8646856 w 9114518"/>
              <a:gd name="connsiteY32" fmla="*/ 6077851 h 7391342"/>
              <a:gd name="connsiteX33" fmla="*/ 8698064 w 9114518"/>
              <a:gd name="connsiteY33" fmla="*/ 6079573 h 7391342"/>
              <a:gd name="connsiteX34" fmla="*/ 8745644 w 9114518"/>
              <a:gd name="connsiteY34" fmla="*/ 6084693 h 7391342"/>
              <a:gd name="connsiteX35" fmla="*/ 8789712 w 9114518"/>
              <a:gd name="connsiteY35" fmla="*/ 6093139 h 7391342"/>
              <a:gd name="connsiteX36" fmla="*/ 8830382 w 9114518"/>
              <a:gd name="connsiteY36" fmla="*/ 6104840 h 7391342"/>
              <a:gd name="connsiteX37" fmla="*/ 8867774 w 9114518"/>
              <a:gd name="connsiteY37" fmla="*/ 6119725 h 7391342"/>
              <a:gd name="connsiteX38" fmla="*/ 8902000 w 9114518"/>
              <a:gd name="connsiteY38" fmla="*/ 6137723 h 7391342"/>
              <a:gd name="connsiteX39" fmla="*/ 8961424 w 9114518"/>
              <a:gd name="connsiteY39" fmla="*/ 6182774 h 7391342"/>
              <a:gd name="connsiteX40" fmla="*/ 9009582 w 9114518"/>
              <a:gd name="connsiteY40" fmla="*/ 6239424 h 7391342"/>
              <a:gd name="connsiteX41" fmla="*/ 9029726 w 9114518"/>
              <a:gd name="connsiteY41" fmla="*/ 6271921 h 7391342"/>
              <a:gd name="connsiteX42" fmla="*/ 9047402 w 9114518"/>
              <a:gd name="connsiteY42" fmla="*/ 6307104 h 7391342"/>
              <a:gd name="connsiteX43" fmla="*/ 9062724 w 9114518"/>
              <a:gd name="connsiteY43" fmla="*/ 6344902 h 7391342"/>
              <a:gd name="connsiteX44" fmla="*/ 9075810 w 9114518"/>
              <a:gd name="connsiteY44" fmla="*/ 6385245 h 7391342"/>
              <a:gd name="connsiteX45" fmla="*/ 9086774 w 9114518"/>
              <a:gd name="connsiteY45" fmla="*/ 6428061 h 7391342"/>
              <a:gd name="connsiteX46" fmla="*/ 9095734 w 9114518"/>
              <a:gd name="connsiteY46" fmla="*/ 6473278 h 7391342"/>
              <a:gd name="connsiteX47" fmla="*/ 9102806 w 9114518"/>
              <a:gd name="connsiteY47" fmla="*/ 6520827 h 7391342"/>
              <a:gd name="connsiteX48" fmla="*/ 9108104 w 9114518"/>
              <a:gd name="connsiteY48" fmla="*/ 6570635 h 7391342"/>
              <a:gd name="connsiteX49" fmla="*/ 9111744 w 9114518"/>
              <a:gd name="connsiteY49" fmla="*/ 6622632 h 7391342"/>
              <a:gd name="connsiteX50" fmla="*/ 9113844 w 9114518"/>
              <a:gd name="connsiteY50" fmla="*/ 6676747 h 7391342"/>
              <a:gd name="connsiteX51" fmla="*/ 9114518 w 9114518"/>
              <a:gd name="connsiteY51" fmla="*/ 6732908 h 7391342"/>
              <a:gd name="connsiteX52" fmla="*/ 9113876 w 9114518"/>
              <a:gd name="connsiteY52" fmla="*/ 6789310 h 7391342"/>
              <a:gd name="connsiteX53" fmla="*/ 9111870 w 9114518"/>
              <a:gd name="connsiteY53" fmla="*/ 6843665 h 7391342"/>
              <a:gd name="connsiteX54" fmla="*/ 9108370 w 9114518"/>
              <a:gd name="connsiteY54" fmla="*/ 6895900 h 7391342"/>
              <a:gd name="connsiteX55" fmla="*/ 9103252 w 9114518"/>
              <a:gd name="connsiteY55" fmla="*/ 6945943 h 7391342"/>
              <a:gd name="connsiteX56" fmla="*/ 9096392 w 9114518"/>
              <a:gd name="connsiteY56" fmla="*/ 6993721 h 7391342"/>
              <a:gd name="connsiteX57" fmla="*/ 9087662 w 9114518"/>
              <a:gd name="connsiteY57" fmla="*/ 7039164 h 7391342"/>
              <a:gd name="connsiteX58" fmla="*/ 9076936 w 9114518"/>
              <a:gd name="connsiteY58" fmla="*/ 7082197 h 7391342"/>
              <a:gd name="connsiteX59" fmla="*/ 9064090 w 9114518"/>
              <a:gd name="connsiteY59" fmla="*/ 7122750 h 7391342"/>
              <a:gd name="connsiteX60" fmla="*/ 9048998 w 9114518"/>
              <a:gd name="connsiteY60" fmla="*/ 7160750 h 7391342"/>
              <a:gd name="connsiteX61" fmla="*/ 9031532 w 9114518"/>
              <a:gd name="connsiteY61" fmla="*/ 7196125 h 7391342"/>
              <a:gd name="connsiteX62" fmla="*/ 9011568 w 9114518"/>
              <a:gd name="connsiteY62" fmla="*/ 7228803 h 7391342"/>
              <a:gd name="connsiteX63" fmla="*/ 8963644 w 9114518"/>
              <a:gd name="connsiteY63" fmla="*/ 7285777 h 7391342"/>
              <a:gd name="connsiteX64" fmla="*/ 8904216 w 9114518"/>
              <a:gd name="connsiteY64" fmla="*/ 7331095 h 7391342"/>
              <a:gd name="connsiteX65" fmla="*/ 8869874 w 9114518"/>
              <a:gd name="connsiteY65" fmla="*/ 7349203 h 7391342"/>
              <a:gd name="connsiteX66" fmla="*/ 8832280 w 9114518"/>
              <a:gd name="connsiteY66" fmla="*/ 7364181 h 7391342"/>
              <a:gd name="connsiteX67" fmla="*/ 8791306 w 9114518"/>
              <a:gd name="connsiteY67" fmla="*/ 7375956 h 7391342"/>
              <a:gd name="connsiteX68" fmla="*/ 8746828 w 9114518"/>
              <a:gd name="connsiteY68" fmla="*/ 7384456 h 7391342"/>
              <a:gd name="connsiteX69" fmla="*/ 8698720 w 9114518"/>
              <a:gd name="connsiteY69" fmla="*/ 7389609 h 7391342"/>
              <a:gd name="connsiteX70" fmla="*/ 8646856 w 9114518"/>
              <a:gd name="connsiteY70" fmla="*/ 7391342 h 7391342"/>
              <a:gd name="connsiteX71" fmla="*/ 8646856 w 9114518"/>
              <a:gd name="connsiteY71" fmla="*/ 7293421 h 7391342"/>
              <a:gd name="connsiteX72" fmla="*/ 8697104 w 9114518"/>
              <a:gd name="connsiteY72" fmla="*/ 7291162 h 7391342"/>
              <a:gd name="connsiteX73" fmla="*/ 8742536 w 9114518"/>
              <a:gd name="connsiteY73" fmla="*/ 7284467 h 7391342"/>
              <a:gd name="connsiteX74" fmla="*/ 8783376 w 9114518"/>
              <a:gd name="connsiteY74" fmla="*/ 7273454 h 7391342"/>
              <a:gd name="connsiteX75" fmla="*/ 8819856 w 9114518"/>
              <a:gd name="connsiteY75" fmla="*/ 7258243 h 7391342"/>
              <a:gd name="connsiteX76" fmla="*/ 8880650 w 9114518"/>
              <a:gd name="connsiteY76" fmla="*/ 7215706 h 7391342"/>
              <a:gd name="connsiteX77" fmla="*/ 8926746 w 9114518"/>
              <a:gd name="connsiteY77" fmla="*/ 7157813 h 7391342"/>
              <a:gd name="connsiteX78" fmla="*/ 8944856 w 9114518"/>
              <a:gd name="connsiteY78" fmla="*/ 7123407 h 7391342"/>
              <a:gd name="connsiteX79" fmla="*/ 8959978 w 9114518"/>
              <a:gd name="connsiteY79" fmla="*/ 7085520 h 7391342"/>
              <a:gd name="connsiteX80" fmla="*/ 8972340 w 9114518"/>
              <a:gd name="connsiteY80" fmla="*/ 7044272 h 7391342"/>
              <a:gd name="connsiteX81" fmla="*/ 8982174 w 9114518"/>
              <a:gd name="connsiteY81" fmla="*/ 6999784 h 7391342"/>
              <a:gd name="connsiteX82" fmla="*/ 8989706 w 9114518"/>
              <a:gd name="connsiteY82" fmla="*/ 6952173 h 7391342"/>
              <a:gd name="connsiteX83" fmla="*/ 8995166 w 9114518"/>
              <a:gd name="connsiteY83" fmla="*/ 6901561 h 7391342"/>
              <a:gd name="connsiteX84" fmla="*/ 8998782 w 9114518"/>
              <a:gd name="connsiteY84" fmla="*/ 6848066 h 7391342"/>
              <a:gd name="connsiteX85" fmla="*/ 9000784 w 9114518"/>
              <a:gd name="connsiteY85" fmla="*/ 6791809 h 7391342"/>
              <a:gd name="connsiteX86" fmla="*/ 9001400 w 9114518"/>
              <a:gd name="connsiteY86" fmla="*/ 6732908 h 7391342"/>
              <a:gd name="connsiteX87" fmla="*/ 9000750 w 9114518"/>
              <a:gd name="connsiteY87" fmla="*/ 6674585 h 7391342"/>
              <a:gd name="connsiteX88" fmla="*/ 8998658 w 9114518"/>
              <a:gd name="connsiteY88" fmla="*/ 6618871 h 7391342"/>
              <a:gd name="connsiteX89" fmla="*/ 8994906 w 9114518"/>
              <a:gd name="connsiteY89" fmla="*/ 6565885 h 7391342"/>
              <a:gd name="connsiteX90" fmla="*/ 8989276 w 9114518"/>
              <a:gd name="connsiteY90" fmla="*/ 6515745 h 7391342"/>
              <a:gd name="connsiteX91" fmla="*/ 8981556 w 9114518"/>
              <a:gd name="connsiteY91" fmla="*/ 6468573 h 7391342"/>
              <a:gd name="connsiteX92" fmla="*/ 8971524 w 9114518"/>
              <a:gd name="connsiteY92" fmla="*/ 6424488 h 7391342"/>
              <a:gd name="connsiteX93" fmla="*/ 8958968 w 9114518"/>
              <a:gd name="connsiteY93" fmla="*/ 6383608 h 7391342"/>
              <a:gd name="connsiteX94" fmla="*/ 8943670 w 9114518"/>
              <a:gd name="connsiteY94" fmla="*/ 6346054 h 7391342"/>
              <a:gd name="connsiteX95" fmla="*/ 8925412 w 9114518"/>
              <a:gd name="connsiteY95" fmla="*/ 6311946 h 7391342"/>
              <a:gd name="connsiteX96" fmla="*/ 8879156 w 9114518"/>
              <a:gd name="connsiteY96" fmla="*/ 6254543 h 7391342"/>
              <a:gd name="connsiteX97" fmla="*/ 8818464 w 9114518"/>
              <a:gd name="connsiteY97" fmla="*/ 6212357 h 7391342"/>
              <a:gd name="connsiteX98" fmla="*/ 8782166 w 9114518"/>
              <a:gd name="connsiteY98" fmla="*/ 6197269 h 7391342"/>
              <a:gd name="connsiteX99" fmla="*/ 8741608 w 9114518"/>
              <a:gd name="connsiteY99" fmla="*/ 6186344 h 7391342"/>
              <a:gd name="connsiteX100" fmla="*/ 8696578 w 9114518"/>
              <a:gd name="connsiteY100" fmla="*/ 6179701 h 7391342"/>
              <a:gd name="connsiteX101" fmla="*/ 8646856 w 9114518"/>
              <a:gd name="connsiteY101" fmla="*/ 6177460 h 7391342"/>
              <a:gd name="connsiteX102" fmla="*/ 8553970 w 9114518"/>
              <a:gd name="connsiteY102" fmla="*/ 6077851 h 7391342"/>
              <a:gd name="connsiteX103" fmla="*/ 8553970 w 9114518"/>
              <a:gd name="connsiteY103" fmla="*/ 6177460 h 7391342"/>
              <a:gd name="connsiteX104" fmla="*/ 8504528 w 9114518"/>
              <a:gd name="connsiteY104" fmla="*/ 6179701 h 7391342"/>
              <a:gd name="connsiteX105" fmla="*/ 8459744 w 9114518"/>
              <a:gd name="connsiteY105" fmla="*/ 6186344 h 7391342"/>
              <a:gd name="connsiteX106" fmla="*/ 8419404 w 9114518"/>
              <a:gd name="connsiteY106" fmla="*/ 6197269 h 7391342"/>
              <a:gd name="connsiteX107" fmla="*/ 8383292 w 9114518"/>
              <a:gd name="connsiteY107" fmla="*/ 6212357 h 7391342"/>
              <a:gd name="connsiteX108" fmla="*/ 8322900 w 9114518"/>
              <a:gd name="connsiteY108" fmla="*/ 6254543 h 7391342"/>
              <a:gd name="connsiteX109" fmla="*/ 8276848 w 9114518"/>
              <a:gd name="connsiteY109" fmla="*/ 6311946 h 7391342"/>
              <a:gd name="connsiteX110" fmla="*/ 8258666 w 9114518"/>
              <a:gd name="connsiteY110" fmla="*/ 6346054 h 7391342"/>
              <a:gd name="connsiteX111" fmla="*/ 8243424 w 9114518"/>
              <a:gd name="connsiteY111" fmla="*/ 6383608 h 7391342"/>
              <a:gd name="connsiteX112" fmla="*/ 8230912 w 9114518"/>
              <a:gd name="connsiteY112" fmla="*/ 6424488 h 7391342"/>
              <a:gd name="connsiteX113" fmla="*/ 8220912 w 9114518"/>
              <a:gd name="connsiteY113" fmla="*/ 6468573 h 7391342"/>
              <a:gd name="connsiteX114" fmla="*/ 8213212 w 9114518"/>
              <a:gd name="connsiteY114" fmla="*/ 6515745 h 7391342"/>
              <a:gd name="connsiteX115" fmla="*/ 8207596 w 9114518"/>
              <a:gd name="connsiteY115" fmla="*/ 6565885 h 7391342"/>
              <a:gd name="connsiteX116" fmla="*/ 8203850 w 9114518"/>
              <a:gd name="connsiteY116" fmla="*/ 6618871 h 7391342"/>
              <a:gd name="connsiteX117" fmla="*/ 8201760 w 9114518"/>
              <a:gd name="connsiteY117" fmla="*/ 6674585 h 7391342"/>
              <a:gd name="connsiteX118" fmla="*/ 8201110 w 9114518"/>
              <a:gd name="connsiteY118" fmla="*/ 6732908 h 7391342"/>
              <a:gd name="connsiteX119" fmla="*/ 8201744 w 9114518"/>
              <a:gd name="connsiteY119" fmla="*/ 6791809 h 7391342"/>
              <a:gd name="connsiteX120" fmla="*/ 8203788 w 9114518"/>
              <a:gd name="connsiteY120" fmla="*/ 6848066 h 7391342"/>
              <a:gd name="connsiteX121" fmla="*/ 8207466 w 9114518"/>
              <a:gd name="connsiteY121" fmla="*/ 6901561 h 7391342"/>
              <a:gd name="connsiteX122" fmla="*/ 8212998 w 9114518"/>
              <a:gd name="connsiteY122" fmla="*/ 6952173 h 7391342"/>
              <a:gd name="connsiteX123" fmla="*/ 8220604 w 9114518"/>
              <a:gd name="connsiteY123" fmla="*/ 6999784 h 7391342"/>
              <a:gd name="connsiteX124" fmla="*/ 8230504 w 9114518"/>
              <a:gd name="connsiteY124" fmla="*/ 7044272 h 7391342"/>
              <a:gd name="connsiteX125" fmla="*/ 8242920 w 9114518"/>
              <a:gd name="connsiteY125" fmla="*/ 7085520 h 7391342"/>
              <a:gd name="connsiteX126" fmla="*/ 8258072 w 9114518"/>
              <a:gd name="connsiteY126" fmla="*/ 7123407 h 7391342"/>
              <a:gd name="connsiteX127" fmla="*/ 8276182 w 9114518"/>
              <a:gd name="connsiteY127" fmla="*/ 7157813 h 7391342"/>
              <a:gd name="connsiteX128" fmla="*/ 8322152 w 9114518"/>
              <a:gd name="connsiteY128" fmla="*/ 7215706 h 7391342"/>
              <a:gd name="connsiteX129" fmla="*/ 8382596 w 9114518"/>
              <a:gd name="connsiteY129" fmla="*/ 7258243 h 7391342"/>
              <a:gd name="connsiteX130" fmla="*/ 8418798 w 9114518"/>
              <a:gd name="connsiteY130" fmla="*/ 7273454 h 7391342"/>
              <a:gd name="connsiteX131" fmla="*/ 8459280 w 9114518"/>
              <a:gd name="connsiteY131" fmla="*/ 7284467 h 7391342"/>
              <a:gd name="connsiteX132" fmla="*/ 8504264 w 9114518"/>
              <a:gd name="connsiteY132" fmla="*/ 7291162 h 7391342"/>
              <a:gd name="connsiteX133" fmla="*/ 8553970 w 9114518"/>
              <a:gd name="connsiteY133" fmla="*/ 7293421 h 7391342"/>
              <a:gd name="connsiteX134" fmla="*/ 8553970 w 9114518"/>
              <a:gd name="connsiteY134" fmla="*/ 7391342 h 7391342"/>
              <a:gd name="connsiteX135" fmla="*/ 8502324 w 9114518"/>
              <a:gd name="connsiteY135" fmla="*/ 7389609 h 7391342"/>
              <a:gd name="connsiteX136" fmla="*/ 8454390 w 9114518"/>
              <a:gd name="connsiteY136" fmla="*/ 7384456 h 7391342"/>
              <a:gd name="connsiteX137" fmla="*/ 8410050 w 9114518"/>
              <a:gd name="connsiteY137" fmla="*/ 7375956 h 7391342"/>
              <a:gd name="connsiteX138" fmla="*/ 8369176 w 9114518"/>
              <a:gd name="connsiteY138" fmla="*/ 7364181 h 7391342"/>
              <a:gd name="connsiteX139" fmla="*/ 8331650 w 9114518"/>
              <a:gd name="connsiteY139" fmla="*/ 7349203 h 7391342"/>
              <a:gd name="connsiteX140" fmla="*/ 8297346 w 9114518"/>
              <a:gd name="connsiteY140" fmla="*/ 7331095 h 7391342"/>
              <a:gd name="connsiteX141" fmla="*/ 8237920 w 9114518"/>
              <a:gd name="connsiteY141" fmla="*/ 7285777 h 7391342"/>
              <a:gd name="connsiteX142" fmla="*/ 8189918 w 9114518"/>
              <a:gd name="connsiteY142" fmla="*/ 7228803 h 7391342"/>
              <a:gd name="connsiteX143" fmla="*/ 8169894 w 9114518"/>
              <a:gd name="connsiteY143" fmla="*/ 7196125 h 7391342"/>
              <a:gd name="connsiteX144" fmla="*/ 8152358 w 9114518"/>
              <a:gd name="connsiteY144" fmla="*/ 7160750 h 7391342"/>
              <a:gd name="connsiteX145" fmla="*/ 8137190 w 9114518"/>
              <a:gd name="connsiteY145" fmla="*/ 7122750 h 7391342"/>
              <a:gd name="connsiteX146" fmla="*/ 8124264 w 9114518"/>
              <a:gd name="connsiteY146" fmla="*/ 7082197 h 7391342"/>
              <a:gd name="connsiteX147" fmla="*/ 8113458 w 9114518"/>
              <a:gd name="connsiteY147" fmla="*/ 7039164 h 7391342"/>
              <a:gd name="connsiteX148" fmla="*/ 8104652 w 9114518"/>
              <a:gd name="connsiteY148" fmla="*/ 6993721 h 7391342"/>
              <a:gd name="connsiteX149" fmla="*/ 8097722 w 9114518"/>
              <a:gd name="connsiteY149" fmla="*/ 6945943 h 7391342"/>
              <a:gd name="connsiteX150" fmla="*/ 8092544 w 9114518"/>
              <a:gd name="connsiteY150" fmla="*/ 6895900 h 7391342"/>
              <a:gd name="connsiteX151" fmla="*/ 8088998 w 9114518"/>
              <a:gd name="connsiteY151" fmla="*/ 6843665 h 7391342"/>
              <a:gd name="connsiteX152" fmla="*/ 8086960 w 9114518"/>
              <a:gd name="connsiteY152" fmla="*/ 6789310 h 7391342"/>
              <a:gd name="connsiteX153" fmla="*/ 8086308 w 9114518"/>
              <a:gd name="connsiteY153" fmla="*/ 6732908 h 7391342"/>
              <a:gd name="connsiteX154" fmla="*/ 8086982 w 9114518"/>
              <a:gd name="connsiteY154" fmla="*/ 6676747 h 7391342"/>
              <a:gd name="connsiteX155" fmla="*/ 8089082 w 9114518"/>
              <a:gd name="connsiteY155" fmla="*/ 6622632 h 7391342"/>
              <a:gd name="connsiteX156" fmla="*/ 8092722 w 9114518"/>
              <a:gd name="connsiteY156" fmla="*/ 6570635 h 7391342"/>
              <a:gd name="connsiteX157" fmla="*/ 8098020 w 9114518"/>
              <a:gd name="connsiteY157" fmla="*/ 6520827 h 7391342"/>
              <a:gd name="connsiteX158" fmla="*/ 8105090 w 9114518"/>
              <a:gd name="connsiteY158" fmla="*/ 6473278 h 7391342"/>
              <a:gd name="connsiteX159" fmla="*/ 8114050 w 9114518"/>
              <a:gd name="connsiteY159" fmla="*/ 6428061 h 7391342"/>
              <a:gd name="connsiteX160" fmla="*/ 8125014 w 9114518"/>
              <a:gd name="connsiteY160" fmla="*/ 6385245 h 7391342"/>
              <a:gd name="connsiteX161" fmla="*/ 8138100 w 9114518"/>
              <a:gd name="connsiteY161" fmla="*/ 6344902 h 7391342"/>
              <a:gd name="connsiteX162" fmla="*/ 8153424 w 9114518"/>
              <a:gd name="connsiteY162" fmla="*/ 6307104 h 7391342"/>
              <a:gd name="connsiteX163" fmla="*/ 8171098 w 9114518"/>
              <a:gd name="connsiteY163" fmla="*/ 6271921 h 7391342"/>
              <a:gd name="connsiteX164" fmla="*/ 8191242 w 9114518"/>
              <a:gd name="connsiteY164" fmla="*/ 6239424 h 7391342"/>
              <a:gd name="connsiteX165" fmla="*/ 8239400 w 9114518"/>
              <a:gd name="connsiteY165" fmla="*/ 6182774 h 7391342"/>
              <a:gd name="connsiteX166" fmla="*/ 8298824 w 9114518"/>
              <a:gd name="connsiteY166" fmla="*/ 6137723 h 7391342"/>
              <a:gd name="connsiteX167" fmla="*/ 8333052 w 9114518"/>
              <a:gd name="connsiteY167" fmla="*/ 6119725 h 7391342"/>
              <a:gd name="connsiteX168" fmla="*/ 8370442 w 9114518"/>
              <a:gd name="connsiteY168" fmla="*/ 6104840 h 7391342"/>
              <a:gd name="connsiteX169" fmla="*/ 8411114 w 9114518"/>
              <a:gd name="connsiteY169" fmla="*/ 6093139 h 7391342"/>
              <a:gd name="connsiteX170" fmla="*/ 8455182 w 9114518"/>
              <a:gd name="connsiteY170" fmla="*/ 6084693 h 7391342"/>
              <a:gd name="connsiteX171" fmla="*/ 8502762 w 9114518"/>
              <a:gd name="connsiteY171" fmla="*/ 6079573 h 7391342"/>
              <a:gd name="connsiteX172" fmla="*/ 1425338 w 9114518"/>
              <a:gd name="connsiteY172" fmla="*/ 6077851 h 7391342"/>
              <a:gd name="connsiteX173" fmla="*/ 1476547 w 9114518"/>
              <a:gd name="connsiteY173" fmla="*/ 6079573 h 7391342"/>
              <a:gd name="connsiteX174" fmla="*/ 1524127 w 9114518"/>
              <a:gd name="connsiteY174" fmla="*/ 6084693 h 7391342"/>
              <a:gd name="connsiteX175" fmla="*/ 1568196 w 9114518"/>
              <a:gd name="connsiteY175" fmla="*/ 6093139 h 7391342"/>
              <a:gd name="connsiteX176" fmla="*/ 1608868 w 9114518"/>
              <a:gd name="connsiteY176" fmla="*/ 6104840 h 7391342"/>
              <a:gd name="connsiteX177" fmla="*/ 1646259 w 9114518"/>
              <a:gd name="connsiteY177" fmla="*/ 6119725 h 7391342"/>
              <a:gd name="connsiteX178" fmla="*/ 1680486 w 9114518"/>
              <a:gd name="connsiteY178" fmla="*/ 6137723 h 7391342"/>
              <a:gd name="connsiteX179" fmla="*/ 1739910 w 9114518"/>
              <a:gd name="connsiteY179" fmla="*/ 6182774 h 7391342"/>
              <a:gd name="connsiteX180" fmla="*/ 1788068 w 9114518"/>
              <a:gd name="connsiteY180" fmla="*/ 6239424 h 7391342"/>
              <a:gd name="connsiteX181" fmla="*/ 1808212 w 9114518"/>
              <a:gd name="connsiteY181" fmla="*/ 6271921 h 7391342"/>
              <a:gd name="connsiteX182" fmla="*/ 1825887 w 9114518"/>
              <a:gd name="connsiteY182" fmla="*/ 6307104 h 7391342"/>
              <a:gd name="connsiteX183" fmla="*/ 1841209 w 9114518"/>
              <a:gd name="connsiteY183" fmla="*/ 6344902 h 7391342"/>
              <a:gd name="connsiteX184" fmla="*/ 1854294 w 9114518"/>
              <a:gd name="connsiteY184" fmla="*/ 6385245 h 7391342"/>
              <a:gd name="connsiteX185" fmla="*/ 1865258 w 9114518"/>
              <a:gd name="connsiteY185" fmla="*/ 6428061 h 7391342"/>
              <a:gd name="connsiteX186" fmla="*/ 1874218 w 9114518"/>
              <a:gd name="connsiteY186" fmla="*/ 6473278 h 7391342"/>
              <a:gd name="connsiteX187" fmla="*/ 1881288 w 9114518"/>
              <a:gd name="connsiteY187" fmla="*/ 6520827 h 7391342"/>
              <a:gd name="connsiteX188" fmla="*/ 1886585 w 9114518"/>
              <a:gd name="connsiteY188" fmla="*/ 6570635 h 7391342"/>
              <a:gd name="connsiteX189" fmla="*/ 1890226 w 9114518"/>
              <a:gd name="connsiteY189" fmla="*/ 6622632 h 7391342"/>
              <a:gd name="connsiteX190" fmla="*/ 1892325 w 9114518"/>
              <a:gd name="connsiteY190" fmla="*/ 6676747 h 7391342"/>
              <a:gd name="connsiteX191" fmla="*/ 1892999 w 9114518"/>
              <a:gd name="connsiteY191" fmla="*/ 6732908 h 7391342"/>
              <a:gd name="connsiteX192" fmla="*/ 1892357 w 9114518"/>
              <a:gd name="connsiteY192" fmla="*/ 6789310 h 7391342"/>
              <a:gd name="connsiteX193" fmla="*/ 1890350 w 9114518"/>
              <a:gd name="connsiteY193" fmla="*/ 6843665 h 7391342"/>
              <a:gd name="connsiteX194" fmla="*/ 1886851 w 9114518"/>
              <a:gd name="connsiteY194" fmla="*/ 6895900 h 7391342"/>
              <a:gd name="connsiteX195" fmla="*/ 1881734 w 9114518"/>
              <a:gd name="connsiteY195" fmla="*/ 6945943 h 7391342"/>
              <a:gd name="connsiteX196" fmla="*/ 1874873 w 9114518"/>
              <a:gd name="connsiteY196" fmla="*/ 6993721 h 7391342"/>
              <a:gd name="connsiteX197" fmla="*/ 1866143 w 9114518"/>
              <a:gd name="connsiteY197" fmla="*/ 7039164 h 7391342"/>
              <a:gd name="connsiteX198" fmla="*/ 1855418 w 9114518"/>
              <a:gd name="connsiteY198" fmla="*/ 7082197 h 7391342"/>
              <a:gd name="connsiteX199" fmla="*/ 1842572 w 9114518"/>
              <a:gd name="connsiteY199" fmla="*/ 7122750 h 7391342"/>
              <a:gd name="connsiteX200" fmla="*/ 1827479 w 9114518"/>
              <a:gd name="connsiteY200" fmla="*/ 7160750 h 7391342"/>
              <a:gd name="connsiteX201" fmla="*/ 1810014 w 9114518"/>
              <a:gd name="connsiteY201" fmla="*/ 7196125 h 7391342"/>
              <a:gd name="connsiteX202" fmla="*/ 1790050 w 9114518"/>
              <a:gd name="connsiteY202" fmla="*/ 7228803 h 7391342"/>
              <a:gd name="connsiteX203" fmla="*/ 1742125 w 9114518"/>
              <a:gd name="connsiteY203" fmla="*/ 7285777 h 7391342"/>
              <a:gd name="connsiteX204" fmla="*/ 1682698 w 9114518"/>
              <a:gd name="connsiteY204" fmla="*/ 7331095 h 7391342"/>
              <a:gd name="connsiteX205" fmla="*/ 1648356 w 9114518"/>
              <a:gd name="connsiteY205" fmla="*/ 7349203 h 7391342"/>
              <a:gd name="connsiteX206" fmla="*/ 1610762 w 9114518"/>
              <a:gd name="connsiteY206" fmla="*/ 7364181 h 7391342"/>
              <a:gd name="connsiteX207" fmla="*/ 1569788 w 9114518"/>
              <a:gd name="connsiteY207" fmla="*/ 7375956 h 7391342"/>
              <a:gd name="connsiteX208" fmla="*/ 1525310 w 9114518"/>
              <a:gd name="connsiteY208" fmla="*/ 7384456 h 7391342"/>
              <a:gd name="connsiteX209" fmla="*/ 1477202 w 9114518"/>
              <a:gd name="connsiteY209" fmla="*/ 7389609 h 7391342"/>
              <a:gd name="connsiteX210" fmla="*/ 1425338 w 9114518"/>
              <a:gd name="connsiteY210" fmla="*/ 7391342 h 7391342"/>
              <a:gd name="connsiteX211" fmla="*/ 1425338 w 9114518"/>
              <a:gd name="connsiteY211" fmla="*/ 7293421 h 7391342"/>
              <a:gd name="connsiteX212" fmla="*/ 1475586 w 9114518"/>
              <a:gd name="connsiteY212" fmla="*/ 7291162 h 7391342"/>
              <a:gd name="connsiteX213" fmla="*/ 1521017 w 9114518"/>
              <a:gd name="connsiteY213" fmla="*/ 7284467 h 7391342"/>
              <a:gd name="connsiteX214" fmla="*/ 1561858 w 9114518"/>
              <a:gd name="connsiteY214" fmla="*/ 7273454 h 7391342"/>
              <a:gd name="connsiteX215" fmla="*/ 1598338 w 9114518"/>
              <a:gd name="connsiteY215" fmla="*/ 7258243 h 7391342"/>
              <a:gd name="connsiteX216" fmla="*/ 1659131 w 9114518"/>
              <a:gd name="connsiteY216" fmla="*/ 7215706 h 7391342"/>
              <a:gd name="connsiteX217" fmla="*/ 1705228 w 9114518"/>
              <a:gd name="connsiteY217" fmla="*/ 7157813 h 7391342"/>
              <a:gd name="connsiteX218" fmla="*/ 1723337 w 9114518"/>
              <a:gd name="connsiteY218" fmla="*/ 7123407 h 7391342"/>
              <a:gd name="connsiteX219" fmla="*/ 1738459 w 9114518"/>
              <a:gd name="connsiteY219" fmla="*/ 7085520 h 7391342"/>
              <a:gd name="connsiteX220" fmla="*/ 1750822 w 9114518"/>
              <a:gd name="connsiteY220" fmla="*/ 7044272 h 7391342"/>
              <a:gd name="connsiteX221" fmla="*/ 1760655 w 9114518"/>
              <a:gd name="connsiteY221" fmla="*/ 6999784 h 7391342"/>
              <a:gd name="connsiteX222" fmla="*/ 1768187 w 9114518"/>
              <a:gd name="connsiteY222" fmla="*/ 6952173 h 7391342"/>
              <a:gd name="connsiteX223" fmla="*/ 1773647 w 9114518"/>
              <a:gd name="connsiteY223" fmla="*/ 6901561 h 7391342"/>
              <a:gd name="connsiteX224" fmla="*/ 1777263 w 9114518"/>
              <a:gd name="connsiteY224" fmla="*/ 6848066 h 7391342"/>
              <a:gd name="connsiteX225" fmla="*/ 1779265 w 9114518"/>
              <a:gd name="connsiteY225" fmla="*/ 6791809 h 7391342"/>
              <a:gd name="connsiteX226" fmla="*/ 1779882 w 9114518"/>
              <a:gd name="connsiteY226" fmla="*/ 6732908 h 7391342"/>
              <a:gd name="connsiteX227" fmla="*/ 1779232 w 9114518"/>
              <a:gd name="connsiteY227" fmla="*/ 6674585 h 7391342"/>
              <a:gd name="connsiteX228" fmla="*/ 1777140 w 9114518"/>
              <a:gd name="connsiteY228" fmla="*/ 6618871 h 7391342"/>
              <a:gd name="connsiteX229" fmla="*/ 1773387 w 9114518"/>
              <a:gd name="connsiteY229" fmla="*/ 6565885 h 7391342"/>
              <a:gd name="connsiteX230" fmla="*/ 1767758 w 9114518"/>
              <a:gd name="connsiteY230" fmla="*/ 6515745 h 7391342"/>
              <a:gd name="connsiteX231" fmla="*/ 1760037 w 9114518"/>
              <a:gd name="connsiteY231" fmla="*/ 6468573 h 7391342"/>
              <a:gd name="connsiteX232" fmla="*/ 1750006 w 9114518"/>
              <a:gd name="connsiteY232" fmla="*/ 6424488 h 7391342"/>
              <a:gd name="connsiteX233" fmla="*/ 1737450 w 9114518"/>
              <a:gd name="connsiteY233" fmla="*/ 6383608 h 7391342"/>
              <a:gd name="connsiteX234" fmla="*/ 1722151 w 9114518"/>
              <a:gd name="connsiteY234" fmla="*/ 6346054 h 7391342"/>
              <a:gd name="connsiteX235" fmla="*/ 1703894 w 9114518"/>
              <a:gd name="connsiteY235" fmla="*/ 6311946 h 7391342"/>
              <a:gd name="connsiteX236" fmla="*/ 1657637 w 9114518"/>
              <a:gd name="connsiteY236" fmla="*/ 6254543 h 7391342"/>
              <a:gd name="connsiteX237" fmla="*/ 1596946 w 9114518"/>
              <a:gd name="connsiteY237" fmla="*/ 6212357 h 7391342"/>
              <a:gd name="connsiteX238" fmla="*/ 1560647 w 9114518"/>
              <a:gd name="connsiteY238" fmla="*/ 6197269 h 7391342"/>
              <a:gd name="connsiteX239" fmla="*/ 1520090 w 9114518"/>
              <a:gd name="connsiteY239" fmla="*/ 6186344 h 7391342"/>
              <a:gd name="connsiteX240" fmla="*/ 1475059 w 9114518"/>
              <a:gd name="connsiteY240" fmla="*/ 6179701 h 7391342"/>
              <a:gd name="connsiteX241" fmla="*/ 1425338 w 9114518"/>
              <a:gd name="connsiteY241" fmla="*/ 6177460 h 7391342"/>
              <a:gd name="connsiteX242" fmla="*/ 1332420 w 9114518"/>
              <a:gd name="connsiteY242" fmla="*/ 6077851 h 7391342"/>
              <a:gd name="connsiteX243" fmla="*/ 1332420 w 9114518"/>
              <a:gd name="connsiteY243" fmla="*/ 6177460 h 7391342"/>
              <a:gd name="connsiteX244" fmla="*/ 1282980 w 9114518"/>
              <a:gd name="connsiteY244" fmla="*/ 6179701 h 7391342"/>
              <a:gd name="connsiteX245" fmla="*/ 1238197 w 9114518"/>
              <a:gd name="connsiteY245" fmla="*/ 6186344 h 7391342"/>
              <a:gd name="connsiteX246" fmla="*/ 1197858 w 9114518"/>
              <a:gd name="connsiteY246" fmla="*/ 6197269 h 7391342"/>
              <a:gd name="connsiteX247" fmla="*/ 1161747 w 9114518"/>
              <a:gd name="connsiteY247" fmla="*/ 6212357 h 7391342"/>
              <a:gd name="connsiteX248" fmla="*/ 1101354 w 9114518"/>
              <a:gd name="connsiteY248" fmla="*/ 6254543 h 7391342"/>
              <a:gd name="connsiteX249" fmla="*/ 1055303 w 9114518"/>
              <a:gd name="connsiteY249" fmla="*/ 6311946 h 7391342"/>
              <a:gd name="connsiteX250" fmla="*/ 1037120 w 9114518"/>
              <a:gd name="connsiteY250" fmla="*/ 6346054 h 7391342"/>
              <a:gd name="connsiteX251" fmla="*/ 1021878 w 9114518"/>
              <a:gd name="connsiteY251" fmla="*/ 6383608 h 7391342"/>
              <a:gd name="connsiteX252" fmla="*/ 1009365 w 9114518"/>
              <a:gd name="connsiteY252" fmla="*/ 6424488 h 7391342"/>
              <a:gd name="connsiteX253" fmla="*/ 999365 w 9114518"/>
              <a:gd name="connsiteY253" fmla="*/ 6468573 h 7391342"/>
              <a:gd name="connsiteX254" fmla="*/ 991664 w 9114518"/>
              <a:gd name="connsiteY254" fmla="*/ 6515745 h 7391342"/>
              <a:gd name="connsiteX255" fmla="*/ 986047 w 9114518"/>
              <a:gd name="connsiteY255" fmla="*/ 6565885 h 7391342"/>
              <a:gd name="connsiteX256" fmla="*/ 982301 w 9114518"/>
              <a:gd name="connsiteY256" fmla="*/ 6618871 h 7391342"/>
              <a:gd name="connsiteX257" fmla="*/ 980210 w 9114518"/>
              <a:gd name="connsiteY257" fmla="*/ 6674585 h 7391342"/>
              <a:gd name="connsiteX258" fmla="*/ 979561 w 9114518"/>
              <a:gd name="connsiteY258" fmla="*/ 6732908 h 7391342"/>
              <a:gd name="connsiteX259" fmla="*/ 980194 w 9114518"/>
              <a:gd name="connsiteY259" fmla="*/ 6791809 h 7391342"/>
              <a:gd name="connsiteX260" fmla="*/ 982239 w 9114518"/>
              <a:gd name="connsiteY260" fmla="*/ 6848066 h 7391342"/>
              <a:gd name="connsiteX261" fmla="*/ 985918 w 9114518"/>
              <a:gd name="connsiteY261" fmla="*/ 6901561 h 7391342"/>
              <a:gd name="connsiteX262" fmla="*/ 991450 w 9114518"/>
              <a:gd name="connsiteY262" fmla="*/ 6952173 h 7391342"/>
              <a:gd name="connsiteX263" fmla="*/ 999056 w 9114518"/>
              <a:gd name="connsiteY263" fmla="*/ 6999784 h 7391342"/>
              <a:gd name="connsiteX264" fmla="*/ 1008957 w 9114518"/>
              <a:gd name="connsiteY264" fmla="*/ 7044272 h 7391342"/>
              <a:gd name="connsiteX265" fmla="*/ 1021374 w 9114518"/>
              <a:gd name="connsiteY265" fmla="*/ 7085520 h 7391342"/>
              <a:gd name="connsiteX266" fmla="*/ 1036527 w 9114518"/>
              <a:gd name="connsiteY266" fmla="*/ 7123407 h 7391342"/>
              <a:gd name="connsiteX267" fmla="*/ 1054636 w 9114518"/>
              <a:gd name="connsiteY267" fmla="*/ 7157813 h 7391342"/>
              <a:gd name="connsiteX268" fmla="*/ 1100607 w 9114518"/>
              <a:gd name="connsiteY268" fmla="*/ 7215706 h 7391342"/>
              <a:gd name="connsiteX269" fmla="*/ 1161051 w 9114518"/>
              <a:gd name="connsiteY269" fmla="*/ 7258243 h 7391342"/>
              <a:gd name="connsiteX270" fmla="*/ 1197253 w 9114518"/>
              <a:gd name="connsiteY270" fmla="*/ 7273454 h 7391342"/>
              <a:gd name="connsiteX271" fmla="*/ 1237734 w 9114518"/>
              <a:gd name="connsiteY271" fmla="*/ 7284467 h 7391342"/>
              <a:gd name="connsiteX272" fmla="*/ 1282716 w 9114518"/>
              <a:gd name="connsiteY272" fmla="*/ 7291162 h 7391342"/>
              <a:gd name="connsiteX273" fmla="*/ 1332420 w 9114518"/>
              <a:gd name="connsiteY273" fmla="*/ 7293421 h 7391342"/>
              <a:gd name="connsiteX274" fmla="*/ 1332420 w 9114518"/>
              <a:gd name="connsiteY274" fmla="*/ 7391342 h 7391342"/>
              <a:gd name="connsiteX275" fmla="*/ 1280774 w 9114518"/>
              <a:gd name="connsiteY275" fmla="*/ 7389609 h 7391342"/>
              <a:gd name="connsiteX276" fmla="*/ 1232841 w 9114518"/>
              <a:gd name="connsiteY276" fmla="*/ 7384456 h 7391342"/>
              <a:gd name="connsiteX277" fmla="*/ 1188500 w 9114518"/>
              <a:gd name="connsiteY277" fmla="*/ 7375956 h 7391342"/>
              <a:gd name="connsiteX278" fmla="*/ 1147627 w 9114518"/>
              <a:gd name="connsiteY278" fmla="*/ 7364181 h 7391342"/>
              <a:gd name="connsiteX279" fmla="*/ 1110100 w 9114518"/>
              <a:gd name="connsiteY279" fmla="*/ 7349203 h 7391342"/>
              <a:gd name="connsiteX280" fmla="*/ 1075796 w 9114518"/>
              <a:gd name="connsiteY280" fmla="*/ 7331095 h 7391342"/>
              <a:gd name="connsiteX281" fmla="*/ 1016370 w 9114518"/>
              <a:gd name="connsiteY281" fmla="*/ 7285777 h 7391342"/>
              <a:gd name="connsiteX282" fmla="*/ 968368 w 9114518"/>
              <a:gd name="connsiteY282" fmla="*/ 7228803 h 7391342"/>
              <a:gd name="connsiteX283" fmla="*/ 948344 w 9114518"/>
              <a:gd name="connsiteY283" fmla="*/ 7196125 h 7391342"/>
              <a:gd name="connsiteX284" fmla="*/ 930809 w 9114518"/>
              <a:gd name="connsiteY284" fmla="*/ 7160750 h 7391342"/>
              <a:gd name="connsiteX285" fmla="*/ 915640 w 9114518"/>
              <a:gd name="connsiteY285" fmla="*/ 7122750 h 7391342"/>
              <a:gd name="connsiteX286" fmla="*/ 902714 w 9114518"/>
              <a:gd name="connsiteY286" fmla="*/ 7082197 h 7391342"/>
              <a:gd name="connsiteX287" fmla="*/ 891909 w 9114518"/>
              <a:gd name="connsiteY287" fmla="*/ 7039164 h 7391342"/>
              <a:gd name="connsiteX288" fmla="*/ 883103 w 9114518"/>
              <a:gd name="connsiteY288" fmla="*/ 6993721 h 7391342"/>
              <a:gd name="connsiteX289" fmla="*/ 876172 w 9114518"/>
              <a:gd name="connsiteY289" fmla="*/ 6945943 h 7391342"/>
              <a:gd name="connsiteX290" fmla="*/ 870995 w 9114518"/>
              <a:gd name="connsiteY290" fmla="*/ 6895900 h 7391342"/>
              <a:gd name="connsiteX291" fmla="*/ 867449 w 9114518"/>
              <a:gd name="connsiteY291" fmla="*/ 6843665 h 7391342"/>
              <a:gd name="connsiteX292" fmla="*/ 865411 w 9114518"/>
              <a:gd name="connsiteY292" fmla="*/ 6789310 h 7391342"/>
              <a:gd name="connsiteX293" fmla="*/ 864759 w 9114518"/>
              <a:gd name="connsiteY293" fmla="*/ 6732908 h 7391342"/>
              <a:gd name="connsiteX294" fmla="*/ 865433 w 9114518"/>
              <a:gd name="connsiteY294" fmla="*/ 6676747 h 7391342"/>
              <a:gd name="connsiteX295" fmla="*/ 867532 w 9114518"/>
              <a:gd name="connsiteY295" fmla="*/ 6622632 h 7391342"/>
              <a:gd name="connsiteX296" fmla="*/ 871172 w 9114518"/>
              <a:gd name="connsiteY296" fmla="*/ 6570635 h 7391342"/>
              <a:gd name="connsiteX297" fmla="*/ 876470 w 9114518"/>
              <a:gd name="connsiteY297" fmla="*/ 6520827 h 7391342"/>
              <a:gd name="connsiteX298" fmla="*/ 883541 w 9114518"/>
              <a:gd name="connsiteY298" fmla="*/ 6473278 h 7391342"/>
              <a:gd name="connsiteX299" fmla="*/ 892501 w 9114518"/>
              <a:gd name="connsiteY299" fmla="*/ 6428061 h 7391342"/>
              <a:gd name="connsiteX300" fmla="*/ 903465 w 9114518"/>
              <a:gd name="connsiteY300" fmla="*/ 6385245 h 7391342"/>
              <a:gd name="connsiteX301" fmla="*/ 916551 w 9114518"/>
              <a:gd name="connsiteY301" fmla="*/ 6344902 h 7391342"/>
              <a:gd name="connsiteX302" fmla="*/ 931874 w 9114518"/>
              <a:gd name="connsiteY302" fmla="*/ 6307104 h 7391342"/>
              <a:gd name="connsiteX303" fmla="*/ 949549 w 9114518"/>
              <a:gd name="connsiteY303" fmla="*/ 6271921 h 7391342"/>
              <a:gd name="connsiteX304" fmla="*/ 969693 w 9114518"/>
              <a:gd name="connsiteY304" fmla="*/ 6239424 h 7391342"/>
              <a:gd name="connsiteX305" fmla="*/ 1017851 w 9114518"/>
              <a:gd name="connsiteY305" fmla="*/ 6182774 h 7391342"/>
              <a:gd name="connsiteX306" fmla="*/ 1077275 w 9114518"/>
              <a:gd name="connsiteY306" fmla="*/ 6137723 h 7391342"/>
              <a:gd name="connsiteX307" fmla="*/ 1111502 w 9114518"/>
              <a:gd name="connsiteY307" fmla="*/ 6119725 h 7391342"/>
              <a:gd name="connsiteX308" fmla="*/ 1148893 w 9114518"/>
              <a:gd name="connsiteY308" fmla="*/ 6104840 h 7391342"/>
              <a:gd name="connsiteX309" fmla="*/ 1189565 w 9114518"/>
              <a:gd name="connsiteY309" fmla="*/ 6093139 h 7391342"/>
              <a:gd name="connsiteX310" fmla="*/ 1233632 w 9114518"/>
              <a:gd name="connsiteY310" fmla="*/ 6084693 h 7391342"/>
              <a:gd name="connsiteX311" fmla="*/ 1281212 w 9114518"/>
              <a:gd name="connsiteY311" fmla="*/ 6079573 h 7391342"/>
              <a:gd name="connsiteX312" fmla="*/ 510883 w 9114518"/>
              <a:gd name="connsiteY312" fmla="*/ 5591624 h 7391342"/>
              <a:gd name="connsiteX313" fmla="*/ 553593 w 9114518"/>
              <a:gd name="connsiteY313" fmla="*/ 5595343 h 7391342"/>
              <a:gd name="connsiteX314" fmla="*/ 586648 w 9114518"/>
              <a:gd name="connsiteY314" fmla="*/ 5608717 h 7391342"/>
              <a:gd name="connsiteX315" fmla="*/ 607989 w 9114518"/>
              <a:gd name="connsiteY315" fmla="*/ 5635070 h 7391342"/>
              <a:gd name="connsiteX316" fmla="*/ 615560 w 9114518"/>
              <a:gd name="connsiteY316" fmla="*/ 5677726 h 7391342"/>
              <a:gd name="connsiteX317" fmla="*/ 607989 w 9114518"/>
              <a:gd name="connsiteY317" fmla="*/ 5722334 h 7391342"/>
              <a:gd name="connsiteX318" fmla="*/ 586648 w 9114518"/>
              <a:gd name="connsiteY318" fmla="*/ 5749689 h 7391342"/>
              <a:gd name="connsiteX319" fmla="*/ 553593 w 9114518"/>
              <a:gd name="connsiteY319" fmla="*/ 5763433 h 7391342"/>
              <a:gd name="connsiteX320" fmla="*/ 510883 w 9114518"/>
              <a:gd name="connsiteY320" fmla="*/ 5767206 h 7391342"/>
              <a:gd name="connsiteX321" fmla="*/ 468173 w 9114518"/>
              <a:gd name="connsiteY321" fmla="*/ 5763433 h 7391342"/>
              <a:gd name="connsiteX322" fmla="*/ 435118 w 9114518"/>
              <a:gd name="connsiteY322" fmla="*/ 5749689 h 7391342"/>
              <a:gd name="connsiteX323" fmla="*/ 413777 w 9114518"/>
              <a:gd name="connsiteY323" fmla="*/ 5722334 h 7391342"/>
              <a:gd name="connsiteX324" fmla="*/ 406206 w 9114518"/>
              <a:gd name="connsiteY324" fmla="*/ 5677726 h 7391342"/>
              <a:gd name="connsiteX325" fmla="*/ 414015 w 9114518"/>
              <a:gd name="connsiteY325" fmla="*/ 5635070 h 7391342"/>
              <a:gd name="connsiteX326" fmla="*/ 435754 w 9114518"/>
              <a:gd name="connsiteY326" fmla="*/ 5608717 h 7391342"/>
              <a:gd name="connsiteX327" fmla="*/ 468888 w 9114518"/>
              <a:gd name="connsiteY327" fmla="*/ 5595343 h 7391342"/>
              <a:gd name="connsiteX328" fmla="*/ 2493379 w 9114518"/>
              <a:gd name="connsiteY328" fmla="*/ 5439680 h 7391342"/>
              <a:gd name="connsiteX329" fmla="*/ 3408440 w 9114518"/>
              <a:gd name="connsiteY329" fmla="*/ 5439680 h 7391342"/>
              <a:gd name="connsiteX330" fmla="*/ 3408440 w 9114518"/>
              <a:gd name="connsiteY330" fmla="*/ 5547731 h 7391342"/>
              <a:gd name="connsiteX331" fmla="*/ 2493379 w 9114518"/>
              <a:gd name="connsiteY331" fmla="*/ 5547731 h 7391342"/>
              <a:gd name="connsiteX332" fmla="*/ 2493379 w 9114518"/>
              <a:gd name="connsiteY332" fmla="*/ 5086827 h 7391342"/>
              <a:gd name="connsiteX333" fmla="*/ 3408440 w 9114518"/>
              <a:gd name="connsiteY333" fmla="*/ 5086827 h 7391342"/>
              <a:gd name="connsiteX334" fmla="*/ 3408440 w 9114518"/>
              <a:gd name="connsiteY334" fmla="*/ 5194878 h 7391342"/>
              <a:gd name="connsiteX335" fmla="*/ 2493379 w 9114518"/>
              <a:gd name="connsiteY335" fmla="*/ 5194878 h 7391342"/>
              <a:gd name="connsiteX336" fmla="*/ 510883 w 9114518"/>
              <a:gd name="connsiteY336" fmla="*/ 4882541 h 7391342"/>
              <a:gd name="connsiteX337" fmla="*/ 553593 w 9114518"/>
              <a:gd name="connsiteY337" fmla="*/ 4886049 h 7391342"/>
              <a:gd name="connsiteX338" fmla="*/ 586648 w 9114518"/>
              <a:gd name="connsiteY338" fmla="*/ 4899212 h 7391342"/>
              <a:gd name="connsiteX339" fmla="*/ 607989 w 9114518"/>
              <a:gd name="connsiteY339" fmla="*/ 4925987 h 7391342"/>
              <a:gd name="connsiteX340" fmla="*/ 615560 w 9114518"/>
              <a:gd name="connsiteY340" fmla="*/ 4970332 h 7391342"/>
              <a:gd name="connsiteX341" fmla="*/ 607989 w 9114518"/>
              <a:gd name="connsiteY341" fmla="*/ 5013251 h 7391342"/>
              <a:gd name="connsiteX342" fmla="*/ 586648 w 9114518"/>
              <a:gd name="connsiteY342" fmla="*/ 5040185 h 7391342"/>
              <a:gd name="connsiteX343" fmla="*/ 553593 w 9114518"/>
              <a:gd name="connsiteY343" fmla="*/ 5054139 h 7391342"/>
              <a:gd name="connsiteX344" fmla="*/ 510883 w 9114518"/>
              <a:gd name="connsiteY344" fmla="*/ 5058123 h 7391342"/>
              <a:gd name="connsiteX345" fmla="*/ 469154 w 9114518"/>
              <a:gd name="connsiteY345" fmla="*/ 5054139 h 7391342"/>
              <a:gd name="connsiteX346" fmla="*/ 436602 w 9114518"/>
              <a:gd name="connsiteY346" fmla="*/ 5040185 h 7391342"/>
              <a:gd name="connsiteX347" fmla="*/ 415446 w 9114518"/>
              <a:gd name="connsiteY347" fmla="*/ 5013251 h 7391342"/>
              <a:gd name="connsiteX348" fmla="*/ 407902 w 9114518"/>
              <a:gd name="connsiteY348" fmla="*/ 4970332 h 7391342"/>
              <a:gd name="connsiteX349" fmla="*/ 415446 w 9114518"/>
              <a:gd name="connsiteY349" fmla="*/ 4925987 h 7391342"/>
              <a:gd name="connsiteX350" fmla="*/ 436602 w 9114518"/>
              <a:gd name="connsiteY350" fmla="*/ 4899212 h 7391342"/>
              <a:gd name="connsiteX351" fmla="*/ 469154 w 9114518"/>
              <a:gd name="connsiteY351" fmla="*/ 4886049 h 7391342"/>
              <a:gd name="connsiteX352" fmla="*/ 4158261 w 9114518"/>
              <a:gd name="connsiteY352" fmla="*/ 4558390 h 7391342"/>
              <a:gd name="connsiteX353" fmla="*/ 4209470 w 9114518"/>
              <a:gd name="connsiteY353" fmla="*/ 4560112 h 7391342"/>
              <a:gd name="connsiteX354" fmla="*/ 4257050 w 9114518"/>
              <a:gd name="connsiteY354" fmla="*/ 4565232 h 7391342"/>
              <a:gd name="connsiteX355" fmla="*/ 4301119 w 9114518"/>
              <a:gd name="connsiteY355" fmla="*/ 4573678 h 7391342"/>
              <a:gd name="connsiteX356" fmla="*/ 4341791 w 9114518"/>
              <a:gd name="connsiteY356" fmla="*/ 4585379 h 7391342"/>
              <a:gd name="connsiteX357" fmla="*/ 4379182 w 9114518"/>
              <a:gd name="connsiteY357" fmla="*/ 4600264 h 7391342"/>
              <a:gd name="connsiteX358" fmla="*/ 4413410 w 9114518"/>
              <a:gd name="connsiteY358" fmla="*/ 4618262 h 7391342"/>
              <a:gd name="connsiteX359" fmla="*/ 4472834 w 9114518"/>
              <a:gd name="connsiteY359" fmla="*/ 4663313 h 7391342"/>
              <a:gd name="connsiteX360" fmla="*/ 4520992 w 9114518"/>
              <a:gd name="connsiteY360" fmla="*/ 4719963 h 7391342"/>
              <a:gd name="connsiteX361" fmla="*/ 4541136 w 9114518"/>
              <a:gd name="connsiteY361" fmla="*/ 4752460 h 7391342"/>
              <a:gd name="connsiteX362" fmla="*/ 4558811 w 9114518"/>
              <a:gd name="connsiteY362" fmla="*/ 4787643 h 7391342"/>
              <a:gd name="connsiteX363" fmla="*/ 4574133 w 9114518"/>
              <a:gd name="connsiteY363" fmla="*/ 4825441 h 7391342"/>
              <a:gd name="connsiteX364" fmla="*/ 4587218 w 9114518"/>
              <a:gd name="connsiteY364" fmla="*/ 4865784 h 7391342"/>
              <a:gd name="connsiteX365" fmla="*/ 4598182 w 9114518"/>
              <a:gd name="connsiteY365" fmla="*/ 4908599 h 7391342"/>
              <a:gd name="connsiteX366" fmla="*/ 4607142 w 9114518"/>
              <a:gd name="connsiteY366" fmla="*/ 4953817 h 7391342"/>
              <a:gd name="connsiteX367" fmla="*/ 4614212 w 9114518"/>
              <a:gd name="connsiteY367" fmla="*/ 5001365 h 7391342"/>
              <a:gd name="connsiteX368" fmla="*/ 4619509 w 9114518"/>
              <a:gd name="connsiteY368" fmla="*/ 5051174 h 7391342"/>
              <a:gd name="connsiteX369" fmla="*/ 4623150 w 9114518"/>
              <a:gd name="connsiteY369" fmla="*/ 5103171 h 7391342"/>
              <a:gd name="connsiteX370" fmla="*/ 4625249 w 9114518"/>
              <a:gd name="connsiteY370" fmla="*/ 5157286 h 7391342"/>
              <a:gd name="connsiteX371" fmla="*/ 4625923 w 9114518"/>
              <a:gd name="connsiteY371" fmla="*/ 5213447 h 7391342"/>
              <a:gd name="connsiteX372" fmla="*/ 4625281 w 9114518"/>
              <a:gd name="connsiteY372" fmla="*/ 5269849 h 7391342"/>
              <a:gd name="connsiteX373" fmla="*/ 4623274 w 9114518"/>
              <a:gd name="connsiteY373" fmla="*/ 5324204 h 7391342"/>
              <a:gd name="connsiteX374" fmla="*/ 4619775 w 9114518"/>
              <a:gd name="connsiteY374" fmla="*/ 5376438 h 7391342"/>
              <a:gd name="connsiteX375" fmla="*/ 4614658 w 9114518"/>
              <a:gd name="connsiteY375" fmla="*/ 5426481 h 7391342"/>
              <a:gd name="connsiteX376" fmla="*/ 4607797 w 9114518"/>
              <a:gd name="connsiteY376" fmla="*/ 5474260 h 7391342"/>
              <a:gd name="connsiteX377" fmla="*/ 4599067 w 9114518"/>
              <a:gd name="connsiteY377" fmla="*/ 5519702 h 7391342"/>
              <a:gd name="connsiteX378" fmla="*/ 4588342 w 9114518"/>
              <a:gd name="connsiteY378" fmla="*/ 5562735 h 7391342"/>
              <a:gd name="connsiteX379" fmla="*/ 4575496 w 9114518"/>
              <a:gd name="connsiteY379" fmla="*/ 5603288 h 7391342"/>
              <a:gd name="connsiteX380" fmla="*/ 4560403 w 9114518"/>
              <a:gd name="connsiteY380" fmla="*/ 5641288 h 7391342"/>
              <a:gd name="connsiteX381" fmla="*/ 4542938 w 9114518"/>
              <a:gd name="connsiteY381" fmla="*/ 5676663 h 7391342"/>
              <a:gd name="connsiteX382" fmla="*/ 4522974 w 9114518"/>
              <a:gd name="connsiteY382" fmla="*/ 5709341 h 7391342"/>
              <a:gd name="connsiteX383" fmla="*/ 4475049 w 9114518"/>
              <a:gd name="connsiteY383" fmla="*/ 5766315 h 7391342"/>
              <a:gd name="connsiteX384" fmla="*/ 4415622 w 9114518"/>
              <a:gd name="connsiteY384" fmla="*/ 5811633 h 7391342"/>
              <a:gd name="connsiteX385" fmla="*/ 4381279 w 9114518"/>
              <a:gd name="connsiteY385" fmla="*/ 5829741 h 7391342"/>
              <a:gd name="connsiteX386" fmla="*/ 4343685 w 9114518"/>
              <a:gd name="connsiteY386" fmla="*/ 5844719 h 7391342"/>
              <a:gd name="connsiteX387" fmla="*/ 4302711 w 9114518"/>
              <a:gd name="connsiteY387" fmla="*/ 5856494 h 7391342"/>
              <a:gd name="connsiteX388" fmla="*/ 4258233 w 9114518"/>
              <a:gd name="connsiteY388" fmla="*/ 5864994 h 7391342"/>
              <a:gd name="connsiteX389" fmla="*/ 4210125 w 9114518"/>
              <a:gd name="connsiteY389" fmla="*/ 5870147 h 7391342"/>
              <a:gd name="connsiteX390" fmla="*/ 4158261 w 9114518"/>
              <a:gd name="connsiteY390" fmla="*/ 5871880 h 7391342"/>
              <a:gd name="connsiteX391" fmla="*/ 4158261 w 9114518"/>
              <a:gd name="connsiteY391" fmla="*/ 5773960 h 7391342"/>
              <a:gd name="connsiteX392" fmla="*/ 4208509 w 9114518"/>
              <a:gd name="connsiteY392" fmla="*/ 5771701 h 7391342"/>
              <a:gd name="connsiteX393" fmla="*/ 4253940 w 9114518"/>
              <a:gd name="connsiteY393" fmla="*/ 5765006 h 7391342"/>
              <a:gd name="connsiteX394" fmla="*/ 4294781 w 9114518"/>
              <a:gd name="connsiteY394" fmla="*/ 5753993 h 7391342"/>
              <a:gd name="connsiteX395" fmla="*/ 4331261 w 9114518"/>
              <a:gd name="connsiteY395" fmla="*/ 5738782 h 7391342"/>
              <a:gd name="connsiteX396" fmla="*/ 4392054 w 9114518"/>
              <a:gd name="connsiteY396" fmla="*/ 5696245 h 7391342"/>
              <a:gd name="connsiteX397" fmla="*/ 4438152 w 9114518"/>
              <a:gd name="connsiteY397" fmla="*/ 5638352 h 7391342"/>
              <a:gd name="connsiteX398" fmla="*/ 4456261 w 9114518"/>
              <a:gd name="connsiteY398" fmla="*/ 5603946 h 7391342"/>
              <a:gd name="connsiteX399" fmla="*/ 4471383 w 9114518"/>
              <a:gd name="connsiteY399" fmla="*/ 5566059 h 7391342"/>
              <a:gd name="connsiteX400" fmla="*/ 4483746 w 9114518"/>
              <a:gd name="connsiteY400" fmla="*/ 5524811 h 7391342"/>
              <a:gd name="connsiteX401" fmla="*/ 4493579 w 9114518"/>
              <a:gd name="connsiteY401" fmla="*/ 5480323 h 7391342"/>
              <a:gd name="connsiteX402" fmla="*/ 4501111 w 9114518"/>
              <a:gd name="connsiteY402" fmla="*/ 5432712 h 7391342"/>
              <a:gd name="connsiteX403" fmla="*/ 4506571 w 9114518"/>
              <a:gd name="connsiteY403" fmla="*/ 5382100 h 7391342"/>
              <a:gd name="connsiteX404" fmla="*/ 4510187 w 9114518"/>
              <a:gd name="connsiteY404" fmla="*/ 5328605 h 7391342"/>
              <a:gd name="connsiteX405" fmla="*/ 4512189 w 9114518"/>
              <a:gd name="connsiteY405" fmla="*/ 5272348 h 7391342"/>
              <a:gd name="connsiteX406" fmla="*/ 4512806 w 9114518"/>
              <a:gd name="connsiteY406" fmla="*/ 5213447 h 7391342"/>
              <a:gd name="connsiteX407" fmla="*/ 4512156 w 9114518"/>
              <a:gd name="connsiteY407" fmla="*/ 5155124 h 7391342"/>
              <a:gd name="connsiteX408" fmla="*/ 4510064 w 9114518"/>
              <a:gd name="connsiteY408" fmla="*/ 5099410 h 7391342"/>
              <a:gd name="connsiteX409" fmla="*/ 4506311 w 9114518"/>
              <a:gd name="connsiteY409" fmla="*/ 5046423 h 7391342"/>
              <a:gd name="connsiteX410" fmla="*/ 4500682 w 9114518"/>
              <a:gd name="connsiteY410" fmla="*/ 4996284 h 7391342"/>
              <a:gd name="connsiteX411" fmla="*/ 4492961 w 9114518"/>
              <a:gd name="connsiteY411" fmla="*/ 4949112 h 7391342"/>
              <a:gd name="connsiteX412" fmla="*/ 4482930 w 9114518"/>
              <a:gd name="connsiteY412" fmla="*/ 4905026 h 7391342"/>
              <a:gd name="connsiteX413" fmla="*/ 4470374 w 9114518"/>
              <a:gd name="connsiteY413" fmla="*/ 4864147 h 7391342"/>
              <a:gd name="connsiteX414" fmla="*/ 4455075 w 9114518"/>
              <a:gd name="connsiteY414" fmla="*/ 4826593 h 7391342"/>
              <a:gd name="connsiteX415" fmla="*/ 4436818 w 9114518"/>
              <a:gd name="connsiteY415" fmla="*/ 4792484 h 7391342"/>
              <a:gd name="connsiteX416" fmla="*/ 4390560 w 9114518"/>
              <a:gd name="connsiteY416" fmla="*/ 4735082 h 7391342"/>
              <a:gd name="connsiteX417" fmla="*/ 4329869 w 9114518"/>
              <a:gd name="connsiteY417" fmla="*/ 4692895 h 7391342"/>
              <a:gd name="connsiteX418" fmla="*/ 4293570 w 9114518"/>
              <a:gd name="connsiteY418" fmla="*/ 4677807 h 7391342"/>
              <a:gd name="connsiteX419" fmla="*/ 4253013 w 9114518"/>
              <a:gd name="connsiteY419" fmla="*/ 4666882 h 7391342"/>
              <a:gd name="connsiteX420" fmla="*/ 4207982 w 9114518"/>
              <a:gd name="connsiteY420" fmla="*/ 4660239 h 7391342"/>
              <a:gd name="connsiteX421" fmla="*/ 4158261 w 9114518"/>
              <a:gd name="connsiteY421" fmla="*/ 4657998 h 7391342"/>
              <a:gd name="connsiteX422" fmla="*/ 4065343 w 9114518"/>
              <a:gd name="connsiteY422" fmla="*/ 4558390 h 7391342"/>
              <a:gd name="connsiteX423" fmla="*/ 4065343 w 9114518"/>
              <a:gd name="connsiteY423" fmla="*/ 4657998 h 7391342"/>
              <a:gd name="connsiteX424" fmla="*/ 4015903 w 9114518"/>
              <a:gd name="connsiteY424" fmla="*/ 4660239 h 7391342"/>
              <a:gd name="connsiteX425" fmla="*/ 3971120 w 9114518"/>
              <a:gd name="connsiteY425" fmla="*/ 4666882 h 7391342"/>
              <a:gd name="connsiteX426" fmla="*/ 3930781 w 9114518"/>
              <a:gd name="connsiteY426" fmla="*/ 4677807 h 7391342"/>
              <a:gd name="connsiteX427" fmla="*/ 3894670 w 9114518"/>
              <a:gd name="connsiteY427" fmla="*/ 4692895 h 7391342"/>
              <a:gd name="connsiteX428" fmla="*/ 3834276 w 9114518"/>
              <a:gd name="connsiteY428" fmla="*/ 4735082 h 7391342"/>
              <a:gd name="connsiteX429" fmla="*/ 3788225 w 9114518"/>
              <a:gd name="connsiteY429" fmla="*/ 4792484 h 7391342"/>
              <a:gd name="connsiteX430" fmla="*/ 3770042 w 9114518"/>
              <a:gd name="connsiteY430" fmla="*/ 4826593 h 7391342"/>
              <a:gd name="connsiteX431" fmla="*/ 3754800 w 9114518"/>
              <a:gd name="connsiteY431" fmla="*/ 4864147 h 7391342"/>
              <a:gd name="connsiteX432" fmla="*/ 3742287 w 9114518"/>
              <a:gd name="connsiteY432" fmla="*/ 4905026 h 7391342"/>
              <a:gd name="connsiteX433" fmla="*/ 3732287 w 9114518"/>
              <a:gd name="connsiteY433" fmla="*/ 4949112 h 7391342"/>
              <a:gd name="connsiteX434" fmla="*/ 3724586 w 9114518"/>
              <a:gd name="connsiteY434" fmla="*/ 4996284 h 7391342"/>
              <a:gd name="connsiteX435" fmla="*/ 3718969 w 9114518"/>
              <a:gd name="connsiteY435" fmla="*/ 5046423 h 7391342"/>
              <a:gd name="connsiteX436" fmla="*/ 3715223 w 9114518"/>
              <a:gd name="connsiteY436" fmla="*/ 5099410 h 7391342"/>
              <a:gd name="connsiteX437" fmla="*/ 3713132 w 9114518"/>
              <a:gd name="connsiteY437" fmla="*/ 5155124 h 7391342"/>
              <a:gd name="connsiteX438" fmla="*/ 3712483 w 9114518"/>
              <a:gd name="connsiteY438" fmla="*/ 5213447 h 7391342"/>
              <a:gd name="connsiteX439" fmla="*/ 3713116 w 9114518"/>
              <a:gd name="connsiteY439" fmla="*/ 5272348 h 7391342"/>
              <a:gd name="connsiteX440" fmla="*/ 3715161 w 9114518"/>
              <a:gd name="connsiteY440" fmla="*/ 5328605 h 7391342"/>
              <a:gd name="connsiteX441" fmla="*/ 3718840 w 9114518"/>
              <a:gd name="connsiteY441" fmla="*/ 5382100 h 7391342"/>
              <a:gd name="connsiteX442" fmla="*/ 3724372 w 9114518"/>
              <a:gd name="connsiteY442" fmla="*/ 5432712 h 7391342"/>
              <a:gd name="connsiteX443" fmla="*/ 3731978 w 9114518"/>
              <a:gd name="connsiteY443" fmla="*/ 5480323 h 7391342"/>
              <a:gd name="connsiteX444" fmla="*/ 3741879 w 9114518"/>
              <a:gd name="connsiteY444" fmla="*/ 5524811 h 7391342"/>
              <a:gd name="connsiteX445" fmla="*/ 3754296 w 9114518"/>
              <a:gd name="connsiteY445" fmla="*/ 5566059 h 7391342"/>
              <a:gd name="connsiteX446" fmla="*/ 3769449 w 9114518"/>
              <a:gd name="connsiteY446" fmla="*/ 5603946 h 7391342"/>
              <a:gd name="connsiteX447" fmla="*/ 3787558 w 9114518"/>
              <a:gd name="connsiteY447" fmla="*/ 5638352 h 7391342"/>
              <a:gd name="connsiteX448" fmla="*/ 3833530 w 9114518"/>
              <a:gd name="connsiteY448" fmla="*/ 5696245 h 7391342"/>
              <a:gd name="connsiteX449" fmla="*/ 3893974 w 9114518"/>
              <a:gd name="connsiteY449" fmla="*/ 5738782 h 7391342"/>
              <a:gd name="connsiteX450" fmla="*/ 3930176 w 9114518"/>
              <a:gd name="connsiteY450" fmla="*/ 5753993 h 7391342"/>
              <a:gd name="connsiteX451" fmla="*/ 3970657 w 9114518"/>
              <a:gd name="connsiteY451" fmla="*/ 5765006 h 7391342"/>
              <a:gd name="connsiteX452" fmla="*/ 4015639 w 9114518"/>
              <a:gd name="connsiteY452" fmla="*/ 5771701 h 7391342"/>
              <a:gd name="connsiteX453" fmla="*/ 4065343 w 9114518"/>
              <a:gd name="connsiteY453" fmla="*/ 5773960 h 7391342"/>
              <a:gd name="connsiteX454" fmla="*/ 4065343 w 9114518"/>
              <a:gd name="connsiteY454" fmla="*/ 5871880 h 7391342"/>
              <a:gd name="connsiteX455" fmla="*/ 4013697 w 9114518"/>
              <a:gd name="connsiteY455" fmla="*/ 5870147 h 7391342"/>
              <a:gd name="connsiteX456" fmla="*/ 3965764 w 9114518"/>
              <a:gd name="connsiteY456" fmla="*/ 5864994 h 7391342"/>
              <a:gd name="connsiteX457" fmla="*/ 3921423 w 9114518"/>
              <a:gd name="connsiteY457" fmla="*/ 5856494 h 7391342"/>
              <a:gd name="connsiteX458" fmla="*/ 3880550 w 9114518"/>
              <a:gd name="connsiteY458" fmla="*/ 5844719 h 7391342"/>
              <a:gd name="connsiteX459" fmla="*/ 3843023 w 9114518"/>
              <a:gd name="connsiteY459" fmla="*/ 5829741 h 7391342"/>
              <a:gd name="connsiteX460" fmla="*/ 3808718 w 9114518"/>
              <a:gd name="connsiteY460" fmla="*/ 5811633 h 7391342"/>
              <a:gd name="connsiteX461" fmla="*/ 3749292 w 9114518"/>
              <a:gd name="connsiteY461" fmla="*/ 5766315 h 7391342"/>
              <a:gd name="connsiteX462" fmla="*/ 3701290 w 9114518"/>
              <a:gd name="connsiteY462" fmla="*/ 5709341 h 7391342"/>
              <a:gd name="connsiteX463" fmla="*/ 3681266 w 9114518"/>
              <a:gd name="connsiteY463" fmla="*/ 5676663 h 7391342"/>
              <a:gd name="connsiteX464" fmla="*/ 3663731 w 9114518"/>
              <a:gd name="connsiteY464" fmla="*/ 5641288 h 7391342"/>
              <a:gd name="connsiteX465" fmla="*/ 3648562 w 9114518"/>
              <a:gd name="connsiteY465" fmla="*/ 5603288 h 7391342"/>
              <a:gd name="connsiteX466" fmla="*/ 3635636 w 9114518"/>
              <a:gd name="connsiteY466" fmla="*/ 5562735 h 7391342"/>
              <a:gd name="connsiteX467" fmla="*/ 3624831 w 9114518"/>
              <a:gd name="connsiteY467" fmla="*/ 5519702 h 7391342"/>
              <a:gd name="connsiteX468" fmla="*/ 3616025 w 9114518"/>
              <a:gd name="connsiteY468" fmla="*/ 5474260 h 7391342"/>
              <a:gd name="connsiteX469" fmla="*/ 3609094 w 9114518"/>
              <a:gd name="connsiteY469" fmla="*/ 5426481 h 7391342"/>
              <a:gd name="connsiteX470" fmla="*/ 3603917 w 9114518"/>
              <a:gd name="connsiteY470" fmla="*/ 5376438 h 7391342"/>
              <a:gd name="connsiteX471" fmla="*/ 3600371 w 9114518"/>
              <a:gd name="connsiteY471" fmla="*/ 5324204 h 7391342"/>
              <a:gd name="connsiteX472" fmla="*/ 3598333 w 9114518"/>
              <a:gd name="connsiteY472" fmla="*/ 5269849 h 7391342"/>
              <a:gd name="connsiteX473" fmla="*/ 3597681 w 9114518"/>
              <a:gd name="connsiteY473" fmla="*/ 5213447 h 7391342"/>
              <a:gd name="connsiteX474" fmla="*/ 3598355 w 9114518"/>
              <a:gd name="connsiteY474" fmla="*/ 5157286 h 7391342"/>
              <a:gd name="connsiteX475" fmla="*/ 3600454 w 9114518"/>
              <a:gd name="connsiteY475" fmla="*/ 5103171 h 7391342"/>
              <a:gd name="connsiteX476" fmla="*/ 3604094 w 9114518"/>
              <a:gd name="connsiteY476" fmla="*/ 5051174 h 7391342"/>
              <a:gd name="connsiteX477" fmla="*/ 3609392 w 9114518"/>
              <a:gd name="connsiteY477" fmla="*/ 5001365 h 7391342"/>
              <a:gd name="connsiteX478" fmla="*/ 3616463 w 9114518"/>
              <a:gd name="connsiteY478" fmla="*/ 4953817 h 7391342"/>
              <a:gd name="connsiteX479" fmla="*/ 3625423 w 9114518"/>
              <a:gd name="connsiteY479" fmla="*/ 4908599 h 7391342"/>
              <a:gd name="connsiteX480" fmla="*/ 3636387 w 9114518"/>
              <a:gd name="connsiteY480" fmla="*/ 4865784 h 7391342"/>
              <a:gd name="connsiteX481" fmla="*/ 3649473 w 9114518"/>
              <a:gd name="connsiteY481" fmla="*/ 4825441 h 7391342"/>
              <a:gd name="connsiteX482" fmla="*/ 3664796 w 9114518"/>
              <a:gd name="connsiteY482" fmla="*/ 4787643 h 7391342"/>
              <a:gd name="connsiteX483" fmla="*/ 3682471 w 9114518"/>
              <a:gd name="connsiteY483" fmla="*/ 4752460 h 7391342"/>
              <a:gd name="connsiteX484" fmla="*/ 3702615 w 9114518"/>
              <a:gd name="connsiteY484" fmla="*/ 4719963 h 7391342"/>
              <a:gd name="connsiteX485" fmla="*/ 3750773 w 9114518"/>
              <a:gd name="connsiteY485" fmla="*/ 4663313 h 7391342"/>
              <a:gd name="connsiteX486" fmla="*/ 3810197 w 9114518"/>
              <a:gd name="connsiteY486" fmla="*/ 4618262 h 7391342"/>
              <a:gd name="connsiteX487" fmla="*/ 3844425 w 9114518"/>
              <a:gd name="connsiteY487" fmla="*/ 4600264 h 7391342"/>
              <a:gd name="connsiteX488" fmla="*/ 3881816 w 9114518"/>
              <a:gd name="connsiteY488" fmla="*/ 4585379 h 7391342"/>
              <a:gd name="connsiteX489" fmla="*/ 3922488 w 9114518"/>
              <a:gd name="connsiteY489" fmla="*/ 4573678 h 7391342"/>
              <a:gd name="connsiteX490" fmla="*/ 3966555 w 9114518"/>
              <a:gd name="connsiteY490" fmla="*/ 4565232 h 7391342"/>
              <a:gd name="connsiteX491" fmla="*/ 4014135 w 9114518"/>
              <a:gd name="connsiteY491" fmla="*/ 4560112 h 7391342"/>
              <a:gd name="connsiteX492" fmla="*/ 0 w 9114518"/>
              <a:gd name="connsiteY492" fmla="*/ 3920215 h 7391342"/>
              <a:gd name="connsiteX493" fmla="*/ 915049 w 9114518"/>
              <a:gd name="connsiteY493" fmla="*/ 3920215 h 7391342"/>
              <a:gd name="connsiteX494" fmla="*/ 915049 w 9114518"/>
              <a:gd name="connsiteY494" fmla="*/ 4028265 h 7391342"/>
              <a:gd name="connsiteX495" fmla="*/ 0 w 9114518"/>
              <a:gd name="connsiteY495" fmla="*/ 4028265 h 7391342"/>
              <a:gd name="connsiteX496" fmla="*/ 0 w 9114518"/>
              <a:gd name="connsiteY496" fmla="*/ 3567362 h 7391342"/>
              <a:gd name="connsiteX497" fmla="*/ 915049 w 9114518"/>
              <a:gd name="connsiteY497" fmla="*/ 3567362 h 7391342"/>
              <a:gd name="connsiteX498" fmla="*/ 915049 w 9114518"/>
              <a:gd name="connsiteY498" fmla="*/ 3675412 h 7391342"/>
              <a:gd name="connsiteX499" fmla="*/ 0 w 9114518"/>
              <a:gd name="connsiteY499" fmla="*/ 3675412 h 7391342"/>
              <a:gd name="connsiteX500" fmla="*/ 1617156 w 9114518"/>
              <a:gd name="connsiteY500" fmla="*/ 3046199 h 7391342"/>
              <a:gd name="connsiteX501" fmla="*/ 1995337 w 9114518"/>
              <a:gd name="connsiteY501" fmla="*/ 3046199 h 7391342"/>
              <a:gd name="connsiteX502" fmla="*/ 1995337 w 9114518"/>
              <a:gd name="connsiteY502" fmla="*/ 3141449 h 7391342"/>
              <a:gd name="connsiteX503" fmla="*/ 1995337 w 9114518"/>
              <a:gd name="connsiteY503" fmla="*/ 4252699 h 7391342"/>
              <a:gd name="connsiteX504" fmla="*/ 1995337 w 9114518"/>
              <a:gd name="connsiteY504" fmla="*/ 4349219 h 7391342"/>
              <a:gd name="connsiteX505" fmla="*/ 1617156 w 9114518"/>
              <a:gd name="connsiteY505" fmla="*/ 4349219 h 7391342"/>
              <a:gd name="connsiteX506" fmla="*/ 1617156 w 9114518"/>
              <a:gd name="connsiteY506" fmla="*/ 4252699 h 7391342"/>
              <a:gd name="connsiteX507" fmla="*/ 1878853 w 9114518"/>
              <a:gd name="connsiteY507" fmla="*/ 4252699 h 7391342"/>
              <a:gd name="connsiteX508" fmla="*/ 1878853 w 9114518"/>
              <a:gd name="connsiteY508" fmla="*/ 3141449 h 7391342"/>
              <a:gd name="connsiteX509" fmla="*/ 1617156 w 9114518"/>
              <a:gd name="connsiteY509" fmla="*/ 3141449 h 7391342"/>
              <a:gd name="connsiteX510" fmla="*/ 1138061 w 9114518"/>
              <a:gd name="connsiteY510" fmla="*/ 3046199 h 7391342"/>
              <a:gd name="connsiteX511" fmla="*/ 1516242 w 9114518"/>
              <a:gd name="connsiteY511" fmla="*/ 3046199 h 7391342"/>
              <a:gd name="connsiteX512" fmla="*/ 1516242 w 9114518"/>
              <a:gd name="connsiteY512" fmla="*/ 3141449 h 7391342"/>
              <a:gd name="connsiteX513" fmla="*/ 1254558 w 9114518"/>
              <a:gd name="connsiteY513" fmla="*/ 3141449 h 7391342"/>
              <a:gd name="connsiteX514" fmla="*/ 1254558 w 9114518"/>
              <a:gd name="connsiteY514" fmla="*/ 4252699 h 7391342"/>
              <a:gd name="connsiteX515" fmla="*/ 1516242 w 9114518"/>
              <a:gd name="connsiteY515" fmla="*/ 4252699 h 7391342"/>
              <a:gd name="connsiteX516" fmla="*/ 1516242 w 9114518"/>
              <a:gd name="connsiteY516" fmla="*/ 4349219 h 7391342"/>
              <a:gd name="connsiteX517" fmla="*/ 1138061 w 9114518"/>
              <a:gd name="connsiteY517" fmla="*/ 4349219 h 7391342"/>
              <a:gd name="connsiteX518" fmla="*/ 1138061 w 9114518"/>
              <a:gd name="connsiteY518" fmla="*/ 4252699 h 7391342"/>
              <a:gd name="connsiteX519" fmla="*/ 1138061 w 9114518"/>
              <a:gd name="connsiteY519" fmla="*/ 3141449 h 7391342"/>
              <a:gd name="connsiteX520" fmla="*/ 3641480 w 9114518"/>
              <a:gd name="connsiteY520" fmla="*/ 3038926 h 7391342"/>
              <a:gd name="connsiteX521" fmla="*/ 3692687 w 9114518"/>
              <a:gd name="connsiteY521" fmla="*/ 3040648 h 7391342"/>
              <a:gd name="connsiteX522" fmla="*/ 3740267 w 9114518"/>
              <a:gd name="connsiteY522" fmla="*/ 3045768 h 7391342"/>
              <a:gd name="connsiteX523" fmla="*/ 3784335 w 9114518"/>
              <a:gd name="connsiteY523" fmla="*/ 3054214 h 7391342"/>
              <a:gd name="connsiteX524" fmla="*/ 3825006 w 9114518"/>
              <a:gd name="connsiteY524" fmla="*/ 3065915 h 7391342"/>
              <a:gd name="connsiteX525" fmla="*/ 3862397 w 9114518"/>
              <a:gd name="connsiteY525" fmla="*/ 3080800 h 7391342"/>
              <a:gd name="connsiteX526" fmla="*/ 3896625 w 9114518"/>
              <a:gd name="connsiteY526" fmla="*/ 3098798 h 7391342"/>
              <a:gd name="connsiteX527" fmla="*/ 3956049 w 9114518"/>
              <a:gd name="connsiteY527" fmla="*/ 3143849 h 7391342"/>
              <a:gd name="connsiteX528" fmla="*/ 4004207 w 9114518"/>
              <a:gd name="connsiteY528" fmla="*/ 3200499 h 7391342"/>
              <a:gd name="connsiteX529" fmla="*/ 4024351 w 9114518"/>
              <a:gd name="connsiteY529" fmla="*/ 3232996 h 7391342"/>
              <a:gd name="connsiteX530" fmla="*/ 4042026 w 9114518"/>
              <a:gd name="connsiteY530" fmla="*/ 3268179 h 7391342"/>
              <a:gd name="connsiteX531" fmla="*/ 4057349 w 9114518"/>
              <a:gd name="connsiteY531" fmla="*/ 3305977 h 7391342"/>
              <a:gd name="connsiteX532" fmla="*/ 4070435 w 9114518"/>
              <a:gd name="connsiteY532" fmla="*/ 3346320 h 7391342"/>
              <a:gd name="connsiteX533" fmla="*/ 4081399 w 9114518"/>
              <a:gd name="connsiteY533" fmla="*/ 3389137 h 7391342"/>
              <a:gd name="connsiteX534" fmla="*/ 4090359 w 9114518"/>
              <a:gd name="connsiteY534" fmla="*/ 3434354 h 7391342"/>
              <a:gd name="connsiteX535" fmla="*/ 4097430 w 9114518"/>
              <a:gd name="connsiteY535" fmla="*/ 3481903 h 7391342"/>
              <a:gd name="connsiteX536" fmla="*/ 4102728 w 9114518"/>
              <a:gd name="connsiteY536" fmla="*/ 3531711 h 7391342"/>
              <a:gd name="connsiteX537" fmla="*/ 4106368 w 9114518"/>
              <a:gd name="connsiteY537" fmla="*/ 3583708 h 7391342"/>
              <a:gd name="connsiteX538" fmla="*/ 4108468 w 9114518"/>
              <a:gd name="connsiteY538" fmla="*/ 3637823 h 7391342"/>
              <a:gd name="connsiteX539" fmla="*/ 4109142 w 9114518"/>
              <a:gd name="connsiteY539" fmla="*/ 3693984 h 7391342"/>
              <a:gd name="connsiteX540" fmla="*/ 4108500 w 9114518"/>
              <a:gd name="connsiteY540" fmla="*/ 3750386 h 7391342"/>
              <a:gd name="connsiteX541" fmla="*/ 4106493 w 9114518"/>
              <a:gd name="connsiteY541" fmla="*/ 3804741 h 7391342"/>
              <a:gd name="connsiteX542" fmla="*/ 4102994 w 9114518"/>
              <a:gd name="connsiteY542" fmla="*/ 3856976 h 7391342"/>
              <a:gd name="connsiteX543" fmla="*/ 4097877 w 9114518"/>
              <a:gd name="connsiteY543" fmla="*/ 3907019 h 7391342"/>
              <a:gd name="connsiteX544" fmla="*/ 4091016 w 9114518"/>
              <a:gd name="connsiteY544" fmla="*/ 3954797 h 7391342"/>
              <a:gd name="connsiteX545" fmla="*/ 4082286 w 9114518"/>
              <a:gd name="connsiteY545" fmla="*/ 4000240 h 7391342"/>
              <a:gd name="connsiteX546" fmla="*/ 4071561 w 9114518"/>
              <a:gd name="connsiteY546" fmla="*/ 4043273 h 7391342"/>
              <a:gd name="connsiteX547" fmla="*/ 4058715 w 9114518"/>
              <a:gd name="connsiteY547" fmla="*/ 4083826 h 7391342"/>
              <a:gd name="connsiteX548" fmla="*/ 4043622 w 9114518"/>
              <a:gd name="connsiteY548" fmla="*/ 4121826 h 7391342"/>
              <a:gd name="connsiteX549" fmla="*/ 4026157 w 9114518"/>
              <a:gd name="connsiteY549" fmla="*/ 4157201 h 7391342"/>
              <a:gd name="connsiteX550" fmla="*/ 4006193 w 9114518"/>
              <a:gd name="connsiteY550" fmla="*/ 4189879 h 7391342"/>
              <a:gd name="connsiteX551" fmla="*/ 3958268 w 9114518"/>
              <a:gd name="connsiteY551" fmla="*/ 4246853 h 7391342"/>
              <a:gd name="connsiteX552" fmla="*/ 3898841 w 9114518"/>
              <a:gd name="connsiteY552" fmla="*/ 4292171 h 7391342"/>
              <a:gd name="connsiteX553" fmla="*/ 3864498 w 9114518"/>
              <a:gd name="connsiteY553" fmla="*/ 4310279 h 7391342"/>
              <a:gd name="connsiteX554" fmla="*/ 3826904 w 9114518"/>
              <a:gd name="connsiteY554" fmla="*/ 4325257 h 7391342"/>
              <a:gd name="connsiteX555" fmla="*/ 3785930 w 9114518"/>
              <a:gd name="connsiteY555" fmla="*/ 4337032 h 7391342"/>
              <a:gd name="connsiteX556" fmla="*/ 3741452 w 9114518"/>
              <a:gd name="connsiteY556" fmla="*/ 4345532 h 7391342"/>
              <a:gd name="connsiteX557" fmla="*/ 3693344 w 9114518"/>
              <a:gd name="connsiteY557" fmla="*/ 4350685 h 7391342"/>
              <a:gd name="connsiteX558" fmla="*/ 3641480 w 9114518"/>
              <a:gd name="connsiteY558" fmla="*/ 4352418 h 7391342"/>
              <a:gd name="connsiteX559" fmla="*/ 3641480 w 9114518"/>
              <a:gd name="connsiteY559" fmla="*/ 4254498 h 7391342"/>
              <a:gd name="connsiteX560" fmla="*/ 3691728 w 9114518"/>
              <a:gd name="connsiteY560" fmla="*/ 4252239 h 7391342"/>
              <a:gd name="connsiteX561" fmla="*/ 3737159 w 9114518"/>
              <a:gd name="connsiteY561" fmla="*/ 4245544 h 7391342"/>
              <a:gd name="connsiteX562" fmla="*/ 3778000 w 9114518"/>
              <a:gd name="connsiteY562" fmla="*/ 4234531 h 7391342"/>
              <a:gd name="connsiteX563" fmla="*/ 3814480 w 9114518"/>
              <a:gd name="connsiteY563" fmla="*/ 4219320 h 7391342"/>
              <a:gd name="connsiteX564" fmla="*/ 3875274 w 9114518"/>
              <a:gd name="connsiteY564" fmla="*/ 4176783 h 7391342"/>
              <a:gd name="connsiteX565" fmla="*/ 3921371 w 9114518"/>
              <a:gd name="connsiteY565" fmla="*/ 4118890 h 7391342"/>
              <a:gd name="connsiteX566" fmla="*/ 3939480 w 9114518"/>
              <a:gd name="connsiteY566" fmla="*/ 4084484 h 7391342"/>
              <a:gd name="connsiteX567" fmla="*/ 3954602 w 9114518"/>
              <a:gd name="connsiteY567" fmla="*/ 4046597 h 7391342"/>
              <a:gd name="connsiteX568" fmla="*/ 3966965 w 9114518"/>
              <a:gd name="connsiteY568" fmla="*/ 4005349 h 7391342"/>
              <a:gd name="connsiteX569" fmla="*/ 3976798 w 9114518"/>
              <a:gd name="connsiteY569" fmla="*/ 3960860 h 7391342"/>
              <a:gd name="connsiteX570" fmla="*/ 3984330 w 9114518"/>
              <a:gd name="connsiteY570" fmla="*/ 3913250 h 7391342"/>
              <a:gd name="connsiteX571" fmla="*/ 3989790 w 9114518"/>
              <a:gd name="connsiteY571" fmla="*/ 3862638 h 7391342"/>
              <a:gd name="connsiteX572" fmla="*/ 3993406 w 9114518"/>
              <a:gd name="connsiteY572" fmla="*/ 3809143 h 7391342"/>
              <a:gd name="connsiteX573" fmla="*/ 3995408 w 9114518"/>
              <a:gd name="connsiteY573" fmla="*/ 3752885 h 7391342"/>
              <a:gd name="connsiteX574" fmla="*/ 3996025 w 9114518"/>
              <a:gd name="connsiteY574" fmla="*/ 3693984 h 7391342"/>
              <a:gd name="connsiteX575" fmla="*/ 3995375 w 9114518"/>
              <a:gd name="connsiteY575" fmla="*/ 3635662 h 7391342"/>
              <a:gd name="connsiteX576" fmla="*/ 3993282 w 9114518"/>
              <a:gd name="connsiteY576" fmla="*/ 3579947 h 7391342"/>
              <a:gd name="connsiteX577" fmla="*/ 3989529 w 9114518"/>
              <a:gd name="connsiteY577" fmla="*/ 3526961 h 7391342"/>
              <a:gd name="connsiteX578" fmla="*/ 3983900 w 9114518"/>
              <a:gd name="connsiteY578" fmla="*/ 3476822 h 7391342"/>
              <a:gd name="connsiteX579" fmla="*/ 3976178 w 9114518"/>
              <a:gd name="connsiteY579" fmla="*/ 3429650 h 7391342"/>
              <a:gd name="connsiteX580" fmla="*/ 3966147 w 9114518"/>
              <a:gd name="connsiteY580" fmla="*/ 3385563 h 7391342"/>
              <a:gd name="connsiteX581" fmla="*/ 3953590 w 9114518"/>
              <a:gd name="connsiteY581" fmla="*/ 3344684 h 7391342"/>
              <a:gd name="connsiteX582" fmla="*/ 3938291 w 9114518"/>
              <a:gd name="connsiteY582" fmla="*/ 3307130 h 7391342"/>
              <a:gd name="connsiteX583" fmla="*/ 3920033 w 9114518"/>
              <a:gd name="connsiteY583" fmla="*/ 3273021 h 7391342"/>
              <a:gd name="connsiteX584" fmla="*/ 3873774 w 9114518"/>
              <a:gd name="connsiteY584" fmla="*/ 3215619 h 7391342"/>
              <a:gd name="connsiteX585" fmla="*/ 3813084 w 9114518"/>
              <a:gd name="connsiteY585" fmla="*/ 3173432 h 7391342"/>
              <a:gd name="connsiteX586" fmla="*/ 3776785 w 9114518"/>
              <a:gd name="connsiteY586" fmla="*/ 3158344 h 7391342"/>
              <a:gd name="connsiteX587" fmla="*/ 3736230 w 9114518"/>
              <a:gd name="connsiteY587" fmla="*/ 3147419 h 7391342"/>
              <a:gd name="connsiteX588" fmla="*/ 3691200 w 9114518"/>
              <a:gd name="connsiteY588" fmla="*/ 3140776 h 7391342"/>
              <a:gd name="connsiteX589" fmla="*/ 3641480 w 9114518"/>
              <a:gd name="connsiteY589" fmla="*/ 3138535 h 7391342"/>
              <a:gd name="connsiteX590" fmla="*/ 3548584 w 9114518"/>
              <a:gd name="connsiteY590" fmla="*/ 3038926 h 7391342"/>
              <a:gd name="connsiteX591" fmla="*/ 3548584 w 9114518"/>
              <a:gd name="connsiteY591" fmla="*/ 3138535 h 7391342"/>
              <a:gd name="connsiteX592" fmla="*/ 3499144 w 9114518"/>
              <a:gd name="connsiteY592" fmla="*/ 3140776 h 7391342"/>
              <a:gd name="connsiteX593" fmla="*/ 3454362 w 9114518"/>
              <a:gd name="connsiteY593" fmla="*/ 3147419 h 7391342"/>
              <a:gd name="connsiteX594" fmla="*/ 3414023 w 9114518"/>
              <a:gd name="connsiteY594" fmla="*/ 3158344 h 7391342"/>
              <a:gd name="connsiteX595" fmla="*/ 3377913 w 9114518"/>
              <a:gd name="connsiteY595" fmla="*/ 3173432 h 7391342"/>
              <a:gd name="connsiteX596" fmla="*/ 3317522 w 9114518"/>
              <a:gd name="connsiteY596" fmla="*/ 3215619 h 7391342"/>
              <a:gd name="connsiteX597" fmla="*/ 3271471 w 9114518"/>
              <a:gd name="connsiteY597" fmla="*/ 3273021 h 7391342"/>
              <a:gd name="connsiteX598" fmla="*/ 3253289 w 9114518"/>
              <a:gd name="connsiteY598" fmla="*/ 3307130 h 7391342"/>
              <a:gd name="connsiteX599" fmla="*/ 3238049 w 9114518"/>
              <a:gd name="connsiteY599" fmla="*/ 3344684 h 7391342"/>
              <a:gd name="connsiteX600" fmla="*/ 3225536 w 9114518"/>
              <a:gd name="connsiteY600" fmla="*/ 3385563 h 7391342"/>
              <a:gd name="connsiteX601" fmla="*/ 3215537 w 9114518"/>
              <a:gd name="connsiteY601" fmla="*/ 3429650 h 7391342"/>
              <a:gd name="connsiteX602" fmla="*/ 3207836 w 9114518"/>
              <a:gd name="connsiteY602" fmla="*/ 3476822 h 7391342"/>
              <a:gd name="connsiteX603" fmla="*/ 3202221 w 9114518"/>
              <a:gd name="connsiteY603" fmla="*/ 3526961 h 7391342"/>
              <a:gd name="connsiteX604" fmla="*/ 3198475 w 9114518"/>
              <a:gd name="connsiteY604" fmla="*/ 3579947 h 7391342"/>
              <a:gd name="connsiteX605" fmla="*/ 3196384 w 9114518"/>
              <a:gd name="connsiteY605" fmla="*/ 3635662 h 7391342"/>
              <a:gd name="connsiteX606" fmla="*/ 3195735 w 9114518"/>
              <a:gd name="connsiteY606" fmla="*/ 3693984 h 7391342"/>
              <a:gd name="connsiteX607" fmla="*/ 3196368 w 9114518"/>
              <a:gd name="connsiteY607" fmla="*/ 3752885 h 7391342"/>
              <a:gd name="connsiteX608" fmla="*/ 3198413 w 9114518"/>
              <a:gd name="connsiteY608" fmla="*/ 3809143 h 7391342"/>
              <a:gd name="connsiteX609" fmla="*/ 3202091 w 9114518"/>
              <a:gd name="connsiteY609" fmla="*/ 3862638 h 7391342"/>
              <a:gd name="connsiteX610" fmla="*/ 3207622 w 9114518"/>
              <a:gd name="connsiteY610" fmla="*/ 3913250 h 7391342"/>
              <a:gd name="connsiteX611" fmla="*/ 3215228 w 9114518"/>
              <a:gd name="connsiteY611" fmla="*/ 3960860 h 7391342"/>
              <a:gd name="connsiteX612" fmla="*/ 3225128 w 9114518"/>
              <a:gd name="connsiteY612" fmla="*/ 4005349 h 7391342"/>
              <a:gd name="connsiteX613" fmla="*/ 3237544 w 9114518"/>
              <a:gd name="connsiteY613" fmla="*/ 4046597 h 7391342"/>
              <a:gd name="connsiteX614" fmla="*/ 3252696 w 9114518"/>
              <a:gd name="connsiteY614" fmla="*/ 4084484 h 7391342"/>
              <a:gd name="connsiteX615" fmla="*/ 3270804 w 9114518"/>
              <a:gd name="connsiteY615" fmla="*/ 4118890 h 7391342"/>
              <a:gd name="connsiteX616" fmla="*/ 3316774 w 9114518"/>
              <a:gd name="connsiteY616" fmla="*/ 4176783 h 7391342"/>
              <a:gd name="connsiteX617" fmla="*/ 3377217 w 9114518"/>
              <a:gd name="connsiteY617" fmla="*/ 4219320 h 7391342"/>
              <a:gd name="connsiteX618" fmla="*/ 3413418 w 9114518"/>
              <a:gd name="connsiteY618" fmla="*/ 4234531 h 7391342"/>
              <a:gd name="connsiteX619" fmla="*/ 3453899 w 9114518"/>
              <a:gd name="connsiteY619" fmla="*/ 4245544 h 7391342"/>
              <a:gd name="connsiteX620" fmla="*/ 3498881 w 9114518"/>
              <a:gd name="connsiteY620" fmla="*/ 4252239 h 7391342"/>
              <a:gd name="connsiteX621" fmla="*/ 3548584 w 9114518"/>
              <a:gd name="connsiteY621" fmla="*/ 4254498 h 7391342"/>
              <a:gd name="connsiteX622" fmla="*/ 3548584 w 9114518"/>
              <a:gd name="connsiteY622" fmla="*/ 4352418 h 7391342"/>
              <a:gd name="connsiteX623" fmla="*/ 3496940 w 9114518"/>
              <a:gd name="connsiteY623" fmla="*/ 4350685 h 7391342"/>
              <a:gd name="connsiteX624" fmla="*/ 3449008 w 9114518"/>
              <a:gd name="connsiteY624" fmla="*/ 4345532 h 7391342"/>
              <a:gd name="connsiteX625" fmla="*/ 3404668 w 9114518"/>
              <a:gd name="connsiteY625" fmla="*/ 4337032 h 7391342"/>
              <a:gd name="connsiteX626" fmla="*/ 3363796 w 9114518"/>
              <a:gd name="connsiteY626" fmla="*/ 4325257 h 7391342"/>
              <a:gd name="connsiteX627" fmla="*/ 3326270 w 9114518"/>
              <a:gd name="connsiteY627" fmla="*/ 4310279 h 7391342"/>
              <a:gd name="connsiteX628" fmla="*/ 3291967 w 9114518"/>
              <a:gd name="connsiteY628" fmla="*/ 4292171 h 7391342"/>
              <a:gd name="connsiteX629" fmla="*/ 3232542 w 9114518"/>
              <a:gd name="connsiteY629" fmla="*/ 4246853 h 7391342"/>
              <a:gd name="connsiteX630" fmla="*/ 3184540 w 9114518"/>
              <a:gd name="connsiteY630" fmla="*/ 4189879 h 7391342"/>
              <a:gd name="connsiteX631" fmla="*/ 3164517 w 9114518"/>
              <a:gd name="connsiteY631" fmla="*/ 4157201 h 7391342"/>
              <a:gd name="connsiteX632" fmla="*/ 3146982 w 9114518"/>
              <a:gd name="connsiteY632" fmla="*/ 4121826 h 7391342"/>
              <a:gd name="connsiteX633" fmla="*/ 3131813 w 9114518"/>
              <a:gd name="connsiteY633" fmla="*/ 4083826 h 7391342"/>
              <a:gd name="connsiteX634" fmla="*/ 3118888 w 9114518"/>
              <a:gd name="connsiteY634" fmla="*/ 4043273 h 7391342"/>
              <a:gd name="connsiteX635" fmla="*/ 3108083 w 9114518"/>
              <a:gd name="connsiteY635" fmla="*/ 4000240 h 7391342"/>
              <a:gd name="connsiteX636" fmla="*/ 3099276 w 9114518"/>
              <a:gd name="connsiteY636" fmla="*/ 3954797 h 7391342"/>
              <a:gd name="connsiteX637" fmla="*/ 3092346 w 9114518"/>
              <a:gd name="connsiteY637" fmla="*/ 3907019 h 7391342"/>
              <a:gd name="connsiteX638" fmla="*/ 3087169 w 9114518"/>
              <a:gd name="connsiteY638" fmla="*/ 3856976 h 7391342"/>
              <a:gd name="connsiteX639" fmla="*/ 3083623 w 9114518"/>
              <a:gd name="connsiteY639" fmla="*/ 3804741 h 7391342"/>
              <a:gd name="connsiteX640" fmla="*/ 3081585 w 9114518"/>
              <a:gd name="connsiteY640" fmla="*/ 3750386 h 7391342"/>
              <a:gd name="connsiteX641" fmla="*/ 3080933 w 9114518"/>
              <a:gd name="connsiteY641" fmla="*/ 3693984 h 7391342"/>
              <a:gd name="connsiteX642" fmla="*/ 3081606 w 9114518"/>
              <a:gd name="connsiteY642" fmla="*/ 3637823 h 7391342"/>
              <a:gd name="connsiteX643" fmla="*/ 3083706 w 9114518"/>
              <a:gd name="connsiteY643" fmla="*/ 3583708 h 7391342"/>
              <a:gd name="connsiteX644" fmla="*/ 3087346 w 9114518"/>
              <a:gd name="connsiteY644" fmla="*/ 3531711 h 7391342"/>
              <a:gd name="connsiteX645" fmla="*/ 3092643 w 9114518"/>
              <a:gd name="connsiteY645" fmla="*/ 3481903 h 7391342"/>
              <a:gd name="connsiteX646" fmla="*/ 3099713 w 9114518"/>
              <a:gd name="connsiteY646" fmla="*/ 3434354 h 7391342"/>
              <a:gd name="connsiteX647" fmla="*/ 3108673 w 9114518"/>
              <a:gd name="connsiteY647" fmla="*/ 3389137 h 7391342"/>
              <a:gd name="connsiteX648" fmla="*/ 3119637 w 9114518"/>
              <a:gd name="connsiteY648" fmla="*/ 3346320 h 7391342"/>
              <a:gd name="connsiteX649" fmla="*/ 3132722 w 9114518"/>
              <a:gd name="connsiteY649" fmla="*/ 3305977 h 7391342"/>
              <a:gd name="connsiteX650" fmla="*/ 3148044 w 9114518"/>
              <a:gd name="connsiteY650" fmla="*/ 3268179 h 7391342"/>
              <a:gd name="connsiteX651" fmla="*/ 3165718 w 9114518"/>
              <a:gd name="connsiteY651" fmla="*/ 3232996 h 7391342"/>
              <a:gd name="connsiteX652" fmla="*/ 3185862 w 9114518"/>
              <a:gd name="connsiteY652" fmla="*/ 3200499 h 7391342"/>
              <a:gd name="connsiteX653" fmla="*/ 3234018 w 9114518"/>
              <a:gd name="connsiteY653" fmla="*/ 3143849 h 7391342"/>
              <a:gd name="connsiteX654" fmla="*/ 3293441 w 9114518"/>
              <a:gd name="connsiteY654" fmla="*/ 3098798 h 7391342"/>
              <a:gd name="connsiteX655" fmla="*/ 3327668 w 9114518"/>
              <a:gd name="connsiteY655" fmla="*/ 3080800 h 7391342"/>
              <a:gd name="connsiteX656" fmla="*/ 3365059 w 9114518"/>
              <a:gd name="connsiteY656" fmla="*/ 3065915 h 7391342"/>
              <a:gd name="connsiteX657" fmla="*/ 3405730 w 9114518"/>
              <a:gd name="connsiteY657" fmla="*/ 3054214 h 7391342"/>
              <a:gd name="connsiteX658" fmla="*/ 3449797 w 9114518"/>
              <a:gd name="connsiteY658" fmla="*/ 3045768 h 7391342"/>
              <a:gd name="connsiteX659" fmla="*/ 3497376 w 9114518"/>
              <a:gd name="connsiteY659" fmla="*/ 3040648 h 7391342"/>
              <a:gd name="connsiteX660" fmla="*/ 3678369 w 9114518"/>
              <a:gd name="connsiteY660" fmla="*/ 2400757 h 7391342"/>
              <a:gd name="connsiteX661" fmla="*/ 4593430 w 9114518"/>
              <a:gd name="connsiteY661" fmla="*/ 2400757 h 7391342"/>
              <a:gd name="connsiteX662" fmla="*/ 4593430 w 9114518"/>
              <a:gd name="connsiteY662" fmla="*/ 2508807 h 7391342"/>
              <a:gd name="connsiteX663" fmla="*/ 3678369 w 9114518"/>
              <a:gd name="connsiteY663" fmla="*/ 2508807 h 7391342"/>
              <a:gd name="connsiteX664" fmla="*/ 2579115 w 9114518"/>
              <a:gd name="connsiteY664" fmla="*/ 2400753 h 7391342"/>
              <a:gd name="connsiteX665" fmla="*/ 3494165 w 9114518"/>
              <a:gd name="connsiteY665" fmla="*/ 2400753 h 7391342"/>
              <a:gd name="connsiteX666" fmla="*/ 3494165 w 9114518"/>
              <a:gd name="connsiteY666" fmla="*/ 2508804 h 7391342"/>
              <a:gd name="connsiteX667" fmla="*/ 2579115 w 9114518"/>
              <a:gd name="connsiteY667" fmla="*/ 2508804 h 7391342"/>
              <a:gd name="connsiteX668" fmla="*/ 3678369 w 9114518"/>
              <a:gd name="connsiteY668" fmla="*/ 2047903 h 7391342"/>
              <a:gd name="connsiteX669" fmla="*/ 4593430 w 9114518"/>
              <a:gd name="connsiteY669" fmla="*/ 2047903 h 7391342"/>
              <a:gd name="connsiteX670" fmla="*/ 4593430 w 9114518"/>
              <a:gd name="connsiteY670" fmla="*/ 2155954 h 7391342"/>
              <a:gd name="connsiteX671" fmla="*/ 3678369 w 9114518"/>
              <a:gd name="connsiteY671" fmla="*/ 2155954 h 7391342"/>
              <a:gd name="connsiteX672" fmla="*/ 2579115 w 9114518"/>
              <a:gd name="connsiteY672" fmla="*/ 2047899 h 7391342"/>
              <a:gd name="connsiteX673" fmla="*/ 3494165 w 9114518"/>
              <a:gd name="connsiteY673" fmla="*/ 2047899 h 7391342"/>
              <a:gd name="connsiteX674" fmla="*/ 3494165 w 9114518"/>
              <a:gd name="connsiteY674" fmla="*/ 2155950 h 7391342"/>
              <a:gd name="connsiteX675" fmla="*/ 2579115 w 9114518"/>
              <a:gd name="connsiteY675" fmla="*/ 2155950 h 7391342"/>
              <a:gd name="connsiteX676" fmla="*/ 6202942 w 9114518"/>
              <a:gd name="connsiteY676" fmla="*/ 1519467 h 7391342"/>
              <a:gd name="connsiteX677" fmla="*/ 6254150 w 9114518"/>
              <a:gd name="connsiteY677" fmla="*/ 1521189 h 7391342"/>
              <a:gd name="connsiteX678" fmla="*/ 6301730 w 9114518"/>
              <a:gd name="connsiteY678" fmla="*/ 1526309 h 7391342"/>
              <a:gd name="connsiteX679" fmla="*/ 6345796 w 9114518"/>
              <a:gd name="connsiteY679" fmla="*/ 1534755 h 7391342"/>
              <a:gd name="connsiteX680" fmla="*/ 6386468 w 9114518"/>
              <a:gd name="connsiteY680" fmla="*/ 1546456 h 7391342"/>
              <a:gd name="connsiteX681" fmla="*/ 6423858 w 9114518"/>
              <a:gd name="connsiteY681" fmla="*/ 1561341 h 7391342"/>
              <a:gd name="connsiteX682" fmla="*/ 6458084 w 9114518"/>
              <a:gd name="connsiteY682" fmla="*/ 1579339 h 7391342"/>
              <a:gd name="connsiteX683" fmla="*/ 6517506 w 9114518"/>
              <a:gd name="connsiteY683" fmla="*/ 1624390 h 7391342"/>
              <a:gd name="connsiteX684" fmla="*/ 6565664 w 9114518"/>
              <a:gd name="connsiteY684" fmla="*/ 1681040 h 7391342"/>
              <a:gd name="connsiteX685" fmla="*/ 6585806 w 9114518"/>
              <a:gd name="connsiteY685" fmla="*/ 1713537 h 7391342"/>
              <a:gd name="connsiteX686" fmla="*/ 6603482 w 9114518"/>
              <a:gd name="connsiteY686" fmla="*/ 1748720 h 7391342"/>
              <a:gd name="connsiteX687" fmla="*/ 6618804 w 9114518"/>
              <a:gd name="connsiteY687" fmla="*/ 1786518 h 7391342"/>
              <a:gd name="connsiteX688" fmla="*/ 6631888 w 9114518"/>
              <a:gd name="connsiteY688" fmla="*/ 1826861 h 7391342"/>
              <a:gd name="connsiteX689" fmla="*/ 6642852 w 9114518"/>
              <a:gd name="connsiteY689" fmla="*/ 1869678 h 7391342"/>
              <a:gd name="connsiteX690" fmla="*/ 6651812 w 9114518"/>
              <a:gd name="connsiteY690" fmla="*/ 1914895 h 7391342"/>
              <a:gd name="connsiteX691" fmla="*/ 6658882 w 9114518"/>
              <a:gd name="connsiteY691" fmla="*/ 1962443 h 7391342"/>
              <a:gd name="connsiteX692" fmla="*/ 6664180 w 9114518"/>
              <a:gd name="connsiteY692" fmla="*/ 2012251 h 7391342"/>
              <a:gd name="connsiteX693" fmla="*/ 6667820 w 9114518"/>
              <a:gd name="connsiteY693" fmla="*/ 2064248 h 7391342"/>
              <a:gd name="connsiteX694" fmla="*/ 6669918 w 9114518"/>
              <a:gd name="connsiteY694" fmla="*/ 2118363 h 7391342"/>
              <a:gd name="connsiteX695" fmla="*/ 6670594 w 9114518"/>
              <a:gd name="connsiteY695" fmla="*/ 2174524 h 7391342"/>
              <a:gd name="connsiteX696" fmla="*/ 6669952 w 9114518"/>
              <a:gd name="connsiteY696" fmla="*/ 2230926 h 7391342"/>
              <a:gd name="connsiteX697" fmla="*/ 6667946 w 9114518"/>
              <a:gd name="connsiteY697" fmla="*/ 2285281 h 7391342"/>
              <a:gd name="connsiteX698" fmla="*/ 6664446 w 9114518"/>
              <a:gd name="connsiteY698" fmla="*/ 2337516 h 7391342"/>
              <a:gd name="connsiteX699" fmla="*/ 6659328 w 9114518"/>
              <a:gd name="connsiteY699" fmla="*/ 2387560 h 7391342"/>
              <a:gd name="connsiteX700" fmla="*/ 6652468 w 9114518"/>
              <a:gd name="connsiteY700" fmla="*/ 2435337 h 7391342"/>
              <a:gd name="connsiteX701" fmla="*/ 6643740 w 9114518"/>
              <a:gd name="connsiteY701" fmla="*/ 2480781 h 7391342"/>
              <a:gd name="connsiteX702" fmla="*/ 6633014 w 9114518"/>
              <a:gd name="connsiteY702" fmla="*/ 2523814 h 7391342"/>
              <a:gd name="connsiteX703" fmla="*/ 6620170 w 9114518"/>
              <a:gd name="connsiteY703" fmla="*/ 2564367 h 7391342"/>
              <a:gd name="connsiteX704" fmla="*/ 6605078 w 9114518"/>
              <a:gd name="connsiteY704" fmla="*/ 2602367 h 7391342"/>
              <a:gd name="connsiteX705" fmla="*/ 6587612 w 9114518"/>
              <a:gd name="connsiteY705" fmla="*/ 2637742 h 7391342"/>
              <a:gd name="connsiteX706" fmla="*/ 6567650 w 9114518"/>
              <a:gd name="connsiteY706" fmla="*/ 2670420 h 7391342"/>
              <a:gd name="connsiteX707" fmla="*/ 6519726 w 9114518"/>
              <a:gd name="connsiteY707" fmla="*/ 2727394 h 7391342"/>
              <a:gd name="connsiteX708" fmla="*/ 6460300 w 9114518"/>
              <a:gd name="connsiteY708" fmla="*/ 2772712 h 7391342"/>
              <a:gd name="connsiteX709" fmla="*/ 6425960 w 9114518"/>
              <a:gd name="connsiteY709" fmla="*/ 2790820 h 7391342"/>
              <a:gd name="connsiteX710" fmla="*/ 6388366 w 9114518"/>
              <a:gd name="connsiteY710" fmla="*/ 2805798 h 7391342"/>
              <a:gd name="connsiteX711" fmla="*/ 6347392 w 9114518"/>
              <a:gd name="connsiteY711" fmla="*/ 2817573 h 7391342"/>
              <a:gd name="connsiteX712" fmla="*/ 6302914 w 9114518"/>
              <a:gd name="connsiteY712" fmla="*/ 2826073 h 7391342"/>
              <a:gd name="connsiteX713" fmla="*/ 6254806 w 9114518"/>
              <a:gd name="connsiteY713" fmla="*/ 2831226 h 7391342"/>
              <a:gd name="connsiteX714" fmla="*/ 6202942 w 9114518"/>
              <a:gd name="connsiteY714" fmla="*/ 2832959 h 7391342"/>
              <a:gd name="connsiteX715" fmla="*/ 6202942 w 9114518"/>
              <a:gd name="connsiteY715" fmla="*/ 2735039 h 7391342"/>
              <a:gd name="connsiteX716" fmla="*/ 6253190 w 9114518"/>
              <a:gd name="connsiteY716" fmla="*/ 2732780 h 7391342"/>
              <a:gd name="connsiteX717" fmla="*/ 6298622 w 9114518"/>
              <a:gd name="connsiteY717" fmla="*/ 2726085 h 7391342"/>
              <a:gd name="connsiteX718" fmla="*/ 6339462 w 9114518"/>
              <a:gd name="connsiteY718" fmla="*/ 2715072 h 7391342"/>
              <a:gd name="connsiteX719" fmla="*/ 6375942 w 9114518"/>
              <a:gd name="connsiteY719" fmla="*/ 2699861 h 7391342"/>
              <a:gd name="connsiteX720" fmla="*/ 6436736 w 9114518"/>
              <a:gd name="connsiteY720" fmla="*/ 2657324 h 7391342"/>
              <a:gd name="connsiteX721" fmla="*/ 6482832 w 9114518"/>
              <a:gd name="connsiteY721" fmla="*/ 2599431 h 7391342"/>
              <a:gd name="connsiteX722" fmla="*/ 6500942 w 9114518"/>
              <a:gd name="connsiteY722" fmla="*/ 2565024 h 7391342"/>
              <a:gd name="connsiteX723" fmla="*/ 6516064 w 9114518"/>
              <a:gd name="connsiteY723" fmla="*/ 2527138 h 7391342"/>
              <a:gd name="connsiteX724" fmla="*/ 6528426 w 9114518"/>
              <a:gd name="connsiteY724" fmla="*/ 2485890 h 7391342"/>
              <a:gd name="connsiteX725" fmla="*/ 6538260 w 9114518"/>
              <a:gd name="connsiteY725" fmla="*/ 2441401 h 7391342"/>
              <a:gd name="connsiteX726" fmla="*/ 6545792 w 9114518"/>
              <a:gd name="connsiteY726" fmla="*/ 2393791 h 7391342"/>
              <a:gd name="connsiteX727" fmla="*/ 6551252 w 9114518"/>
              <a:gd name="connsiteY727" fmla="*/ 2343178 h 7391342"/>
              <a:gd name="connsiteX728" fmla="*/ 6554868 w 9114518"/>
              <a:gd name="connsiteY728" fmla="*/ 2289683 h 7391342"/>
              <a:gd name="connsiteX729" fmla="*/ 6556870 w 9114518"/>
              <a:gd name="connsiteY729" fmla="*/ 2233425 h 7391342"/>
              <a:gd name="connsiteX730" fmla="*/ 6557486 w 9114518"/>
              <a:gd name="connsiteY730" fmla="*/ 2174524 h 7391342"/>
              <a:gd name="connsiteX731" fmla="*/ 6556836 w 9114518"/>
              <a:gd name="connsiteY731" fmla="*/ 2116203 h 7391342"/>
              <a:gd name="connsiteX732" fmla="*/ 6554744 w 9114518"/>
              <a:gd name="connsiteY732" fmla="*/ 2060487 h 7391342"/>
              <a:gd name="connsiteX733" fmla="*/ 6550990 w 9114518"/>
              <a:gd name="connsiteY733" fmla="*/ 2007501 h 7391342"/>
              <a:gd name="connsiteX734" fmla="*/ 6545362 w 9114518"/>
              <a:gd name="connsiteY734" fmla="*/ 1957362 h 7391342"/>
              <a:gd name="connsiteX735" fmla="*/ 6537640 w 9114518"/>
              <a:gd name="connsiteY735" fmla="*/ 1910190 h 7391342"/>
              <a:gd name="connsiteX736" fmla="*/ 6527608 w 9114518"/>
              <a:gd name="connsiteY736" fmla="*/ 1866104 h 7391342"/>
              <a:gd name="connsiteX737" fmla="*/ 6515052 w 9114518"/>
              <a:gd name="connsiteY737" fmla="*/ 1825226 h 7391342"/>
              <a:gd name="connsiteX738" fmla="*/ 6499752 w 9114518"/>
              <a:gd name="connsiteY738" fmla="*/ 1787671 h 7391342"/>
              <a:gd name="connsiteX739" fmla="*/ 6481494 w 9114518"/>
              <a:gd name="connsiteY739" fmla="*/ 1753562 h 7391342"/>
              <a:gd name="connsiteX740" fmla="*/ 6435236 w 9114518"/>
              <a:gd name="connsiteY740" fmla="*/ 1696160 h 7391342"/>
              <a:gd name="connsiteX741" fmla="*/ 6374546 w 9114518"/>
              <a:gd name="connsiteY741" fmla="*/ 1653973 h 7391342"/>
              <a:gd name="connsiteX742" fmla="*/ 6338248 w 9114518"/>
              <a:gd name="connsiteY742" fmla="*/ 1638885 h 7391342"/>
              <a:gd name="connsiteX743" fmla="*/ 6297692 w 9114518"/>
              <a:gd name="connsiteY743" fmla="*/ 1627960 h 7391342"/>
              <a:gd name="connsiteX744" fmla="*/ 6252662 w 9114518"/>
              <a:gd name="connsiteY744" fmla="*/ 1621317 h 7391342"/>
              <a:gd name="connsiteX745" fmla="*/ 6202942 w 9114518"/>
              <a:gd name="connsiteY745" fmla="*/ 1619076 h 7391342"/>
              <a:gd name="connsiteX746" fmla="*/ 6110023 w 9114518"/>
              <a:gd name="connsiteY746" fmla="*/ 1519467 h 7391342"/>
              <a:gd name="connsiteX747" fmla="*/ 6110023 w 9114518"/>
              <a:gd name="connsiteY747" fmla="*/ 1619076 h 7391342"/>
              <a:gd name="connsiteX748" fmla="*/ 6060583 w 9114518"/>
              <a:gd name="connsiteY748" fmla="*/ 1621317 h 7391342"/>
              <a:gd name="connsiteX749" fmla="*/ 6015801 w 9114518"/>
              <a:gd name="connsiteY749" fmla="*/ 1627960 h 7391342"/>
              <a:gd name="connsiteX750" fmla="*/ 5975462 w 9114518"/>
              <a:gd name="connsiteY750" fmla="*/ 1638885 h 7391342"/>
              <a:gd name="connsiteX751" fmla="*/ 5939352 w 9114518"/>
              <a:gd name="connsiteY751" fmla="*/ 1653973 h 7391342"/>
              <a:gd name="connsiteX752" fmla="*/ 5878960 w 9114518"/>
              <a:gd name="connsiteY752" fmla="*/ 1696160 h 7391342"/>
              <a:gd name="connsiteX753" fmla="*/ 5832910 w 9114518"/>
              <a:gd name="connsiteY753" fmla="*/ 1753562 h 7391342"/>
              <a:gd name="connsiteX754" fmla="*/ 5814728 w 9114518"/>
              <a:gd name="connsiteY754" fmla="*/ 1787671 h 7391342"/>
              <a:gd name="connsiteX755" fmla="*/ 5799488 w 9114518"/>
              <a:gd name="connsiteY755" fmla="*/ 1825226 h 7391342"/>
              <a:gd name="connsiteX756" fmla="*/ 5786975 w 9114518"/>
              <a:gd name="connsiteY756" fmla="*/ 1866104 h 7391342"/>
              <a:gd name="connsiteX757" fmla="*/ 5776976 w 9114518"/>
              <a:gd name="connsiteY757" fmla="*/ 1910190 h 7391342"/>
              <a:gd name="connsiteX758" fmla="*/ 5769275 w 9114518"/>
              <a:gd name="connsiteY758" fmla="*/ 1957362 h 7391342"/>
              <a:gd name="connsiteX759" fmla="*/ 5763660 w 9114518"/>
              <a:gd name="connsiteY759" fmla="*/ 2007501 h 7391342"/>
              <a:gd name="connsiteX760" fmla="*/ 5759914 w 9114518"/>
              <a:gd name="connsiteY760" fmla="*/ 2060487 h 7391342"/>
              <a:gd name="connsiteX761" fmla="*/ 5757823 w 9114518"/>
              <a:gd name="connsiteY761" fmla="*/ 2116203 h 7391342"/>
              <a:gd name="connsiteX762" fmla="*/ 5757174 w 9114518"/>
              <a:gd name="connsiteY762" fmla="*/ 2174524 h 7391342"/>
              <a:gd name="connsiteX763" fmla="*/ 5757807 w 9114518"/>
              <a:gd name="connsiteY763" fmla="*/ 2233425 h 7391342"/>
              <a:gd name="connsiteX764" fmla="*/ 5759852 w 9114518"/>
              <a:gd name="connsiteY764" fmla="*/ 2289683 h 7391342"/>
              <a:gd name="connsiteX765" fmla="*/ 5763530 w 9114518"/>
              <a:gd name="connsiteY765" fmla="*/ 2343178 h 7391342"/>
              <a:gd name="connsiteX766" fmla="*/ 5769061 w 9114518"/>
              <a:gd name="connsiteY766" fmla="*/ 2393791 h 7391342"/>
              <a:gd name="connsiteX767" fmla="*/ 5776667 w 9114518"/>
              <a:gd name="connsiteY767" fmla="*/ 2441401 h 7391342"/>
              <a:gd name="connsiteX768" fmla="*/ 5786567 w 9114518"/>
              <a:gd name="connsiteY768" fmla="*/ 2485890 h 7391342"/>
              <a:gd name="connsiteX769" fmla="*/ 5798983 w 9114518"/>
              <a:gd name="connsiteY769" fmla="*/ 2527138 h 7391342"/>
              <a:gd name="connsiteX770" fmla="*/ 5814135 w 9114518"/>
              <a:gd name="connsiteY770" fmla="*/ 2565024 h 7391342"/>
              <a:gd name="connsiteX771" fmla="*/ 5832243 w 9114518"/>
              <a:gd name="connsiteY771" fmla="*/ 2599431 h 7391342"/>
              <a:gd name="connsiteX772" fmla="*/ 5878214 w 9114518"/>
              <a:gd name="connsiteY772" fmla="*/ 2657324 h 7391342"/>
              <a:gd name="connsiteX773" fmla="*/ 5938656 w 9114518"/>
              <a:gd name="connsiteY773" fmla="*/ 2699861 h 7391342"/>
              <a:gd name="connsiteX774" fmla="*/ 5974857 w 9114518"/>
              <a:gd name="connsiteY774" fmla="*/ 2715072 h 7391342"/>
              <a:gd name="connsiteX775" fmla="*/ 6015338 w 9114518"/>
              <a:gd name="connsiteY775" fmla="*/ 2726085 h 7391342"/>
              <a:gd name="connsiteX776" fmla="*/ 6060320 w 9114518"/>
              <a:gd name="connsiteY776" fmla="*/ 2732780 h 7391342"/>
              <a:gd name="connsiteX777" fmla="*/ 6110023 w 9114518"/>
              <a:gd name="connsiteY777" fmla="*/ 2735039 h 7391342"/>
              <a:gd name="connsiteX778" fmla="*/ 6110023 w 9114518"/>
              <a:gd name="connsiteY778" fmla="*/ 2832959 h 7391342"/>
              <a:gd name="connsiteX779" fmla="*/ 6058379 w 9114518"/>
              <a:gd name="connsiteY779" fmla="*/ 2831226 h 7391342"/>
              <a:gd name="connsiteX780" fmla="*/ 6010447 w 9114518"/>
              <a:gd name="connsiteY780" fmla="*/ 2826073 h 7391342"/>
              <a:gd name="connsiteX781" fmla="*/ 5966107 w 9114518"/>
              <a:gd name="connsiteY781" fmla="*/ 2817573 h 7391342"/>
              <a:gd name="connsiteX782" fmla="*/ 5925235 w 9114518"/>
              <a:gd name="connsiteY782" fmla="*/ 2805798 h 7391342"/>
              <a:gd name="connsiteX783" fmla="*/ 5887709 w 9114518"/>
              <a:gd name="connsiteY783" fmla="*/ 2790820 h 7391342"/>
              <a:gd name="connsiteX784" fmla="*/ 5853406 w 9114518"/>
              <a:gd name="connsiteY784" fmla="*/ 2772712 h 7391342"/>
              <a:gd name="connsiteX785" fmla="*/ 5793981 w 9114518"/>
              <a:gd name="connsiteY785" fmla="*/ 2727394 h 7391342"/>
              <a:gd name="connsiteX786" fmla="*/ 5745979 w 9114518"/>
              <a:gd name="connsiteY786" fmla="*/ 2670420 h 7391342"/>
              <a:gd name="connsiteX787" fmla="*/ 5725956 w 9114518"/>
              <a:gd name="connsiteY787" fmla="*/ 2637742 h 7391342"/>
              <a:gd name="connsiteX788" fmla="*/ 5708421 w 9114518"/>
              <a:gd name="connsiteY788" fmla="*/ 2602367 h 7391342"/>
              <a:gd name="connsiteX789" fmla="*/ 5693252 w 9114518"/>
              <a:gd name="connsiteY789" fmla="*/ 2564367 h 7391342"/>
              <a:gd name="connsiteX790" fmla="*/ 5680327 w 9114518"/>
              <a:gd name="connsiteY790" fmla="*/ 2523814 h 7391342"/>
              <a:gd name="connsiteX791" fmla="*/ 5669522 w 9114518"/>
              <a:gd name="connsiteY791" fmla="*/ 2480781 h 7391342"/>
              <a:gd name="connsiteX792" fmla="*/ 5660715 w 9114518"/>
              <a:gd name="connsiteY792" fmla="*/ 2435337 h 7391342"/>
              <a:gd name="connsiteX793" fmla="*/ 5653785 w 9114518"/>
              <a:gd name="connsiteY793" fmla="*/ 2387560 h 7391342"/>
              <a:gd name="connsiteX794" fmla="*/ 5648608 w 9114518"/>
              <a:gd name="connsiteY794" fmla="*/ 2337516 h 7391342"/>
              <a:gd name="connsiteX795" fmla="*/ 5645062 w 9114518"/>
              <a:gd name="connsiteY795" fmla="*/ 2285281 h 7391342"/>
              <a:gd name="connsiteX796" fmla="*/ 5643024 w 9114518"/>
              <a:gd name="connsiteY796" fmla="*/ 2230926 h 7391342"/>
              <a:gd name="connsiteX797" fmla="*/ 5642372 w 9114518"/>
              <a:gd name="connsiteY797" fmla="*/ 2174524 h 7391342"/>
              <a:gd name="connsiteX798" fmla="*/ 5643045 w 9114518"/>
              <a:gd name="connsiteY798" fmla="*/ 2118363 h 7391342"/>
              <a:gd name="connsiteX799" fmla="*/ 5645145 w 9114518"/>
              <a:gd name="connsiteY799" fmla="*/ 2064248 h 7391342"/>
              <a:gd name="connsiteX800" fmla="*/ 5648785 w 9114518"/>
              <a:gd name="connsiteY800" fmla="*/ 2012251 h 7391342"/>
              <a:gd name="connsiteX801" fmla="*/ 5654082 w 9114518"/>
              <a:gd name="connsiteY801" fmla="*/ 1962443 h 7391342"/>
              <a:gd name="connsiteX802" fmla="*/ 5661152 w 9114518"/>
              <a:gd name="connsiteY802" fmla="*/ 1914895 h 7391342"/>
              <a:gd name="connsiteX803" fmla="*/ 5670112 w 9114518"/>
              <a:gd name="connsiteY803" fmla="*/ 1869678 h 7391342"/>
              <a:gd name="connsiteX804" fmla="*/ 5681076 w 9114518"/>
              <a:gd name="connsiteY804" fmla="*/ 1826861 h 7391342"/>
              <a:gd name="connsiteX805" fmla="*/ 5694161 w 9114518"/>
              <a:gd name="connsiteY805" fmla="*/ 1786518 h 7391342"/>
              <a:gd name="connsiteX806" fmla="*/ 5709483 w 9114518"/>
              <a:gd name="connsiteY806" fmla="*/ 1748720 h 7391342"/>
              <a:gd name="connsiteX807" fmla="*/ 5727157 w 9114518"/>
              <a:gd name="connsiteY807" fmla="*/ 1713537 h 7391342"/>
              <a:gd name="connsiteX808" fmla="*/ 5747301 w 9114518"/>
              <a:gd name="connsiteY808" fmla="*/ 1681040 h 7391342"/>
              <a:gd name="connsiteX809" fmla="*/ 5795457 w 9114518"/>
              <a:gd name="connsiteY809" fmla="*/ 1624390 h 7391342"/>
              <a:gd name="connsiteX810" fmla="*/ 5854880 w 9114518"/>
              <a:gd name="connsiteY810" fmla="*/ 1579339 h 7391342"/>
              <a:gd name="connsiteX811" fmla="*/ 5889107 w 9114518"/>
              <a:gd name="connsiteY811" fmla="*/ 1561341 h 7391342"/>
              <a:gd name="connsiteX812" fmla="*/ 5926498 w 9114518"/>
              <a:gd name="connsiteY812" fmla="*/ 1546456 h 7391342"/>
              <a:gd name="connsiteX813" fmla="*/ 5967169 w 9114518"/>
              <a:gd name="connsiteY813" fmla="*/ 1534755 h 7391342"/>
              <a:gd name="connsiteX814" fmla="*/ 6011236 w 9114518"/>
              <a:gd name="connsiteY814" fmla="*/ 1526309 h 7391342"/>
              <a:gd name="connsiteX815" fmla="*/ 6058815 w 9114518"/>
              <a:gd name="connsiteY815" fmla="*/ 1521189 h 7391342"/>
              <a:gd name="connsiteX816" fmla="*/ 4207776 w 9114518"/>
              <a:gd name="connsiteY816" fmla="*/ 1033233 h 7391342"/>
              <a:gd name="connsiteX817" fmla="*/ 4417120 w 9114518"/>
              <a:gd name="connsiteY817" fmla="*/ 1033233 h 7391342"/>
              <a:gd name="connsiteX818" fmla="*/ 4417120 w 9114518"/>
              <a:gd name="connsiteY818" fmla="*/ 1208814 h 7391342"/>
              <a:gd name="connsiteX819" fmla="*/ 4207776 w 9114518"/>
              <a:gd name="connsiteY819" fmla="*/ 1208814 h 7391342"/>
              <a:gd name="connsiteX820" fmla="*/ 5865088 w 9114518"/>
              <a:gd name="connsiteY820" fmla="*/ 881295 h 7391342"/>
              <a:gd name="connsiteX821" fmla="*/ 6780150 w 9114518"/>
              <a:gd name="connsiteY821" fmla="*/ 881295 h 7391342"/>
              <a:gd name="connsiteX822" fmla="*/ 6780150 w 9114518"/>
              <a:gd name="connsiteY822" fmla="*/ 989345 h 7391342"/>
              <a:gd name="connsiteX823" fmla="*/ 5865088 w 9114518"/>
              <a:gd name="connsiteY823" fmla="*/ 989345 h 7391342"/>
              <a:gd name="connsiteX824" fmla="*/ 5865088 w 9114518"/>
              <a:gd name="connsiteY824" fmla="*/ 528441 h 7391342"/>
              <a:gd name="connsiteX825" fmla="*/ 6780150 w 9114518"/>
              <a:gd name="connsiteY825" fmla="*/ 528441 h 7391342"/>
              <a:gd name="connsiteX826" fmla="*/ 6780150 w 9114518"/>
              <a:gd name="connsiteY826" fmla="*/ 636492 h 7391342"/>
              <a:gd name="connsiteX827" fmla="*/ 5865088 w 9114518"/>
              <a:gd name="connsiteY827" fmla="*/ 636492 h 7391342"/>
              <a:gd name="connsiteX828" fmla="*/ 7862878 w 9114518"/>
              <a:gd name="connsiteY828" fmla="*/ 7089 h 7391342"/>
              <a:gd name="connsiteX829" fmla="*/ 8241058 w 9114518"/>
              <a:gd name="connsiteY829" fmla="*/ 7089 h 7391342"/>
              <a:gd name="connsiteX830" fmla="*/ 8241058 w 9114518"/>
              <a:gd name="connsiteY830" fmla="*/ 103609 h 7391342"/>
              <a:gd name="connsiteX831" fmla="*/ 7979374 w 9114518"/>
              <a:gd name="connsiteY831" fmla="*/ 103609 h 7391342"/>
              <a:gd name="connsiteX832" fmla="*/ 7979374 w 9114518"/>
              <a:gd name="connsiteY832" fmla="*/ 1213589 h 7391342"/>
              <a:gd name="connsiteX833" fmla="*/ 8241058 w 9114518"/>
              <a:gd name="connsiteY833" fmla="*/ 1213589 h 7391342"/>
              <a:gd name="connsiteX834" fmla="*/ 8241058 w 9114518"/>
              <a:gd name="connsiteY834" fmla="*/ 1310109 h 7391342"/>
              <a:gd name="connsiteX835" fmla="*/ 7862878 w 9114518"/>
              <a:gd name="connsiteY835" fmla="*/ 1310109 h 7391342"/>
              <a:gd name="connsiteX836" fmla="*/ 7862878 w 9114518"/>
              <a:gd name="connsiteY836" fmla="*/ 1213589 h 7391342"/>
              <a:gd name="connsiteX837" fmla="*/ 7862878 w 9114518"/>
              <a:gd name="connsiteY837" fmla="*/ 103609 h 7391342"/>
              <a:gd name="connsiteX838" fmla="*/ 3051834 w 9114518"/>
              <a:gd name="connsiteY838" fmla="*/ 2 h 7391342"/>
              <a:gd name="connsiteX839" fmla="*/ 3051834 w 9114518"/>
              <a:gd name="connsiteY839" fmla="*/ 99613 h 7391342"/>
              <a:gd name="connsiteX840" fmla="*/ 3002394 w 9114518"/>
              <a:gd name="connsiteY840" fmla="*/ 101852 h 7391342"/>
              <a:gd name="connsiteX841" fmla="*/ 2957611 w 9114518"/>
              <a:gd name="connsiteY841" fmla="*/ 108497 h 7391342"/>
              <a:gd name="connsiteX842" fmla="*/ 2917272 w 9114518"/>
              <a:gd name="connsiteY842" fmla="*/ 119421 h 7391342"/>
              <a:gd name="connsiteX843" fmla="*/ 2881161 w 9114518"/>
              <a:gd name="connsiteY843" fmla="*/ 134509 h 7391342"/>
              <a:gd name="connsiteX844" fmla="*/ 2820768 w 9114518"/>
              <a:gd name="connsiteY844" fmla="*/ 176694 h 7391342"/>
              <a:gd name="connsiteX845" fmla="*/ 2774716 w 9114518"/>
              <a:gd name="connsiteY845" fmla="*/ 234098 h 7391342"/>
              <a:gd name="connsiteX846" fmla="*/ 2756533 w 9114518"/>
              <a:gd name="connsiteY846" fmla="*/ 268206 h 7391342"/>
              <a:gd name="connsiteX847" fmla="*/ 2741291 w 9114518"/>
              <a:gd name="connsiteY847" fmla="*/ 305760 h 7391342"/>
              <a:gd name="connsiteX848" fmla="*/ 2728778 w 9114518"/>
              <a:gd name="connsiteY848" fmla="*/ 346640 h 7391342"/>
              <a:gd name="connsiteX849" fmla="*/ 2718778 w 9114518"/>
              <a:gd name="connsiteY849" fmla="*/ 390725 h 7391342"/>
              <a:gd name="connsiteX850" fmla="*/ 2711077 w 9114518"/>
              <a:gd name="connsiteY850" fmla="*/ 437898 h 7391342"/>
              <a:gd name="connsiteX851" fmla="*/ 2705460 w 9114518"/>
              <a:gd name="connsiteY851" fmla="*/ 488037 h 7391342"/>
              <a:gd name="connsiteX852" fmla="*/ 2701714 w 9114518"/>
              <a:gd name="connsiteY852" fmla="*/ 541024 h 7391342"/>
              <a:gd name="connsiteX853" fmla="*/ 2699623 w 9114518"/>
              <a:gd name="connsiteY853" fmla="*/ 596738 h 7391342"/>
              <a:gd name="connsiteX854" fmla="*/ 2698974 w 9114518"/>
              <a:gd name="connsiteY854" fmla="*/ 655061 h 7391342"/>
              <a:gd name="connsiteX855" fmla="*/ 2699607 w 9114518"/>
              <a:gd name="connsiteY855" fmla="*/ 713962 h 7391342"/>
              <a:gd name="connsiteX856" fmla="*/ 2701652 w 9114518"/>
              <a:gd name="connsiteY856" fmla="*/ 770219 h 7391342"/>
              <a:gd name="connsiteX857" fmla="*/ 2705331 w 9114518"/>
              <a:gd name="connsiteY857" fmla="*/ 823713 h 7391342"/>
              <a:gd name="connsiteX858" fmla="*/ 2710863 w 9114518"/>
              <a:gd name="connsiteY858" fmla="*/ 874325 h 7391342"/>
              <a:gd name="connsiteX859" fmla="*/ 2718469 w 9114518"/>
              <a:gd name="connsiteY859" fmla="*/ 921936 h 7391342"/>
              <a:gd name="connsiteX860" fmla="*/ 2728370 w 9114518"/>
              <a:gd name="connsiteY860" fmla="*/ 966424 h 7391342"/>
              <a:gd name="connsiteX861" fmla="*/ 2740787 w 9114518"/>
              <a:gd name="connsiteY861" fmla="*/ 1007672 h 7391342"/>
              <a:gd name="connsiteX862" fmla="*/ 2755940 w 9114518"/>
              <a:gd name="connsiteY862" fmla="*/ 1045559 h 7391342"/>
              <a:gd name="connsiteX863" fmla="*/ 2774049 w 9114518"/>
              <a:gd name="connsiteY863" fmla="*/ 1079966 h 7391342"/>
              <a:gd name="connsiteX864" fmla="*/ 2820020 w 9114518"/>
              <a:gd name="connsiteY864" fmla="*/ 1137858 h 7391342"/>
              <a:gd name="connsiteX865" fmla="*/ 2880465 w 9114518"/>
              <a:gd name="connsiteY865" fmla="*/ 1180395 h 7391342"/>
              <a:gd name="connsiteX866" fmla="*/ 2916667 w 9114518"/>
              <a:gd name="connsiteY866" fmla="*/ 1195607 h 7391342"/>
              <a:gd name="connsiteX867" fmla="*/ 2957148 w 9114518"/>
              <a:gd name="connsiteY867" fmla="*/ 1206620 h 7391342"/>
              <a:gd name="connsiteX868" fmla="*/ 3002130 w 9114518"/>
              <a:gd name="connsiteY868" fmla="*/ 1213314 h 7391342"/>
              <a:gd name="connsiteX869" fmla="*/ 3051834 w 9114518"/>
              <a:gd name="connsiteY869" fmla="*/ 1215573 h 7391342"/>
              <a:gd name="connsiteX870" fmla="*/ 3051834 w 9114518"/>
              <a:gd name="connsiteY870" fmla="*/ 1313495 h 7391342"/>
              <a:gd name="connsiteX871" fmla="*/ 3000188 w 9114518"/>
              <a:gd name="connsiteY871" fmla="*/ 1311761 h 7391342"/>
              <a:gd name="connsiteX872" fmla="*/ 2952255 w 9114518"/>
              <a:gd name="connsiteY872" fmla="*/ 1306609 h 7391342"/>
              <a:gd name="connsiteX873" fmla="*/ 2907914 w 9114518"/>
              <a:gd name="connsiteY873" fmla="*/ 1298108 h 7391342"/>
              <a:gd name="connsiteX874" fmla="*/ 2867041 w 9114518"/>
              <a:gd name="connsiteY874" fmla="*/ 1286333 h 7391342"/>
              <a:gd name="connsiteX875" fmla="*/ 2829514 w 9114518"/>
              <a:gd name="connsiteY875" fmla="*/ 1271355 h 7391342"/>
              <a:gd name="connsiteX876" fmla="*/ 2795209 w 9114518"/>
              <a:gd name="connsiteY876" fmla="*/ 1253247 h 7391342"/>
              <a:gd name="connsiteX877" fmla="*/ 2735783 w 9114518"/>
              <a:gd name="connsiteY877" fmla="*/ 1207930 h 7391342"/>
              <a:gd name="connsiteX878" fmla="*/ 2687781 w 9114518"/>
              <a:gd name="connsiteY878" fmla="*/ 1150955 h 7391342"/>
              <a:gd name="connsiteX879" fmla="*/ 2667757 w 9114518"/>
              <a:gd name="connsiteY879" fmla="*/ 1118277 h 7391342"/>
              <a:gd name="connsiteX880" fmla="*/ 2650222 w 9114518"/>
              <a:gd name="connsiteY880" fmla="*/ 1082902 h 7391342"/>
              <a:gd name="connsiteX881" fmla="*/ 2635053 w 9114518"/>
              <a:gd name="connsiteY881" fmla="*/ 1044902 h 7391342"/>
              <a:gd name="connsiteX882" fmla="*/ 2622127 w 9114518"/>
              <a:gd name="connsiteY882" fmla="*/ 1004349 h 7391342"/>
              <a:gd name="connsiteX883" fmla="*/ 2611322 w 9114518"/>
              <a:gd name="connsiteY883" fmla="*/ 961316 h 7391342"/>
              <a:gd name="connsiteX884" fmla="*/ 2602516 w 9114518"/>
              <a:gd name="connsiteY884" fmla="*/ 915873 h 7391342"/>
              <a:gd name="connsiteX885" fmla="*/ 2595585 w 9114518"/>
              <a:gd name="connsiteY885" fmla="*/ 868095 h 7391342"/>
              <a:gd name="connsiteX886" fmla="*/ 2590408 w 9114518"/>
              <a:gd name="connsiteY886" fmla="*/ 818052 h 7391342"/>
              <a:gd name="connsiteX887" fmla="*/ 2586862 w 9114518"/>
              <a:gd name="connsiteY887" fmla="*/ 765818 h 7391342"/>
              <a:gd name="connsiteX888" fmla="*/ 2584824 w 9114518"/>
              <a:gd name="connsiteY888" fmla="*/ 711463 h 7391342"/>
              <a:gd name="connsiteX889" fmla="*/ 2584172 w 9114518"/>
              <a:gd name="connsiteY889" fmla="*/ 655061 h 7391342"/>
              <a:gd name="connsiteX890" fmla="*/ 2584846 w 9114518"/>
              <a:gd name="connsiteY890" fmla="*/ 598899 h 7391342"/>
              <a:gd name="connsiteX891" fmla="*/ 2586945 w 9114518"/>
              <a:gd name="connsiteY891" fmla="*/ 544784 h 7391342"/>
              <a:gd name="connsiteX892" fmla="*/ 2590585 w 9114518"/>
              <a:gd name="connsiteY892" fmla="*/ 492788 h 7391342"/>
              <a:gd name="connsiteX893" fmla="*/ 2595883 w 9114518"/>
              <a:gd name="connsiteY893" fmla="*/ 442980 h 7391342"/>
              <a:gd name="connsiteX894" fmla="*/ 2602954 w 9114518"/>
              <a:gd name="connsiteY894" fmla="*/ 395431 h 7391342"/>
              <a:gd name="connsiteX895" fmla="*/ 2611914 w 9114518"/>
              <a:gd name="connsiteY895" fmla="*/ 350213 h 7391342"/>
              <a:gd name="connsiteX896" fmla="*/ 2622878 w 9114518"/>
              <a:gd name="connsiteY896" fmla="*/ 307398 h 7391342"/>
              <a:gd name="connsiteX897" fmla="*/ 2635964 w 9114518"/>
              <a:gd name="connsiteY897" fmla="*/ 267054 h 7391342"/>
              <a:gd name="connsiteX898" fmla="*/ 2651287 w 9114518"/>
              <a:gd name="connsiteY898" fmla="*/ 229257 h 7391342"/>
              <a:gd name="connsiteX899" fmla="*/ 2668962 w 9114518"/>
              <a:gd name="connsiteY899" fmla="*/ 194074 h 7391342"/>
              <a:gd name="connsiteX900" fmla="*/ 2689106 w 9114518"/>
              <a:gd name="connsiteY900" fmla="*/ 161576 h 7391342"/>
              <a:gd name="connsiteX901" fmla="*/ 2737264 w 9114518"/>
              <a:gd name="connsiteY901" fmla="*/ 104925 h 7391342"/>
              <a:gd name="connsiteX902" fmla="*/ 2796688 w 9114518"/>
              <a:gd name="connsiteY902" fmla="*/ 59876 h 7391342"/>
              <a:gd name="connsiteX903" fmla="*/ 2830916 w 9114518"/>
              <a:gd name="connsiteY903" fmla="*/ 41878 h 7391342"/>
              <a:gd name="connsiteX904" fmla="*/ 2868307 w 9114518"/>
              <a:gd name="connsiteY904" fmla="*/ 26992 h 7391342"/>
              <a:gd name="connsiteX905" fmla="*/ 2908979 w 9114518"/>
              <a:gd name="connsiteY905" fmla="*/ 15290 h 7391342"/>
              <a:gd name="connsiteX906" fmla="*/ 2953046 w 9114518"/>
              <a:gd name="connsiteY906" fmla="*/ 6845 h 7391342"/>
              <a:gd name="connsiteX907" fmla="*/ 3000626 w 9114518"/>
              <a:gd name="connsiteY907" fmla="*/ 1724 h 7391342"/>
              <a:gd name="connsiteX908" fmla="*/ 8336918 w 9114518"/>
              <a:gd name="connsiteY908" fmla="*/ 1 h 7391342"/>
              <a:gd name="connsiteX909" fmla="*/ 8388126 w 9114518"/>
              <a:gd name="connsiteY909" fmla="*/ 1723 h 7391342"/>
              <a:gd name="connsiteX910" fmla="*/ 8435706 w 9114518"/>
              <a:gd name="connsiteY910" fmla="*/ 6843 h 7391342"/>
              <a:gd name="connsiteX911" fmla="*/ 8479774 w 9114518"/>
              <a:gd name="connsiteY911" fmla="*/ 15289 h 7391342"/>
              <a:gd name="connsiteX912" fmla="*/ 8520444 w 9114518"/>
              <a:gd name="connsiteY912" fmla="*/ 26990 h 7391342"/>
              <a:gd name="connsiteX913" fmla="*/ 8557834 w 9114518"/>
              <a:gd name="connsiteY913" fmla="*/ 41875 h 7391342"/>
              <a:gd name="connsiteX914" fmla="*/ 8592062 w 9114518"/>
              <a:gd name="connsiteY914" fmla="*/ 59873 h 7391342"/>
              <a:gd name="connsiteX915" fmla="*/ 8651484 w 9114518"/>
              <a:gd name="connsiteY915" fmla="*/ 104924 h 7391342"/>
              <a:gd name="connsiteX916" fmla="*/ 8699640 w 9114518"/>
              <a:gd name="connsiteY916" fmla="*/ 161574 h 7391342"/>
              <a:gd name="connsiteX917" fmla="*/ 8719784 w 9114518"/>
              <a:gd name="connsiteY917" fmla="*/ 194071 h 7391342"/>
              <a:gd name="connsiteX918" fmla="*/ 8737458 w 9114518"/>
              <a:gd name="connsiteY918" fmla="*/ 229254 h 7391342"/>
              <a:gd name="connsiteX919" fmla="*/ 8752780 w 9114518"/>
              <a:gd name="connsiteY919" fmla="*/ 267052 h 7391342"/>
              <a:gd name="connsiteX920" fmla="*/ 8765866 w 9114518"/>
              <a:gd name="connsiteY920" fmla="*/ 307395 h 7391342"/>
              <a:gd name="connsiteX921" fmla="*/ 8776830 w 9114518"/>
              <a:gd name="connsiteY921" fmla="*/ 350211 h 7391342"/>
              <a:gd name="connsiteX922" fmla="*/ 8785788 w 9114518"/>
              <a:gd name="connsiteY922" fmla="*/ 395428 h 7391342"/>
              <a:gd name="connsiteX923" fmla="*/ 8792860 w 9114518"/>
              <a:gd name="connsiteY923" fmla="*/ 442977 h 7391342"/>
              <a:gd name="connsiteX924" fmla="*/ 8798158 w 9114518"/>
              <a:gd name="connsiteY924" fmla="*/ 492785 h 7391342"/>
              <a:gd name="connsiteX925" fmla="*/ 8801798 w 9114518"/>
              <a:gd name="connsiteY925" fmla="*/ 544782 h 7391342"/>
              <a:gd name="connsiteX926" fmla="*/ 8803896 w 9114518"/>
              <a:gd name="connsiteY926" fmla="*/ 598897 h 7391342"/>
              <a:gd name="connsiteX927" fmla="*/ 8804570 w 9114518"/>
              <a:gd name="connsiteY927" fmla="*/ 655058 h 7391342"/>
              <a:gd name="connsiteX928" fmla="*/ 8803930 w 9114518"/>
              <a:gd name="connsiteY928" fmla="*/ 711460 h 7391342"/>
              <a:gd name="connsiteX929" fmla="*/ 8801922 w 9114518"/>
              <a:gd name="connsiteY929" fmla="*/ 765815 h 7391342"/>
              <a:gd name="connsiteX930" fmla="*/ 8798422 w 9114518"/>
              <a:gd name="connsiteY930" fmla="*/ 818050 h 7391342"/>
              <a:gd name="connsiteX931" fmla="*/ 8793306 w 9114518"/>
              <a:gd name="connsiteY931" fmla="*/ 868094 h 7391342"/>
              <a:gd name="connsiteX932" fmla="*/ 8786446 w 9114518"/>
              <a:gd name="connsiteY932" fmla="*/ 915872 h 7391342"/>
              <a:gd name="connsiteX933" fmla="*/ 8777716 w 9114518"/>
              <a:gd name="connsiteY933" fmla="*/ 961315 h 7391342"/>
              <a:gd name="connsiteX934" fmla="*/ 8766992 w 9114518"/>
              <a:gd name="connsiteY934" fmla="*/ 1004348 h 7391342"/>
              <a:gd name="connsiteX935" fmla="*/ 8754146 w 9114518"/>
              <a:gd name="connsiteY935" fmla="*/ 1044900 h 7391342"/>
              <a:gd name="connsiteX936" fmla="*/ 8739054 w 9114518"/>
              <a:gd name="connsiteY936" fmla="*/ 1082901 h 7391342"/>
              <a:gd name="connsiteX937" fmla="*/ 8721590 w 9114518"/>
              <a:gd name="connsiteY937" fmla="*/ 1118276 h 7391342"/>
              <a:gd name="connsiteX938" fmla="*/ 8701628 w 9114518"/>
              <a:gd name="connsiteY938" fmla="*/ 1150954 h 7391342"/>
              <a:gd name="connsiteX939" fmla="*/ 8653704 w 9114518"/>
              <a:gd name="connsiteY939" fmla="*/ 1207928 h 7391342"/>
              <a:gd name="connsiteX940" fmla="*/ 8594278 w 9114518"/>
              <a:gd name="connsiteY940" fmla="*/ 1253246 h 7391342"/>
              <a:gd name="connsiteX941" fmla="*/ 8559936 w 9114518"/>
              <a:gd name="connsiteY941" fmla="*/ 1271354 h 7391342"/>
              <a:gd name="connsiteX942" fmla="*/ 8522342 w 9114518"/>
              <a:gd name="connsiteY942" fmla="*/ 1286332 h 7391342"/>
              <a:gd name="connsiteX943" fmla="*/ 8481370 w 9114518"/>
              <a:gd name="connsiteY943" fmla="*/ 1298107 h 7391342"/>
              <a:gd name="connsiteX944" fmla="*/ 8436892 w 9114518"/>
              <a:gd name="connsiteY944" fmla="*/ 1306607 h 7391342"/>
              <a:gd name="connsiteX945" fmla="*/ 8388784 w 9114518"/>
              <a:gd name="connsiteY945" fmla="*/ 1311760 h 7391342"/>
              <a:gd name="connsiteX946" fmla="*/ 8336918 w 9114518"/>
              <a:gd name="connsiteY946" fmla="*/ 1313493 h 7391342"/>
              <a:gd name="connsiteX947" fmla="*/ 8336918 w 9114518"/>
              <a:gd name="connsiteY947" fmla="*/ 1215572 h 7391342"/>
              <a:gd name="connsiteX948" fmla="*/ 8387168 w 9114518"/>
              <a:gd name="connsiteY948" fmla="*/ 1213313 h 7391342"/>
              <a:gd name="connsiteX949" fmla="*/ 8432598 w 9114518"/>
              <a:gd name="connsiteY949" fmla="*/ 1206618 h 7391342"/>
              <a:gd name="connsiteX950" fmla="*/ 8473438 w 9114518"/>
              <a:gd name="connsiteY950" fmla="*/ 1195605 h 7391342"/>
              <a:gd name="connsiteX951" fmla="*/ 8509918 w 9114518"/>
              <a:gd name="connsiteY951" fmla="*/ 1180394 h 7391342"/>
              <a:gd name="connsiteX952" fmla="*/ 8570710 w 9114518"/>
              <a:gd name="connsiteY952" fmla="*/ 1137857 h 7391342"/>
              <a:gd name="connsiteX953" fmla="*/ 8616804 w 9114518"/>
              <a:gd name="connsiteY953" fmla="*/ 1079964 h 7391342"/>
              <a:gd name="connsiteX954" fmla="*/ 8634912 w 9114518"/>
              <a:gd name="connsiteY954" fmla="*/ 1045558 h 7391342"/>
              <a:gd name="connsiteX955" fmla="*/ 8650034 w 9114518"/>
              <a:gd name="connsiteY955" fmla="*/ 1007671 h 7391342"/>
              <a:gd name="connsiteX956" fmla="*/ 8662396 w 9114518"/>
              <a:gd name="connsiteY956" fmla="*/ 966423 h 7391342"/>
              <a:gd name="connsiteX957" fmla="*/ 8672228 w 9114518"/>
              <a:gd name="connsiteY957" fmla="*/ 921934 h 7391342"/>
              <a:gd name="connsiteX958" fmla="*/ 8679760 w 9114518"/>
              <a:gd name="connsiteY958" fmla="*/ 874323 h 7391342"/>
              <a:gd name="connsiteX959" fmla="*/ 8685218 w 9114518"/>
              <a:gd name="connsiteY959" fmla="*/ 823711 h 7391342"/>
              <a:gd name="connsiteX960" fmla="*/ 8688834 w 9114518"/>
              <a:gd name="connsiteY960" fmla="*/ 770216 h 7391342"/>
              <a:gd name="connsiteX961" fmla="*/ 8690836 w 9114518"/>
              <a:gd name="connsiteY961" fmla="*/ 713959 h 7391342"/>
              <a:gd name="connsiteX962" fmla="*/ 8691452 w 9114518"/>
              <a:gd name="connsiteY962" fmla="*/ 655058 h 7391342"/>
              <a:gd name="connsiteX963" fmla="*/ 8690804 w 9114518"/>
              <a:gd name="connsiteY963" fmla="*/ 596735 h 7391342"/>
              <a:gd name="connsiteX964" fmla="*/ 8688710 w 9114518"/>
              <a:gd name="connsiteY964" fmla="*/ 541021 h 7391342"/>
              <a:gd name="connsiteX965" fmla="*/ 8684958 w 9114518"/>
              <a:gd name="connsiteY965" fmla="*/ 488035 h 7391342"/>
              <a:gd name="connsiteX966" fmla="*/ 8679330 w 9114518"/>
              <a:gd name="connsiteY966" fmla="*/ 437895 h 7391342"/>
              <a:gd name="connsiteX967" fmla="*/ 8671608 w 9114518"/>
              <a:gd name="connsiteY967" fmla="*/ 390723 h 7391342"/>
              <a:gd name="connsiteX968" fmla="*/ 8661578 w 9114518"/>
              <a:gd name="connsiteY968" fmla="*/ 346638 h 7391342"/>
              <a:gd name="connsiteX969" fmla="*/ 8649022 w 9114518"/>
              <a:gd name="connsiteY969" fmla="*/ 305758 h 7391342"/>
              <a:gd name="connsiteX970" fmla="*/ 8633724 w 9114518"/>
              <a:gd name="connsiteY970" fmla="*/ 268204 h 7391342"/>
              <a:gd name="connsiteX971" fmla="*/ 8615466 w 9114518"/>
              <a:gd name="connsiteY971" fmla="*/ 234096 h 7391342"/>
              <a:gd name="connsiteX972" fmla="*/ 8569210 w 9114518"/>
              <a:gd name="connsiteY972" fmla="*/ 176693 h 7391342"/>
              <a:gd name="connsiteX973" fmla="*/ 8508522 w 9114518"/>
              <a:gd name="connsiteY973" fmla="*/ 134507 h 7391342"/>
              <a:gd name="connsiteX974" fmla="*/ 8472224 w 9114518"/>
              <a:gd name="connsiteY974" fmla="*/ 119419 h 7391342"/>
              <a:gd name="connsiteX975" fmla="*/ 8431668 w 9114518"/>
              <a:gd name="connsiteY975" fmla="*/ 108494 h 7391342"/>
              <a:gd name="connsiteX976" fmla="*/ 8386640 w 9114518"/>
              <a:gd name="connsiteY976" fmla="*/ 101851 h 7391342"/>
              <a:gd name="connsiteX977" fmla="*/ 8336918 w 9114518"/>
              <a:gd name="connsiteY977" fmla="*/ 99610 h 7391342"/>
              <a:gd name="connsiteX978" fmla="*/ 3144752 w 9114518"/>
              <a:gd name="connsiteY978" fmla="*/ 0 h 7391342"/>
              <a:gd name="connsiteX979" fmla="*/ 3195959 w 9114518"/>
              <a:gd name="connsiteY979" fmla="*/ 1722 h 7391342"/>
              <a:gd name="connsiteX980" fmla="*/ 3243539 w 9114518"/>
              <a:gd name="connsiteY980" fmla="*/ 6842 h 7391342"/>
              <a:gd name="connsiteX981" fmla="*/ 3287606 w 9114518"/>
              <a:gd name="connsiteY981" fmla="*/ 15288 h 7391342"/>
              <a:gd name="connsiteX982" fmla="*/ 3328277 w 9114518"/>
              <a:gd name="connsiteY982" fmla="*/ 26989 h 7391342"/>
              <a:gd name="connsiteX983" fmla="*/ 3365667 w 9114518"/>
              <a:gd name="connsiteY983" fmla="*/ 41874 h 7391342"/>
              <a:gd name="connsiteX984" fmla="*/ 3399895 w 9114518"/>
              <a:gd name="connsiteY984" fmla="*/ 59872 h 7391342"/>
              <a:gd name="connsiteX985" fmla="*/ 3459317 w 9114518"/>
              <a:gd name="connsiteY985" fmla="*/ 104923 h 7391342"/>
              <a:gd name="connsiteX986" fmla="*/ 3507474 w 9114518"/>
              <a:gd name="connsiteY986" fmla="*/ 161573 h 7391342"/>
              <a:gd name="connsiteX987" fmla="*/ 3527617 w 9114518"/>
              <a:gd name="connsiteY987" fmla="*/ 194070 h 7391342"/>
              <a:gd name="connsiteX988" fmla="*/ 3545292 w 9114518"/>
              <a:gd name="connsiteY988" fmla="*/ 229253 h 7391342"/>
              <a:gd name="connsiteX989" fmla="*/ 3560614 w 9114518"/>
              <a:gd name="connsiteY989" fmla="*/ 267051 h 7391342"/>
              <a:gd name="connsiteX990" fmla="*/ 3573699 w 9114518"/>
              <a:gd name="connsiteY990" fmla="*/ 307394 h 7391342"/>
              <a:gd name="connsiteX991" fmla="*/ 3584663 w 9114518"/>
              <a:gd name="connsiteY991" fmla="*/ 350210 h 7391342"/>
              <a:gd name="connsiteX992" fmla="*/ 3593622 w 9114518"/>
              <a:gd name="connsiteY992" fmla="*/ 395427 h 7391342"/>
              <a:gd name="connsiteX993" fmla="*/ 3600693 w 9114518"/>
              <a:gd name="connsiteY993" fmla="*/ 442977 h 7391342"/>
              <a:gd name="connsiteX994" fmla="*/ 3605990 w 9114518"/>
              <a:gd name="connsiteY994" fmla="*/ 492785 h 7391342"/>
              <a:gd name="connsiteX995" fmla="*/ 3609630 w 9114518"/>
              <a:gd name="connsiteY995" fmla="*/ 544782 h 7391342"/>
              <a:gd name="connsiteX996" fmla="*/ 3611729 w 9114518"/>
              <a:gd name="connsiteY996" fmla="*/ 598897 h 7391342"/>
              <a:gd name="connsiteX997" fmla="*/ 3612403 w 9114518"/>
              <a:gd name="connsiteY997" fmla="*/ 655058 h 7391342"/>
              <a:gd name="connsiteX998" fmla="*/ 3611762 w 9114518"/>
              <a:gd name="connsiteY998" fmla="*/ 711460 h 7391342"/>
              <a:gd name="connsiteX999" fmla="*/ 3609755 w 9114518"/>
              <a:gd name="connsiteY999" fmla="*/ 765815 h 7391342"/>
              <a:gd name="connsiteX1000" fmla="*/ 3606255 w 9114518"/>
              <a:gd name="connsiteY1000" fmla="*/ 818050 h 7391342"/>
              <a:gd name="connsiteX1001" fmla="*/ 3601138 w 9114518"/>
              <a:gd name="connsiteY1001" fmla="*/ 868093 h 7391342"/>
              <a:gd name="connsiteX1002" fmla="*/ 3594278 w 9114518"/>
              <a:gd name="connsiteY1002" fmla="*/ 915871 h 7391342"/>
              <a:gd name="connsiteX1003" fmla="*/ 3585548 w 9114518"/>
              <a:gd name="connsiteY1003" fmla="*/ 961314 h 7391342"/>
              <a:gd name="connsiteX1004" fmla="*/ 3574823 w 9114518"/>
              <a:gd name="connsiteY1004" fmla="*/ 1004347 h 7391342"/>
              <a:gd name="connsiteX1005" fmla="*/ 3561977 w 9114518"/>
              <a:gd name="connsiteY1005" fmla="*/ 1044900 h 7391342"/>
              <a:gd name="connsiteX1006" fmla="*/ 3546884 w 9114518"/>
              <a:gd name="connsiteY1006" fmla="*/ 1082900 h 7391342"/>
              <a:gd name="connsiteX1007" fmla="*/ 3529420 w 9114518"/>
              <a:gd name="connsiteY1007" fmla="*/ 1118275 h 7391342"/>
              <a:gd name="connsiteX1008" fmla="*/ 3509456 w 9114518"/>
              <a:gd name="connsiteY1008" fmla="*/ 1150953 h 7391342"/>
              <a:gd name="connsiteX1009" fmla="*/ 3461532 w 9114518"/>
              <a:gd name="connsiteY1009" fmla="*/ 1207927 h 7391342"/>
              <a:gd name="connsiteX1010" fmla="*/ 3402106 w 9114518"/>
              <a:gd name="connsiteY1010" fmla="*/ 1253245 h 7391342"/>
              <a:gd name="connsiteX1011" fmla="*/ 3367764 w 9114518"/>
              <a:gd name="connsiteY1011" fmla="*/ 1271353 h 7391342"/>
              <a:gd name="connsiteX1012" fmla="*/ 3330171 w 9114518"/>
              <a:gd name="connsiteY1012" fmla="*/ 1286331 h 7391342"/>
              <a:gd name="connsiteX1013" fmla="*/ 3289198 w 9114518"/>
              <a:gd name="connsiteY1013" fmla="*/ 1298106 h 7391342"/>
              <a:gd name="connsiteX1014" fmla="*/ 3244722 w 9114518"/>
              <a:gd name="connsiteY1014" fmla="*/ 1306606 h 7391342"/>
              <a:gd name="connsiteX1015" fmla="*/ 3196615 w 9114518"/>
              <a:gd name="connsiteY1015" fmla="*/ 1311759 h 7391342"/>
              <a:gd name="connsiteX1016" fmla="*/ 3144752 w 9114518"/>
              <a:gd name="connsiteY1016" fmla="*/ 1313492 h 7391342"/>
              <a:gd name="connsiteX1017" fmla="*/ 3144752 w 9114518"/>
              <a:gd name="connsiteY1017" fmla="*/ 1215571 h 7391342"/>
              <a:gd name="connsiteX1018" fmla="*/ 3194999 w 9114518"/>
              <a:gd name="connsiteY1018" fmla="*/ 1213312 h 7391342"/>
              <a:gd name="connsiteX1019" fmla="*/ 3240428 w 9114518"/>
              <a:gd name="connsiteY1019" fmla="*/ 1206617 h 7391342"/>
              <a:gd name="connsiteX1020" fmla="*/ 3281267 w 9114518"/>
              <a:gd name="connsiteY1020" fmla="*/ 1195604 h 7391342"/>
              <a:gd name="connsiteX1021" fmla="*/ 3317746 w 9114518"/>
              <a:gd name="connsiteY1021" fmla="*/ 1180393 h 7391342"/>
              <a:gd name="connsiteX1022" fmla="*/ 3378538 w 9114518"/>
              <a:gd name="connsiteY1022" fmla="*/ 1137856 h 7391342"/>
              <a:gd name="connsiteX1023" fmla="*/ 3424634 w 9114518"/>
              <a:gd name="connsiteY1023" fmla="*/ 1079963 h 7391342"/>
              <a:gd name="connsiteX1024" fmla="*/ 3442743 w 9114518"/>
              <a:gd name="connsiteY1024" fmla="*/ 1045557 h 7391342"/>
              <a:gd name="connsiteX1025" fmla="*/ 3457864 w 9114518"/>
              <a:gd name="connsiteY1025" fmla="*/ 1007670 h 7391342"/>
              <a:gd name="connsiteX1026" fmla="*/ 3470227 w 9114518"/>
              <a:gd name="connsiteY1026" fmla="*/ 966422 h 7391342"/>
              <a:gd name="connsiteX1027" fmla="*/ 3480060 w 9114518"/>
              <a:gd name="connsiteY1027" fmla="*/ 921934 h 7391342"/>
              <a:gd name="connsiteX1028" fmla="*/ 3487591 w 9114518"/>
              <a:gd name="connsiteY1028" fmla="*/ 874323 h 7391342"/>
              <a:gd name="connsiteX1029" fmla="*/ 3493051 w 9114518"/>
              <a:gd name="connsiteY1029" fmla="*/ 823711 h 7391342"/>
              <a:gd name="connsiteX1030" fmla="*/ 3496668 w 9114518"/>
              <a:gd name="connsiteY1030" fmla="*/ 770216 h 7391342"/>
              <a:gd name="connsiteX1031" fmla="*/ 3498670 w 9114518"/>
              <a:gd name="connsiteY1031" fmla="*/ 713959 h 7391342"/>
              <a:gd name="connsiteX1032" fmla="*/ 3499286 w 9114518"/>
              <a:gd name="connsiteY1032" fmla="*/ 655058 h 7391342"/>
              <a:gd name="connsiteX1033" fmla="*/ 3498637 w 9114518"/>
              <a:gd name="connsiteY1033" fmla="*/ 596735 h 7391342"/>
              <a:gd name="connsiteX1034" fmla="*/ 3496544 w 9114518"/>
              <a:gd name="connsiteY1034" fmla="*/ 541021 h 7391342"/>
              <a:gd name="connsiteX1035" fmla="*/ 3492792 w 9114518"/>
              <a:gd name="connsiteY1035" fmla="*/ 488034 h 7391342"/>
              <a:gd name="connsiteX1036" fmla="*/ 3487163 w 9114518"/>
              <a:gd name="connsiteY1036" fmla="*/ 437895 h 7391342"/>
              <a:gd name="connsiteX1037" fmla="*/ 3479442 w 9114518"/>
              <a:gd name="connsiteY1037" fmla="*/ 390722 h 7391342"/>
              <a:gd name="connsiteX1038" fmla="*/ 3469411 w 9114518"/>
              <a:gd name="connsiteY1038" fmla="*/ 346637 h 7391342"/>
              <a:gd name="connsiteX1039" fmla="*/ 3456855 w 9114518"/>
              <a:gd name="connsiteY1039" fmla="*/ 305757 h 7391342"/>
              <a:gd name="connsiteX1040" fmla="*/ 3441557 w 9114518"/>
              <a:gd name="connsiteY1040" fmla="*/ 268203 h 7391342"/>
              <a:gd name="connsiteX1041" fmla="*/ 3423300 w 9114518"/>
              <a:gd name="connsiteY1041" fmla="*/ 234095 h 7391342"/>
              <a:gd name="connsiteX1042" fmla="*/ 3377044 w 9114518"/>
              <a:gd name="connsiteY1042" fmla="*/ 176692 h 7391342"/>
              <a:gd name="connsiteX1043" fmla="*/ 3316354 w 9114518"/>
              <a:gd name="connsiteY1043" fmla="*/ 134506 h 7391342"/>
              <a:gd name="connsiteX1044" fmla="*/ 3280057 w 9114518"/>
              <a:gd name="connsiteY1044" fmla="*/ 119418 h 7391342"/>
              <a:gd name="connsiteX1045" fmla="*/ 3239501 w 9114518"/>
              <a:gd name="connsiteY1045" fmla="*/ 108493 h 7391342"/>
              <a:gd name="connsiteX1046" fmla="*/ 3194472 w 9114518"/>
              <a:gd name="connsiteY1046" fmla="*/ 101850 h 7391342"/>
              <a:gd name="connsiteX1047" fmla="*/ 3144752 w 9114518"/>
              <a:gd name="connsiteY1047" fmla="*/ 99609 h 739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Lst>
            <a:rect l="l" t="t" r="r" b="b"/>
            <a:pathLst>
              <a:path w="9114518" h="7391342">
                <a:moveTo>
                  <a:pt x="6423906" y="7111086"/>
                </a:moveTo>
                <a:lnTo>
                  <a:pt x="6633262" y="7111086"/>
                </a:lnTo>
                <a:lnTo>
                  <a:pt x="6633262" y="7286668"/>
                </a:lnTo>
                <a:lnTo>
                  <a:pt x="6423906" y="7286668"/>
                </a:lnTo>
                <a:close/>
                <a:moveTo>
                  <a:pt x="3371709" y="6959141"/>
                </a:moveTo>
                <a:lnTo>
                  <a:pt x="4286770" y="6959141"/>
                </a:lnTo>
                <a:lnTo>
                  <a:pt x="4286770" y="7067193"/>
                </a:lnTo>
                <a:lnTo>
                  <a:pt x="3371709" y="7067193"/>
                </a:lnTo>
                <a:close/>
                <a:moveTo>
                  <a:pt x="3371709" y="6606288"/>
                </a:moveTo>
                <a:lnTo>
                  <a:pt x="4286770" y="6606288"/>
                </a:lnTo>
                <a:lnTo>
                  <a:pt x="4286770" y="6714340"/>
                </a:lnTo>
                <a:lnTo>
                  <a:pt x="3371709" y="6714340"/>
                </a:lnTo>
                <a:close/>
                <a:moveTo>
                  <a:pt x="5418710" y="6084039"/>
                </a:moveTo>
                <a:lnTo>
                  <a:pt x="5796891" y="6084039"/>
                </a:lnTo>
                <a:lnTo>
                  <a:pt x="5796891" y="6180559"/>
                </a:lnTo>
                <a:lnTo>
                  <a:pt x="5796891" y="7291809"/>
                </a:lnTo>
                <a:lnTo>
                  <a:pt x="5796891" y="7388329"/>
                </a:lnTo>
                <a:lnTo>
                  <a:pt x="5418710" y="7388329"/>
                </a:lnTo>
                <a:lnTo>
                  <a:pt x="5418710" y="7291809"/>
                </a:lnTo>
                <a:lnTo>
                  <a:pt x="5680394" y="7291809"/>
                </a:lnTo>
                <a:lnTo>
                  <a:pt x="5680394" y="6180559"/>
                </a:lnTo>
                <a:lnTo>
                  <a:pt x="5418710" y="6180559"/>
                </a:lnTo>
                <a:close/>
                <a:moveTo>
                  <a:pt x="4939629" y="6084039"/>
                </a:moveTo>
                <a:lnTo>
                  <a:pt x="5317797" y="6084039"/>
                </a:lnTo>
                <a:lnTo>
                  <a:pt x="5317797" y="6180559"/>
                </a:lnTo>
                <a:lnTo>
                  <a:pt x="5056113" y="6180559"/>
                </a:lnTo>
                <a:lnTo>
                  <a:pt x="5056113" y="7291809"/>
                </a:lnTo>
                <a:lnTo>
                  <a:pt x="5317797" y="7291809"/>
                </a:lnTo>
                <a:lnTo>
                  <a:pt x="5317797" y="7388329"/>
                </a:lnTo>
                <a:lnTo>
                  <a:pt x="4939629" y="7388329"/>
                </a:lnTo>
                <a:lnTo>
                  <a:pt x="4939629" y="7291809"/>
                </a:lnTo>
                <a:lnTo>
                  <a:pt x="4939629" y="6180559"/>
                </a:lnTo>
                <a:close/>
                <a:moveTo>
                  <a:pt x="8646856" y="6077851"/>
                </a:moveTo>
                <a:lnTo>
                  <a:pt x="8698064" y="6079573"/>
                </a:lnTo>
                <a:lnTo>
                  <a:pt x="8745644" y="6084693"/>
                </a:lnTo>
                <a:lnTo>
                  <a:pt x="8789712" y="6093139"/>
                </a:lnTo>
                <a:lnTo>
                  <a:pt x="8830382" y="6104840"/>
                </a:lnTo>
                <a:lnTo>
                  <a:pt x="8867774" y="6119725"/>
                </a:lnTo>
                <a:lnTo>
                  <a:pt x="8902000" y="6137723"/>
                </a:lnTo>
                <a:lnTo>
                  <a:pt x="8961424" y="6182774"/>
                </a:lnTo>
                <a:lnTo>
                  <a:pt x="9009582" y="6239424"/>
                </a:lnTo>
                <a:lnTo>
                  <a:pt x="9029726" y="6271921"/>
                </a:lnTo>
                <a:lnTo>
                  <a:pt x="9047402" y="6307104"/>
                </a:lnTo>
                <a:lnTo>
                  <a:pt x="9062724" y="6344902"/>
                </a:lnTo>
                <a:lnTo>
                  <a:pt x="9075810" y="6385245"/>
                </a:lnTo>
                <a:lnTo>
                  <a:pt x="9086774" y="6428061"/>
                </a:lnTo>
                <a:lnTo>
                  <a:pt x="9095734" y="6473278"/>
                </a:lnTo>
                <a:lnTo>
                  <a:pt x="9102806" y="6520827"/>
                </a:lnTo>
                <a:lnTo>
                  <a:pt x="9108104" y="6570635"/>
                </a:lnTo>
                <a:lnTo>
                  <a:pt x="9111744" y="6622632"/>
                </a:lnTo>
                <a:lnTo>
                  <a:pt x="9113844" y="6676747"/>
                </a:lnTo>
                <a:lnTo>
                  <a:pt x="9114518" y="6732908"/>
                </a:lnTo>
                <a:lnTo>
                  <a:pt x="9113876" y="6789310"/>
                </a:lnTo>
                <a:lnTo>
                  <a:pt x="9111870" y="6843665"/>
                </a:lnTo>
                <a:lnTo>
                  <a:pt x="9108370" y="6895900"/>
                </a:lnTo>
                <a:lnTo>
                  <a:pt x="9103252" y="6945943"/>
                </a:lnTo>
                <a:lnTo>
                  <a:pt x="9096392" y="6993721"/>
                </a:lnTo>
                <a:lnTo>
                  <a:pt x="9087662" y="7039164"/>
                </a:lnTo>
                <a:lnTo>
                  <a:pt x="9076936" y="7082197"/>
                </a:lnTo>
                <a:lnTo>
                  <a:pt x="9064090" y="7122750"/>
                </a:lnTo>
                <a:lnTo>
                  <a:pt x="9048998" y="7160750"/>
                </a:lnTo>
                <a:lnTo>
                  <a:pt x="9031532" y="7196125"/>
                </a:lnTo>
                <a:lnTo>
                  <a:pt x="9011568" y="7228803"/>
                </a:lnTo>
                <a:lnTo>
                  <a:pt x="8963644" y="7285777"/>
                </a:lnTo>
                <a:lnTo>
                  <a:pt x="8904216" y="7331095"/>
                </a:lnTo>
                <a:lnTo>
                  <a:pt x="8869874" y="7349203"/>
                </a:lnTo>
                <a:lnTo>
                  <a:pt x="8832280" y="7364181"/>
                </a:lnTo>
                <a:lnTo>
                  <a:pt x="8791306" y="7375956"/>
                </a:lnTo>
                <a:lnTo>
                  <a:pt x="8746828" y="7384456"/>
                </a:lnTo>
                <a:lnTo>
                  <a:pt x="8698720" y="7389609"/>
                </a:lnTo>
                <a:lnTo>
                  <a:pt x="8646856" y="7391342"/>
                </a:lnTo>
                <a:lnTo>
                  <a:pt x="8646856" y="7293421"/>
                </a:lnTo>
                <a:lnTo>
                  <a:pt x="8697104" y="7291162"/>
                </a:lnTo>
                <a:lnTo>
                  <a:pt x="8742536" y="7284467"/>
                </a:lnTo>
                <a:lnTo>
                  <a:pt x="8783376" y="7273454"/>
                </a:lnTo>
                <a:lnTo>
                  <a:pt x="8819856" y="7258243"/>
                </a:lnTo>
                <a:lnTo>
                  <a:pt x="8880650" y="7215706"/>
                </a:lnTo>
                <a:lnTo>
                  <a:pt x="8926746" y="7157813"/>
                </a:lnTo>
                <a:lnTo>
                  <a:pt x="8944856" y="7123407"/>
                </a:lnTo>
                <a:lnTo>
                  <a:pt x="8959978" y="7085520"/>
                </a:lnTo>
                <a:lnTo>
                  <a:pt x="8972340" y="7044272"/>
                </a:lnTo>
                <a:lnTo>
                  <a:pt x="8982174" y="6999784"/>
                </a:lnTo>
                <a:lnTo>
                  <a:pt x="8989706" y="6952173"/>
                </a:lnTo>
                <a:lnTo>
                  <a:pt x="8995166" y="6901561"/>
                </a:lnTo>
                <a:lnTo>
                  <a:pt x="8998782" y="6848066"/>
                </a:lnTo>
                <a:lnTo>
                  <a:pt x="9000784" y="6791809"/>
                </a:lnTo>
                <a:lnTo>
                  <a:pt x="9001400" y="6732908"/>
                </a:lnTo>
                <a:lnTo>
                  <a:pt x="9000750" y="6674585"/>
                </a:lnTo>
                <a:lnTo>
                  <a:pt x="8998658" y="6618871"/>
                </a:lnTo>
                <a:lnTo>
                  <a:pt x="8994906" y="6565885"/>
                </a:lnTo>
                <a:lnTo>
                  <a:pt x="8989276" y="6515745"/>
                </a:lnTo>
                <a:lnTo>
                  <a:pt x="8981556" y="6468573"/>
                </a:lnTo>
                <a:lnTo>
                  <a:pt x="8971524" y="6424488"/>
                </a:lnTo>
                <a:lnTo>
                  <a:pt x="8958968" y="6383608"/>
                </a:lnTo>
                <a:lnTo>
                  <a:pt x="8943670" y="6346054"/>
                </a:lnTo>
                <a:lnTo>
                  <a:pt x="8925412" y="6311946"/>
                </a:lnTo>
                <a:lnTo>
                  <a:pt x="8879156" y="6254543"/>
                </a:lnTo>
                <a:lnTo>
                  <a:pt x="8818464" y="6212357"/>
                </a:lnTo>
                <a:lnTo>
                  <a:pt x="8782166" y="6197269"/>
                </a:lnTo>
                <a:lnTo>
                  <a:pt x="8741608" y="6186344"/>
                </a:lnTo>
                <a:lnTo>
                  <a:pt x="8696578" y="6179701"/>
                </a:lnTo>
                <a:lnTo>
                  <a:pt x="8646856" y="6177460"/>
                </a:lnTo>
                <a:close/>
                <a:moveTo>
                  <a:pt x="8553970" y="6077851"/>
                </a:moveTo>
                <a:lnTo>
                  <a:pt x="8553970" y="6177460"/>
                </a:lnTo>
                <a:lnTo>
                  <a:pt x="8504528" y="6179701"/>
                </a:lnTo>
                <a:lnTo>
                  <a:pt x="8459744" y="6186344"/>
                </a:lnTo>
                <a:lnTo>
                  <a:pt x="8419404" y="6197269"/>
                </a:lnTo>
                <a:lnTo>
                  <a:pt x="8383292" y="6212357"/>
                </a:lnTo>
                <a:lnTo>
                  <a:pt x="8322900" y="6254543"/>
                </a:lnTo>
                <a:lnTo>
                  <a:pt x="8276848" y="6311946"/>
                </a:lnTo>
                <a:lnTo>
                  <a:pt x="8258666" y="6346054"/>
                </a:lnTo>
                <a:lnTo>
                  <a:pt x="8243424" y="6383608"/>
                </a:lnTo>
                <a:lnTo>
                  <a:pt x="8230912" y="6424488"/>
                </a:lnTo>
                <a:lnTo>
                  <a:pt x="8220912" y="6468573"/>
                </a:lnTo>
                <a:lnTo>
                  <a:pt x="8213212" y="6515745"/>
                </a:lnTo>
                <a:lnTo>
                  <a:pt x="8207596" y="6565885"/>
                </a:lnTo>
                <a:lnTo>
                  <a:pt x="8203850" y="6618871"/>
                </a:lnTo>
                <a:lnTo>
                  <a:pt x="8201760" y="6674585"/>
                </a:lnTo>
                <a:lnTo>
                  <a:pt x="8201110" y="6732908"/>
                </a:lnTo>
                <a:lnTo>
                  <a:pt x="8201744" y="6791809"/>
                </a:lnTo>
                <a:lnTo>
                  <a:pt x="8203788" y="6848066"/>
                </a:lnTo>
                <a:lnTo>
                  <a:pt x="8207466" y="6901561"/>
                </a:lnTo>
                <a:lnTo>
                  <a:pt x="8212998" y="6952173"/>
                </a:lnTo>
                <a:lnTo>
                  <a:pt x="8220604" y="6999784"/>
                </a:lnTo>
                <a:lnTo>
                  <a:pt x="8230504" y="7044272"/>
                </a:lnTo>
                <a:lnTo>
                  <a:pt x="8242920" y="7085520"/>
                </a:lnTo>
                <a:lnTo>
                  <a:pt x="8258072" y="7123407"/>
                </a:lnTo>
                <a:lnTo>
                  <a:pt x="8276182" y="7157813"/>
                </a:lnTo>
                <a:lnTo>
                  <a:pt x="8322152" y="7215706"/>
                </a:lnTo>
                <a:lnTo>
                  <a:pt x="8382596" y="7258243"/>
                </a:lnTo>
                <a:lnTo>
                  <a:pt x="8418798" y="7273454"/>
                </a:lnTo>
                <a:lnTo>
                  <a:pt x="8459280" y="7284467"/>
                </a:lnTo>
                <a:lnTo>
                  <a:pt x="8504264" y="7291162"/>
                </a:lnTo>
                <a:lnTo>
                  <a:pt x="8553970" y="7293421"/>
                </a:lnTo>
                <a:lnTo>
                  <a:pt x="8553970" y="7391342"/>
                </a:lnTo>
                <a:lnTo>
                  <a:pt x="8502324" y="7389609"/>
                </a:lnTo>
                <a:lnTo>
                  <a:pt x="8454390" y="7384456"/>
                </a:lnTo>
                <a:lnTo>
                  <a:pt x="8410050" y="7375956"/>
                </a:lnTo>
                <a:lnTo>
                  <a:pt x="8369176" y="7364181"/>
                </a:lnTo>
                <a:lnTo>
                  <a:pt x="8331650" y="7349203"/>
                </a:lnTo>
                <a:lnTo>
                  <a:pt x="8297346" y="7331095"/>
                </a:lnTo>
                <a:lnTo>
                  <a:pt x="8237920" y="7285777"/>
                </a:lnTo>
                <a:lnTo>
                  <a:pt x="8189918" y="7228803"/>
                </a:lnTo>
                <a:lnTo>
                  <a:pt x="8169894" y="7196125"/>
                </a:lnTo>
                <a:lnTo>
                  <a:pt x="8152358" y="7160750"/>
                </a:lnTo>
                <a:lnTo>
                  <a:pt x="8137190" y="7122750"/>
                </a:lnTo>
                <a:lnTo>
                  <a:pt x="8124264" y="7082197"/>
                </a:lnTo>
                <a:lnTo>
                  <a:pt x="8113458" y="7039164"/>
                </a:lnTo>
                <a:lnTo>
                  <a:pt x="8104652" y="6993721"/>
                </a:lnTo>
                <a:lnTo>
                  <a:pt x="8097722" y="6945943"/>
                </a:lnTo>
                <a:lnTo>
                  <a:pt x="8092544" y="6895900"/>
                </a:lnTo>
                <a:lnTo>
                  <a:pt x="8088998" y="6843665"/>
                </a:lnTo>
                <a:lnTo>
                  <a:pt x="8086960" y="6789310"/>
                </a:lnTo>
                <a:lnTo>
                  <a:pt x="8086308" y="6732908"/>
                </a:lnTo>
                <a:lnTo>
                  <a:pt x="8086982" y="6676747"/>
                </a:lnTo>
                <a:lnTo>
                  <a:pt x="8089082" y="6622632"/>
                </a:lnTo>
                <a:lnTo>
                  <a:pt x="8092722" y="6570635"/>
                </a:lnTo>
                <a:lnTo>
                  <a:pt x="8098020" y="6520827"/>
                </a:lnTo>
                <a:lnTo>
                  <a:pt x="8105090" y="6473278"/>
                </a:lnTo>
                <a:lnTo>
                  <a:pt x="8114050" y="6428061"/>
                </a:lnTo>
                <a:lnTo>
                  <a:pt x="8125014" y="6385245"/>
                </a:lnTo>
                <a:lnTo>
                  <a:pt x="8138100" y="6344902"/>
                </a:lnTo>
                <a:lnTo>
                  <a:pt x="8153424" y="6307104"/>
                </a:lnTo>
                <a:lnTo>
                  <a:pt x="8171098" y="6271921"/>
                </a:lnTo>
                <a:lnTo>
                  <a:pt x="8191242" y="6239424"/>
                </a:lnTo>
                <a:lnTo>
                  <a:pt x="8239400" y="6182774"/>
                </a:lnTo>
                <a:lnTo>
                  <a:pt x="8298824" y="6137723"/>
                </a:lnTo>
                <a:lnTo>
                  <a:pt x="8333052" y="6119725"/>
                </a:lnTo>
                <a:lnTo>
                  <a:pt x="8370442" y="6104840"/>
                </a:lnTo>
                <a:lnTo>
                  <a:pt x="8411114" y="6093139"/>
                </a:lnTo>
                <a:lnTo>
                  <a:pt x="8455182" y="6084693"/>
                </a:lnTo>
                <a:lnTo>
                  <a:pt x="8502762" y="6079573"/>
                </a:lnTo>
                <a:close/>
                <a:moveTo>
                  <a:pt x="1425338" y="6077851"/>
                </a:moveTo>
                <a:lnTo>
                  <a:pt x="1476547" y="6079573"/>
                </a:lnTo>
                <a:lnTo>
                  <a:pt x="1524127" y="6084693"/>
                </a:lnTo>
                <a:lnTo>
                  <a:pt x="1568196" y="6093139"/>
                </a:lnTo>
                <a:lnTo>
                  <a:pt x="1608868" y="6104840"/>
                </a:lnTo>
                <a:lnTo>
                  <a:pt x="1646259" y="6119725"/>
                </a:lnTo>
                <a:lnTo>
                  <a:pt x="1680486" y="6137723"/>
                </a:lnTo>
                <a:lnTo>
                  <a:pt x="1739910" y="6182774"/>
                </a:lnTo>
                <a:lnTo>
                  <a:pt x="1788068" y="6239424"/>
                </a:lnTo>
                <a:lnTo>
                  <a:pt x="1808212" y="6271921"/>
                </a:lnTo>
                <a:lnTo>
                  <a:pt x="1825887" y="6307104"/>
                </a:lnTo>
                <a:lnTo>
                  <a:pt x="1841209" y="6344902"/>
                </a:lnTo>
                <a:lnTo>
                  <a:pt x="1854294" y="6385245"/>
                </a:lnTo>
                <a:lnTo>
                  <a:pt x="1865258" y="6428061"/>
                </a:lnTo>
                <a:lnTo>
                  <a:pt x="1874218" y="6473278"/>
                </a:lnTo>
                <a:lnTo>
                  <a:pt x="1881288" y="6520827"/>
                </a:lnTo>
                <a:lnTo>
                  <a:pt x="1886585" y="6570635"/>
                </a:lnTo>
                <a:lnTo>
                  <a:pt x="1890226" y="6622632"/>
                </a:lnTo>
                <a:lnTo>
                  <a:pt x="1892325" y="6676747"/>
                </a:lnTo>
                <a:lnTo>
                  <a:pt x="1892999" y="6732908"/>
                </a:lnTo>
                <a:lnTo>
                  <a:pt x="1892357" y="6789310"/>
                </a:lnTo>
                <a:lnTo>
                  <a:pt x="1890350" y="6843665"/>
                </a:lnTo>
                <a:lnTo>
                  <a:pt x="1886851" y="6895900"/>
                </a:lnTo>
                <a:lnTo>
                  <a:pt x="1881734" y="6945943"/>
                </a:lnTo>
                <a:lnTo>
                  <a:pt x="1874873" y="6993721"/>
                </a:lnTo>
                <a:lnTo>
                  <a:pt x="1866143" y="7039164"/>
                </a:lnTo>
                <a:lnTo>
                  <a:pt x="1855418" y="7082197"/>
                </a:lnTo>
                <a:lnTo>
                  <a:pt x="1842572" y="7122750"/>
                </a:lnTo>
                <a:lnTo>
                  <a:pt x="1827479" y="7160750"/>
                </a:lnTo>
                <a:lnTo>
                  <a:pt x="1810014" y="7196125"/>
                </a:lnTo>
                <a:lnTo>
                  <a:pt x="1790050" y="7228803"/>
                </a:lnTo>
                <a:lnTo>
                  <a:pt x="1742125" y="7285777"/>
                </a:lnTo>
                <a:lnTo>
                  <a:pt x="1682698" y="7331095"/>
                </a:lnTo>
                <a:lnTo>
                  <a:pt x="1648356" y="7349203"/>
                </a:lnTo>
                <a:lnTo>
                  <a:pt x="1610762" y="7364181"/>
                </a:lnTo>
                <a:lnTo>
                  <a:pt x="1569788" y="7375956"/>
                </a:lnTo>
                <a:lnTo>
                  <a:pt x="1525310" y="7384456"/>
                </a:lnTo>
                <a:lnTo>
                  <a:pt x="1477202" y="7389609"/>
                </a:lnTo>
                <a:lnTo>
                  <a:pt x="1425338" y="7391342"/>
                </a:lnTo>
                <a:lnTo>
                  <a:pt x="1425338" y="7293421"/>
                </a:lnTo>
                <a:lnTo>
                  <a:pt x="1475586" y="7291162"/>
                </a:lnTo>
                <a:lnTo>
                  <a:pt x="1521017" y="7284467"/>
                </a:lnTo>
                <a:lnTo>
                  <a:pt x="1561858" y="7273454"/>
                </a:lnTo>
                <a:lnTo>
                  <a:pt x="1598338" y="7258243"/>
                </a:lnTo>
                <a:lnTo>
                  <a:pt x="1659131" y="7215706"/>
                </a:lnTo>
                <a:lnTo>
                  <a:pt x="1705228" y="7157813"/>
                </a:lnTo>
                <a:lnTo>
                  <a:pt x="1723337" y="7123407"/>
                </a:lnTo>
                <a:lnTo>
                  <a:pt x="1738459" y="7085520"/>
                </a:lnTo>
                <a:lnTo>
                  <a:pt x="1750822" y="7044272"/>
                </a:lnTo>
                <a:lnTo>
                  <a:pt x="1760655" y="6999784"/>
                </a:lnTo>
                <a:lnTo>
                  <a:pt x="1768187" y="6952173"/>
                </a:lnTo>
                <a:lnTo>
                  <a:pt x="1773647" y="6901561"/>
                </a:lnTo>
                <a:lnTo>
                  <a:pt x="1777263" y="6848066"/>
                </a:lnTo>
                <a:lnTo>
                  <a:pt x="1779265" y="6791809"/>
                </a:lnTo>
                <a:lnTo>
                  <a:pt x="1779882" y="6732908"/>
                </a:lnTo>
                <a:lnTo>
                  <a:pt x="1779232" y="6674585"/>
                </a:lnTo>
                <a:lnTo>
                  <a:pt x="1777140" y="6618871"/>
                </a:lnTo>
                <a:lnTo>
                  <a:pt x="1773387" y="6565885"/>
                </a:lnTo>
                <a:lnTo>
                  <a:pt x="1767758" y="6515745"/>
                </a:lnTo>
                <a:lnTo>
                  <a:pt x="1760037" y="6468573"/>
                </a:lnTo>
                <a:lnTo>
                  <a:pt x="1750006" y="6424488"/>
                </a:lnTo>
                <a:lnTo>
                  <a:pt x="1737450" y="6383608"/>
                </a:lnTo>
                <a:lnTo>
                  <a:pt x="1722151" y="6346054"/>
                </a:lnTo>
                <a:lnTo>
                  <a:pt x="1703894" y="6311946"/>
                </a:lnTo>
                <a:lnTo>
                  <a:pt x="1657637" y="6254543"/>
                </a:lnTo>
                <a:lnTo>
                  <a:pt x="1596946" y="6212357"/>
                </a:lnTo>
                <a:lnTo>
                  <a:pt x="1560647" y="6197269"/>
                </a:lnTo>
                <a:lnTo>
                  <a:pt x="1520090" y="6186344"/>
                </a:lnTo>
                <a:lnTo>
                  <a:pt x="1475059" y="6179701"/>
                </a:lnTo>
                <a:lnTo>
                  <a:pt x="1425338" y="6177460"/>
                </a:lnTo>
                <a:close/>
                <a:moveTo>
                  <a:pt x="1332420" y="6077851"/>
                </a:moveTo>
                <a:lnTo>
                  <a:pt x="1332420" y="6177460"/>
                </a:lnTo>
                <a:lnTo>
                  <a:pt x="1282980" y="6179701"/>
                </a:lnTo>
                <a:lnTo>
                  <a:pt x="1238197" y="6186344"/>
                </a:lnTo>
                <a:lnTo>
                  <a:pt x="1197858" y="6197269"/>
                </a:lnTo>
                <a:lnTo>
                  <a:pt x="1161747" y="6212357"/>
                </a:lnTo>
                <a:lnTo>
                  <a:pt x="1101354" y="6254543"/>
                </a:lnTo>
                <a:lnTo>
                  <a:pt x="1055303" y="6311946"/>
                </a:lnTo>
                <a:lnTo>
                  <a:pt x="1037120" y="6346054"/>
                </a:lnTo>
                <a:lnTo>
                  <a:pt x="1021878" y="6383608"/>
                </a:lnTo>
                <a:lnTo>
                  <a:pt x="1009365" y="6424488"/>
                </a:lnTo>
                <a:lnTo>
                  <a:pt x="999365" y="6468573"/>
                </a:lnTo>
                <a:lnTo>
                  <a:pt x="991664" y="6515745"/>
                </a:lnTo>
                <a:lnTo>
                  <a:pt x="986047" y="6565885"/>
                </a:lnTo>
                <a:lnTo>
                  <a:pt x="982301" y="6618871"/>
                </a:lnTo>
                <a:lnTo>
                  <a:pt x="980210" y="6674585"/>
                </a:lnTo>
                <a:lnTo>
                  <a:pt x="979561" y="6732908"/>
                </a:lnTo>
                <a:lnTo>
                  <a:pt x="980194" y="6791809"/>
                </a:lnTo>
                <a:lnTo>
                  <a:pt x="982239" y="6848066"/>
                </a:lnTo>
                <a:lnTo>
                  <a:pt x="985918" y="6901561"/>
                </a:lnTo>
                <a:lnTo>
                  <a:pt x="991450" y="6952173"/>
                </a:lnTo>
                <a:lnTo>
                  <a:pt x="999056" y="6999784"/>
                </a:lnTo>
                <a:lnTo>
                  <a:pt x="1008957" y="7044272"/>
                </a:lnTo>
                <a:lnTo>
                  <a:pt x="1021374" y="7085520"/>
                </a:lnTo>
                <a:lnTo>
                  <a:pt x="1036527" y="7123407"/>
                </a:lnTo>
                <a:lnTo>
                  <a:pt x="1054636" y="7157813"/>
                </a:lnTo>
                <a:lnTo>
                  <a:pt x="1100607" y="7215706"/>
                </a:lnTo>
                <a:lnTo>
                  <a:pt x="1161051" y="7258243"/>
                </a:lnTo>
                <a:lnTo>
                  <a:pt x="1197253" y="7273454"/>
                </a:lnTo>
                <a:lnTo>
                  <a:pt x="1237734" y="7284467"/>
                </a:lnTo>
                <a:lnTo>
                  <a:pt x="1282716" y="7291162"/>
                </a:lnTo>
                <a:lnTo>
                  <a:pt x="1332420" y="7293421"/>
                </a:lnTo>
                <a:lnTo>
                  <a:pt x="1332420" y="7391342"/>
                </a:lnTo>
                <a:lnTo>
                  <a:pt x="1280774" y="7389609"/>
                </a:lnTo>
                <a:lnTo>
                  <a:pt x="1232841" y="7384456"/>
                </a:lnTo>
                <a:lnTo>
                  <a:pt x="1188500" y="7375956"/>
                </a:lnTo>
                <a:lnTo>
                  <a:pt x="1147627" y="7364181"/>
                </a:lnTo>
                <a:lnTo>
                  <a:pt x="1110100" y="7349203"/>
                </a:lnTo>
                <a:lnTo>
                  <a:pt x="1075796" y="7331095"/>
                </a:lnTo>
                <a:lnTo>
                  <a:pt x="1016370" y="7285777"/>
                </a:lnTo>
                <a:lnTo>
                  <a:pt x="968368" y="7228803"/>
                </a:lnTo>
                <a:lnTo>
                  <a:pt x="948344" y="7196125"/>
                </a:lnTo>
                <a:lnTo>
                  <a:pt x="930809" y="7160750"/>
                </a:lnTo>
                <a:lnTo>
                  <a:pt x="915640" y="7122750"/>
                </a:lnTo>
                <a:lnTo>
                  <a:pt x="902714" y="7082197"/>
                </a:lnTo>
                <a:lnTo>
                  <a:pt x="891909" y="7039164"/>
                </a:lnTo>
                <a:lnTo>
                  <a:pt x="883103" y="6993721"/>
                </a:lnTo>
                <a:lnTo>
                  <a:pt x="876172" y="6945943"/>
                </a:lnTo>
                <a:lnTo>
                  <a:pt x="870995" y="6895900"/>
                </a:lnTo>
                <a:lnTo>
                  <a:pt x="867449" y="6843665"/>
                </a:lnTo>
                <a:lnTo>
                  <a:pt x="865411" y="6789310"/>
                </a:lnTo>
                <a:lnTo>
                  <a:pt x="864759" y="6732908"/>
                </a:lnTo>
                <a:lnTo>
                  <a:pt x="865433" y="6676747"/>
                </a:lnTo>
                <a:lnTo>
                  <a:pt x="867532" y="6622632"/>
                </a:lnTo>
                <a:lnTo>
                  <a:pt x="871172" y="6570635"/>
                </a:lnTo>
                <a:lnTo>
                  <a:pt x="876470" y="6520827"/>
                </a:lnTo>
                <a:lnTo>
                  <a:pt x="883541" y="6473278"/>
                </a:lnTo>
                <a:lnTo>
                  <a:pt x="892501" y="6428061"/>
                </a:lnTo>
                <a:lnTo>
                  <a:pt x="903465" y="6385245"/>
                </a:lnTo>
                <a:lnTo>
                  <a:pt x="916551" y="6344902"/>
                </a:lnTo>
                <a:lnTo>
                  <a:pt x="931874" y="6307104"/>
                </a:lnTo>
                <a:lnTo>
                  <a:pt x="949549" y="6271921"/>
                </a:lnTo>
                <a:lnTo>
                  <a:pt x="969693" y="6239424"/>
                </a:lnTo>
                <a:lnTo>
                  <a:pt x="1017851" y="6182774"/>
                </a:lnTo>
                <a:lnTo>
                  <a:pt x="1077275" y="6137723"/>
                </a:lnTo>
                <a:lnTo>
                  <a:pt x="1111502" y="6119725"/>
                </a:lnTo>
                <a:lnTo>
                  <a:pt x="1148893" y="6104840"/>
                </a:lnTo>
                <a:lnTo>
                  <a:pt x="1189565" y="6093139"/>
                </a:lnTo>
                <a:lnTo>
                  <a:pt x="1233632" y="6084693"/>
                </a:lnTo>
                <a:lnTo>
                  <a:pt x="1281212" y="6079573"/>
                </a:lnTo>
                <a:close/>
                <a:moveTo>
                  <a:pt x="510883" y="5591624"/>
                </a:moveTo>
                <a:lnTo>
                  <a:pt x="553593" y="5595343"/>
                </a:lnTo>
                <a:lnTo>
                  <a:pt x="586648" y="5608717"/>
                </a:lnTo>
                <a:lnTo>
                  <a:pt x="607989" y="5635070"/>
                </a:lnTo>
                <a:lnTo>
                  <a:pt x="615560" y="5677726"/>
                </a:lnTo>
                <a:lnTo>
                  <a:pt x="607989" y="5722334"/>
                </a:lnTo>
                <a:lnTo>
                  <a:pt x="586648" y="5749689"/>
                </a:lnTo>
                <a:lnTo>
                  <a:pt x="553593" y="5763433"/>
                </a:lnTo>
                <a:lnTo>
                  <a:pt x="510883" y="5767206"/>
                </a:lnTo>
                <a:lnTo>
                  <a:pt x="468173" y="5763433"/>
                </a:lnTo>
                <a:lnTo>
                  <a:pt x="435118" y="5749689"/>
                </a:lnTo>
                <a:lnTo>
                  <a:pt x="413777" y="5722334"/>
                </a:lnTo>
                <a:lnTo>
                  <a:pt x="406206" y="5677726"/>
                </a:lnTo>
                <a:lnTo>
                  <a:pt x="414015" y="5635070"/>
                </a:lnTo>
                <a:lnTo>
                  <a:pt x="435754" y="5608717"/>
                </a:lnTo>
                <a:lnTo>
                  <a:pt x="468888" y="5595343"/>
                </a:lnTo>
                <a:close/>
                <a:moveTo>
                  <a:pt x="2493379" y="5439680"/>
                </a:moveTo>
                <a:lnTo>
                  <a:pt x="3408440" y="5439680"/>
                </a:lnTo>
                <a:lnTo>
                  <a:pt x="3408440" y="5547731"/>
                </a:lnTo>
                <a:lnTo>
                  <a:pt x="2493379" y="5547731"/>
                </a:lnTo>
                <a:close/>
                <a:moveTo>
                  <a:pt x="2493379" y="5086827"/>
                </a:moveTo>
                <a:lnTo>
                  <a:pt x="3408440" y="5086827"/>
                </a:lnTo>
                <a:lnTo>
                  <a:pt x="3408440" y="5194878"/>
                </a:lnTo>
                <a:lnTo>
                  <a:pt x="2493379" y="5194878"/>
                </a:lnTo>
                <a:close/>
                <a:moveTo>
                  <a:pt x="510883" y="4882541"/>
                </a:moveTo>
                <a:lnTo>
                  <a:pt x="553593" y="4886049"/>
                </a:lnTo>
                <a:lnTo>
                  <a:pt x="586648" y="4899212"/>
                </a:lnTo>
                <a:lnTo>
                  <a:pt x="607989" y="4925987"/>
                </a:lnTo>
                <a:lnTo>
                  <a:pt x="615560" y="4970332"/>
                </a:lnTo>
                <a:lnTo>
                  <a:pt x="607989" y="5013251"/>
                </a:lnTo>
                <a:lnTo>
                  <a:pt x="586648" y="5040185"/>
                </a:lnTo>
                <a:lnTo>
                  <a:pt x="553593" y="5054139"/>
                </a:lnTo>
                <a:lnTo>
                  <a:pt x="510883" y="5058123"/>
                </a:lnTo>
                <a:lnTo>
                  <a:pt x="469154" y="5054139"/>
                </a:lnTo>
                <a:lnTo>
                  <a:pt x="436602" y="5040185"/>
                </a:lnTo>
                <a:lnTo>
                  <a:pt x="415446" y="5013251"/>
                </a:lnTo>
                <a:lnTo>
                  <a:pt x="407902" y="4970332"/>
                </a:lnTo>
                <a:lnTo>
                  <a:pt x="415446" y="4925987"/>
                </a:lnTo>
                <a:lnTo>
                  <a:pt x="436602" y="4899212"/>
                </a:lnTo>
                <a:lnTo>
                  <a:pt x="469154" y="4886049"/>
                </a:lnTo>
                <a:close/>
                <a:moveTo>
                  <a:pt x="4158261" y="4558390"/>
                </a:moveTo>
                <a:lnTo>
                  <a:pt x="4209470" y="4560112"/>
                </a:lnTo>
                <a:lnTo>
                  <a:pt x="4257050" y="4565232"/>
                </a:lnTo>
                <a:lnTo>
                  <a:pt x="4301119" y="4573678"/>
                </a:lnTo>
                <a:lnTo>
                  <a:pt x="4341791" y="4585379"/>
                </a:lnTo>
                <a:lnTo>
                  <a:pt x="4379182" y="4600264"/>
                </a:lnTo>
                <a:lnTo>
                  <a:pt x="4413410" y="4618262"/>
                </a:lnTo>
                <a:lnTo>
                  <a:pt x="4472834" y="4663313"/>
                </a:lnTo>
                <a:lnTo>
                  <a:pt x="4520992" y="4719963"/>
                </a:lnTo>
                <a:lnTo>
                  <a:pt x="4541136" y="4752460"/>
                </a:lnTo>
                <a:lnTo>
                  <a:pt x="4558811" y="4787643"/>
                </a:lnTo>
                <a:lnTo>
                  <a:pt x="4574133" y="4825441"/>
                </a:lnTo>
                <a:lnTo>
                  <a:pt x="4587218" y="4865784"/>
                </a:lnTo>
                <a:lnTo>
                  <a:pt x="4598182" y="4908599"/>
                </a:lnTo>
                <a:lnTo>
                  <a:pt x="4607142" y="4953817"/>
                </a:lnTo>
                <a:lnTo>
                  <a:pt x="4614212" y="5001365"/>
                </a:lnTo>
                <a:lnTo>
                  <a:pt x="4619509" y="5051174"/>
                </a:lnTo>
                <a:lnTo>
                  <a:pt x="4623150" y="5103171"/>
                </a:lnTo>
                <a:lnTo>
                  <a:pt x="4625249" y="5157286"/>
                </a:lnTo>
                <a:lnTo>
                  <a:pt x="4625923" y="5213447"/>
                </a:lnTo>
                <a:lnTo>
                  <a:pt x="4625281" y="5269849"/>
                </a:lnTo>
                <a:lnTo>
                  <a:pt x="4623274" y="5324204"/>
                </a:lnTo>
                <a:lnTo>
                  <a:pt x="4619775" y="5376438"/>
                </a:lnTo>
                <a:lnTo>
                  <a:pt x="4614658" y="5426481"/>
                </a:lnTo>
                <a:lnTo>
                  <a:pt x="4607797" y="5474260"/>
                </a:lnTo>
                <a:lnTo>
                  <a:pt x="4599067" y="5519702"/>
                </a:lnTo>
                <a:lnTo>
                  <a:pt x="4588342" y="5562735"/>
                </a:lnTo>
                <a:lnTo>
                  <a:pt x="4575496" y="5603288"/>
                </a:lnTo>
                <a:lnTo>
                  <a:pt x="4560403" y="5641288"/>
                </a:lnTo>
                <a:lnTo>
                  <a:pt x="4542938" y="5676663"/>
                </a:lnTo>
                <a:lnTo>
                  <a:pt x="4522974" y="5709341"/>
                </a:lnTo>
                <a:lnTo>
                  <a:pt x="4475049" y="5766315"/>
                </a:lnTo>
                <a:lnTo>
                  <a:pt x="4415622" y="5811633"/>
                </a:lnTo>
                <a:lnTo>
                  <a:pt x="4381279" y="5829741"/>
                </a:lnTo>
                <a:lnTo>
                  <a:pt x="4343685" y="5844719"/>
                </a:lnTo>
                <a:lnTo>
                  <a:pt x="4302711" y="5856494"/>
                </a:lnTo>
                <a:lnTo>
                  <a:pt x="4258233" y="5864994"/>
                </a:lnTo>
                <a:lnTo>
                  <a:pt x="4210125" y="5870147"/>
                </a:lnTo>
                <a:lnTo>
                  <a:pt x="4158261" y="5871880"/>
                </a:lnTo>
                <a:lnTo>
                  <a:pt x="4158261" y="5773960"/>
                </a:lnTo>
                <a:lnTo>
                  <a:pt x="4208509" y="5771701"/>
                </a:lnTo>
                <a:lnTo>
                  <a:pt x="4253940" y="5765006"/>
                </a:lnTo>
                <a:lnTo>
                  <a:pt x="4294781" y="5753993"/>
                </a:lnTo>
                <a:lnTo>
                  <a:pt x="4331261" y="5738782"/>
                </a:lnTo>
                <a:lnTo>
                  <a:pt x="4392054" y="5696245"/>
                </a:lnTo>
                <a:lnTo>
                  <a:pt x="4438152" y="5638352"/>
                </a:lnTo>
                <a:lnTo>
                  <a:pt x="4456261" y="5603946"/>
                </a:lnTo>
                <a:lnTo>
                  <a:pt x="4471383" y="5566059"/>
                </a:lnTo>
                <a:lnTo>
                  <a:pt x="4483746" y="5524811"/>
                </a:lnTo>
                <a:lnTo>
                  <a:pt x="4493579" y="5480323"/>
                </a:lnTo>
                <a:lnTo>
                  <a:pt x="4501111" y="5432712"/>
                </a:lnTo>
                <a:lnTo>
                  <a:pt x="4506571" y="5382100"/>
                </a:lnTo>
                <a:lnTo>
                  <a:pt x="4510187" y="5328605"/>
                </a:lnTo>
                <a:lnTo>
                  <a:pt x="4512189" y="5272348"/>
                </a:lnTo>
                <a:lnTo>
                  <a:pt x="4512806" y="5213447"/>
                </a:lnTo>
                <a:lnTo>
                  <a:pt x="4512156" y="5155124"/>
                </a:lnTo>
                <a:lnTo>
                  <a:pt x="4510064" y="5099410"/>
                </a:lnTo>
                <a:lnTo>
                  <a:pt x="4506311" y="5046423"/>
                </a:lnTo>
                <a:lnTo>
                  <a:pt x="4500682" y="4996284"/>
                </a:lnTo>
                <a:lnTo>
                  <a:pt x="4492961" y="4949112"/>
                </a:lnTo>
                <a:lnTo>
                  <a:pt x="4482930" y="4905026"/>
                </a:lnTo>
                <a:lnTo>
                  <a:pt x="4470374" y="4864147"/>
                </a:lnTo>
                <a:lnTo>
                  <a:pt x="4455075" y="4826593"/>
                </a:lnTo>
                <a:lnTo>
                  <a:pt x="4436818" y="4792484"/>
                </a:lnTo>
                <a:lnTo>
                  <a:pt x="4390560" y="4735082"/>
                </a:lnTo>
                <a:lnTo>
                  <a:pt x="4329869" y="4692895"/>
                </a:lnTo>
                <a:lnTo>
                  <a:pt x="4293570" y="4677807"/>
                </a:lnTo>
                <a:lnTo>
                  <a:pt x="4253013" y="4666882"/>
                </a:lnTo>
                <a:lnTo>
                  <a:pt x="4207982" y="4660239"/>
                </a:lnTo>
                <a:lnTo>
                  <a:pt x="4158261" y="4657998"/>
                </a:lnTo>
                <a:close/>
                <a:moveTo>
                  <a:pt x="4065343" y="4558390"/>
                </a:moveTo>
                <a:lnTo>
                  <a:pt x="4065343" y="4657998"/>
                </a:lnTo>
                <a:lnTo>
                  <a:pt x="4015903" y="4660239"/>
                </a:lnTo>
                <a:lnTo>
                  <a:pt x="3971120" y="4666882"/>
                </a:lnTo>
                <a:lnTo>
                  <a:pt x="3930781" y="4677807"/>
                </a:lnTo>
                <a:lnTo>
                  <a:pt x="3894670" y="4692895"/>
                </a:lnTo>
                <a:lnTo>
                  <a:pt x="3834276" y="4735082"/>
                </a:lnTo>
                <a:lnTo>
                  <a:pt x="3788225" y="4792484"/>
                </a:lnTo>
                <a:lnTo>
                  <a:pt x="3770042" y="4826593"/>
                </a:lnTo>
                <a:lnTo>
                  <a:pt x="3754800" y="4864147"/>
                </a:lnTo>
                <a:lnTo>
                  <a:pt x="3742287" y="4905026"/>
                </a:lnTo>
                <a:lnTo>
                  <a:pt x="3732287" y="4949112"/>
                </a:lnTo>
                <a:lnTo>
                  <a:pt x="3724586" y="4996284"/>
                </a:lnTo>
                <a:lnTo>
                  <a:pt x="3718969" y="5046423"/>
                </a:lnTo>
                <a:lnTo>
                  <a:pt x="3715223" y="5099410"/>
                </a:lnTo>
                <a:lnTo>
                  <a:pt x="3713132" y="5155124"/>
                </a:lnTo>
                <a:lnTo>
                  <a:pt x="3712483" y="5213447"/>
                </a:lnTo>
                <a:lnTo>
                  <a:pt x="3713116" y="5272348"/>
                </a:lnTo>
                <a:lnTo>
                  <a:pt x="3715161" y="5328605"/>
                </a:lnTo>
                <a:lnTo>
                  <a:pt x="3718840" y="5382100"/>
                </a:lnTo>
                <a:lnTo>
                  <a:pt x="3724372" y="5432712"/>
                </a:lnTo>
                <a:lnTo>
                  <a:pt x="3731978" y="5480323"/>
                </a:lnTo>
                <a:lnTo>
                  <a:pt x="3741879" y="5524811"/>
                </a:lnTo>
                <a:lnTo>
                  <a:pt x="3754296" y="5566059"/>
                </a:lnTo>
                <a:lnTo>
                  <a:pt x="3769449" y="5603946"/>
                </a:lnTo>
                <a:lnTo>
                  <a:pt x="3787558" y="5638352"/>
                </a:lnTo>
                <a:lnTo>
                  <a:pt x="3833530" y="5696245"/>
                </a:lnTo>
                <a:lnTo>
                  <a:pt x="3893974" y="5738782"/>
                </a:lnTo>
                <a:lnTo>
                  <a:pt x="3930176" y="5753993"/>
                </a:lnTo>
                <a:lnTo>
                  <a:pt x="3970657" y="5765006"/>
                </a:lnTo>
                <a:lnTo>
                  <a:pt x="4015639" y="5771701"/>
                </a:lnTo>
                <a:lnTo>
                  <a:pt x="4065343" y="5773960"/>
                </a:lnTo>
                <a:lnTo>
                  <a:pt x="4065343" y="5871880"/>
                </a:lnTo>
                <a:lnTo>
                  <a:pt x="4013697" y="5870147"/>
                </a:lnTo>
                <a:lnTo>
                  <a:pt x="3965764" y="5864994"/>
                </a:lnTo>
                <a:lnTo>
                  <a:pt x="3921423" y="5856494"/>
                </a:lnTo>
                <a:lnTo>
                  <a:pt x="3880550" y="5844719"/>
                </a:lnTo>
                <a:lnTo>
                  <a:pt x="3843023" y="5829741"/>
                </a:lnTo>
                <a:lnTo>
                  <a:pt x="3808718" y="5811633"/>
                </a:lnTo>
                <a:lnTo>
                  <a:pt x="3749292" y="5766315"/>
                </a:lnTo>
                <a:lnTo>
                  <a:pt x="3701290" y="5709341"/>
                </a:lnTo>
                <a:lnTo>
                  <a:pt x="3681266" y="5676663"/>
                </a:lnTo>
                <a:lnTo>
                  <a:pt x="3663731" y="5641288"/>
                </a:lnTo>
                <a:lnTo>
                  <a:pt x="3648562" y="5603288"/>
                </a:lnTo>
                <a:lnTo>
                  <a:pt x="3635636" y="5562735"/>
                </a:lnTo>
                <a:lnTo>
                  <a:pt x="3624831" y="5519702"/>
                </a:lnTo>
                <a:lnTo>
                  <a:pt x="3616025" y="5474260"/>
                </a:lnTo>
                <a:lnTo>
                  <a:pt x="3609094" y="5426481"/>
                </a:lnTo>
                <a:lnTo>
                  <a:pt x="3603917" y="5376438"/>
                </a:lnTo>
                <a:lnTo>
                  <a:pt x="3600371" y="5324204"/>
                </a:lnTo>
                <a:lnTo>
                  <a:pt x="3598333" y="5269849"/>
                </a:lnTo>
                <a:lnTo>
                  <a:pt x="3597681" y="5213447"/>
                </a:lnTo>
                <a:lnTo>
                  <a:pt x="3598355" y="5157286"/>
                </a:lnTo>
                <a:lnTo>
                  <a:pt x="3600454" y="5103171"/>
                </a:lnTo>
                <a:lnTo>
                  <a:pt x="3604094" y="5051174"/>
                </a:lnTo>
                <a:lnTo>
                  <a:pt x="3609392" y="5001365"/>
                </a:lnTo>
                <a:lnTo>
                  <a:pt x="3616463" y="4953817"/>
                </a:lnTo>
                <a:lnTo>
                  <a:pt x="3625423" y="4908599"/>
                </a:lnTo>
                <a:lnTo>
                  <a:pt x="3636387" y="4865784"/>
                </a:lnTo>
                <a:lnTo>
                  <a:pt x="3649473" y="4825441"/>
                </a:lnTo>
                <a:lnTo>
                  <a:pt x="3664796" y="4787643"/>
                </a:lnTo>
                <a:lnTo>
                  <a:pt x="3682471" y="4752460"/>
                </a:lnTo>
                <a:lnTo>
                  <a:pt x="3702615" y="4719963"/>
                </a:lnTo>
                <a:lnTo>
                  <a:pt x="3750773" y="4663313"/>
                </a:lnTo>
                <a:lnTo>
                  <a:pt x="3810197" y="4618262"/>
                </a:lnTo>
                <a:lnTo>
                  <a:pt x="3844425" y="4600264"/>
                </a:lnTo>
                <a:lnTo>
                  <a:pt x="3881816" y="4585379"/>
                </a:lnTo>
                <a:lnTo>
                  <a:pt x="3922488" y="4573678"/>
                </a:lnTo>
                <a:lnTo>
                  <a:pt x="3966555" y="4565232"/>
                </a:lnTo>
                <a:lnTo>
                  <a:pt x="4014135" y="4560112"/>
                </a:lnTo>
                <a:close/>
                <a:moveTo>
                  <a:pt x="0" y="3920215"/>
                </a:moveTo>
                <a:lnTo>
                  <a:pt x="915049" y="3920215"/>
                </a:lnTo>
                <a:lnTo>
                  <a:pt x="915049" y="4028265"/>
                </a:lnTo>
                <a:lnTo>
                  <a:pt x="0" y="4028265"/>
                </a:lnTo>
                <a:close/>
                <a:moveTo>
                  <a:pt x="0" y="3567362"/>
                </a:moveTo>
                <a:lnTo>
                  <a:pt x="915049" y="3567362"/>
                </a:lnTo>
                <a:lnTo>
                  <a:pt x="915049" y="3675412"/>
                </a:lnTo>
                <a:lnTo>
                  <a:pt x="0" y="3675412"/>
                </a:lnTo>
                <a:close/>
                <a:moveTo>
                  <a:pt x="1617156" y="3046199"/>
                </a:moveTo>
                <a:lnTo>
                  <a:pt x="1995337" y="3046199"/>
                </a:lnTo>
                <a:lnTo>
                  <a:pt x="1995337" y="3141449"/>
                </a:lnTo>
                <a:lnTo>
                  <a:pt x="1995337" y="4252699"/>
                </a:lnTo>
                <a:lnTo>
                  <a:pt x="1995337" y="4349219"/>
                </a:lnTo>
                <a:lnTo>
                  <a:pt x="1617156" y="4349219"/>
                </a:lnTo>
                <a:lnTo>
                  <a:pt x="1617156" y="4252699"/>
                </a:lnTo>
                <a:lnTo>
                  <a:pt x="1878853" y="4252699"/>
                </a:lnTo>
                <a:lnTo>
                  <a:pt x="1878853" y="3141449"/>
                </a:lnTo>
                <a:lnTo>
                  <a:pt x="1617156" y="3141449"/>
                </a:lnTo>
                <a:close/>
                <a:moveTo>
                  <a:pt x="1138061" y="3046199"/>
                </a:moveTo>
                <a:lnTo>
                  <a:pt x="1516242" y="3046199"/>
                </a:lnTo>
                <a:lnTo>
                  <a:pt x="1516242" y="3141449"/>
                </a:lnTo>
                <a:lnTo>
                  <a:pt x="1254558" y="3141449"/>
                </a:lnTo>
                <a:lnTo>
                  <a:pt x="1254558" y="4252699"/>
                </a:lnTo>
                <a:lnTo>
                  <a:pt x="1516242" y="4252699"/>
                </a:lnTo>
                <a:lnTo>
                  <a:pt x="1516242" y="4349219"/>
                </a:lnTo>
                <a:lnTo>
                  <a:pt x="1138061" y="4349219"/>
                </a:lnTo>
                <a:lnTo>
                  <a:pt x="1138061" y="4252699"/>
                </a:lnTo>
                <a:lnTo>
                  <a:pt x="1138061" y="3141449"/>
                </a:lnTo>
                <a:close/>
                <a:moveTo>
                  <a:pt x="3641480" y="3038926"/>
                </a:moveTo>
                <a:lnTo>
                  <a:pt x="3692687" y="3040648"/>
                </a:lnTo>
                <a:lnTo>
                  <a:pt x="3740267" y="3045768"/>
                </a:lnTo>
                <a:lnTo>
                  <a:pt x="3784335" y="3054214"/>
                </a:lnTo>
                <a:lnTo>
                  <a:pt x="3825006" y="3065915"/>
                </a:lnTo>
                <a:lnTo>
                  <a:pt x="3862397" y="3080800"/>
                </a:lnTo>
                <a:lnTo>
                  <a:pt x="3896625" y="3098798"/>
                </a:lnTo>
                <a:lnTo>
                  <a:pt x="3956049" y="3143849"/>
                </a:lnTo>
                <a:lnTo>
                  <a:pt x="4004207" y="3200499"/>
                </a:lnTo>
                <a:lnTo>
                  <a:pt x="4024351" y="3232996"/>
                </a:lnTo>
                <a:lnTo>
                  <a:pt x="4042026" y="3268179"/>
                </a:lnTo>
                <a:lnTo>
                  <a:pt x="4057349" y="3305977"/>
                </a:lnTo>
                <a:lnTo>
                  <a:pt x="4070435" y="3346320"/>
                </a:lnTo>
                <a:lnTo>
                  <a:pt x="4081399" y="3389137"/>
                </a:lnTo>
                <a:lnTo>
                  <a:pt x="4090359" y="3434354"/>
                </a:lnTo>
                <a:lnTo>
                  <a:pt x="4097430" y="3481903"/>
                </a:lnTo>
                <a:lnTo>
                  <a:pt x="4102728" y="3531711"/>
                </a:lnTo>
                <a:lnTo>
                  <a:pt x="4106368" y="3583708"/>
                </a:lnTo>
                <a:lnTo>
                  <a:pt x="4108468" y="3637823"/>
                </a:lnTo>
                <a:lnTo>
                  <a:pt x="4109142" y="3693984"/>
                </a:lnTo>
                <a:lnTo>
                  <a:pt x="4108500" y="3750386"/>
                </a:lnTo>
                <a:lnTo>
                  <a:pt x="4106493" y="3804741"/>
                </a:lnTo>
                <a:lnTo>
                  <a:pt x="4102994" y="3856976"/>
                </a:lnTo>
                <a:lnTo>
                  <a:pt x="4097877" y="3907019"/>
                </a:lnTo>
                <a:lnTo>
                  <a:pt x="4091016" y="3954797"/>
                </a:lnTo>
                <a:lnTo>
                  <a:pt x="4082286" y="4000240"/>
                </a:lnTo>
                <a:lnTo>
                  <a:pt x="4071561" y="4043273"/>
                </a:lnTo>
                <a:lnTo>
                  <a:pt x="4058715" y="4083826"/>
                </a:lnTo>
                <a:lnTo>
                  <a:pt x="4043622" y="4121826"/>
                </a:lnTo>
                <a:lnTo>
                  <a:pt x="4026157" y="4157201"/>
                </a:lnTo>
                <a:lnTo>
                  <a:pt x="4006193" y="4189879"/>
                </a:lnTo>
                <a:lnTo>
                  <a:pt x="3958268" y="4246853"/>
                </a:lnTo>
                <a:lnTo>
                  <a:pt x="3898841" y="4292171"/>
                </a:lnTo>
                <a:lnTo>
                  <a:pt x="3864498" y="4310279"/>
                </a:lnTo>
                <a:lnTo>
                  <a:pt x="3826904" y="4325257"/>
                </a:lnTo>
                <a:lnTo>
                  <a:pt x="3785930" y="4337032"/>
                </a:lnTo>
                <a:lnTo>
                  <a:pt x="3741452" y="4345532"/>
                </a:lnTo>
                <a:lnTo>
                  <a:pt x="3693344" y="4350685"/>
                </a:lnTo>
                <a:lnTo>
                  <a:pt x="3641480" y="4352418"/>
                </a:lnTo>
                <a:lnTo>
                  <a:pt x="3641480" y="4254498"/>
                </a:lnTo>
                <a:lnTo>
                  <a:pt x="3691728" y="4252239"/>
                </a:lnTo>
                <a:lnTo>
                  <a:pt x="3737159" y="4245544"/>
                </a:lnTo>
                <a:lnTo>
                  <a:pt x="3778000" y="4234531"/>
                </a:lnTo>
                <a:lnTo>
                  <a:pt x="3814480" y="4219320"/>
                </a:lnTo>
                <a:lnTo>
                  <a:pt x="3875274" y="4176783"/>
                </a:lnTo>
                <a:lnTo>
                  <a:pt x="3921371" y="4118890"/>
                </a:lnTo>
                <a:lnTo>
                  <a:pt x="3939480" y="4084484"/>
                </a:lnTo>
                <a:lnTo>
                  <a:pt x="3954602" y="4046597"/>
                </a:lnTo>
                <a:lnTo>
                  <a:pt x="3966965" y="4005349"/>
                </a:lnTo>
                <a:lnTo>
                  <a:pt x="3976798" y="3960860"/>
                </a:lnTo>
                <a:lnTo>
                  <a:pt x="3984330" y="3913250"/>
                </a:lnTo>
                <a:lnTo>
                  <a:pt x="3989790" y="3862638"/>
                </a:lnTo>
                <a:lnTo>
                  <a:pt x="3993406" y="3809143"/>
                </a:lnTo>
                <a:lnTo>
                  <a:pt x="3995408" y="3752885"/>
                </a:lnTo>
                <a:lnTo>
                  <a:pt x="3996025" y="3693984"/>
                </a:lnTo>
                <a:lnTo>
                  <a:pt x="3995375" y="3635662"/>
                </a:lnTo>
                <a:lnTo>
                  <a:pt x="3993282" y="3579947"/>
                </a:lnTo>
                <a:lnTo>
                  <a:pt x="3989529" y="3526961"/>
                </a:lnTo>
                <a:lnTo>
                  <a:pt x="3983900" y="3476822"/>
                </a:lnTo>
                <a:lnTo>
                  <a:pt x="3976178" y="3429650"/>
                </a:lnTo>
                <a:lnTo>
                  <a:pt x="3966147" y="3385563"/>
                </a:lnTo>
                <a:lnTo>
                  <a:pt x="3953590" y="3344684"/>
                </a:lnTo>
                <a:lnTo>
                  <a:pt x="3938291" y="3307130"/>
                </a:lnTo>
                <a:lnTo>
                  <a:pt x="3920033" y="3273021"/>
                </a:lnTo>
                <a:lnTo>
                  <a:pt x="3873774" y="3215619"/>
                </a:lnTo>
                <a:lnTo>
                  <a:pt x="3813084" y="3173432"/>
                </a:lnTo>
                <a:lnTo>
                  <a:pt x="3776785" y="3158344"/>
                </a:lnTo>
                <a:lnTo>
                  <a:pt x="3736230" y="3147419"/>
                </a:lnTo>
                <a:lnTo>
                  <a:pt x="3691200" y="3140776"/>
                </a:lnTo>
                <a:lnTo>
                  <a:pt x="3641480" y="3138535"/>
                </a:lnTo>
                <a:close/>
                <a:moveTo>
                  <a:pt x="3548584" y="3038926"/>
                </a:moveTo>
                <a:lnTo>
                  <a:pt x="3548584" y="3138535"/>
                </a:lnTo>
                <a:lnTo>
                  <a:pt x="3499144" y="3140776"/>
                </a:lnTo>
                <a:lnTo>
                  <a:pt x="3454362" y="3147419"/>
                </a:lnTo>
                <a:lnTo>
                  <a:pt x="3414023" y="3158344"/>
                </a:lnTo>
                <a:lnTo>
                  <a:pt x="3377913" y="3173432"/>
                </a:lnTo>
                <a:lnTo>
                  <a:pt x="3317522" y="3215619"/>
                </a:lnTo>
                <a:lnTo>
                  <a:pt x="3271471" y="3273021"/>
                </a:lnTo>
                <a:lnTo>
                  <a:pt x="3253289" y="3307130"/>
                </a:lnTo>
                <a:lnTo>
                  <a:pt x="3238049" y="3344684"/>
                </a:lnTo>
                <a:lnTo>
                  <a:pt x="3225536" y="3385563"/>
                </a:lnTo>
                <a:lnTo>
                  <a:pt x="3215537" y="3429650"/>
                </a:lnTo>
                <a:lnTo>
                  <a:pt x="3207836" y="3476822"/>
                </a:lnTo>
                <a:lnTo>
                  <a:pt x="3202221" y="3526961"/>
                </a:lnTo>
                <a:lnTo>
                  <a:pt x="3198475" y="3579947"/>
                </a:lnTo>
                <a:lnTo>
                  <a:pt x="3196384" y="3635662"/>
                </a:lnTo>
                <a:lnTo>
                  <a:pt x="3195735" y="3693984"/>
                </a:lnTo>
                <a:lnTo>
                  <a:pt x="3196368" y="3752885"/>
                </a:lnTo>
                <a:lnTo>
                  <a:pt x="3198413" y="3809143"/>
                </a:lnTo>
                <a:lnTo>
                  <a:pt x="3202091" y="3862638"/>
                </a:lnTo>
                <a:lnTo>
                  <a:pt x="3207622" y="3913250"/>
                </a:lnTo>
                <a:lnTo>
                  <a:pt x="3215228" y="3960860"/>
                </a:lnTo>
                <a:lnTo>
                  <a:pt x="3225128" y="4005349"/>
                </a:lnTo>
                <a:lnTo>
                  <a:pt x="3237544" y="4046597"/>
                </a:lnTo>
                <a:lnTo>
                  <a:pt x="3252696" y="4084484"/>
                </a:lnTo>
                <a:lnTo>
                  <a:pt x="3270804" y="4118890"/>
                </a:lnTo>
                <a:lnTo>
                  <a:pt x="3316774" y="4176783"/>
                </a:lnTo>
                <a:lnTo>
                  <a:pt x="3377217" y="4219320"/>
                </a:lnTo>
                <a:lnTo>
                  <a:pt x="3413418" y="4234531"/>
                </a:lnTo>
                <a:lnTo>
                  <a:pt x="3453899" y="4245544"/>
                </a:lnTo>
                <a:lnTo>
                  <a:pt x="3498881" y="4252239"/>
                </a:lnTo>
                <a:lnTo>
                  <a:pt x="3548584" y="4254498"/>
                </a:lnTo>
                <a:lnTo>
                  <a:pt x="3548584" y="4352418"/>
                </a:lnTo>
                <a:lnTo>
                  <a:pt x="3496940" y="4350685"/>
                </a:lnTo>
                <a:lnTo>
                  <a:pt x="3449008" y="4345532"/>
                </a:lnTo>
                <a:lnTo>
                  <a:pt x="3404668" y="4337032"/>
                </a:lnTo>
                <a:lnTo>
                  <a:pt x="3363796" y="4325257"/>
                </a:lnTo>
                <a:lnTo>
                  <a:pt x="3326270" y="4310279"/>
                </a:lnTo>
                <a:lnTo>
                  <a:pt x="3291967" y="4292171"/>
                </a:lnTo>
                <a:lnTo>
                  <a:pt x="3232542" y="4246853"/>
                </a:lnTo>
                <a:lnTo>
                  <a:pt x="3184540" y="4189879"/>
                </a:lnTo>
                <a:lnTo>
                  <a:pt x="3164517" y="4157201"/>
                </a:lnTo>
                <a:lnTo>
                  <a:pt x="3146982" y="4121826"/>
                </a:lnTo>
                <a:lnTo>
                  <a:pt x="3131813" y="4083826"/>
                </a:lnTo>
                <a:lnTo>
                  <a:pt x="3118888" y="4043273"/>
                </a:lnTo>
                <a:lnTo>
                  <a:pt x="3108083" y="4000240"/>
                </a:lnTo>
                <a:lnTo>
                  <a:pt x="3099276" y="3954797"/>
                </a:lnTo>
                <a:lnTo>
                  <a:pt x="3092346" y="3907019"/>
                </a:lnTo>
                <a:lnTo>
                  <a:pt x="3087169" y="3856976"/>
                </a:lnTo>
                <a:lnTo>
                  <a:pt x="3083623" y="3804741"/>
                </a:lnTo>
                <a:lnTo>
                  <a:pt x="3081585" y="3750386"/>
                </a:lnTo>
                <a:lnTo>
                  <a:pt x="3080933" y="3693984"/>
                </a:lnTo>
                <a:lnTo>
                  <a:pt x="3081606" y="3637823"/>
                </a:lnTo>
                <a:lnTo>
                  <a:pt x="3083706" y="3583708"/>
                </a:lnTo>
                <a:lnTo>
                  <a:pt x="3087346" y="3531711"/>
                </a:lnTo>
                <a:lnTo>
                  <a:pt x="3092643" y="3481903"/>
                </a:lnTo>
                <a:lnTo>
                  <a:pt x="3099713" y="3434354"/>
                </a:lnTo>
                <a:lnTo>
                  <a:pt x="3108673" y="3389137"/>
                </a:lnTo>
                <a:lnTo>
                  <a:pt x="3119637" y="3346320"/>
                </a:lnTo>
                <a:lnTo>
                  <a:pt x="3132722" y="3305977"/>
                </a:lnTo>
                <a:lnTo>
                  <a:pt x="3148044" y="3268179"/>
                </a:lnTo>
                <a:lnTo>
                  <a:pt x="3165718" y="3232996"/>
                </a:lnTo>
                <a:lnTo>
                  <a:pt x="3185862" y="3200499"/>
                </a:lnTo>
                <a:lnTo>
                  <a:pt x="3234018" y="3143849"/>
                </a:lnTo>
                <a:lnTo>
                  <a:pt x="3293441" y="3098798"/>
                </a:lnTo>
                <a:lnTo>
                  <a:pt x="3327668" y="3080800"/>
                </a:lnTo>
                <a:lnTo>
                  <a:pt x="3365059" y="3065915"/>
                </a:lnTo>
                <a:lnTo>
                  <a:pt x="3405730" y="3054214"/>
                </a:lnTo>
                <a:lnTo>
                  <a:pt x="3449797" y="3045768"/>
                </a:lnTo>
                <a:lnTo>
                  <a:pt x="3497376" y="3040648"/>
                </a:lnTo>
                <a:close/>
                <a:moveTo>
                  <a:pt x="3678369" y="2400757"/>
                </a:moveTo>
                <a:lnTo>
                  <a:pt x="4593430" y="2400757"/>
                </a:lnTo>
                <a:lnTo>
                  <a:pt x="4593430" y="2508807"/>
                </a:lnTo>
                <a:lnTo>
                  <a:pt x="3678369" y="2508807"/>
                </a:lnTo>
                <a:close/>
                <a:moveTo>
                  <a:pt x="2579115" y="2400753"/>
                </a:moveTo>
                <a:lnTo>
                  <a:pt x="3494165" y="2400753"/>
                </a:lnTo>
                <a:lnTo>
                  <a:pt x="3494165" y="2508804"/>
                </a:lnTo>
                <a:lnTo>
                  <a:pt x="2579115" y="2508804"/>
                </a:lnTo>
                <a:close/>
                <a:moveTo>
                  <a:pt x="3678369" y="2047903"/>
                </a:moveTo>
                <a:lnTo>
                  <a:pt x="4593430" y="2047903"/>
                </a:lnTo>
                <a:lnTo>
                  <a:pt x="4593430" y="2155954"/>
                </a:lnTo>
                <a:lnTo>
                  <a:pt x="3678369" y="2155954"/>
                </a:lnTo>
                <a:close/>
                <a:moveTo>
                  <a:pt x="2579115" y="2047899"/>
                </a:moveTo>
                <a:lnTo>
                  <a:pt x="3494165" y="2047899"/>
                </a:lnTo>
                <a:lnTo>
                  <a:pt x="3494165" y="2155950"/>
                </a:lnTo>
                <a:lnTo>
                  <a:pt x="2579115" y="2155950"/>
                </a:lnTo>
                <a:close/>
                <a:moveTo>
                  <a:pt x="6202942" y="1519467"/>
                </a:moveTo>
                <a:lnTo>
                  <a:pt x="6254150" y="1521189"/>
                </a:lnTo>
                <a:lnTo>
                  <a:pt x="6301730" y="1526309"/>
                </a:lnTo>
                <a:lnTo>
                  <a:pt x="6345796" y="1534755"/>
                </a:lnTo>
                <a:lnTo>
                  <a:pt x="6386468" y="1546456"/>
                </a:lnTo>
                <a:lnTo>
                  <a:pt x="6423858" y="1561341"/>
                </a:lnTo>
                <a:lnTo>
                  <a:pt x="6458084" y="1579339"/>
                </a:lnTo>
                <a:lnTo>
                  <a:pt x="6517506" y="1624390"/>
                </a:lnTo>
                <a:lnTo>
                  <a:pt x="6565664" y="1681040"/>
                </a:lnTo>
                <a:lnTo>
                  <a:pt x="6585806" y="1713537"/>
                </a:lnTo>
                <a:lnTo>
                  <a:pt x="6603482" y="1748720"/>
                </a:lnTo>
                <a:lnTo>
                  <a:pt x="6618804" y="1786518"/>
                </a:lnTo>
                <a:lnTo>
                  <a:pt x="6631888" y="1826861"/>
                </a:lnTo>
                <a:lnTo>
                  <a:pt x="6642852" y="1869678"/>
                </a:lnTo>
                <a:lnTo>
                  <a:pt x="6651812" y="1914895"/>
                </a:lnTo>
                <a:lnTo>
                  <a:pt x="6658882" y="1962443"/>
                </a:lnTo>
                <a:lnTo>
                  <a:pt x="6664180" y="2012251"/>
                </a:lnTo>
                <a:lnTo>
                  <a:pt x="6667820" y="2064248"/>
                </a:lnTo>
                <a:lnTo>
                  <a:pt x="6669918" y="2118363"/>
                </a:lnTo>
                <a:lnTo>
                  <a:pt x="6670594" y="2174524"/>
                </a:lnTo>
                <a:lnTo>
                  <a:pt x="6669952" y="2230926"/>
                </a:lnTo>
                <a:lnTo>
                  <a:pt x="6667946" y="2285281"/>
                </a:lnTo>
                <a:lnTo>
                  <a:pt x="6664446" y="2337516"/>
                </a:lnTo>
                <a:lnTo>
                  <a:pt x="6659328" y="2387560"/>
                </a:lnTo>
                <a:lnTo>
                  <a:pt x="6652468" y="2435337"/>
                </a:lnTo>
                <a:lnTo>
                  <a:pt x="6643740" y="2480781"/>
                </a:lnTo>
                <a:lnTo>
                  <a:pt x="6633014" y="2523814"/>
                </a:lnTo>
                <a:lnTo>
                  <a:pt x="6620170" y="2564367"/>
                </a:lnTo>
                <a:lnTo>
                  <a:pt x="6605078" y="2602367"/>
                </a:lnTo>
                <a:lnTo>
                  <a:pt x="6587612" y="2637742"/>
                </a:lnTo>
                <a:lnTo>
                  <a:pt x="6567650" y="2670420"/>
                </a:lnTo>
                <a:lnTo>
                  <a:pt x="6519726" y="2727394"/>
                </a:lnTo>
                <a:lnTo>
                  <a:pt x="6460300" y="2772712"/>
                </a:lnTo>
                <a:lnTo>
                  <a:pt x="6425960" y="2790820"/>
                </a:lnTo>
                <a:lnTo>
                  <a:pt x="6388366" y="2805798"/>
                </a:lnTo>
                <a:lnTo>
                  <a:pt x="6347392" y="2817573"/>
                </a:lnTo>
                <a:lnTo>
                  <a:pt x="6302914" y="2826073"/>
                </a:lnTo>
                <a:lnTo>
                  <a:pt x="6254806" y="2831226"/>
                </a:lnTo>
                <a:lnTo>
                  <a:pt x="6202942" y="2832959"/>
                </a:lnTo>
                <a:lnTo>
                  <a:pt x="6202942" y="2735039"/>
                </a:lnTo>
                <a:lnTo>
                  <a:pt x="6253190" y="2732780"/>
                </a:lnTo>
                <a:lnTo>
                  <a:pt x="6298622" y="2726085"/>
                </a:lnTo>
                <a:lnTo>
                  <a:pt x="6339462" y="2715072"/>
                </a:lnTo>
                <a:lnTo>
                  <a:pt x="6375942" y="2699861"/>
                </a:lnTo>
                <a:lnTo>
                  <a:pt x="6436736" y="2657324"/>
                </a:lnTo>
                <a:lnTo>
                  <a:pt x="6482832" y="2599431"/>
                </a:lnTo>
                <a:lnTo>
                  <a:pt x="6500942" y="2565024"/>
                </a:lnTo>
                <a:lnTo>
                  <a:pt x="6516064" y="2527138"/>
                </a:lnTo>
                <a:lnTo>
                  <a:pt x="6528426" y="2485890"/>
                </a:lnTo>
                <a:lnTo>
                  <a:pt x="6538260" y="2441401"/>
                </a:lnTo>
                <a:lnTo>
                  <a:pt x="6545792" y="2393791"/>
                </a:lnTo>
                <a:lnTo>
                  <a:pt x="6551252" y="2343178"/>
                </a:lnTo>
                <a:lnTo>
                  <a:pt x="6554868" y="2289683"/>
                </a:lnTo>
                <a:lnTo>
                  <a:pt x="6556870" y="2233425"/>
                </a:lnTo>
                <a:lnTo>
                  <a:pt x="6557486" y="2174524"/>
                </a:lnTo>
                <a:lnTo>
                  <a:pt x="6556836" y="2116203"/>
                </a:lnTo>
                <a:lnTo>
                  <a:pt x="6554744" y="2060487"/>
                </a:lnTo>
                <a:lnTo>
                  <a:pt x="6550990" y="2007501"/>
                </a:lnTo>
                <a:lnTo>
                  <a:pt x="6545362" y="1957362"/>
                </a:lnTo>
                <a:lnTo>
                  <a:pt x="6537640" y="1910190"/>
                </a:lnTo>
                <a:lnTo>
                  <a:pt x="6527608" y="1866104"/>
                </a:lnTo>
                <a:lnTo>
                  <a:pt x="6515052" y="1825226"/>
                </a:lnTo>
                <a:lnTo>
                  <a:pt x="6499752" y="1787671"/>
                </a:lnTo>
                <a:lnTo>
                  <a:pt x="6481494" y="1753562"/>
                </a:lnTo>
                <a:lnTo>
                  <a:pt x="6435236" y="1696160"/>
                </a:lnTo>
                <a:lnTo>
                  <a:pt x="6374546" y="1653973"/>
                </a:lnTo>
                <a:lnTo>
                  <a:pt x="6338248" y="1638885"/>
                </a:lnTo>
                <a:lnTo>
                  <a:pt x="6297692" y="1627960"/>
                </a:lnTo>
                <a:lnTo>
                  <a:pt x="6252662" y="1621317"/>
                </a:lnTo>
                <a:lnTo>
                  <a:pt x="6202942" y="1619076"/>
                </a:lnTo>
                <a:close/>
                <a:moveTo>
                  <a:pt x="6110023" y="1519467"/>
                </a:moveTo>
                <a:lnTo>
                  <a:pt x="6110023" y="1619076"/>
                </a:lnTo>
                <a:lnTo>
                  <a:pt x="6060583" y="1621317"/>
                </a:lnTo>
                <a:lnTo>
                  <a:pt x="6015801" y="1627960"/>
                </a:lnTo>
                <a:lnTo>
                  <a:pt x="5975462" y="1638885"/>
                </a:lnTo>
                <a:lnTo>
                  <a:pt x="5939352" y="1653973"/>
                </a:lnTo>
                <a:lnTo>
                  <a:pt x="5878960" y="1696160"/>
                </a:lnTo>
                <a:lnTo>
                  <a:pt x="5832910" y="1753562"/>
                </a:lnTo>
                <a:lnTo>
                  <a:pt x="5814728" y="1787671"/>
                </a:lnTo>
                <a:lnTo>
                  <a:pt x="5799488" y="1825226"/>
                </a:lnTo>
                <a:lnTo>
                  <a:pt x="5786975" y="1866104"/>
                </a:lnTo>
                <a:lnTo>
                  <a:pt x="5776976" y="1910190"/>
                </a:lnTo>
                <a:lnTo>
                  <a:pt x="5769275" y="1957362"/>
                </a:lnTo>
                <a:lnTo>
                  <a:pt x="5763660" y="2007501"/>
                </a:lnTo>
                <a:lnTo>
                  <a:pt x="5759914" y="2060487"/>
                </a:lnTo>
                <a:lnTo>
                  <a:pt x="5757823" y="2116203"/>
                </a:lnTo>
                <a:lnTo>
                  <a:pt x="5757174" y="2174524"/>
                </a:lnTo>
                <a:lnTo>
                  <a:pt x="5757807" y="2233425"/>
                </a:lnTo>
                <a:lnTo>
                  <a:pt x="5759852" y="2289683"/>
                </a:lnTo>
                <a:lnTo>
                  <a:pt x="5763530" y="2343178"/>
                </a:lnTo>
                <a:lnTo>
                  <a:pt x="5769061" y="2393791"/>
                </a:lnTo>
                <a:lnTo>
                  <a:pt x="5776667" y="2441401"/>
                </a:lnTo>
                <a:lnTo>
                  <a:pt x="5786567" y="2485890"/>
                </a:lnTo>
                <a:lnTo>
                  <a:pt x="5798983" y="2527138"/>
                </a:lnTo>
                <a:lnTo>
                  <a:pt x="5814135" y="2565024"/>
                </a:lnTo>
                <a:lnTo>
                  <a:pt x="5832243" y="2599431"/>
                </a:lnTo>
                <a:lnTo>
                  <a:pt x="5878214" y="2657324"/>
                </a:lnTo>
                <a:lnTo>
                  <a:pt x="5938656" y="2699861"/>
                </a:lnTo>
                <a:lnTo>
                  <a:pt x="5974857" y="2715072"/>
                </a:lnTo>
                <a:lnTo>
                  <a:pt x="6015338" y="2726085"/>
                </a:lnTo>
                <a:lnTo>
                  <a:pt x="6060320" y="2732780"/>
                </a:lnTo>
                <a:lnTo>
                  <a:pt x="6110023" y="2735039"/>
                </a:lnTo>
                <a:lnTo>
                  <a:pt x="6110023" y="2832959"/>
                </a:lnTo>
                <a:lnTo>
                  <a:pt x="6058379" y="2831226"/>
                </a:lnTo>
                <a:lnTo>
                  <a:pt x="6010447" y="2826073"/>
                </a:lnTo>
                <a:lnTo>
                  <a:pt x="5966107" y="2817573"/>
                </a:lnTo>
                <a:lnTo>
                  <a:pt x="5925235" y="2805798"/>
                </a:lnTo>
                <a:lnTo>
                  <a:pt x="5887709" y="2790820"/>
                </a:lnTo>
                <a:lnTo>
                  <a:pt x="5853406" y="2772712"/>
                </a:lnTo>
                <a:lnTo>
                  <a:pt x="5793981" y="2727394"/>
                </a:lnTo>
                <a:lnTo>
                  <a:pt x="5745979" y="2670420"/>
                </a:lnTo>
                <a:lnTo>
                  <a:pt x="5725956" y="2637742"/>
                </a:lnTo>
                <a:lnTo>
                  <a:pt x="5708421" y="2602367"/>
                </a:lnTo>
                <a:lnTo>
                  <a:pt x="5693252" y="2564367"/>
                </a:lnTo>
                <a:lnTo>
                  <a:pt x="5680327" y="2523814"/>
                </a:lnTo>
                <a:lnTo>
                  <a:pt x="5669522" y="2480781"/>
                </a:lnTo>
                <a:lnTo>
                  <a:pt x="5660715" y="2435337"/>
                </a:lnTo>
                <a:lnTo>
                  <a:pt x="5653785" y="2387560"/>
                </a:lnTo>
                <a:lnTo>
                  <a:pt x="5648608" y="2337516"/>
                </a:lnTo>
                <a:lnTo>
                  <a:pt x="5645062" y="2285281"/>
                </a:lnTo>
                <a:lnTo>
                  <a:pt x="5643024" y="2230926"/>
                </a:lnTo>
                <a:lnTo>
                  <a:pt x="5642372" y="2174524"/>
                </a:lnTo>
                <a:lnTo>
                  <a:pt x="5643045" y="2118363"/>
                </a:lnTo>
                <a:lnTo>
                  <a:pt x="5645145" y="2064248"/>
                </a:lnTo>
                <a:lnTo>
                  <a:pt x="5648785" y="2012251"/>
                </a:lnTo>
                <a:lnTo>
                  <a:pt x="5654082" y="1962443"/>
                </a:lnTo>
                <a:lnTo>
                  <a:pt x="5661152" y="1914895"/>
                </a:lnTo>
                <a:lnTo>
                  <a:pt x="5670112" y="1869678"/>
                </a:lnTo>
                <a:lnTo>
                  <a:pt x="5681076" y="1826861"/>
                </a:lnTo>
                <a:lnTo>
                  <a:pt x="5694161" y="1786518"/>
                </a:lnTo>
                <a:lnTo>
                  <a:pt x="5709483" y="1748720"/>
                </a:lnTo>
                <a:lnTo>
                  <a:pt x="5727157" y="1713537"/>
                </a:lnTo>
                <a:lnTo>
                  <a:pt x="5747301" y="1681040"/>
                </a:lnTo>
                <a:lnTo>
                  <a:pt x="5795457" y="1624390"/>
                </a:lnTo>
                <a:lnTo>
                  <a:pt x="5854880" y="1579339"/>
                </a:lnTo>
                <a:lnTo>
                  <a:pt x="5889107" y="1561341"/>
                </a:lnTo>
                <a:lnTo>
                  <a:pt x="5926498" y="1546456"/>
                </a:lnTo>
                <a:lnTo>
                  <a:pt x="5967169" y="1534755"/>
                </a:lnTo>
                <a:lnTo>
                  <a:pt x="6011236" y="1526309"/>
                </a:lnTo>
                <a:lnTo>
                  <a:pt x="6058815" y="1521189"/>
                </a:lnTo>
                <a:close/>
                <a:moveTo>
                  <a:pt x="4207776" y="1033233"/>
                </a:moveTo>
                <a:lnTo>
                  <a:pt x="4417120" y="1033233"/>
                </a:lnTo>
                <a:lnTo>
                  <a:pt x="4417120" y="1208814"/>
                </a:lnTo>
                <a:lnTo>
                  <a:pt x="4207776" y="1208814"/>
                </a:lnTo>
                <a:close/>
                <a:moveTo>
                  <a:pt x="5865088" y="881295"/>
                </a:moveTo>
                <a:lnTo>
                  <a:pt x="6780150" y="881295"/>
                </a:lnTo>
                <a:lnTo>
                  <a:pt x="6780150" y="989345"/>
                </a:lnTo>
                <a:lnTo>
                  <a:pt x="5865088" y="989345"/>
                </a:lnTo>
                <a:close/>
                <a:moveTo>
                  <a:pt x="5865088" y="528441"/>
                </a:moveTo>
                <a:lnTo>
                  <a:pt x="6780150" y="528441"/>
                </a:lnTo>
                <a:lnTo>
                  <a:pt x="6780150" y="636492"/>
                </a:lnTo>
                <a:lnTo>
                  <a:pt x="5865088" y="636492"/>
                </a:lnTo>
                <a:close/>
                <a:moveTo>
                  <a:pt x="7862878" y="7089"/>
                </a:moveTo>
                <a:lnTo>
                  <a:pt x="8241058" y="7089"/>
                </a:lnTo>
                <a:lnTo>
                  <a:pt x="8241058" y="103609"/>
                </a:lnTo>
                <a:lnTo>
                  <a:pt x="7979374" y="103609"/>
                </a:lnTo>
                <a:lnTo>
                  <a:pt x="7979374" y="1213589"/>
                </a:lnTo>
                <a:lnTo>
                  <a:pt x="8241058" y="1213589"/>
                </a:lnTo>
                <a:lnTo>
                  <a:pt x="8241058" y="1310109"/>
                </a:lnTo>
                <a:lnTo>
                  <a:pt x="7862878" y="1310109"/>
                </a:lnTo>
                <a:lnTo>
                  <a:pt x="7862878" y="1213589"/>
                </a:lnTo>
                <a:lnTo>
                  <a:pt x="7862878" y="103609"/>
                </a:lnTo>
                <a:close/>
                <a:moveTo>
                  <a:pt x="3051834" y="2"/>
                </a:moveTo>
                <a:lnTo>
                  <a:pt x="3051834" y="99613"/>
                </a:lnTo>
                <a:lnTo>
                  <a:pt x="3002394" y="101852"/>
                </a:lnTo>
                <a:lnTo>
                  <a:pt x="2957611" y="108497"/>
                </a:lnTo>
                <a:lnTo>
                  <a:pt x="2917272" y="119421"/>
                </a:lnTo>
                <a:lnTo>
                  <a:pt x="2881161" y="134509"/>
                </a:lnTo>
                <a:lnTo>
                  <a:pt x="2820768" y="176694"/>
                </a:lnTo>
                <a:lnTo>
                  <a:pt x="2774716" y="234098"/>
                </a:lnTo>
                <a:lnTo>
                  <a:pt x="2756533" y="268206"/>
                </a:lnTo>
                <a:lnTo>
                  <a:pt x="2741291" y="305760"/>
                </a:lnTo>
                <a:lnTo>
                  <a:pt x="2728778" y="346640"/>
                </a:lnTo>
                <a:lnTo>
                  <a:pt x="2718778" y="390725"/>
                </a:lnTo>
                <a:lnTo>
                  <a:pt x="2711077" y="437898"/>
                </a:lnTo>
                <a:lnTo>
                  <a:pt x="2705460" y="488037"/>
                </a:lnTo>
                <a:lnTo>
                  <a:pt x="2701714" y="541024"/>
                </a:lnTo>
                <a:lnTo>
                  <a:pt x="2699623" y="596738"/>
                </a:lnTo>
                <a:lnTo>
                  <a:pt x="2698974" y="655061"/>
                </a:lnTo>
                <a:lnTo>
                  <a:pt x="2699607" y="713962"/>
                </a:lnTo>
                <a:lnTo>
                  <a:pt x="2701652" y="770219"/>
                </a:lnTo>
                <a:lnTo>
                  <a:pt x="2705331" y="823713"/>
                </a:lnTo>
                <a:lnTo>
                  <a:pt x="2710863" y="874325"/>
                </a:lnTo>
                <a:lnTo>
                  <a:pt x="2718469" y="921936"/>
                </a:lnTo>
                <a:lnTo>
                  <a:pt x="2728370" y="966424"/>
                </a:lnTo>
                <a:lnTo>
                  <a:pt x="2740787" y="1007672"/>
                </a:lnTo>
                <a:lnTo>
                  <a:pt x="2755940" y="1045559"/>
                </a:lnTo>
                <a:lnTo>
                  <a:pt x="2774049" y="1079966"/>
                </a:lnTo>
                <a:lnTo>
                  <a:pt x="2820020" y="1137858"/>
                </a:lnTo>
                <a:lnTo>
                  <a:pt x="2880465" y="1180395"/>
                </a:lnTo>
                <a:lnTo>
                  <a:pt x="2916667" y="1195607"/>
                </a:lnTo>
                <a:lnTo>
                  <a:pt x="2957148" y="1206620"/>
                </a:lnTo>
                <a:lnTo>
                  <a:pt x="3002130" y="1213314"/>
                </a:lnTo>
                <a:lnTo>
                  <a:pt x="3051834" y="1215573"/>
                </a:lnTo>
                <a:lnTo>
                  <a:pt x="3051834" y="1313495"/>
                </a:lnTo>
                <a:lnTo>
                  <a:pt x="3000188" y="1311761"/>
                </a:lnTo>
                <a:lnTo>
                  <a:pt x="2952255" y="1306609"/>
                </a:lnTo>
                <a:lnTo>
                  <a:pt x="2907914" y="1298108"/>
                </a:lnTo>
                <a:lnTo>
                  <a:pt x="2867041" y="1286333"/>
                </a:lnTo>
                <a:lnTo>
                  <a:pt x="2829514" y="1271355"/>
                </a:lnTo>
                <a:lnTo>
                  <a:pt x="2795209" y="1253247"/>
                </a:lnTo>
                <a:lnTo>
                  <a:pt x="2735783" y="1207930"/>
                </a:lnTo>
                <a:lnTo>
                  <a:pt x="2687781" y="1150955"/>
                </a:lnTo>
                <a:lnTo>
                  <a:pt x="2667757" y="1118277"/>
                </a:lnTo>
                <a:lnTo>
                  <a:pt x="2650222" y="1082902"/>
                </a:lnTo>
                <a:lnTo>
                  <a:pt x="2635053" y="1044902"/>
                </a:lnTo>
                <a:lnTo>
                  <a:pt x="2622127" y="1004349"/>
                </a:lnTo>
                <a:lnTo>
                  <a:pt x="2611322" y="961316"/>
                </a:lnTo>
                <a:lnTo>
                  <a:pt x="2602516" y="915873"/>
                </a:lnTo>
                <a:lnTo>
                  <a:pt x="2595585" y="868095"/>
                </a:lnTo>
                <a:lnTo>
                  <a:pt x="2590408" y="818052"/>
                </a:lnTo>
                <a:lnTo>
                  <a:pt x="2586862" y="765818"/>
                </a:lnTo>
                <a:lnTo>
                  <a:pt x="2584824" y="711463"/>
                </a:lnTo>
                <a:lnTo>
                  <a:pt x="2584172" y="655061"/>
                </a:lnTo>
                <a:lnTo>
                  <a:pt x="2584846" y="598899"/>
                </a:lnTo>
                <a:lnTo>
                  <a:pt x="2586945" y="544784"/>
                </a:lnTo>
                <a:lnTo>
                  <a:pt x="2590585" y="492788"/>
                </a:lnTo>
                <a:lnTo>
                  <a:pt x="2595883" y="442980"/>
                </a:lnTo>
                <a:lnTo>
                  <a:pt x="2602954" y="395431"/>
                </a:lnTo>
                <a:lnTo>
                  <a:pt x="2611914" y="350213"/>
                </a:lnTo>
                <a:lnTo>
                  <a:pt x="2622878" y="307398"/>
                </a:lnTo>
                <a:lnTo>
                  <a:pt x="2635964" y="267054"/>
                </a:lnTo>
                <a:lnTo>
                  <a:pt x="2651287" y="229257"/>
                </a:lnTo>
                <a:lnTo>
                  <a:pt x="2668962" y="194074"/>
                </a:lnTo>
                <a:lnTo>
                  <a:pt x="2689106" y="161576"/>
                </a:lnTo>
                <a:lnTo>
                  <a:pt x="2737264" y="104925"/>
                </a:lnTo>
                <a:lnTo>
                  <a:pt x="2796688" y="59876"/>
                </a:lnTo>
                <a:lnTo>
                  <a:pt x="2830916" y="41878"/>
                </a:lnTo>
                <a:lnTo>
                  <a:pt x="2868307" y="26992"/>
                </a:lnTo>
                <a:lnTo>
                  <a:pt x="2908979" y="15290"/>
                </a:lnTo>
                <a:lnTo>
                  <a:pt x="2953046" y="6845"/>
                </a:lnTo>
                <a:lnTo>
                  <a:pt x="3000626" y="1724"/>
                </a:lnTo>
                <a:close/>
                <a:moveTo>
                  <a:pt x="8336918" y="1"/>
                </a:moveTo>
                <a:lnTo>
                  <a:pt x="8388126" y="1723"/>
                </a:lnTo>
                <a:lnTo>
                  <a:pt x="8435706" y="6843"/>
                </a:lnTo>
                <a:lnTo>
                  <a:pt x="8479774" y="15289"/>
                </a:lnTo>
                <a:lnTo>
                  <a:pt x="8520444" y="26990"/>
                </a:lnTo>
                <a:lnTo>
                  <a:pt x="8557834" y="41875"/>
                </a:lnTo>
                <a:lnTo>
                  <a:pt x="8592062" y="59873"/>
                </a:lnTo>
                <a:lnTo>
                  <a:pt x="8651484" y="104924"/>
                </a:lnTo>
                <a:lnTo>
                  <a:pt x="8699640" y="161574"/>
                </a:lnTo>
                <a:lnTo>
                  <a:pt x="8719784" y="194071"/>
                </a:lnTo>
                <a:lnTo>
                  <a:pt x="8737458" y="229254"/>
                </a:lnTo>
                <a:lnTo>
                  <a:pt x="8752780" y="267052"/>
                </a:lnTo>
                <a:lnTo>
                  <a:pt x="8765866" y="307395"/>
                </a:lnTo>
                <a:lnTo>
                  <a:pt x="8776830" y="350211"/>
                </a:lnTo>
                <a:lnTo>
                  <a:pt x="8785788" y="395428"/>
                </a:lnTo>
                <a:lnTo>
                  <a:pt x="8792860" y="442977"/>
                </a:lnTo>
                <a:lnTo>
                  <a:pt x="8798158" y="492785"/>
                </a:lnTo>
                <a:lnTo>
                  <a:pt x="8801798" y="544782"/>
                </a:lnTo>
                <a:lnTo>
                  <a:pt x="8803896" y="598897"/>
                </a:lnTo>
                <a:lnTo>
                  <a:pt x="8804570" y="655058"/>
                </a:lnTo>
                <a:lnTo>
                  <a:pt x="8803930" y="711460"/>
                </a:lnTo>
                <a:lnTo>
                  <a:pt x="8801922" y="765815"/>
                </a:lnTo>
                <a:lnTo>
                  <a:pt x="8798422" y="818050"/>
                </a:lnTo>
                <a:lnTo>
                  <a:pt x="8793306" y="868094"/>
                </a:lnTo>
                <a:lnTo>
                  <a:pt x="8786446" y="915872"/>
                </a:lnTo>
                <a:lnTo>
                  <a:pt x="8777716" y="961315"/>
                </a:lnTo>
                <a:lnTo>
                  <a:pt x="8766992" y="1004348"/>
                </a:lnTo>
                <a:lnTo>
                  <a:pt x="8754146" y="1044900"/>
                </a:lnTo>
                <a:lnTo>
                  <a:pt x="8739054" y="1082901"/>
                </a:lnTo>
                <a:lnTo>
                  <a:pt x="8721590" y="1118276"/>
                </a:lnTo>
                <a:lnTo>
                  <a:pt x="8701628" y="1150954"/>
                </a:lnTo>
                <a:lnTo>
                  <a:pt x="8653704" y="1207928"/>
                </a:lnTo>
                <a:lnTo>
                  <a:pt x="8594278" y="1253246"/>
                </a:lnTo>
                <a:lnTo>
                  <a:pt x="8559936" y="1271354"/>
                </a:lnTo>
                <a:lnTo>
                  <a:pt x="8522342" y="1286332"/>
                </a:lnTo>
                <a:lnTo>
                  <a:pt x="8481370" y="1298107"/>
                </a:lnTo>
                <a:lnTo>
                  <a:pt x="8436892" y="1306607"/>
                </a:lnTo>
                <a:lnTo>
                  <a:pt x="8388784" y="1311760"/>
                </a:lnTo>
                <a:lnTo>
                  <a:pt x="8336918" y="1313493"/>
                </a:lnTo>
                <a:lnTo>
                  <a:pt x="8336918" y="1215572"/>
                </a:lnTo>
                <a:lnTo>
                  <a:pt x="8387168" y="1213313"/>
                </a:lnTo>
                <a:lnTo>
                  <a:pt x="8432598" y="1206618"/>
                </a:lnTo>
                <a:lnTo>
                  <a:pt x="8473438" y="1195605"/>
                </a:lnTo>
                <a:lnTo>
                  <a:pt x="8509918" y="1180394"/>
                </a:lnTo>
                <a:lnTo>
                  <a:pt x="8570710" y="1137857"/>
                </a:lnTo>
                <a:lnTo>
                  <a:pt x="8616804" y="1079964"/>
                </a:lnTo>
                <a:lnTo>
                  <a:pt x="8634912" y="1045558"/>
                </a:lnTo>
                <a:lnTo>
                  <a:pt x="8650034" y="1007671"/>
                </a:lnTo>
                <a:lnTo>
                  <a:pt x="8662396" y="966423"/>
                </a:lnTo>
                <a:lnTo>
                  <a:pt x="8672228" y="921934"/>
                </a:lnTo>
                <a:lnTo>
                  <a:pt x="8679760" y="874323"/>
                </a:lnTo>
                <a:lnTo>
                  <a:pt x="8685218" y="823711"/>
                </a:lnTo>
                <a:lnTo>
                  <a:pt x="8688834" y="770216"/>
                </a:lnTo>
                <a:lnTo>
                  <a:pt x="8690836" y="713959"/>
                </a:lnTo>
                <a:lnTo>
                  <a:pt x="8691452" y="655058"/>
                </a:lnTo>
                <a:lnTo>
                  <a:pt x="8690804" y="596735"/>
                </a:lnTo>
                <a:lnTo>
                  <a:pt x="8688710" y="541021"/>
                </a:lnTo>
                <a:lnTo>
                  <a:pt x="8684958" y="488035"/>
                </a:lnTo>
                <a:lnTo>
                  <a:pt x="8679330" y="437895"/>
                </a:lnTo>
                <a:lnTo>
                  <a:pt x="8671608" y="390723"/>
                </a:lnTo>
                <a:lnTo>
                  <a:pt x="8661578" y="346638"/>
                </a:lnTo>
                <a:lnTo>
                  <a:pt x="8649022" y="305758"/>
                </a:lnTo>
                <a:lnTo>
                  <a:pt x="8633724" y="268204"/>
                </a:lnTo>
                <a:lnTo>
                  <a:pt x="8615466" y="234096"/>
                </a:lnTo>
                <a:lnTo>
                  <a:pt x="8569210" y="176693"/>
                </a:lnTo>
                <a:lnTo>
                  <a:pt x="8508522" y="134507"/>
                </a:lnTo>
                <a:lnTo>
                  <a:pt x="8472224" y="119419"/>
                </a:lnTo>
                <a:lnTo>
                  <a:pt x="8431668" y="108494"/>
                </a:lnTo>
                <a:lnTo>
                  <a:pt x="8386640" y="101851"/>
                </a:lnTo>
                <a:lnTo>
                  <a:pt x="8336918" y="99610"/>
                </a:lnTo>
                <a:close/>
                <a:moveTo>
                  <a:pt x="3144752" y="0"/>
                </a:moveTo>
                <a:lnTo>
                  <a:pt x="3195959" y="1722"/>
                </a:lnTo>
                <a:lnTo>
                  <a:pt x="3243539" y="6842"/>
                </a:lnTo>
                <a:lnTo>
                  <a:pt x="3287606" y="15288"/>
                </a:lnTo>
                <a:lnTo>
                  <a:pt x="3328277" y="26989"/>
                </a:lnTo>
                <a:lnTo>
                  <a:pt x="3365667" y="41874"/>
                </a:lnTo>
                <a:lnTo>
                  <a:pt x="3399895" y="59872"/>
                </a:lnTo>
                <a:lnTo>
                  <a:pt x="3459317" y="104923"/>
                </a:lnTo>
                <a:lnTo>
                  <a:pt x="3507474" y="161573"/>
                </a:lnTo>
                <a:lnTo>
                  <a:pt x="3527617" y="194070"/>
                </a:lnTo>
                <a:lnTo>
                  <a:pt x="3545292" y="229253"/>
                </a:lnTo>
                <a:lnTo>
                  <a:pt x="3560614" y="267051"/>
                </a:lnTo>
                <a:lnTo>
                  <a:pt x="3573699" y="307394"/>
                </a:lnTo>
                <a:lnTo>
                  <a:pt x="3584663" y="350210"/>
                </a:lnTo>
                <a:lnTo>
                  <a:pt x="3593622" y="395427"/>
                </a:lnTo>
                <a:lnTo>
                  <a:pt x="3600693" y="442977"/>
                </a:lnTo>
                <a:lnTo>
                  <a:pt x="3605990" y="492785"/>
                </a:lnTo>
                <a:lnTo>
                  <a:pt x="3609630" y="544782"/>
                </a:lnTo>
                <a:lnTo>
                  <a:pt x="3611729" y="598897"/>
                </a:lnTo>
                <a:lnTo>
                  <a:pt x="3612403" y="655058"/>
                </a:lnTo>
                <a:lnTo>
                  <a:pt x="3611762" y="711460"/>
                </a:lnTo>
                <a:lnTo>
                  <a:pt x="3609755" y="765815"/>
                </a:lnTo>
                <a:lnTo>
                  <a:pt x="3606255" y="818050"/>
                </a:lnTo>
                <a:lnTo>
                  <a:pt x="3601138" y="868093"/>
                </a:lnTo>
                <a:lnTo>
                  <a:pt x="3594278" y="915871"/>
                </a:lnTo>
                <a:lnTo>
                  <a:pt x="3585548" y="961314"/>
                </a:lnTo>
                <a:lnTo>
                  <a:pt x="3574823" y="1004347"/>
                </a:lnTo>
                <a:lnTo>
                  <a:pt x="3561977" y="1044900"/>
                </a:lnTo>
                <a:lnTo>
                  <a:pt x="3546884" y="1082900"/>
                </a:lnTo>
                <a:lnTo>
                  <a:pt x="3529420" y="1118275"/>
                </a:lnTo>
                <a:lnTo>
                  <a:pt x="3509456" y="1150953"/>
                </a:lnTo>
                <a:lnTo>
                  <a:pt x="3461532" y="1207927"/>
                </a:lnTo>
                <a:lnTo>
                  <a:pt x="3402106" y="1253245"/>
                </a:lnTo>
                <a:lnTo>
                  <a:pt x="3367764" y="1271353"/>
                </a:lnTo>
                <a:lnTo>
                  <a:pt x="3330171" y="1286331"/>
                </a:lnTo>
                <a:lnTo>
                  <a:pt x="3289198" y="1298106"/>
                </a:lnTo>
                <a:lnTo>
                  <a:pt x="3244722" y="1306606"/>
                </a:lnTo>
                <a:lnTo>
                  <a:pt x="3196615" y="1311759"/>
                </a:lnTo>
                <a:lnTo>
                  <a:pt x="3144752" y="1313492"/>
                </a:lnTo>
                <a:lnTo>
                  <a:pt x="3144752" y="1215571"/>
                </a:lnTo>
                <a:lnTo>
                  <a:pt x="3194999" y="1213312"/>
                </a:lnTo>
                <a:lnTo>
                  <a:pt x="3240428" y="1206617"/>
                </a:lnTo>
                <a:lnTo>
                  <a:pt x="3281267" y="1195604"/>
                </a:lnTo>
                <a:lnTo>
                  <a:pt x="3317746" y="1180393"/>
                </a:lnTo>
                <a:lnTo>
                  <a:pt x="3378538" y="1137856"/>
                </a:lnTo>
                <a:lnTo>
                  <a:pt x="3424634" y="1079963"/>
                </a:lnTo>
                <a:lnTo>
                  <a:pt x="3442743" y="1045557"/>
                </a:lnTo>
                <a:lnTo>
                  <a:pt x="3457864" y="1007670"/>
                </a:lnTo>
                <a:lnTo>
                  <a:pt x="3470227" y="966422"/>
                </a:lnTo>
                <a:lnTo>
                  <a:pt x="3480060" y="921934"/>
                </a:lnTo>
                <a:lnTo>
                  <a:pt x="3487591" y="874323"/>
                </a:lnTo>
                <a:lnTo>
                  <a:pt x="3493051" y="823711"/>
                </a:lnTo>
                <a:lnTo>
                  <a:pt x="3496668" y="770216"/>
                </a:lnTo>
                <a:lnTo>
                  <a:pt x="3498670" y="713959"/>
                </a:lnTo>
                <a:lnTo>
                  <a:pt x="3499286" y="655058"/>
                </a:lnTo>
                <a:lnTo>
                  <a:pt x="3498637" y="596735"/>
                </a:lnTo>
                <a:lnTo>
                  <a:pt x="3496544" y="541021"/>
                </a:lnTo>
                <a:lnTo>
                  <a:pt x="3492792" y="488034"/>
                </a:lnTo>
                <a:lnTo>
                  <a:pt x="3487163" y="437895"/>
                </a:lnTo>
                <a:lnTo>
                  <a:pt x="3479442" y="390722"/>
                </a:lnTo>
                <a:lnTo>
                  <a:pt x="3469411" y="346637"/>
                </a:lnTo>
                <a:lnTo>
                  <a:pt x="3456855" y="305757"/>
                </a:lnTo>
                <a:lnTo>
                  <a:pt x="3441557" y="268203"/>
                </a:lnTo>
                <a:lnTo>
                  <a:pt x="3423300" y="234095"/>
                </a:lnTo>
                <a:lnTo>
                  <a:pt x="3377044" y="176692"/>
                </a:lnTo>
                <a:lnTo>
                  <a:pt x="3316354" y="134506"/>
                </a:lnTo>
                <a:lnTo>
                  <a:pt x="3280057" y="119418"/>
                </a:lnTo>
                <a:lnTo>
                  <a:pt x="3239501" y="108493"/>
                </a:lnTo>
                <a:lnTo>
                  <a:pt x="3194472" y="101850"/>
                </a:lnTo>
                <a:lnTo>
                  <a:pt x="3144752" y="99609"/>
                </a:lnTo>
                <a:close/>
              </a:path>
            </a:pathLst>
          </a:custGeom>
          <a:solidFill>
            <a:srgbClr val="88C66D"/>
          </a:solidFill>
        </p:spPr>
        <p:txBody>
          <a:bodyPr wrap="square" lIns="0" tIns="0" rIns="0" bIns="0" rtlCol="0">
            <a:noAutofit/>
          </a:bodyPr>
          <a:lstStyle/>
          <a:p>
            <a:endParaRPr lang="da-DK" sz="1350"/>
          </a:p>
        </p:txBody>
      </p:sp>
    </p:spTree>
    <p:extLst>
      <p:ext uri="{BB962C8B-B14F-4D97-AF65-F5344CB8AC3E}">
        <p14:creationId xmlns:p14="http://schemas.microsoft.com/office/powerpoint/2010/main" val="3977204928"/>
      </p:ext>
    </p:extLst>
  </p:cSld>
  <p:clrMapOvr>
    <a:masterClrMapping/>
  </p:clrMapOvr>
  <p:extLst>
    <p:ext uri="{DCECCB84-F9BA-43D5-87BE-67443E8EF086}">
      <p15:sldGuideLst xmlns:p15="http://schemas.microsoft.com/office/powerpoint/2012/main">
        <p15:guide id="2" orient="horz" pos="1201">
          <p15:clr>
            <a:srgbClr val="A4A3A4"/>
          </p15:clr>
        </p15:guide>
        <p15:guide id="3" orient="horz" pos="566">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65F358-3D0B-4C30-94C6-9BC8E1B3EA11}"/>
              </a:ext>
            </a:extLst>
          </p:cNvPr>
          <p:cNvSpPr>
            <a:spLocks noGrp="1"/>
          </p:cNvSpPr>
          <p:nvPr>
            <p:ph type="title" hasCustomPrompt="1"/>
          </p:nvPr>
        </p:nvSpPr>
        <p:spPr>
          <a:xfrm>
            <a:off x="405000" y="675000"/>
            <a:ext cx="5510025" cy="621000"/>
          </a:xfrm>
        </p:spPr>
        <p:txBody>
          <a:bodyPr/>
          <a:lstStyle>
            <a:lvl1pPr>
              <a:defRPr/>
            </a:lvl1pPr>
          </a:lstStyle>
          <a:p>
            <a:r>
              <a:rPr lang="da-DK"/>
              <a:t>Klik for at tilføje titel, Dagens Program</a:t>
            </a:r>
          </a:p>
        </p:txBody>
      </p:sp>
      <p:sp>
        <p:nvSpPr>
          <p:cNvPr id="2" name="Text Placeholder 3">
            <a:extLst>
              <a:ext uri="{FF2B5EF4-FFF2-40B4-BE49-F238E27FC236}">
                <a16:creationId xmlns:a16="http://schemas.microsoft.com/office/drawing/2014/main" id="{A76E8226-8174-E37A-FCF1-4C304793A7DE}"/>
              </a:ext>
            </a:extLst>
          </p:cNvPr>
          <p:cNvSpPr>
            <a:spLocks noGrp="1"/>
          </p:cNvSpPr>
          <p:nvPr>
            <p:ph type="body" sz="quarter" idx="17" hasCustomPrompt="1"/>
          </p:nvPr>
        </p:nvSpPr>
        <p:spPr>
          <a:xfrm>
            <a:off x="405001" y="1431000"/>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5" name="Text Placeholder 2">
            <a:extLst>
              <a:ext uri="{FF2B5EF4-FFF2-40B4-BE49-F238E27FC236}">
                <a16:creationId xmlns:a16="http://schemas.microsoft.com/office/drawing/2014/main" id="{7E937C38-A16E-A8FA-62D1-0E27C181FC6A}"/>
              </a:ext>
            </a:extLst>
          </p:cNvPr>
          <p:cNvSpPr>
            <a:spLocks noGrp="1"/>
          </p:cNvSpPr>
          <p:nvPr>
            <p:ph type="body" sz="quarter" idx="13" hasCustomPrompt="1"/>
          </p:nvPr>
        </p:nvSpPr>
        <p:spPr>
          <a:xfrm>
            <a:off x="1504336" y="1431000"/>
            <a:ext cx="4410689" cy="189000"/>
          </a:xfrm>
        </p:spPr>
        <p:txBody>
          <a:bodyPr/>
          <a:lstStyle>
            <a:lvl1pPr marL="0" indent="0">
              <a:lnSpc>
                <a:spcPct val="100000"/>
              </a:lnSpc>
              <a:spcAft>
                <a:spcPts val="0"/>
              </a:spcAft>
              <a:buFontTx/>
              <a:buNone/>
              <a:defRPr sz="1200" b="0">
                <a:latin typeface="+mn-lt"/>
              </a:defRPr>
            </a:lvl1pPr>
            <a:lvl2pPr marL="0" indent="0">
              <a:lnSpc>
                <a:spcPts val="1440"/>
              </a:lnSpc>
              <a:spcBef>
                <a:spcPts val="0"/>
              </a:spcBef>
              <a:spcAft>
                <a:spcPts val="0"/>
              </a:spcAft>
              <a:buFont typeface="Arial" panose="020B0604020202020204" pitchFamily="34" charset="0"/>
              <a:buChar char="​"/>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p:txBody>
      </p:sp>
      <p:sp>
        <p:nvSpPr>
          <p:cNvPr id="6" name="Text Placeholder 3">
            <a:extLst>
              <a:ext uri="{FF2B5EF4-FFF2-40B4-BE49-F238E27FC236}">
                <a16:creationId xmlns:a16="http://schemas.microsoft.com/office/drawing/2014/main" id="{74FC6D8A-08C2-F9D4-BD0B-9862DB0E141E}"/>
              </a:ext>
            </a:extLst>
          </p:cNvPr>
          <p:cNvSpPr>
            <a:spLocks noGrp="1"/>
          </p:cNvSpPr>
          <p:nvPr>
            <p:ph type="body" sz="quarter" idx="23" hasCustomPrompt="1"/>
          </p:nvPr>
        </p:nvSpPr>
        <p:spPr>
          <a:xfrm>
            <a:off x="405001" y="1671271"/>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12" name="Text Placeholder 2">
            <a:extLst>
              <a:ext uri="{FF2B5EF4-FFF2-40B4-BE49-F238E27FC236}">
                <a16:creationId xmlns:a16="http://schemas.microsoft.com/office/drawing/2014/main" id="{4C651BE7-A3F6-A61D-4318-D4218D00A6F1}"/>
              </a:ext>
            </a:extLst>
          </p:cNvPr>
          <p:cNvSpPr>
            <a:spLocks noGrp="1"/>
          </p:cNvSpPr>
          <p:nvPr>
            <p:ph type="body" sz="quarter" idx="24" hasCustomPrompt="1"/>
          </p:nvPr>
        </p:nvSpPr>
        <p:spPr>
          <a:xfrm>
            <a:off x="1504336" y="1671271"/>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13" name="Text Placeholder 3">
            <a:extLst>
              <a:ext uri="{FF2B5EF4-FFF2-40B4-BE49-F238E27FC236}">
                <a16:creationId xmlns:a16="http://schemas.microsoft.com/office/drawing/2014/main" id="{5F760D39-AA85-35CE-800E-4A532815DE09}"/>
              </a:ext>
            </a:extLst>
          </p:cNvPr>
          <p:cNvSpPr>
            <a:spLocks noGrp="1"/>
          </p:cNvSpPr>
          <p:nvPr>
            <p:ph type="body" sz="quarter" idx="25" hasCustomPrompt="1"/>
          </p:nvPr>
        </p:nvSpPr>
        <p:spPr>
          <a:xfrm>
            <a:off x="405001" y="1911541"/>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14" name="Text Placeholder 2">
            <a:extLst>
              <a:ext uri="{FF2B5EF4-FFF2-40B4-BE49-F238E27FC236}">
                <a16:creationId xmlns:a16="http://schemas.microsoft.com/office/drawing/2014/main" id="{BC823F29-C5ED-685F-A1D5-4A25E6F1C24B}"/>
              </a:ext>
            </a:extLst>
          </p:cNvPr>
          <p:cNvSpPr>
            <a:spLocks noGrp="1"/>
          </p:cNvSpPr>
          <p:nvPr>
            <p:ph type="body" sz="quarter" idx="26" hasCustomPrompt="1"/>
          </p:nvPr>
        </p:nvSpPr>
        <p:spPr>
          <a:xfrm>
            <a:off x="1504336" y="1911541"/>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15" name="Text Placeholder 3">
            <a:extLst>
              <a:ext uri="{FF2B5EF4-FFF2-40B4-BE49-F238E27FC236}">
                <a16:creationId xmlns:a16="http://schemas.microsoft.com/office/drawing/2014/main" id="{AB2EEFA3-2976-5729-22E5-D1DF3E83DBD9}"/>
              </a:ext>
            </a:extLst>
          </p:cNvPr>
          <p:cNvSpPr>
            <a:spLocks noGrp="1"/>
          </p:cNvSpPr>
          <p:nvPr>
            <p:ph type="body" sz="quarter" idx="27" hasCustomPrompt="1"/>
          </p:nvPr>
        </p:nvSpPr>
        <p:spPr>
          <a:xfrm>
            <a:off x="405001" y="2153655"/>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16" name="Text Placeholder 2">
            <a:extLst>
              <a:ext uri="{FF2B5EF4-FFF2-40B4-BE49-F238E27FC236}">
                <a16:creationId xmlns:a16="http://schemas.microsoft.com/office/drawing/2014/main" id="{E73FC7A0-48E0-C209-104D-3230D2125043}"/>
              </a:ext>
            </a:extLst>
          </p:cNvPr>
          <p:cNvSpPr>
            <a:spLocks noGrp="1"/>
          </p:cNvSpPr>
          <p:nvPr>
            <p:ph type="body" sz="quarter" idx="28" hasCustomPrompt="1"/>
          </p:nvPr>
        </p:nvSpPr>
        <p:spPr>
          <a:xfrm>
            <a:off x="1504336" y="2153655"/>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17" name="Text Placeholder 3">
            <a:extLst>
              <a:ext uri="{FF2B5EF4-FFF2-40B4-BE49-F238E27FC236}">
                <a16:creationId xmlns:a16="http://schemas.microsoft.com/office/drawing/2014/main" id="{C059AC41-5B7A-4338-4A21-10726563A4D5}"/>
              </a:ext>
            </a:extLst>
          </p:cNvPr>
          <p:cNvSpPr>
            <a:spLocks noGrp="1"/>
          </p:cNvSpPr>
          <p:nvPr>
            <p:ph type="body" sz="quarter" idx="29" hasCustomPrompt="1"/>
          </p:nvPr>
        </p:nvSpPr>
        <p:spPr>
          <a:xfrm>
            <a:off x="405001" y="2395769"/>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1" name="Text Placeholder 2">
            <a:extLst>
              <a:ext uri="{FF2B5EF4-FFF2-40B4-BE49-F238E27FC236}">
                <a16:creationId xmlns:a16="http://schemas.microsoft.com/office/drawing/2014/main" id="{AFAC4992-FDAB-EEF1-85BC-401446ED7BBA}"/>
              </a:ext>
            </a:extLst>
          </p:cNvPr>
          <p:cNvSpPr>
            <a:spLocks noGrp="1"/>
          </p:cNvSpPr>
          <p:nvPr>
            <p:ph type="body" sz="quarter" idx="30" hasCustomPrompt="1"/>
          </p:nvPr>
        </p:nvSpPr>
        <p:spPr>
          <a:xfrm>
            <a:off x="1504336" y="2395769"/>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2" name="Text Placeholder 3">
            <a:extLst>
              <a:ext uri="{FF2B5EF4-FFF2-40B4-BE49-F238E27FC236}">
                <a16:creationId xmlns:a16="http://schemas.microsoft.com/office/drawing/2014/main" id="{6111B8AB-3518-5D1C-F370-620ADD18E924}"/>
              </a:ext>
            </a:extLst>
          </p:cNvPr>
          <p:cNvSpPr>
            <a:spLocks noGrp="1"/>
          </p:cNvSpPr>
          <p:nvPr>
            <p:ph type="body" sz="quarter" idx="31" hasCustomPrompt="1"/>
          </p:nvPr>
        </p:nvSpPr>
        <p:spPr>
          <a:xfrm>
            <a:off x="405001" y="2637884"/>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3" name="Text Placeholder 2">
            <a:extLst>
              <a:ext uri="{FF2B5EF4-FFF2-40B4-BE49-F238E27FC236}">
                <a16:creationId xmlns:a16="http://schemas.microsoft.com/office/drawing/2014/main" id="{B86BA501-BE19-02A4-C6DE-4BD3111439C9}"/>
              </a:ext>
            </a:extLst>
          </p:cNvPr>
          <p:cNvSpPr>
            <a:spLocks noGrp="1"/>
          </p:cNvSpPr>
          <p:nvPr>
            <p:ph type="body" sz="quarter" idx="32" hasCustomPrompt="1"/>
          </p:nvPr>
        </p:nvSpPr>
        <p:spPr>
          <a:xfrm>
            <a:off x="1504336" y="2637884"/>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4" name="Text Placeholder 3">
            <a:extLst>
              <a:ext uri="{FF2B5EF4-FFF2-40B4-BE49-F238E27FC236}">
                <a16:creationId xmlns:a16="http://schemas.microsoft.com/office/drawing/2014/main" id="{7FD88E33-EB65-34CD-C09A-087D644E9C61}"/>
              </a:ext>
            </a:extLst>
          </p:cNvPr>
          <p:cNvSpPr>
            <a:spLocks noGrp="1"/>
          </p:cNvSpPr>
          <p:nvPr>
            <p:ph type="body" sz="quarter" idx="33" hasCustomPrompt="1"/>
          </p:nvPr>
        </p:nvSpPr>
        <p:spPr>
          <a:xfrm>
            <a:off x="405001" y="2879998"/>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5" name="Text Placeholder 2">
            <a:extLst>
              <a:ext uri="{FF2B5EF4-FFF2-40B4-BE49-F238E27FC236}">
                <a16:creationId xmlns:a16="http://schemas.microsoft.com/office/drawing/2014/main" id="{8C840B5A-4ECE-B864-6FC7-AC3D5A610A50}"/>
              </a:ext>
            </a:extLst>
          </p:cNvPr>
          <p:cNvSpPr>
            <a:spLocks noGrp="1"/>
          </p:cNvSpPr>
          <p:nvPr>
            <p:ph type="body" sz="quarter" idx="34" hasCustomPrompt="1"/>
          </p:nvPr>
        </p:nvSpPr>
        <p:spPr>
          <a:xfrm>
            <a:off x="1504336" y="2879998"/>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6" name="Text Placeholder 3">
            <a:extLst>
              <a:ext uri="{FF2B5EF4-FFF2-40B4-BE49-F238E27FC236}">
                <a16:creationId xmlns:a16="http://schemas.microsoft.com/office/drawing/2014/main" id="{B3FF9F75-5E25-6779-CD0C-8A05BDA51D3B}"/>
              </a:ext>
            </a:extLst>
          </p:cNvPr>
          <p:cNvSpPr>
            <a:spLocks noGrp="1"/>
          </p:cNvSpPr>
          <p:nvPr>
            <p:ph type="body" sz="quarter" idx="35" hasCustomPrompt="1"/>
          </p:nvPr>
        </p:nvSpPr>
        <p:spPr>
          <a:xfrm>
            <a:off x="405001" y="3122112"/>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7" name="Text Placeholder 2">
            <a:extLst>
              <a:ext uri="{FF2B5EF4-FFF2-40B4-BE49-F238E27FC236}">
                <a16:creationId xmlns:a16="http://schemas.microsoft.com/office/drawing/2014/main" id="{19DFD96B-F954-22DC-C18E-3B859ACC069C}"/>
              </a:ext>
            </a:extLst>
          </p:cNvPr>
          <p:cNvSpPr>
            <a:spLocks noGrp="1"/>
          </p:cNvSpPr>
          <p:nvPr>
            <p:ph type="body" sz="quarter" idx="36" hasCustomPrompt="1"/>
          </p:nvPr>
        </p:nvSpPr>
        <p:spPr>
          <a:xfrm>
            <a:off x="1504336" y="3122112"/>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8" name="Text Placeholder 3">
            <a:extLst>
              <a:ext uri="{FF2B5EF4-FFF2-40B4-BE49-F238E27FC236}">
                <a16:creationId xmlns:a16="http://schemas.microsoft.com/office/drawing/2014/main" id="{1B6A67BA-9689-D829-7A04-48256C947CFF}"/>
              </a:ext>
            </a:extLst>
          </p:cNvPr>
          <p:cNvSpPr>
            <a:spLocks noGrp="1"/>
          </p:cNvSpPr>
          <p:nvPr>
            <p:ph type="body" sz="quarter" idx="37" hasCustomPrompt="1"/>
          </p:nvPr>
        </p:nvSpPr>
        <p:spPr>
          <a:xfrm>
            <a:off x="405001" y="3364226"/>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9" name="Text Placeholder 2">
            <a:extLst>
              <a:ext uri="{FF2B5EF4-FFF2-40B4-BE49-F238E27FC236}">
                <a16:creationId xmlns:a16="http://schemas.microsoft.com/office/drawing/2014/main" id="{2F4FAB9B-9AF4-028B-BB6B-137516B7A4A7}"/>
              </a:ext>
            </a:extLst>
          </p:cNvPr>
          <p:cNvSpPr>
            <a:spLocks noGrp="1"/>
          </p:cNvSpPr>
          <p:nvPr>
            <p:ph type="body" sz="quarter" idx="38" hasCustomPrompt="1"/>
          </p:nvPr>
        </p:nvSpPr>
        <p:spPr>
          <a:xfrm>
            <a:off x="1504336" y="3364226"/>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30" name="Text Placeholder 3">
            <a:extLst>
              <a:ext uri="{FF2B5EF4-FFF2-40B4-BE49-F238E27FC236}">
                <a16:creationId xmlns:a16="http://schemas.microsoft.com/office/drawing/2014/main" id="{C296EEBB-C352-16F9-ACE2-441D6CDF5087}"/>
              </a:ext>
            </a:extLst>
          </p:cNvPr>
          <p:cNvSpPr>
            <a:spLocks noGrp="1"/>
          </p:cNvSpPr>
          <p:nvPr>
            <p:ph type="body" sz="quarter" idx="39" hasCustomPrompt="1"/>
          </p:nvPr>
        </p:nvSpPr>
        <p:spPr>
          <a:xfrm>
            <a:off x="404813" y="3606341"/>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1" name="Text Placeholder 2">
            <a:extLst>
              <a:ext uri="{FF2B5EF4-FFF2-40B4-BE49-F238E27FC236}">
                <a16:creationId xmlns:a16="http://schemas.microsoft.com/office/drawing/2014/main" id="{69E33C77-C0D2-B3F3-4438-1E3B57755E1C}"/>
              </a:ext>
            </a:extLst>
          </p:cNvPr>
          <p:cNvSpPr>
            <a:spLocks noGrp="1"/>
          </p:cNvSpPr>
          <p:nvPr>
            <p:ph type="body" sz="quarter" idx="40" hasCustomPrompt="1"/>
          </p:nvPr>
        </p:nvSpPr>
        <p:spPr>
          <a:xfrm>
            <a:off x="1504149" y="3606341"/>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32" name="Text Placeholder 3">
            <a:extLst>
              <a:ext uri="{FF2B5EF4-FFF2-40B4-BE49-F238E27FC236}">
                <a16:creationId xmlns:a16="http://schemas.microsoft.com/office/drawing/2014/main" id="{41CB8987-4D07-1DB1-6C86-0E673000558D}"/>
              </a:ext>
            </a:extLst>
          </p:cNvPr>
          <p:cNvSpPr>
            <a:spLocks noGrp="1"/>
          </p:cNvSpPr>
          <p:nvPr>
            <p:ph type="body" sz="quarter" idx="41" hasCustomPrompt="1"/>
          </p:nvPr>
        </p:nvSpPr>
        <p:spPr>
          <a:xfrm>
            <a:off x="404813" y="3846611"/>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3" name="Text Placeholder 2">
            <a:extLst>
              <a:ext uri="{FF2B5EF4-FFF2-40B4-BE49-F238E27FC236}">
                <a16:creationId xmlns:a16="http://schemas.microsoft.com/office/drawing/2014/main" id="{28A18388-F62A-13D5-BBEE-582271022735}"/>
              </a:ext>
            </a:extLst>
          </p:cNvPr>
          <p:cNvSpPr>
            <a:spLocks noGrp="1"/>
          </p:cNvSpPr>
          <p:nvPr>
            <p:ph type="body" sz="quarter" idx="42" hasCustomPrompt="1"/>
          </p:nvPr>
        </p:nvSpPr>
        <p:spPr>
          <a:xfrm>
            <a:off x="1504149" y="3846611"/>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34" name="Text Placeholder 3">
            <a:extLst>
              <a:ext uri="{FF2B5EF4-FFF2-40B4-BE49-F238E27FC236}">
                <a16:creationId xmlns:a16="http://schemas.microsoft.com/office/drawing/2014/main" id="{231E6D39-6AE2-E985-9DAE-92D5F367698B}"/>
              </a:ext>
            </a:extLst>
          </p:cNvPr>
          <p:cNvSpPr>
            <a:spLocks noGrp="1"/>
          </p:cNvSpPr>
          <p:nvPr>
            <p:ph type="body" sz="quarter" idx="43" hasCustomPrompt="1"/>
          </p:nvPr>
        </p:nvSpPr>
        <p:spPr>
          <a:xfrm>
            <a:off x="405001" y="4086882"/>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5" name="Text Placeholder 2">
            <a:extLst>
              <a:ext uri="{FF2B5EF4-FFF2-40B4-BE49-F238E27FC236}">
                <a16:creationId xmlns:a16="http://schemas.microsoft.com/office/drawing/2014/main" id="{FED9C863-C34F-399D-6ED6-BA93913CB8E0}"/>
              </a:ext>
            </a:extLst>
          </p:cNvPr>
          <p:cNvSpPr>
            <a:spLocks noGrp="1"/>
          </p:cNvSpPr>
          <p:nvPr>
            <p:ph type="body" sz="quarter" idx="44" hasCustomPrompt="1"/>
          </p:nvPr>
        </p:nvSpPr>
        <p:spPr>
          <a:xfrm>
            <a:off x="1504336" y="4086882"/>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36" name="Text Placeholder 3">
            <a:extLst>
              <a:ext uri="{FF2B5EF4-FFF2-40B4-BE49-F238E27FC236}">
                <a16:creationId xmlns:a16="http://schemas.microsoft.com/office/drawing/2014/main" id="{DB083309-C46A-38CE-0FFB-3027F1DE00B8}"/>
              </a:ext>
            </a:extLst>
          </p:cNvPr>
          <p:cNvSpPr>
            <a:spLocks noGrp="1"/>
          </p:cNvSpPr>
          <p:nvPr>
            <p:ph type="body" sz="quarter" idx="45" hasCustomPrompt="1"/>
          </p:nvPr>
        </p:nvSpPr>
        <p:spPr>
          <a:xfrm>
            <a:off x="405001" y="4327153"/>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7" name="Text Placeholder 2">
            <a:extLst>
              <a:ext uri="{FF2B5EF4-FFF2-40B4-BE49-F238E27FC236}">
                <a16:creationId xmlns:a16="http://schemas.microsoft.com/office/drawing/2014/main" id="{55AD81F8-13FF-AD9A-07F0-D91DB37D44D8}"/>
              </a:ext>
            </a:extLst>
          </p:cNvPr>
          <p:cNvSpPr>
            <a:spLocks noGrp="1"/>
          </p:cNvSpPr>
          <p:nvPr>
            <p:ph type="body" sz="quarter" idx="46" hasCustomPrompt="1"/>
          </p:nvPr>
        </p:nvSpPr>
        <p:spPr>
          <a:xfrm>
            <a:off x="1504336" y="4327153"/>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18" name="Pladsholder til dato 17">
            <a:extLst>
              <a:ext uri="{FF2B5EF4-FFF2-40B4-BE49-F238E27FC236}">
                <a16:creationId xmlns:a16="http://schemas.microsoft.com/office/drawing/2014/main" id="{CD90634D-8101-F6C4-83E7-B23E68904390}"/>
              </a:ext>
            </a:extLst>
          </p:cNvPr>
          <p:cNvSpPr>
            <a:spLocks noGrp="1"/>
          </p:cNvSpPr>
          <p:nvPr>
            <p:ph type="dt" sz="half" idx="20"/>
          </p:nvPr>
        </p:nvSpPr>
        <p:spPr/>
        <p:txBody>
          <a:bodyPr/>
          <a:lstStyle/>
          <a:p>
            <a:fld id="{2A9E7E65-270D-4F3F-848C-98E95A93B5E1}" type="datetime2">
              <a:rPr lang="da-DK" smtClean="0"/>
              <a:t>11. december 2025</a:t>
            </a:fld>
            <a:endParaRPr lang="da-DK"/>
          </a:p>
        </p:txBody>
      </p:sp>
      <p:sp>
        <p:nvSpPr>
          <p:cNvPr id="19" name="Pladsholder til sidefod 18">
            <a:extLst>
              <a:ext uri="{FF2B5EF4-FFF2-40B4-BE49-F238E27FC236}">
                <a16:creationId xmlns:a16="http://schemas.microsoft.com/office/drawing/2014/main" id="{FAD3D5B6-58B2-9664-F0BC-1DEF32B0772B}"/>
              </a:ext>
            </a:extLst>
          </p:cNvPr>
          <p:cNvSpPr>
            <a:spLocks noGrp="1"/>
          </p:cNvSpPr>
          <p:nvPr>
            <p:ph type="ftr" sz="quarter" idx="21"/>
          </p:nvPr>
        </p:nvSpPr>
        <p:spPr/>
        <p:txBody>
          <a:bodyPr/>
          <a:lstStyle/>
          <a:p>
            <a:r>
              <a:rPr lang="da-DK"/>
              <a:t>Digitaliseringsstyrelsen</a:t>
            </a:r>
          </a:p>
        </p:txBody>
      </p:sp>
      <p:sp>
        <p:nvSpPr>
          <p:cNvPr id="20" name="Pladsholder til slidenummer 19">
            <a:extLst>
              <a:ext uri="{FF2B5EF4-FFF2-40B4-BE49-F238E27FC236}">
                <a16:creationId xmlns:a16="http://schemas.microsoft.com/office/drawing/2014/main" id="{DFAA6004-F3B1-3667-5F85-60651A0B7444}"/>
              </a:ext>
            </a:extLst>
          </p:cNvPr>
          <p:cNvSpPr>
            <a:spLocks noGrp="1"/>
          </p:cNvSpPr>
          <p:nvPr>
            <p:ph type="sldNum" sz="quarter" idx="22"/>
          </p:nvPr>
        </p:nvSpPr>
        <p:spPr/>
        <p:txBody>
          <a:bodyPr/>
          <a:lstStyle/>
          <a:p>
            <a:fld id="{24C8C45C-947F-4981-8B3F-4F32E973C901}" type="slidenum">
              <a:rPr lang="da-DK" smtClean="0"/>
              <a:pPr/>
              <a:t>‹nr.›</a:t>
            </a:fld>
            <a:endParaRPr lang="da-DK"/>
          </a:p>
        </p:txBody>
      </p:sp>
      <p:grpSp>
        <p:nvGrpSpPr>
          <p:cNvPr id="8" name="Makro grafik 1">
            <a:extLst>
              <a:ext uri="{FF2B5EF4-FFF2-40B4-BE49-F238E27FC236}">
                <a16:creationId xmlns:a16="http://schemas.microsoft.com/office/drawing/2014/main" id="{7CB9B91B-9F42-9A6B-994C-DBFB7D0F9075}"/>
              </a:ext>
            </a:extLst>
          </p:cNvPr>
          <p:cNvGrpSpPr/>
          <p:nvPr userDrawn="1"/>
        </p:nvGrpSpPr>
        <p:grpSpPr>
          <a:xfrm>
            <a:off x="6550364" y="661590"/>
            <a:ext cx="2202731" cy="3163881"/>
            <a:chOff x="14414221" y="1458764"/>
            <a:chExt cx="4856885" cy="6976163"/>
          </a:xfrm>
          <a:solidFill>
            <a:srgbClr val="4D7836"/>
          </a:solidFill>
        </p:grpSpPr>
        <p:sp>
          <p:nvSpPr>
            <p:cNvPr id="9" name="object 39">
              <a:extLst>
                <a:ext uri="{FF2B5EF4-FFF2-40B4-BE49-F238E27FC236}">
                  <a16:creationId xmlns:a16="http://schemas.microsoft.com/office/drawing/2014/main" id="{DBE52B15-4C22-6CD1-3F0A-BB3A69D3053E}"/>
                </a:ext>
              </a:extLst>
            </p:cNvPr>
            <p:cNvSpPr/>
            <p:nvPr/>
          </p:nvSpPr>
          <p:spPr>
            <a:xfrm>
              <a:off x="17451196" y="6499447"/>
              <a:ext cx="1819910" cy="1935480"/>
            </a:xfrm>
            <a:custGeom>
              <a:avLst/>
              <a:gdLst/>
              <a:ahLst/>
              <a:cxnLst/>
              <a:rect l="l" t="t" r="r" b="b"/>
              <a:pathLst>
                <a:path w="1819909" h="1935479">
                  <a:moveTo>
                    <a:pt x="1005204" y="0"/>
                  </a:moveTo>
                  <a:lnTo>
                    <a:pt x="814216" y="0"/>
                  </a:lnTo>
                  <a:lnTo>
                    <a:pt x="824268" y="849398"/>
                  </a:lnTo>
                  <a:lnTo>
                    <a:pt x="100520" y="422185"/>
                  </a:lnTo>
                  <a:lnTo>
                    <a:pt x="0" y="577991"/>
                  </a:lnTo>
                  <a:lnTo>
                    <a:pt x="738825" y="995152"/>
                  </a:lnTo>
                  <a:lnTo>
                    <a:pt x="0" y="1402260"/>
                  </a:lnTo>
                  <a:lnTo>
                    <a:pt x="100520" y="1558067"/>
                  </a:lnTo>
                  <a:lnTo>
                    <a:pt x="824268" y="1130855"/>
                  </a:lnTo>
                  <a:lnTo>
                    <a:pt x="814216" y="1935019"/>
                  </a:lnTo>
                  <a:lnTo>
                    <a:pt x="1005204" y="1935019"/>
                  </a:lnTo>
                  <a:lnTo>
                    <a:pt x="1000178" y="1130855"/>
                  </a:lnTo>
                  <a:lnTo>
                    <a:pt x="1723926" y="1558067"/>
                  </a:lnTo>
                  <a:lnTo>
                    <a:pt x="1819421" y="1402260"/>
                  </a:lnTo>
                  <a:lnTo>
                    <a:pt x="1090647" y="995152"/>
                  </a:lnTo>
                  <a:lnTo>
                    <a:pt x="1819421" y="577991"/>
                  </a:lnTo>
                  <a:lnTo>
                    <a:pt x="1723926" y="422185"/>
                  </a:lnTo>
                  <a:lnTo>
                    <a:pt x="1000178" y="849398"/>
                  </a:lnTo>
                  <a:lnTo>
                    <a:pt x="1005204" y="0"/>
                  </a:lnTo>
                  <a:close/>
                </a:path>
              </a:pathLst>
            </a:custGeom>
            <a:grpFill/>
          </p:spPr>
          <p:txBody>
            <a:bodyPr wrap="square" lIns="0" tIns="0" rIns="0" bIns="0" rtlCol="0"/>
            <a:lstStyle/>
            <a:p>
              <a:endParaRPr lang="da-DK" sz="816"/>
            </a:p>
          </p:txBody>
        </p:sp>
        <p:sp>
          <p:nvSpPr>
            <p:cNvPr id="10" name="object 40">
              <a:extLst>
                <a:ext uri="{FF2B5EF4-FFF2-40B4-BE49-F238E27FC236}">
                  <a16:creationId xmlns:a16="http://schemas.microsoft.com/office/drawing/2014/main" id="{EB105B90-9C2A-E001-81E9-CB88B077A266}"/>
                </a:ext>
              </a:extLst>
            </p:cNvPr>
            <p:cNvSpPr/>
            <p:nvPr/>
          </p:nvSpPr>
          <p:spPr>
            <a:xfrm>
              <a:off x="16290024" y="1484470"/>
              <a:ext cx="1106170" cy="3879850"/>
            </a:xfrm>
            <a:custGeom>
              <a:avLst/>
              <a:gdLst/>
              <a:ahLst/>
              <a:cxnLst/>
              <a:rect l="l" t="t" r="r" b="b"/>
              <a:pathLst>
                <a:path w="1106169" h="3879850">
                  <a:moveTo>
                    <a:pt x="1105725" y="0"/>
                  </a:moveTo>
                  <a:lnTo>
                    <a:pt x="0" y="0"/>
                  </a:lnTo>
                  <a:lnTo>
                    <a:pt x="0" y="175260"/>
                  </a:lnTo>
                  <a:lnTo>
                    <a:pt x="0" y="3703320"/>
                  </a:lnTo>
                  <a:lnTo>
                    <a:pt x="0" y="3879850"/>
                  </a:lnTo>
                  <a:lnTo>
                    <a:pt x="1105725" y="3879850"/>
                  </a:lnTo>
                  <a:lnTo>
                    <a:pt x="1105725" y="3703320"/>
                  </a:lnTo>
                  <a:lnTo>
                    <a:pt x="206070" y="3703320"/>
                  </a:lnTo>
                  <a:lnTo>
                    <a:pt x="206070" y="175260"/>
                  </a:lnTo>
                  <a:lnTo>
                    <a:pt x="1105725" y="175260"/>
                  </a:lnTo>
                  <a:lnTo>
                    <a:pt x="1105725" y="0"/>
                  </a:lnTo>
                  <a:close/>
                </a:path>
              </a:pathLst>
            </a:custGeom>
            <a:grpFill/>
          </p:spPr>
          <p:txBody>
            <a:bodyPr wrap="square" lIns="0" tIns="0" rIns="0" bIns="0" rtlCol="0"/>
            <a:lstStyle/>
            <a:p>
              <a:endParaRPr lang="da-DK" sz="816"/>
            </a:p>
          </p:txBody>
        </p:sp>
        <p:sp>
          <p:nvSpPr>
            <p:cNvPr id="11" name="object 41">
              <a:extLst>
                <a:ext uri="{FF2B5EF4-FFF2-40B4-BE49-F238E27FC236}">
                  <a16:creationId xmlns:a16="http://schemas.microsoft.com/office/drawing/2014/main" id="{A8034995-BEAF-5ACC-DB5F-82B335A4970C}"/>
                </a:ext>
              </a:extLst>
            </p:cNvPr>
            <p:cNvSpPr/>
            <p:nvPr/>
          </p:nvSpPr>
          <p:spPr>
            <a:xfrm>
              <a:off x="14414221" y="1458764"/>
              <a:ext cx="1362075" cy="3920490"/>
            </a:xfrm>
            <a:custGeom>
              <a:avLst/>
              <a:gdLst/>
              <a:ahLst/>
              <a:cxnLst/>
              <a:rect l="l" t="t" r="r" b="b"/>
              <a:pathLst>
                <a:path w="1362075" h="3920490">
                  <a:moveTo>
                    <a:pt x="1362052" y="0"/>
                  </a:moveTo>
                  <a:lnTo>
                    <a:pt x="1309311" y="614"/>
                  </a:lnTo>
                  <a:lnTo>
                    <a:pt x="1257861" y="2451"/>
                  </a:lnTo>
                  <a:lnTo>
                    <a:pt x="1207687" y="5503"/>
                  </a:lnTo>
                  <a:lnTo>
                    <a:pt x="1158776" y="9759"/>
                  </a:lnTo>
                  <a:lnTo>
                    <a:pt x="1111113" y="15212"/>
                  </a:lnTo>
                  <a:lnTo>
                    <a:pt x="1064684" y="21852"/>
                  </a:lnTo>
                  <a:lnTo>
                    <a:pt x="1019476" y="29671"/>
                  </a:lnTo>
                  <a:lnTo>
                    <a:pt x="975474" y="38659"/>
                  </a:lnTo>
                  <a:lnTo>
                    <a:pt x="932664" y="48808"/>
                  </a:lnTo>
                  <a:lnTo>
                    <a:pt x="891033" y="60109"/>
                  </a:lnTo>
                  <a:lnTo>
                    <a:pt x="850565" y="72552"/>
                  </a:lnTo>
                  <a:lnTo>
                    <a:pt x="811247" y="86129"/>
                  </a:lnTo>
                  <a:lnTo>
                    <a:pt x="773065" y="100832"/>
                  </a:lnTo>
                  <a:lnTo>
                    <a:pt x="736005" y="116650"/>
                  </a:lnTo>
                  <a:lnTo>
                    <a:pt x="700052" y="133576"/>
                  </a:lnTo>
                  <a:lnTo>
                    <a:pt x="665193" y="151600"/>
                  </a:lnTo>
                  <a:lnTo>
                    <a:pt x="631413" y="170714"/>
                  </a:lnTo>
                  <a:lnTo>
                    <a:pt x="598698" y="190908"/>
                  </a:lnTo>
                  <a:lnTo>
                    <a:pt x="567035" y="212174"/>
                  </a:lnTo>
                  <a:lnTo>
                    <a:pt x="506807" y="257884"/>
                  </a:lnTo>
                  <a:lnTo>
                    <a:pt x="450615" y="307775"/>
                  </a:lnTo>
                  <a:lnTo>
                    <a:pt x="398346" y="361774"/>
                  </a:lnTo>
                  <a:lnTo>
                    <a:pt x="349888" y="419810"/>
                  </a:lnTo>
                  <a:lnTo>
                    <a:pt x="327053" y="450319"/>
                  </a:lnTo>
                  <a:lnTo>
                    <a:pt x="305128" y="481812"/>
                  </a:lnTo>
                  <a:lnTo>
                    <a:pt x="284100" y="514278"/>
                  </a:lnTo>
                  <a:lnTo>
                    <a:pt x="263954" y="547709"/>
                  </a:lnTo>
                  <a:lnTo>
                    <a:pt x="244677" y="582096"/>
                  </a:lnTo>
                  <a:lnTo>
                    <a:pt x="226253" y="617430"/>
                  </a:lnTo>
                  <a:lnTo>
                    <a:pt x="208670" y="653702"/>
                  </a:lnTo>
                  <a:lnTo>
                    <a:pt x="191912" y="690903"/>
                  </a:lnTo>
                  <a:lnTo>
                    <a:pt x="175967" y="729024"/>
                  </a:lnTo>
                  <a:lnTo>
                    <a:pt x="160819" y="768057"/>
                  </a:lnTo>
                  <a:lnTo>
                    <a:pt x="146455" y="807992"/>
                  </a:lnTo>
                  <a:lnTo>
                    <a:pt x="132860" y="848821"/>
                  </a:lnTo>
                  <a:lnTo>
                    <a:pt x="120022" y="890535"/>
                  </a:lnTo>
                  <a:lnTo>
                    <a:pt x="107924" y="933125"/>
                  </a:lnTo>
                  <a:lnTo>
                    <a:pt x="96554" y="976581"/>
                  </a:lnTo>
                  <a:lnTo>
                    <a:pt x="85898" y="1020895"/>
                  </a:lnTo>
                  <a:lnTo>
                    <a:pt x="75940" y="1066059"/>
                  </a:lnTo>
                  <a:lnTo>
                    <a:pt x="66668" y="1112062"/>
                  </a:lnTo>
                  <a:lnTo>
                    <a:pt x="58067" y="1158897"/>
                  </a:lnTo>
                  <a:lnTo>
                    <a:pt x="50122" y="1206555"/>
                  </a:lnTo>
                  <a:lnTo>
                    <a:pt x="42821" y="1255025"/>
                  </a:lnTo>
                  <a:lnTo>
                    <a:pt x="36148" y="1304301"/>
                  </a:lnTo>
                  <a:lnTo>
                    <a:pt x="30091" y="1354372"/>
                  </a:lnTo>
                  <a:lnTo>
                    <a:pt x="24634" y="1405230"/>
                  </a:lnTo>
                  <a:lnTo>
                    <a:pt x="19763" y="1456866"/>
                  </a:lnTo>
                  <a:lnTo>
                    <a:pt x="15465" y="1509270"/>
                  </a:lnTo>
                  <a:lnTo>
                    <a:pt x="11725" y="1562435"/>
                  </a:lnTo>
                  <a:lnTo>
                    <a:pt x="8530" y="1616351"/>
                  </a:lnTo>
                  <a:lnTo>
                    <a:pt x="5865" y="1671009"/>
                  </a:lnTo>
                  <a:lnTo>
                    <a:pt x="3716" y="1726401"/>
                  </a:lnTo>
                  <a:lnTo>
                    <a:pt x="2069" y="1782517"/>
                  </a:lnTo>
                  <a:lnTo>
                    <a:pt x="910" y="1839349"/>
                  </a:lnTo>
                  <a:lnTo>
                    <a:pt x="225" y="1896887"/>
                  </a:lnTo>
                  <a:lnTo>
                    <a:pt x="0" y="1955123"/>
                  </a:lnTo>
                  <a:lnTo>
                    <a:pt x="221" y="2013606"/>
                  </a:lnTo>
                  <a:lnTo>
                    <a:pt x="894" y="2071392"/>
                  </a:lnTo>
                  <a:lnTo>
                    <a:pt x="2034" y="2128470"/>
                  </a:lnTo>
                  <a:lnTo>
                    <a:pt x="3655" y="2184833"/>
                  </a:lnTo>
                  <a:lnTo>
                    <a:pt x="5772" y="2240470"/>
                  </a:lnTo>
                  <a:lnTo>
                    <a:pt x="8398" y="2295374"/>
                  </a:lnTo>
                  <a:lnTo>
                    <a:pt x="11549" y="2349534"/>
                  </a:lnTo>
                  <a:lnTo>
                    <a:pt x="15240" y="2402942"/>
                  </a:lnTo>
                  <a:lnTo>
                    <a:pt x="19483" y="2455589"/>
                  </a:lnTo>
                  <a:lnTo>
                    <a:pt x="24295" y="2507466"/>
                  </a:lnTo>
                  <a:lnTo>
                    <a:pt x="29689" y="2558564"/>
                  </a:lnTo>
                  <a:lnTo>
                    <a:pt x="35680" y="2608873"/>
                  </a:lnTo>
                  <a:lnTo>
                    <a:pt x="42282" y="2658386"/>
                  </a:lnTo>
                  <a:lnTo>
                    <a:pt x="49510" y="2707092"/>
                  </a:lnTo>
                  <a:lnTo>
                    <a:pt x="57379" y="2754982"/>
                  </a:lnTo>
                  <a:lnTo>
                    <a:pt x="65903" y="2802048"/>
                  </a:lnTo>
                  <a:lnTo>
                    <a:pt x="75095" y="2848281"/>
                  </a:lnTo>
                  <a:lnTo>
                    <a:pt x="84972" y="2893671"/>
                  </a:lnTo>
                  <a:lnTo>
                    <a:pt x="95547" y="2938210"/>
                  </a:lnTo>
                  <a:lnTo>
                    <a:pt x="106835" y="2981888"/>
                  </a:lnTo>
                  <a:lnTo>
                    <a:pt x="118850" y="3024697"/>
                  </a:lnTo>
                  <a:lnTo>
                    <a:pt x="131606" y="3066627"/>
                  </a:lnTo>
                  <a:lnTo>
                    <a:pt x="145119" y="3107670"/>
                  </a:lnTo>
                  <a:lnTo>
                    <a:pt x="159403" y="3147816"/>
                  </a:lnTo>
                  <a:lnTo>
                    <a:pt x="174472" y="3187056"/>
                  </a:lnTo>
                  <a:lnTo>
                    <a:pt x="190341" y="3225381"/>
                  </a:lnTo>
                  <a:lnTo>
                    <a:pt x="207023" y="3262783"/>
                  </a:lnTo>
                  <a:lnTo>
                    <a:pt x="224535" y="3299252"/>
                  </a:lnTo>
                  <a:lnTo>
                    <a:pt x="242889" y="3334779"/>
                  </a:lnTo>
                  <a:lnTo>
                    <a:pt x="262101" y="3369355"/>
                  </a:lnTo>
                  <a:lnTo>
                    <a:pt x="282185" y="3402971"/>
                  </a:lnTo>
                  <a:lnTo>
                    <a:pt x="303156" y="3435619"/>
                  </a:lnTo>
                  <a:lnTo>
                    <a:pt x="325027" y="3467288"/>
                  </a:lnTo>
                  <a:lnTo>
                    <a:pt x="347815" y="3497971"/>
                  </a:lnTo>
                  <a:lnTo>
                    <a:pt x="396194" y="3556338"/>
                  </a:lnTo>
                  <a:lnTo>
                    <a:pt x="448408" y="3610650"/>
                  </a:lnTo>
                  <a:lnTo>
                    <a:pt x="504575" y="3660832"/>
                  </a:lnTo>
                  <a:lnTo>
                    <a:pt x="564809" y="3706814"/>
                  </a:lnTo>
                  <a:lnTo>
                    <a:pt x="596488" y="3728207"/>
                  </a:lnTo>
                  <a:lnTo>
                    <a:pt x="629227" y="3748522"/>
                  </a:lnTo>
                  <a:lnTo>
                    <a:pt x="663040" y="3767752"/>
                  </a:lnTo>
                  <a:lnTo>
                    <a:pt x="697943" y="3785885"/>
                  </a:lnTo>
                  <a:lnTo>
                    <a:pt x="733950" y="3802915"/>
                  </a:lnTo>
                  <a:lnTo>
                    <a:pt x="771075" y="3818830"/>
                  </a:lnTo>
                  <a:lnTo>
                    <a:pt x="809333" y="3833624"/>
                  </a:lnTo>
                  <a:lnTo>
                    <a:pt x="848738" y="3847286"/>
                  </a:lnTo>
                  <a:lnTo>
                    <a:pt x="889305" y="3859807"/>
                  </a:lnTo>
                  <a:lnTo>
                    <a:pt x="931048" y="3871178"/>
                  </a:lnTo>
                  <a:lnTo>
                    <a:pt x="973981" y="3881391"/>
                  </a:lnTo>
                  <a:lnTo>
                    <a:pt x="1018120" y="3890436"/>
                  </a:lnTo>
                  <a:lnTo>
                    <a:pt x="1063479" y="3898305"/>
                  </a:lnTo>
                  <a:lnTo>
                    <a:pt x="1110071" y="3904988"/>
                  </a:lnTo>
                  <a:lnTo>
                    <a:pt x="1157912" y="3910476"/>
                  </a:lnTo>
                  <a:lnTo>
                    <a:pt x="1207016" y="3914760"/>
                  </a:lnTo>
                  <a:lnTo>
                    <a:pt x="1257398" y="3917831"/>
                  </a:lnTo>
                  <a:lnTo>
                    <a:pt x="1309072" y="3919681"/>
                  </a:lnTo>
                  <a:lnTo>
                    <a:pt x="1362052" y="3920299"/>
                  </a:lnTo>
                  <a:lnTo>
                    <a:pt x="1362052" y="3744388"/>
                  </a:lnTo>
                  <a:lnTo>
                    <a:pt x="1310968" y="3743717"/>
                  </a:lnTo>
                  <a:lnTo>
                    <a:pt x="1261330" y="3741708"/>
                  </a:lnTo>
                  <a:lnTo>
                    <a:pt x="1213120" y="3738372"/>
                  </a:lnTo>
                  <a:lnTo>
                    <a:pt x="1166318" y="3733716"/>
                  </a:lnTo>
                  <a:lnTo>
                    <a:pt x="1120905" y="3727750"/>
                  </a:lnTo>
                  <a:lnTo>
                    <a:pt x="1076863" y="3720483"/>
                  </a:lnTo>
                  <a:lnTo>
                    <a:pt x="1034171" y="3711923"/>
                  </a:lnTo>
                  <a:lnTo>
                    <a:pt x="992812" y="3702080"/>
                  </a:lnTo>
                  <a:lnTo>
                    <a:pt x="952766" y="3690962"/>
                  </a:lnTo>
                  <a:lnTo>
                    <a:pt x="914015" y="3678578"/>
                  </a:lnTo>
                  <a:lnTo>
                    <a:pt x="876538" y="3664937"/>
                  </a:lnTo>
                  <a:lnTo>
                    <a:pt x="840318" y="3650048"/>
                  </a:lnTo>
                  <a:lnTo>
                    <a:pt x="805334" y="3633919"/>
                  </a:lnTo>
                  <a:lnTo>
                    <a:pt x="739003" y="3597980"/>
                  </a:lnTo>
                  <a:lnTo>
                    <a:pt x="677391" y="3557191"/>
                  </a:lnTo>
                  <a:lnTo>
                    <a:pt x="620346" y="3511622"/>
                  </a:lnTo>
                  <a:lnTo>
                    <a:pt x="567718" y="3461345"/>
                  </a:lnTo>
                  <a:lnTo>
                    <a:pt x="519352" y="3406431"/>
                  </a:lnTo>
                  <a:lnTo>
                    <a:pt x="475097" y="3346951"/>
                  </a:lnTo>
                  <a:lnTo>
                    <a:pt x="434800" y="3282975"/>
                  </a:lnTo>
                  <a:lnTo>
                    <a:pt x="416089" y="3249324"/>
                  </a:lnTo>
                  <a:lnTo>
                    <a:pt x="398310" y="3214576"/>
                  </a:lnTo>
                  <a:lnTo>
                    <a:pt x="381445" y="3178739"/>
                  </a:lnTo>
                  <a:lnTo>
                    <a:pt x="365474" y="3141823"/>
                  </a:lnTo>
                  <a:lnTo>
                    <a:pt x="350379" y="3103837"/>
                  </a:lnTo>
                  <a:lnTo>
                    <a:pt x="336140" y="3064789"/>
                  </a:lnTo>
                  <a:lnTo>
                    <a:pt x="322739" y="3024688"/>
                  </a:lnTo>
                  <a:lnTo>
                    <a:pt x="310155" y="2983544"/>
                  </a:lnTo>
                  <a:lnTo>
                    <a:pt x="298372" y="2941364"/>
                  </a:lnTo>
                  <a:lnTo>
                    <a:pt x="287368" y="2898159"/>
                  </a:lnTo>
                  <a:lnTo>
                    <a:pt x="277126" y="2853936"/>
                  </a:lnTo>
                  <a:lnTo>
                    <a:pt x="267626" y="2808705"/>
                  </a:lnTo>
                  <a:lnTo>
                    <a:pt x="258849" y="2762474"/>
                  </a:lnTo>
                  <a:lnTo>
                    <a:pt x="250777" y="2715253"/>
                  </a:lnTo>
                  <a:lnTo>
                    <a:pt x="243389" y="2667050"/>
                  </a:lnTo>
                  <a:lnTo>
                    <a:pt x="236668" y="2617875"/>
                  </a:lnTo>
                  <a:lnTo>
                    <a:pt x="230594" y="2567735"/>
                  </a:lnTo>
                  <a:lnTo>
                    <a:pt x="225147" y="2516641"/>
                  </a:lnTo>
                  <a:lnTo>
                    <a:pt x="220310" y="2464600"/>
                  </a:lnTo>
                  <a:lnTo>
                    <a:pt x="216063" y="2411622"/>
                  </a:lnTo>
                  <a:lnTo>
                    <a:pt x="212387" y="2357716"/>
                  </a:lnTo>
                  <a:lnTo>
                    <a:pt x="209262" y="2302890"/>
                  </a:lnTo>
                  <a:lnTo>
                    <a:pt x="206671" y="2247154"/>
                  </a:lnTo>
                  <a:lnTo>
                    <a:pt x="204593" y="2190516"/>
                  </a:lnTo>
                  <a:lnTo>
                    <a:pt x="203010" y="2132985"/>
                  </a:lnTo>
                  <a:lnTo>
                    <a:pt x="201903" y="2074570"/>
                  </a:lnTo>
                  <a:lnTo>
                    <a:pt x="201253" y="2015280"/>
                  </a:lnTo>
                  <a:lnTo>
                    <a:pt x="201040" y="1955123"/>
                  </a:lnTo>
                  <a:lnTo>
                    <a:pt x="201271" y="1894678"/>
                  </a:lnTo>
                  <a:lnTo>
                    <a:pt x="201976" y="1835092"/>
                  </a:lnTo>
                  <a:lnTo>
                    <a:pt x="203173" y="1776374"/>
                  </a:lnTo>
                  <a:lnTo>
                    <a:pt x="204883" y="1718535"/>
                  </a:lnTo>
                  <a:lnTo>
                    <a:pt x="207123" y="1661585"/>
                  </a:lnTo>
                  <a:lnTo>
                    <a:pt x="209914" y="1605535"/>
                  </a:lnTo>
                  <a:lnTo>
                    <a:pt x="213273" y="1550395"/>
                  </a:lnTo>
                  <a:lnTo>
                    <a:pt x="217219" y="1496176"/>
                  </a:lnTo>
                  <a:lnTo>
                    <a:pt x="221773" y="1442888"/>
                  </a:lnTo>
                  <a:lnTo>
                    <a:pt x="226952" y="1390540"/>
                  </a:lnTo>
                  <a:lnTo>
                    <a:pt x="232776" y="1339144"/>
                  </a:lnTo>
                  <a:lnTo>
                    <a:pt x="239263" y="1288710"/>
                  </a:lnTo>
                  <a:lnTo>
                    <a:pt x="246433" y="1239247"/>
                  </a:lnTo>
                  <a:lnTo>
                    <a:pt x="254304" y="1190768"/>
                  </a:lnTo>
                  <a:lnTo>
                    <a:pt x="262896" y="1143281"/>
                  </a:lnTo>
                  <a:lnTo>
                    <a:pt x="272228" y="1096797"/>
                  </a:lnTo>
                  <a:lnTo>
                    <a:pt x="282317" y="1051326"/>
                  </a:lnTo>
                  <a:lnTo>
                    <a:pt x="293184" y="1006880"/>
                  </a:lnTo>
                  <a:lnTo>
                    <a:pt x="304848" y="963467"/>
                  </a:lnTo>
                  <a:lnTo>
                    <a:pt x="317326" y="921100"/>
                  </a:lnTo>
                  <a:lnTo>
                    <a:pt x="330639" y="879787"/>
                  </a:lnTo>
                  <a:lnTo>
                    <a:pt x="344805" y="839539"/>
                  </a:lnTo>
                  <a:lnTo>
                    <a:pt x="359843" y="800366"/>
                  </a:lnTo>
                  <a:lnTo>
                    <a:pt x="375772" y="762280"/>
                  </a:lnTo>
                  <a:lnTo>
                    <a:pt x="392612" y="725290"/>
                  </a:lnTo>
                  <a:lnTo>
                    <a:pt x="410380" y="689406"/>
                  </a:lnTo>
                  <a:lnTo>
                    <a:pt x="429096" y="654639"/>
                  </a:lnTo>
                  <a:lnTo>
                    <a:pt x="448780" y="621000"/>
                  </a:lnTo>
                  <a:lnTo>
                    <a:pt x="469449" y="588498"/>
                  </a:lnTo>
                  <a:lnTo>
                    <a:pt x="491123" y="557144"/>
                  </a:lnTo>
                  <a:lnTo>
                    <a:pt x="537561" y="497921"/>
                  </a:lnTo>
                  <a:lnTo>
                    <a:pt x="588247" y="443413"/>
                  </a:lnTo>
                  <a:lnTo>
                    <a:pt x="643331" y="393705"/>
                  </a:lnTo>
                  <a:lnTo>
                    <a:pt x="702965" y="348877"/>
                  </a:lnTo>
                  <a:lnTo>
                    <a:pt x="767301" y="309014"/>
                  </a:lnTo>
                  <a:lnTo>
                    <a:pt x="801280" y="290969"/>
                  </a:lnTo>
                  <a:lnTo>
                    <a:pt x="836491" y="274197"/>
                  </a:lnTo>
                  <a:lnTo>
                    <a:pt x="872954" y="258707"/>
                  </a:lnTo>
                  <a:lnTo>
                    <a:pt x="910687" y="244510"/>
                  </a:lnTo>
                  <a:lnTo>
                    <a:pt x="949709" y="231615"/>
                  </a:lnTo>
                  <a:lnTo>
                    <a:pt x="990039" y="220035"/>
                  </a:lnTo>
                  <a:lnTo>
                    <a:pt x="1031697" y="209777"/>
                  </a:lnTo>
                  <a:lnTo>
                    <a:pt x="1074700" y="200854"/>
                  </a:lnTo>
                  <a:lnTo>
                    <a:pt x="1119069" y="193276"/>
                  </a:lnTo>
                  <a:lnTo>
                    <a:pt x="1164822" y="187052"/>
                  </a:lnTo>
                  <a:lnTo>
                    <a:pt x="1211977" y="182193"/>
                  </a:lnTo>
                  <a:lnTo>
                    <a:pt x="1260555" y="178710"/>
                  </a:lnTo>
                  <a:lnTo>
                    <a:pt x="1310574" y="176612"/>
                  </a:lnTo>
                  <a:lnTo>
                    <a:pt x="1362052" y="175910"/>
                  </a:lnTo>
                  <a:lnTo>
                    <a:pt x="1362052" y="0"/>
                  </a:lnTo>
                  <a:close/>
                </a:path>
              </a:pathLst>
            </a:custGeom>
            <a:grpFill/>
          </p:spPr>
          <p:txBody>
            <a:bodyPr wrap="square" lIns="0" tIns="0" rIns="0" bIns="0" rtlCol="0"/>
            <a:lstStyle/>
            <a:p>
              <a:endParaRPr lang="da-DK" sz="816"/>
            </a:p>
          </p:txBody>
        </p:sp>
      </p:grpSp>
    </p:spTree>
    <p:extLst>
      <p:ext uri="{BB962C8B-B14F-4D97-AF65-F5344CB8AC3E}">
        <p14:creationId xmlns:p14="http://schemas.microsoft.com/office/powerpoint/2010/main" val="1211471820"/>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1201">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ortrætter (8)">
    <p:spTree>
      <p:nvGrpSpPr>
        <p:cNvPr id="1" name=""/>
        <p:cNvGrpSpPr/>
        <p:nvPr/>
      </p:nvGrpSpPr>
      <p:grpSpPr>
        <a:xfrm>
          <a:off x="0" y="0"/>
          <a:ext cx="0" cy="0"/>
          <a:chOff x="0" y="0"/>
          <a:chExt cx="0" cy="0"/>
        </a:xfrm>
      </p:grpSpPr>
      <p:sp>
        <p:nvSpPr>
          <p:cNvPr id="3" name="Pladsholder til billede 5">
            <a:extLst>
              <a:ext uri="{FF2B5EF4-FFF2-40B4-BE49-F238E27FC236}">
                <a16:creationId xmlns:a16="http://schemas.microsoft.com/office/drawing/2014/main" id="{070C87B3-473D-BAA3-B871-825DD0DF37A4}"/>
              </a:ext>
            </a:extLst>
          </p:cNvPr>
          <p:cNvSpPr>
            <a:spLocks noGrp="1" noChangeAspect="1"/>
          </p:cNvSpPr>
          <p:nvPr>
            <p:ph type="pic" sz="quarter" idx="10"/>
          </p:nvPr>
        </p:nvSpPr>
        <p:spPr>
          <a:xfrm>
            <a:off x="991208" y="627534"/>
            <a:ext cx="864096" cy="864096"/>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4" name="Pladsholder til tekst 3">
            <a:extLst>
              <a:ext uri="{FF2B5EF4-FFF2-40B4-BE49-F238E27FC236}">
                <a16:creationId xmlns:a16="http://schemas.microsoft.com/office/drawing/2014/main" id="{C2EDAD55-A7F4-5B25-A8DC-F70270CD0480}"/>
              </a:ext>
            </a:extLst>
          </p:cNvPr>
          <p:cNvSpPr>
            <a:spLocks noGrp="1"/>
          </p:cNvSpPr>
          <p:nvPr>
            <p:ph type="body" sz="quarter" idx="15" hasCustomPrompt="1"/>
          </p:nvPr>
        </p:nvSpPr>
        <p:spPr>
          <a:xfrm>
            <a:off x="991208" y="1557254"/>
            <a:ext cx="1204528" cy="108000"/>
          </a:xfrm>
        </p:spPr>
        <p:txBody>
          <a:bodyPr rIns="0" anchor="t"/>
          <a:lstStyle>
            <a:lvl1pPr marL="0" indent="0" algn="l">
              <a:buNone/>
              <a:defRPr sz="900" b="1" i="0" kern="0" baseline="0">
                <a:solidFill>
                  <a:schemeClr val="tx1"/>
                </a:solidFill>
                <a:latin typeface="Neue Haas Grotesk Text Pro" panose="020B0504020202020204" pitchFamily="34" charset="77"/>
              </a:defRPr>
            </a:lvl1pPr>
          </a:lstStyle>
          <a:p>
            <a:pPr lvl="0"/>
            <a:r>
              <a:rPr lang="da-DK"/>
              <a:t>Fornavn</a:t>
            </a:r>
          </a:p>
        </p:txBody>
      </p:sp>
      <p:sp>
        <p:nvSpPr>
          <p:cNvPr id="5" name="Pladsholder til tekst 3">
            <a:extLst>
              <a:ext uri="{FF2B5EF4-FFF2-40B4-BE49-F238E27FC236}">
                <a16:creationId xmlns:a16="http://schemas.microsoft.com/office/drawing/2014/main" id="{BE721C77-7419-9D0B-B82F-06496C42C3FA}"/>
              </a:ext>
            </a:extLst>
          </p:cNvPr>
          <p:cNvSpPr>
            <a:spLocks noGrp="1"/>
          </p:cNvSpPr>
          <p:nvPr>
            <p:ph type="body" sz="quarter" idx="19"/>
          </p:nvPr>
        </p:nvSpPr>
        <p:spPr>
          <a:xfrm>
            <a:off x="991208" y="1850162"/>
            <a:ext cx="1204528" cy="660558"/>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6" name="Pladsholder til tekst 3">
            <a:extLst>
              <a:ext uri="{FF2B5EF4-FFF2-40B4-BE49-F238E27FC236}">
                <a16:creationId xmlns:a16="http://schemas.microsoft.com/office/drawing/2014/main" id="{6440A9A6-1676-EB07-0143-78F08C58E9D7}"/>
              </a:ext>
            </a:extLst>
          </p:cNvPr>
          <p:cNvSpPr>
            <a:spLocks noGrp="1"/>
          </p:cNvSpPr>
          <p:nvPr>
            <p:ph type="body" sz="quarter" idx="20" hasCustomPrompt="1"/>
          </p:nvPr>
        </p:nvSpPr>
        <p:spPr>
          <a:xfrm>
            <a:off x="991208" y="1688784"/>
            <a:ext cx="1204528" cy="108000"/>
          </a:xfrm>
        </p:spPr>
        <p:txBody>
          <a:bodyPr rIns="0" anchor="t"/>
          <a:lstStyle>
            <a:lvl1pPr marL="0" indent="0" algn="l">
              <a:buNone/>
              <a:defRPr sz="900" b="1" i="0" kern="0" baseline="0">
                <a:solidFill>
                  <a:schemeClr val="tx1"/>
                </a:solidFill>
                <a:latin typeface="Neue Haas Grotesk Text Pro" panose="020B0504020202020204" pitchFamily="34" charset="77"/>
              </a:defRPr>
            </a:lvl1pPr>
          </a:lstStyle>
          <a:p>
            <a:pPr lvl="0"/>
            <a:r>
              <a:rPr lang="da-DK"/>
              <a:t>Efternavn</a:t>
            </a:r>
          </a:p>
        </p:txBody>
      </p:sp>
      <p:sp>
        <p:nvSpPr>
          <p:cNvPr id="26" name="Pladsholder til billede 5">
            <a:extLst>
              <a:ext uri="{FF2B5EF4-FFF2-40B4-BE49-F238E27FC236}">
                <a16:creationId xmlns:a16="http://schemas.microsoft.com/office/drawing/2014/main" id="{52F7139D-DBE9-49E3-AD47-49F68B4DA054}"/>
              </a:ext>
            </a:extLst>
          </p:cNvPr>
          <p:cNvSpPr>
            <a:spLocks noGrp="1" noChangeAspect="1"/>
          </p:cNvSpPr>
          <p:nvPr>
            <p:ph type="pic" sz="quarter" idx="21"/>
          </p:nvPr>
        </p:nvSpPr>
        <p:spPr>
          <a:xfrm>
            <a:off x="991208" y="2721034"/>
            <a:ext cx="864096" cy="864096"/>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27" name="Pladsholder til tekst 3">
            <a:extLst>
              <a:ext uri="{FF2B5EF4-FFF2-40B4-BE49-F238E27FC236}">
                <a16:creationId xmlns:a16="http://schemas.microsoft.com/office/drawing/2014/main" id="{7D58E26F-CC21-2BE4-4DCF-13DA0A74D6A0}"/>
              </a:ext>
            </a:extLst>
          </p:cNvPr>
          <p:cNvSpPr>
            <a:spLocks noGrp="1"/>
          </p:cNvSpPr>
          <p:nvPr>
            <p:ph type="body" sz="quarter" idx="22" hasCustomPrompt="1"/>
          </p:nvPr>
        </p:nvSpPr>
        <p:spPr>
          <a:xfrm>
            <a:off x="991208" y="3650754"/>
            <a:ext cx="1204528" cy="108000"/>
          </a:xfrm>
        </p:spPr>
        <p:txBody>
          <a:bodyPr rIns="0" anchor="t"/>
          <a:lstStyle>
            <a:lvl1pPr marL="0" indent="0" algn="l">
              <a:buNone/>
              <a:defRPr sz="900" b="1" i="0" kern="0" baseline="0">
                <a:solidFill>
                  <a:schemeClr val="tx1"/>
                </a:solidFill>
                <a:latin typeface="Neue Haas Grotesk Text Pro" panose="020B0504020202020204" pitchFamily="34" charset="77"/>
              </a:defRPr>
            </a:lvl1pPr>
          </a:lstStyle>
          <a:p>
            <a:pPr lvl="0"/>
            <a:r>
              <a:rPr lang="da-DK"/>
              <a:t>Fornavn</a:t>
            </a:r>
          </a:p>
        </p:txBody>
      </p:sp>
      <p:sp>
        <p:nvSpPr>
          <p:cNvPr id="28" name="Pladsholder til tekst 3">
            <a:extLst>
              <a:ext uri="{FF2B5EF4-FFF2-40B4-BE49-F238E27FC236}">
                <a16:creationId xmlns:a16="http://schemas.microsoft.com/office/drawing/2014/main" id="{D38F5F6F-8901-83CA-0E99-FED48ED77742}"/>
              </a:ext>
            </a:extLst>
          </p:cNvPr>
          <p:cNvSpPr>
            <a:spLocks noGrp="1"/>
          </p:cNvSpPr>
          <p:nvPr>
            <p:ph type="body" sz="quarter" idx="23"/>
          </p:nvPr>
        </p:nvSpPr>
        <p:spPr>
          <a:xfrm>
            <a:off x="991208" y="3943662"/>
            <a:ext cx="1204528" cy="660558"/>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29" name="Pladsholder til tekst 3">
            <a:extLst>
              <a:ext uri="{FF2B5EF4-FFF2-40B4-BE49-F238E27FC236}">
                <a16:creationId xmlns:a16="http://schemas.microsoft.com/office/drawing/2014/main" id="{37092885-5257-BABB-4AA8-D3BEE0040E0B}"/>
              </a:ext>
            </a:extLst>
          </p:cNvPr>
          <p:cNvSpPr>
            <a:spLocks noGrp="1"/>
          </p:cNvSpPr>
          <p:nvPr>
            <p:ph type="body" sz="quarter" idx="24" hasCustomPrompt="1"/>
          </p:nvPr>
        </p:nvSpPr>
        <p:spPr>
          <a:xfrm>
            <a:off x="991208" y="3782284"/>
            <a:ext cx="1204528" cy="108000"/>
          </a:xfrm>
        </p:spPr>
        <p:txBody>
          <a:bodyPr rIns="0" anchor="t"/>
          <a:lstStyle>
            <a:lvl1pPr marL="0" indent="0" algn="l">
              <a:buNone/>
              <a:defRPr sz="900" b="1" i="0" kern="0" baseline="0">
                <a:solidFill>
                  <a:schemeClr val="tx1"/>
                </a:solidFill>
                <a:latin typeface="Neue Haas Grotesk Text Pro" panose="020B0504020202020204" pitchFamily="34" charset="77"/>
              </a:defRPr>
            </a:lvl1pPr>
          </a:lstStyle>
          <a:p>
            <a:pPr lvl="0"/>
            <a:r>
              <a:rPr lang="da-DK"/>
              <a:t>Efternavn</a:t>
            </a:r>
          </a:p>
        </p:txBody>
      </p:sp>
      <p:sp>
        <p:nvSpPr>
          <p:cNvPr id="30" name="Pladsholder til billede 5">
            <a:extLst>
              <a:ext uri="{FF2B5EF4-FFF2-40B4-BE49-F238E27FC236}">
                <a16:creationId xmlns:a16="http://schemas.microsoft.com/office/drawing/2014/main" id="{752348A9-5597-3F07-46DD-D20729280D57}"/>
              </a:ext>
            </a:extLst>
          </p:cNvPr>
          <p:cNvSpPr>
            <a:spLocks noGrp="1" noChangeAspect="1"/>
          </p:cNvSpPr>
          <p:nvPr>
            <p:ph type="pic" sz="quarter" idx="25"/>
          </p:nvPr>
        </p:nvSpPr>
        <p:spPr>
          <a:xfrm>
            <a:off x="3007432" y="627534"/>
            <a:ext cx="864096" cy="864096"/>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31" name="Pladsholder til tekst 3">
            <a:extLst>
              <a:ext uri="{FF2B5EF4-FFF2-40B4-BE49-F238E27FC236}">
                <a16:creationId xmlns:a16="http://schemas.microsoft.com/office/drawing/2014/main" id="{A5F34681-D03A-D647-6930-18A3459EAFEF}"/>
              </a:ext>
            </a:extLst>
          </p:cNvPr>
          <p:cNvSpPr>
            <a:spLocks noGrp="1"/>
          </p:cNvSpPr>
          <p:nvPr>
            <p:ph type="body" sz="quarter" idx="26" hasCustomPrompt="1"/>
          </p:nvPr>
        </p:nvSpPr>
        <p:spPr>
          <a:xfrm>
            <a:off x="3007432" y="1557254"/>
            <a:ext cx="1204528" cy="108000"/>
          </a:xfrm>
        </p:spPr>
        <p:txBody>
          <a:bodyPr rIns="0" anchor="t"/>
          <a:lstStyle>
            <a:lvl1pPr marL="0" indent="0" algn="l">
              <a:buNone/>
              <a:defRPr sz="900" b="1" i="0" kern="0" baseline="0">
                <a:solidFill>
                  <a:schemeClr val="tx1"/>
                </a:solidFill>
                <a:latin typeface="Neue Haas Grotesk Text Pro" panose="020B0504020202020204" pitchFamily="34" charset="77"/>
              </a:defRPr>
            </a:lvl1pPr>
          </a:lstStyle>
          <a:p>
            <a:pPr lvl="0"/>
            <a:r>
              <a:rPr lang="da-DK"/>
              <a:t>Fornavn</a:t>
            </a:r>
          </a:p>
        </p:txBody>
      </p:sp>
      <p:sp>
        <p:nvSpPr>
          <p:cNvPr id="32" name="Pladsholder til tekst 3">
            <a:extLst>
              <a:ext uri="{FF2B5EF4-FFF2-40B4-BE49-F238E27FC236}">
                <a16:creationId xmlns:a16="http://schemas.microsoft.com/office/drawing/2014/main" id="{45577192-E8BA-EEE4-9B16-22FED0D7DF5A}"/>
              </a:ext>
            </a:extLst>
          </p:cNvPr>
          <p:cNvSpPr>
            <a:spLocks noGrp="1"/>
          </p:cNvSpPr>
          <p:nvPr>
            <p:ph type="body" sz="quarter" idx="27"/>
          </p:nvPr>
        </p:nvSpPr>
        <p:spPr>
          <a:xfrm>
            <a:off x="3007432" y="1850162"/>
            <a:ext cx="1204528" cy="660558"/>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33" name="Pladsholder til tekst 3">
            <a:extLst>
              <a:ext uri="{FF2B5EF4-FFF2-40B4-BE49-F238E27FC236}">
                <a16:creationId xmlns:a16="http://schemas.microsoft.com/office/drawing/2014/main" id="{5815B571-9779-C1AF-64F5-8EDE3B02F07A}"/>
              </a:ext>
            </a:extLst>
          </p:cNvPr>
          <p:cNvSpPr>
            <a:spLocks noGrp="1"/>
          </p:cNvSpPr>
          <p:nvPr>
            <p:ph type="body" sz="quarter" idx="28" hasCustomPrompt="1"/>
          </p:nvPr>
        </p:nvSpPr>
        <p:spPr>
          <a:xfrm>
            <a:off x="3007432" y="1688784"/>
            <a:ext cx="1204528" cy="108000"/>
          </a:xfrm>
        </p:spPr>
        <p:txBody>
          <a:bodyPr rIns="0" anchor="t"/>
          <a:lstStyle>
            <a:lvl1pPr marL="0" indent="0" algn="l">
              <a:buNone/>
              <a:defRPr sz="900" b="1" i="0" kern="0" baseline="0">
                <a:solidFill>
                  <a:schemeClr val="tx1"/>
                </a:solidFill>
                <a:latin typeface="Neue Haas Grotesk Text Pro" panose="020B0504020202020204" pitchFamily="34" charset="77"/>
              </a:defRPr>
            </a:lvl1pPr>
          </a:lstStyle>
          <a:p>
            <a:pPr lvl="0"/>
            <a:r>
              <a:rPr lang="da-DK"/>
              <a:t>Efternavn</a:t>
            </a:r>
          </a:p>
        </p:txBody>
      </p:sp>
      <p:sp>
        <p:nvSpPr>
          <p:cNvPr id="34" name="Pladsholder til billede 5">
            <a:extLst>
              <a:ext uri="{FF2B5EF4-FFF2-40B4-BE49-F238E27FC236}">
                <a16:creationId xmlns:a16="http://schemas.microsoft.com/office/drawing/2014/main" id="{B26DC89F-7A12-B691-C617-76B06988F9DF}"/>
              </a:ext>
            </a:extLst>
          </p:cNvPr>
          <p:cNvSpPr>
            <a:spLocks noGrp="1" noChangeAspect="1"/>
          </p:cNvSpPr>
          <p:nvPr>
            <p:ph type="pic" sz="quarter" idx="29"/>
          </p:nvPr>
        </p:nvSpPr>
        <p:spPr>
          <a:xfrm>
            <a:off x="3007432" y="2721034"/>
            <a:ext cx="864096" cy="864096"/>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35" name="Pladsholder til tekst 3">
            <a:extLst>
              <a:ext uri="{FF2B5EF4-FFF2-40B4-BE49-F238E27FC236}">
                <a16:creationId xmlns:a16="http://schemas.microsoft.com/office/drawing/2014/main" id="{492FCA12-2486-24F2-1D95-2EB6D99E1A49}"/>
              </a:ext>
            </a:extLst>
          </p:cNvPr>
          <p:cNvSpPr>
            <a:spLocks noGrp="1"/>
          </p:cNvSpPr>
          <p:nvPr>
            <p:ph type="body" sz="quarter" idx="30" hasCustomPrompt="1"/>
          </p:nvPr>
        </p:nvSpPr>
        <p:spPr>
          <a:xfrm>
            <a:off x="3007432" y="3650754"/>
            <a:ext cx="1204528" cy="108000"/>
          </a:xfrm>
        </p:spPr>
        <p:txBody>
          <a:bodyPr rIns="0" anchor="t"/>
          <a:lstStyle>
            <a:lvl1pPr marL="0" indent="0" algn="l">
              <a:buNone/>
              <a:defRPr sz="900" b="1" i="0" kern="0" baseline="0">
                <a:solidFill>
                  <a:schemeClr val="tx1"/>
                </a:solidFill>
                <a:latin typeface="Neue Haas Grotesk Text Pro" panose="020B0504020202020204" pitchFamily="34" charset="77"/>
              </a:defRPr>
            </a:lvl1pPr>
          </a:lstStyle>
          <a:p>
            <a:pPr lvl="0"/>
            <a:r>
              <a:rPr lang="da-DK"/>
              <a:t>Fornavn</a:t>
            </a:r>
          </a:p>
        </p:txBody>
      </p:sp>
      <p:sp>
        <p:nvSpPr>
          <p:cNvPr id="36" name="Pladsholder til tekst 3">
            <a:extLst>
              <a:ext uri="{FF2B5EF4-FFF2-40B4-BE49-F238E27FC236}">
                <a16:creationId xmlns:a16="http://schemas.microsoft.com/office/drawing/2014/main" id="{AED307A9-CE03-126B-9BBF-4C71B9A5C87A}"/>
              </a:ext>
            </a:extLst>
          </p:cNvPr>
          <p:cNvSpPr>
            <a:spLocks noGrp="1"/>
          </p:cNvSpPr>
          <p:nvPr>
            <p:ph type="body" sz="quarter" idx="31"/>
          </p:nvPr>
        </p:nvSpPr>
        <p:spPr>
          <a:xfrm>
            <a:off x="3007432" y="3943662"/>
            <a:ext cx="1204528" cy="660558"/>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37" name="Pladsholder til tekst 3">
            <a:extLst>
              <a:ext uri="{FF2B5EF4-FFF2-40B4-BE49-F238E27FC236}">
                <a16:creationId xmlns:a16="http://schemas.microsoft.com/office/drawing/2014/main" id="{25770854-1AB2-BEED-49E5-50DBAEF9CC16}"/>
              </a:ext>
            </a:extLst>
          </p:cNvPr>
          <p:cNvSpPr>
            <a:spLocks noGrp="1"/>
          </p:cNvSpPr>
          <p:nvPr>
            <p:ph type="body" sz="quarter" idx="32" hasCustomPrompt="1"/>
          </p:nvPr>
        </p:nvSpPr>
        <p:spPr>
          <a:xfrm>
            <a:off x="3007432" y="3782284"/>
            <a:ext cx="1204528" cy="108000"/>
          </a:xfrm>
        </p:spPr>
        <p:txBody>
          <a:bodyPr rIns="0" anchor="t"/>
          <a:lstStyle>
            <a:lvl1pPr marL="0" indent="0" algn="l">
              <a:buNone/>
              <a:defRPr sz="900" b="1" i="0" kern="0" baseline="0">
                <a:solidFill>
                  <a:schemeClr val="tx1"/>
                </a:solidFill>
                <a:latin typeface="Neue Haas Grotesk Text Pro" panose="020B0504020202020204" pitchFamily="34" charset="77"/>
              </a:defRPr>
            </a:lvl1pPr>
          </a:lstStyle>
          <a:p>
            <a:pPr lvl="0"/>
            <a:r>
              <a:rPr lang="da-DK"/>
              <a:t>Efternavn</a:t>
            </a:r>
          </a:p>
        </p:txBody>
      </p:sp>
      <p:sp>
        <p:nvSpPr>
          <p:cNvPr id="38" name="Pladsholder til billede 5">
            <a:extLst>
              <a:ext uri="{FF2B5EF4-FFF2-40B4-BE49-F238E27FC236}">
                <a16:creationId xmlns:a16="http://schemas.microsoft.com/office/drawing/2014/main" id="{9A8839BE-BCDC-AD49-E7BA-A13DD595AE50}"/>
              </a:ext>
            </a:extLst>
          </p:cNvPr>
          <p:cNvSpPr>
            <a:spLocks noGrp="1" noChangeAspect="1"/>
          </p:cNvSpPr>
          <p:nvPr>
            <p:ph type="pic" sz="quarter" idx="33"/>
          </p:nvPr>
        </p:nvSpPr>
        <p:spPr>
          <a:xfrm>
            <a:off x="5004048" y="627534"/>
            <a:ext cx="864096" cy="864096"/>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39" name="Pladsholder til tekst 3">
            <a:extLst>
              <a:ext uri="{FF2B5EF4-FFF2-40B4-BE49-F238E27FC236}">
                <a16:creationId xmlns:a16="http://schemas.microsoft.com/office/drawing/2014/main" id="{3C972379-45CA-485C-F05D-22EE26FF65AB}"/>
              </a:ext>
            </a:extLst>
          </p:cNvPr>
          <p:cNvSpPr>
            <a:spLocks noGrp="1"/>
          </p:cNvSpPr>
          <p:nvPr>
            <p:ph type="body" sz="quarter" idx="34" hasCustomPrompt="1"/>
          </p:nvPr>
        </p:nvSpPr>
        <p:spPr>
          <a:xfrm>
            <a:off x="5004048" y="1557254"/>
            <a:ext cx="1204528" cy="108000"/>
          </a:xfrm>
        </p:spPr>
        <p:txBody>
          <a:bodyPr rIns="0" anchor="t"/>
          <a:lstStyle>
            <a:lvl1pPr marL="0" indent="0" algn="l">
              <a:buNone/>
              <a:defRPr sz="900" b="1" i="0" kern="0" baseline="0">
                <a:solidFill>
                  <a:schemeClr val="tx1"/>
                </a:solidFill>
                <a:latin typeface="Neue Haas Grotesk Text Pro" panose="020B0504020202020204" pitchFamily="34" charset="77"/>
              </a:defRPr>
            </a:lvl1pPr>
          </a:lstStyle>
          <a:p>
            <a:pPr lvl="0"/>
            <a:r>
              <a:rPr lang="da-DK"/>
              <a:t>Fornavn</a:t>
            </a:r>
          </a:p>
        </p:txBody>
      </p:sp>
      <p:sp>
        <p:nvSpPr>
          <p:cNvPr id="40" name="Pladsholder til tekst 3">
            <a:extLst>
              <a:ext uri="{FF2B5EF4-FFF2-40B4-BE49-F238E27FC236}">
                <a16:creationId xmlns:a16="http://schemas.microsoft.com/office/drawing/2014/main" id="{D22ADD90-A469-EA83-BC5C-F6D540FE6EB6}"/>
              </a:ext>
            </a:extLst>
          </p:cNvPr>
          <p:cNvSpPr>
            <a:spLocks noGrp="1"/>
          </p:cNvSpPr>
          <p:nvPr>
            <p:ph type="body" sz="quarter" idx="35"/>
          </p:nvPr>
        </p:nvSpPr>
        <p:spPr>
          <a:xfrm>
            <a:off x="5004048" y="1850162"/>
            <a:ext cx="1204528" cy="660558"/>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41" name="Pladsholder til tekst 3">
            <a:extLst>
              <a:ext uri="{FF2B5EF4-FFF2-40B4-BE49-F238E27FC236}">
                <a16:creationId xmlns:a16="http://schemas.microsoft.com/office/drawing/2014/main" id="{B43AC2A4-EAF6-02C4-3DAD-7CA93700F67D}"/>
              </a:ext>
            </a:extLst>
          </p:cNvPr>
          <p:cNvSpPr>
            <a:spLocks noGrp="1"/>
          </p:cNvSpPr>
          <p:nvPr>
            <p:ph type="body" sz="quarter" idx="36" hasCustomPrompt="1"/>
          </p:nvPr>
        </p:nvSpPr>
        <p:spPr>
          <a:xfrm>
            <a:off x="5004048" y="1688784"/>
            <a:ext cx="1204528" cy="108000"/>
          </a:xfrm>
        </p:spPr>
        <p:txBody>
          <a:bodyPr rIns="0" anchor="t"/>
          <a:lstStyle>
            <a:lvl1pPr marL="0" indent="0" algn="l">
              <a:buNone/>
              <a:defRPr sz="900" b="1" i="0" kern="0" baseline="0">
                <a:solidFill>
                  <a:schemeClr val="tx1"/>
                </a:solidFill>
                <a:latin typeface="Neue Haas Grotesk Text Pro" panose="020B0504020202020204" pitchFamily="34" charset="77"/>
              </a:defRPr>
            </a:lvl1pPr>
          </a:lstStyle>
          <a:p>
            <a:pPr lvl="0"/>
            <a:r>
              <a:rPr lang="da-DK"/>
              <a:t>Efternavn</a:t>
            </a:r>
          </a:p>
        </p:txBody>
      </p:sp>
      <p:sp>
        <p:nvSpPr>
          <p:cNvPr id="42" name="Pladsholder til billede 5">
            <a:extLst>
              <a:ext uri="{FF2B5EF4-FFF2-40B4-BE49-F238E27FC236}">
                <a16:creationId xmlns:a16="http://schemas.microsoft.com/office/drawing/2014/main" id="{2017DEA4-D10B-DEE9-F34D-90B4E40282AB}"/>
              </a:ext>
            </a:extLst>
          </p:cNvPr>
          <p:cNvSpPr>
            <a:spLocks noGrp="1" noChangeAspect="1"/>
          </p:cNvSpPr>
          <p:nvPr>
            <p:ph type="pic" sz="quarter" idx="37"/>
          </p:nvPr>
        </p:nvSpPr>
        <p:spPr>
          <a:xfrm>
            <a:off x="5004048" y="2721034"/>
            <a:ext cx="864096" cy="864096"/>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43" name="Pladsholder til tekst 3">
            <a:extLst>
              <a:ext uri="{FF2B5EF4-FFF2-40B4-BE49-F238E27FC236}">
                <a16:creationId xmlns:a16="http://schemas.microsoft.com/office/drawing/2014/main" id="{F3A62A56-01E8-4B90-7156-C3B55513FE68}"/>
              </a:ext>
            </a:extLst>
          </p:cNvPr>
          <p:cNvSpPr>
            <a:spLocks noGrp="1"/>
          </p:cNvSpPr>
          <p:nvPr>
            <p:ph type="body" sz="quarter" idx="38" hasCustomPrompt="1"/>
          </p:nvPr>
        </p:nvSpPr>
        <p:spPr>
          <a:xfrm>
            <a:off x="5004048" y="3650754"/>
            <a:ext cx="1204528" cy="108000"/>
          </a:xfrm>
        </p:spPr>
        <p:txBody>
          <a:bodyPr rIns="0" anchor="t"/>
          <a:lstStyle>
            <a:lvl1pPr marL="0" indent="0" algn="l">
              <a:buNone/>
              <a:defRPr sz="900" b="1" i="0" kern="0" baseline="0">
                <a:solidFill>
                  <a:schemeClr val="tx1"/>
                </a:solidFill>
                <a:latin typeface="Neue Haas Grotesk Text Pro" panose="020B0504020202020204" pitchFamily="34" charset="77"/>
              </a:defRPr>
            </a:lvl1pPr>
          </a:lstStyle>
          <a:p>
            <a:pPr lvl="0"/>
            <a:r>
              <a:rPr lang="da-DK"/>
              <a:t>Fornavn</a:t>
            </a:r>
          </a:p>
        </p:txBody>
      </p:sp>
      <p:sp>
        <p:nvSpPr>
          <p:cNvPr id="44" name="Pladsholder til tekst 3">
            <a:extLst>
              <a:ext uri="{FF2B5EF4-FFF2-40B4-BE49-F238E27FC236}">
                <a16:creationId xmlns:a16="http://schemas.microsoft.com/office/drawing/2014/main" id="{CA390537-41AA-96C4-BDC6-92205634F202}"/>
              </a:ext>
            </a:extLst>
          </p:cNvPr>
          <p:cNvSpPr>
            <a:spLocks noGrp="1"/>
          </p:cNvSpPr>
          <p:nvPr>
            <p:ph type="body" sz="quarter" idx="39"/>
          </p:nvPr>
        </p:nvSpPr>
        <p:spPr>
          <a:xfrm>
            <a:off x="5004048" y="3943662"/>
            <a:ext cx="1204528" cy="660558"/>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45" name="Pladsholder til tekst 3">
            <a:extLst>
              <a:ext uri="{FF2B5EF4-FFF2-40B4-BE49-F238E27FC236}">
                <a16:creationId xmlns:a16="http://schemas.microsoft.com/office/drawing/2014/main" id="{064E771F-2833-D7A8-474D-971E3EFAD4B6}"/>
              </a:ext>
            </a:extLst>
          </p:cNvPr>
          <p:cNvSpPr>
            <a:spLocks noGrp="1"/>
          </p:cNvSpPr>
          <p:nvPr>
            <p:ph type="body" sz="quarter" idx="40" hasCustomPrompt="1"/>
          </p:nvPr>
        </p:nvSpPr>
        <p:spPr>
          <a:xfrm>
            <a:off x="5004048" y="3782284"/>
            <a:ext cx="1204528" cy="108000"/>
          </a:xfrm>
        </p:spPr>
        <p:txBody>
          <a:bodyPr rIns="0" anchor="t"/>
          <a:lstStyle>
            <a:lvl1pPr marL="0" indent="0" algn="l">
              <a:buNone/>
              <a:defRPr sz="900" b="1" i="0" kern="0" baseline="0">
                <a:solidFill>
                  <a:schemeClr val="tx1"/>
                </a:solidFill>
                <a:latin typeface="Neue Haas Grotesk Text Pro" panose="020B0504020202020204" pitchFamily="34" charset="77"/>
              </a:defRPr>
            </a:lvl1pPr>
          </a:lstStyle>
          <a:p>
            <a:pPr lvl="0"/>
            <a:r>
              <a:rPr lang="da-DK"/>
              <a:t>Efternavn</a:t>
            </a:r>
          </a:p>
        </p:txBody>
      </p:sp>
      <p:sp>
        <p:nvSpPr>
          <p:cNvPr id="46" name="Pladsholder til billede 5">
            <a:extLst>
              <a:ext uri="{FF2B5EF4-FFF2-40B4-BE49-F238E27FC236}">
                <a16:creationId xmlns:a16="http://schemas.microsoft.com/office/drawing/2014/main" id="{55A0913D-6450-E057-A1B9-467BAE964666}"/>
              </a:ext>
            </a:extLst>
          </p:cNvPr>
          <p:cNvSpPr>
            <a:spLocks noGrp="1" noChangeAspect="1"/>
          </p:cNvSpPr>
          <p:nvPr>
            <p:ph type="pic" sz="quarter" idx="41"/>
          </p:nvPr>
        </p:nvSpPr>
        <p:spPr>
          <a:xfrm>
            <a:off x="7020272" y="627534"/>
            <a:ext cx="864096" cy="864096"/>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47" name="Pladsholder til tekst 3">
            <a:extLst>
              <a:ext uri="{FF2B5EF4-FFF2-40B4-BE49-F238E27FC236}">
                <a16:creationId xmlns:a16="http://schemas.microsoft.com/office/drawing/2014/main" id="{E9A712D1-8090-90E2-5EDD-73545C2ED9E2}"/>
              </a:ext>
            </a:extLst>
          </p:cNvPr>
          <p:cNvSpPr>
            <a:spLocks noGrp="1"/>
          </p:cNvSpPr>
          <p:nvPr>
            <p:ph type="body" sz="quarter" idx="42" hasCustomPrompt="1"/>
          </p:nvPr>
        </p:nvSpPr>
        <p:spPr>
          <a:xfrm>
            <a:off x="7020272" y="1557254"/>
            <a:ext cx="1204528" cy="108000"/>
          </a:xfrm>
        </p:spPr>
        <p:txBody>
          <a:bodyPr rIns="0" anchor="t"/>
          <a:lstStyle>
            <a:lvl1pPr marL="0" indent="0" algn="l">
              <a:buNone/>
              <a:defRPr sz="900" b="1" i="0" kern="0" baseline="0">
                <a:solidFill>
                  <a:schemeClr val="tx1"/>
                </a:solidFill>
                <a:latin typeface="Neue Haas Grotesk Text Pro" panose="020B0504020202020204" pitchFamily="34" charset="77"/>
              </a:defRPr>
            </a:lvl1pPr>
          </a:lstStyle>
          <a:p>
            <a:pPr lvl="0"/>
            <a:r>
              <a:rPr lang="da-DK"/>
              <a:t>Fornavn</a:t>
            </a:r>
          </a:p>
        </p:txBody>
      </p:sp>
      <p:sp>
        <p:nvSpPr>
          <p:cNvPr id="48" name="Pladsholder til tekst 3">
            <a:extLst>
              <a:ext uri="{FF2B5EF4-FFF2-40B4-BE49-F238E27FC236}">
                <a16:creationId xmlns:a16="http://schemas.microsoft.com/office/drawing/2014/main" id="{56D11550-8BF7-6A1C-BCDF-73DEB114561C}"/>
              </a:ext>
            </a:extLst>
          </p:cNvPr>
          <p:cNvSpPr>
            <a:spLocks noGrp="1"/>
          </p:cNvSpPr>
          <p:nvPr>
            <p:ph type="body" sz="quarter" idx="43"/>
          </p:nvPr>
        </p:nvSpPr>
        <p:spPr>
          <a:xfrm>
            <a:off x="7020272" y="1850162"/>
            <a:ext cx="1204528" cy="660558"/>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49" name="Pladsholder til tekst 3">
            <a:extLst>
              <a:ext uri="{FF2B5EF4-FFF2-40B4-BE49-F238E27FC236}">
                <a16:creationId xmlns:a16="http://schemas.microsoft.com/office/drawing/2014/main" id="{17158A51-3540-2BEE-C30F-6B8CDD92F211}"/>
              </a:ext>
            </a:extLst>
          </p:cNvPr>
          <p:cNvSpPr>
            <a:spLocks noGrp="1"/>
          </p:cNvSpPr>
          <p:nvPr>
            <p:ph type="body" sz="quarter" idx="44" hasCustomPrompt="1"/>
          </p:nvPr>
        </p:nvSpPr>
        <p:spPr>
          <a:xfrm>
            <a:off x="7020272" y="1688784"/>
            <a:ext cx="1204528" cy="108000"/>
          </a:xfrm>
        </p:spPr>
        <p:txBody>
          <a:bodyPr rIns="0" anchor="t"/>
          <a:lstStyle>
            <a:lvl1pPr marL="0" indent="0" algn="l">
              <a:buNone/>
              <a:defRPr sz="900" b="1" i="0" kern="0" baseline="0">
                <a:solidFill>
                  <a:schemeClr val="tx1"/>
                </a:solidFill>
                <a:latin typeface="Neue Haas Grotesk Text Pro" panose="020B0504020202020204" pitchFamily="34" charset="77"/>
              </a:defRPr>
            </a:lvl1pPr>
          </a:lstStyle>
          <a:p>
            <a:pPr lvl="0"/>
            <a:r>
              <a:rPr lang="da-DK"/>
              <a:t>Efternavn</a:t>
            </a:r>
          </a:p>
        </p:txBody>
      </p:sp>
      <p:sp>
        <p:nvSpPr>
          <p:cNvPr id="50" name="Pladsholder til billede 5">
            <a:extLst>
              <a:ext uri="{FF2B5EF4-FFF2-40B4-BE49-F238E27FC236}">
                <a16:creationId xmlns:a16="http://schemas.microsoft.com/office/drawing/2014/main" id="{B7280D40-4DBE-58C9-F982-D5EB8480883F}"/>
              </a:ext>
            </a:extLst>
          </p:cNvPr>
          <p:cNvSpPr>
            <a:spLocks noGrp="1" noChangeAspect="1"/>
          </p:cNvSpPr>
          <p:nvPr>
            <p:ph type="pic" sz="quarter" idx="45"/>
          </p:nvPr>
        </p:nvSpPr>
        <p:spPr>
          <a:xfrm>
            <a:off x="7020272" y="2721034"/>
            <a:ext cx="864096" cy="864096"/>
          </a:xfrm>
          <a:prstGeom prst="rect">
            <a:avLst/>
          </a:prstGeom>
          <a:noFill/>
        </p:spPr>
        <p:txBody>
          <a:bodyPr lIns="72000" rIns="72000" anchor="t">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51" name="Pladsholder til tekst 3">
            <a:extLst>
              <a:ext uri="{FF2B5EF4-FFF2-40B4-BE49-F238E27FC236}">
                <a16:creationId xmlns:a16="http://schemas.microsoft.com/office/drawing/2014/main" id="{C66A282C-E1EF-CD39-FF37-01DC8A0ED527}"/>
              </a:ext>
            </a:extLst>
          </p:cNvPr>
          <p:cNvSpPr>
            <a:spLocks noGrp="1"/>
          </p:cNvSpPr>
          <p:nvPr>
            <p:ph type="body" sz="quarter" idx="46" hasCustomPrompt="1"/>
          </p:nvPr>
        </p:nvSpPr>
        <p:spPr>
          <a:xfrm>
            <a:off x="7020272" y="3650754"/>
            <a:ext cx="1204528" cy="108000"/>
          </a:xfrm>
        </p:spPr>
        <p:txBody>
          <a:bodyPr rIns="0" anchor="t"/>
          <a:lstStyle>
            <a:lvl1pPr marL="0" indent="0" algn="l">
              <a:buNone/>
              <a:defRPr sz="900" b="1" i="0" kern="0" baseline="0">
                <a:solidFill>
                  <a:schemeClr val="tx1"/>
                </a:solidFill>
                <a:latin typeface="Neue Haas Grotesk Text Pro" panose="020B0504020202020204" pitchFamily="34" charset="77"/>
              </a:defRPr>
            </a:lvl1pPr>
          </a:lstStyle>
          <a:p>
            <a:pPr lvl="0"/>
            <a:r>
              <a:rPr lang="da-DK"/>
              <a:t>Fornavn</a:t>
            </a:r>
          </a:p>
        </p:txBody>
      </p:sp>
      <p:sp>
        <p:nvSpPr>
          <p:cNvPr id="52" name="Pladsholder til tekst 3">
            <a:extLst>
              <a:ext uri="{FF2B5EF4-FFF2-40B4-BE49-F238E27FC236}">
                <a16:creationId xmlns:a16="http://schemas.microsoft.com/office/drawing/2014/main" id="{6B26AE57-DF32-3B12-88AA-D432FA981EFA}"/>
              </a:ext>
            </a:extLst>
          </p:cNvPr>
          <p:cNvSpPr>
            <a:spLocks noGrp="1"/>
          </p:cNvSpPr>
          <p:nvPr>
            <p:ph type="body" sz="quarter" idx="47"/>
          </p:nvPr>
        </p:nvSpPr>
        <p:spPr>
          <a:xfrm>
            <a:off x="7020272" y="3943662"/>
            <a:ext cx="1204528" cy="660558"/>
          </a:xfrm>
        </p:spPr>
        <p:txBody>
          <a:bodyPr rIns="0" anchor="t"/>
          <a:lstStyle>
            <a:lvl1pPr marL="0" indent="0" algn="l">
              <a:buNone/>
              <a:defRPr sz="800" b="0" i="0" kern="0" baseline="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53" name="Pladsholder til tekst 3">
            <a:extLst>
              <a:ext uri="{FF2B5EF4-FFF2-40B4-BE49-F238E27FC236}">
                <a16:creationId xmlns:a16="http://schemas.microsoft.com/office/drawing/2014/main" id="{70A575D0-4A19-2707-2E57-1C528C7BD752}"/>
              </a:ext>
            </a:extLst>
          </p:cNvPr>
          <p:cNvSpPr>
            <a:spLocks noGrp="1"/>
          </p:cNvSpPr>
          <p:nvPr>
            <p:ph type="body" sz="quarter" idx="48" hasCustomPrompt="1"/>
          </p:nvPr>
        </p:nvSpPr>
        <p:spPr>
          <a:xfrm>
            <a:off x="7020272" y="3782284"/>
            <a:ext cx="1204528" cy="108000"/>
          </a:xfrm>
        </p:spPr>
        <p:txBody>
          <a:bodyPr rIns="0" anchor="t"/>
          <a:lstStyle>
            <a:lvl1pPr marL="0" indent="0" algn="l">
              <a:buNone/>
              <a:defRPr sz="900" b="1" i="0" kern="0" baseline="0">
                <a:solidFill>
                  <a:schemeClr val="tx1"/>
                </a:solidFill>
                <a:latin typeface="Neue Haas Grotesk Text Pro" panose="020B0504020202020204" pitchFamily="34" charset="77"/>
              </a:defRPr>
            </a:lvl1pPr>
          </a:lstStyle>
          <a:p>
            <a:pPr lvl="0"/>
            <a:r>
              <a:rPr lang="da-DK"/>
              <a:t>Efternavn</a:t>
            </a:r>
          </a:p>
        </p:txBody>
      </p:sp>
    </p:spTree>
    <p:extLst>
      <p:ext uri="{BB962C8B-B14F-4D97-AF65-F5344CB8AC3E}">
        <p14:creationId xmlns:p14="http://schemas.microsoft.com/office/powerpoint/2010/main" val="81855763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D">
    <p:spTree>
      <p:nvGrpSpPr>
        <p:cNvPr id="1" name=""/>
        <p:cNvGrpSpPr/>
        <p:nvPr/>
      </p:nvGrpSpPr>
      <p:grpSpPr>
        <a:xfrm>
          <a:off x="0" y="0"/>
          <a:ext cx="0" cy="0"/>
          <a:chOff x="0" y="0"/>
          <a:chExt cx="0" cy="0"/>
        </a:xfrm>
      </p:grpSpPr>
      <p:sp>
        <p:nvSpPr>
          <p:cNvPr id="2" name="Baggrund">
            <a:extLst>
              <a:ext uri="{FF2B5EF4-FFF2-40B4-BE49-F238E27FC236}">
                <a16:creationId xmlns:a16="http://schemas.microsoft.com/office/drawing/2014/main" id="{A3F99305-DD9A-28F1-23AF-2DF48A2D4923}"/>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3" name="Title 2">
            <a:extLst>
              <a:ext uri="{FF2B5EF4-FFF2-40B4-BE49-F238E27FC236}">
                <a16:creationId xmlns:a16="http://schemas.microsoft.com/office/drawing/2014/main" id="{7F65F358-3D0B-4C30-94C6-9BC8E1B3EA11}"/>
              </a:ext>
            </a:extLst>
          </p:cNvPr>
          <p:cNvSpPr>
            <a:spLocks noGrp="1"/>
          </p:cNvSpPr>
          <p:nvPr>
            <p:ph type="title" hasCustomPrompt="1"/>
          </p:nvPr>
        </p:nvSpPr>
        <p:spPr>
          <a:xfrm>
            <a:off x="405000" y="675000"/>
            <a:ext cx="5510025" cy="621000"/>
          </a:xfrm>
        </p:spPr>
        <p:txBody>
          <a:bodyPr/>
          <a:lstStyle>
            <a:lvl1pPr>
              <a:defRPr>
                <a:solidFill>
                  <a:schemeClr val="bg1"/>
                </a:solidFill>
              </a:defRPr>
            </a:lvl1pPr>
          </a:lstStyle>
          <a:p>
            <a:r>
              <a:rPr lang="da-DK"/>
              <a:t>Klik for at tilføje titel, Dagens Program</a:t>
            </a:r>
          </a:p>
        </p:txBody>
      </p:sp>
      <p:sp>
        <p:nvSpPr>
          <p:cNvPr id="5" name="Text Placeholder 3">
            <a:extLst>
              <a:ext uri="{FF2B5EF4-FFF2-40B4-BE49-F238E27FC236}">
                <a16:creationId xmlns:a16="http://schemas.microsoft.com/office/drawing/2014/main" id="{F88E1ED0-01CC-2DF6-D602-A0914930EA50}"/>
              </a:ext>
            </a:extLst>
          </p:cNvPr>
          <p:cNvSpPr>
            <a:spLocks noGrp="1"/>
          </p:cNvSpPr>
          <p:nvPr>
            <p:ph type="body" sz="quarter" idx="17" hasCustomPrompt="1"/>
          </p:nvPr>
        </p:nvSpPr>
        <p:spPr>
          <a:xfrm>
            <a:off x="405001" y="1431000"/>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6" name="Text Placeholder 2">
            <a:extLst>
              <a:ext uri="{FF2B5EF4-FFF2-40B4-BE49-F238E27FC236}">
                <a16:creationId xmlns:a16="http://schemas.microsoft.com/office/drawing/2014/main" id="{B63AAE3C-A90D-C461-6230-EAC8B7488BE2}"/>
              </a:ext>
            </a:extLst>
          </p:cNvPr>
          <p:cNvSpPr>
            <a:spLocks noGrp="1"/>
          </p:cNvSpPr>
          <p:nvPr>
            <p:ph type="body" sz="quarter" idx="13" hasCustomPrompt="1"/>
          </p:nvPr>
        </p:nvSpPr>
        <p:spPr>
          <a:xfrm>
            <a:off x="1504336" y="1431000"/>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ts val="1440"/>
              </a:lnSpc>
              <a:spcBef>
                <a:spcPts val="0"/>
              </a:spcBef>
              <a:spcAft>
                <a:spcPts val="0"/>
              </a:spcAft>
              <a:buFont typeface="Arial" panose="020B0604020202020204" pitchFamily="34" charset="0"/>
              <a:buChar char="​"/>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p:txBody>
      </p:sp>
      <p:sp>
        <p:nvSpPr>
          <p:cNvPr id="12" name="Text Placeholder 3">
            <a:extLst>
              <a:ext uri="{FF2B5EF4-FFF2-40B4-BE49-F238E27FC236}">
                <a16:creationId xmlns:a16="http://schemas.microsoft.com/office/drawing/2014/main" id="{BBFFFFAA-39D5-C49F-DA18-DAD679814B2B}"/>
              </a:ext>
            </a:extLst>
          </p:cNvPr>
          <p:cNvSpPr>
            <a:spLocks noGrp="1"/>
          </p:cNvSpPr>
          <p:nvPr>
            <p:ph type="body" sz="quarter" idx="23" hasCustomPrompt="1"/>
          </p:nvPr>
        </p:nvSpPr>
        <p:spPr>
          <a:xfrm>
            <a:off x="405001" y="1671271"/>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13" name="Text Placeholder 2">
            <a:extLst>
              <a:ext uri="{FF2B5EF4-FFF2-40B4-BE49-F238E27FC236}">
                <a16:creationId xmlns:a16="http://schemas.microsoft.com/office/drawing/2014/main" id="{97E337A9-30F6-F3A0-58BE-C01D420F915A}"/>
              </a:ext>
            </a:extLst>
          </p:cNvPr>
          <p:cNvSpPr>
            <a:spLocks noGrp="1"/>
          </p:cNvSpPr>
          <p:nvPr>
            <p:ph type="body" sz="quarter" idx="24" hasCustomPrompt="1"/>
          </p:nvPr>
        </p:nvSpPr>
        <p:spPr>
          <a:xfrm>
            <a:off x="1504336" y="1671271"/>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14" name="Text Placeholder 3">
            <a:extLst>
              <a:ext uri="{FF2B5EF4-FFF2-40B4-BE49-F238E27FC236}">
                <a16:creationId xmlns:a16="http://schemas.microsoft.com/office/drawing/2014/main" id="{E38D933A-9FA3-2ADC-9B86-7E5F7026FCF6}"/>
              </a:ext>
            </a:extLst>
          </p:cNvPr>
          <p:cNvSpPr>
            <a:spLocks noGrp="1"/>
          </p:cNvSpPr>
          <p:nvPr>
            <p:ph type="body" sz="quarter" idx="25" hasCustomPrompt="1"/>
          </p:nvPr>
        </p:nvSpPr>
        <p:spPr>
          <a:xfrm>
            <a:off x="405001" y="1911541"/>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15" name="Text Placeholder 2">
            <a:extLst>
              <a:ext uri="{FF2B5EF4-FFF2-40B4-BE49-F238E27FC236}">
                <a16:creationId xmlns:a16="http://schemas.microsoft.com/office/drawing/2014/main" id="{1310DB4C-BC22-D40A-5E2C-94515A9E0793}"/>
              </a:ext>
            </a:extLst>
          </p:cNvPr>
          <p:cNvSpPr>
            <a:spLocks noGrp="1"/>
          </p:cNvSpPr>
          <p:nvPr>
            <p:ph type="body" sz="quarter" idx="26" hasCustomPrompt="1"/>
          </p:nvPr>
        </p:nvSpPr>
        <p:spPr>
          <a:xfrm>
            <a:off x="1504336" y="1911541"/>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16" name="Text Placeholder 3">
            <a:extLst>
              <a:ext uri="{FF2B5EF4-FFF2-40B4-BE49-F238E27FC236}">
                <a16:creationId xmlns:a16="http://schemas.microsoft.com/office/drawing/2014/main" id="{C0E5AD6C-5938-6A0C-E2AB-FF85ED08746E}"/>
              </a:ext>
            </a:extLst>
          </p:cNvPr>
          <p:cNvSpPr>
            <a:spLocks noGrp="1"/>
          </p:cNvSpPr>
          <p:nvPr>
            <p:ph type="body" sz="quarter" idx="27" hasCustomPrompt="1"/>
          </p:nvPr>
        </p:nvSpPr>
        <p:spPr>
          <a:xfrm>
            <a:off x="405001" y="2153655"/>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17" name="Text Placeholder 2">
            <a:extLst>
              <a:ext uri="{FF2B5EF4-FFF2-40B4-BE49-F238E27FC236}">
                <a16:creationId xmlns:a16="http://schemas.microsoft.com/office/drawing/2014/main" id="{6A0002F7-1B0B-BC03-AD0B-945E0ABA541C}"/>
              </a:ext>
            </a:extLst>
          </p:cNvPr>
          <p:cNvSpPr>
            <a:spLocks noGrp="1"/>
          </p:cNvSpPr>
          <p:nvPr>
            <p:ph type="body" sz="quarter" idx="28" hasCustomPrompt="1"/>
          </p:nvPr>
        </p:nvSpPr>
        <p:spPr>
          <a:xfrm>
            <a:off x="1504336" y="2153655"/>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1" name="Text Placeholder 3">
            <a:extLst>
              <a:ext uri="{FF2B5EF4-FFF2-40B4-BE49-F238E27FC236}">
                <a16:creationId xmlns:a16="http://schemas.microsoft.com/office/drawing/2014/main" id="{5D92788C-674F-5223-AB65-3050D176848E}"/>
              </a:ext>
            </a:extLst>
          </p:cNvPr>
          <p:cNvSpPr>
            <a:spLocks noGrp="1"/>
          </p:cNvSpPr>
          <p:nvPr>
            <p:ph type="body" sz="quarter" idx="29" hasCustomPrompt="1"/>
          </p:nvPr>
        </p:nvSpPr>
        <p:spPr>
          <a:xfrm>
            <a:off x="405001" y="2395769"/>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2" name="Text Placeholder 2">
            <a:extLst>
              <a:ext uri="{FF2B5EF4-FFF2-40B4-BE49-F238E27FC236}">
                <a16:creationId xmlns:a16="http://schemas.microsoft.com/office/drawing/2014/main" id="{31B33523-F830-0C86-0C1B-B57F899C4D42}"/>
              </a:ext>
            </a:extLst>
          </p:cNvPr>
          <p:cNvSpPr>
            <a:spLocks noGrp="1"/>
          </p:cNvSpPr>
          <p:nvPr>
            <p:ph type="body" sz="quarter" idx="30" hasCustomPrompt="1"/>
          </p:nvPr>
        </p:nvSpPr>
        <p:spPr>
          <a:xfrm>
            <a:off x="1504336" y="2395769"/>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3" name="Text Placeholder 3">
            <a:extLst>
              <a:ext uri="{FF2B5EF4-FFF2-40B4-BE49-F238E27FC236}">
                <a16:creationId xmlns:a16="http://schemas.microsoft.com/office/drawing/2014/main" id="{4B6FE74C-6D16-0362-E73F-72A41C93F7DA}"/>
              </a:ext>
            </a:extLst>
          </p:cNvPr>
          <p:cNvSpPr>
            <a:spLocks noGrp="1"/>
          </p:cNvSpPr>
          <p:nvPr>
            <p:ph type="body" sz="quarter" idx="31" hasCustomPrompt="1"/>
          </p:nvPr>
        </p:nvSpPr>
        <p:spPr>
          <a:xfrm>
            <a:off x="405001" y="2637884"/>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4" name="Text Placeholder 2">
            <a:extLst>
              <a:ext uri="{FF2B5EF4-FFF2-40B4-BE49-F238E27FC236}">
                <a16:creationId xmlns:a16="http://schemas.microsoft.com/office/drawing/2014/main" id="{B3028FFA-A199-6D97-E1E9-18EF04061284}"/>
              </a:ext>
            </a:extLst>
          </p:cNvPr>
          <p:cNvSpPr>
            <a:spLocks noGrp="1"/>
          </p:cNvSpPr>
          <p:nvPr>
            <p:ph type="body" sz="quarter" idx="32" hasCustomPrompt="1"/>
          </p:nvPr>
        </p:nvSpPr>
        <p:spPr>
          <a:xfrm>
            <a:off x="1504336" y="2637884"/>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5" name="Text Placeholder 3">
            <a:extLst>
              <a:ext uri="{FF2B5EF4-FFF2-40B4-BE49-F238E27FC236}">
                <a16:creationId xmlns:a16="http://schemas.microsoft.com/office/drawing/2014/main" id="{0501CFF9-BA90-37F1-D083-9272B6896483}"/>
              </a:ext>
            </a:extLst>
          </p:cNvPr>
          <p:cNvSpPr>
            <a:spLocks noGrp="1"/>
          </p:cNvSpPr>
          <p:nvPr>
            <p:ph type="body" sz="quarter" idx="33" hasCustomPrompt="1"/>
          </p:nvPr>
        </p:nvSpPr>
        <p:spPr>
          <a:xfrm>
            <a:off x="405001" y="2879998"/>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6" name="Text Placeholder 2">
            <a:extLst>
              <a:ext uri="{FF2B5EF4-FFF2-40B4-BE49-F238E27FC236}">
                <a16:creationId xmlns:a16="http://schemas.microsoft.com/office/drawing/2014/main" id="{9DEEEAD9-800E-11FD-3B8F-7A72E3B7FC75}"/>
              </a:ext>
            </a:extLst>
          </p:cNvPr>
          <p:cNvSpPr>
            <a:spLocks noGrp="1"/>
          </p:cNvSpPr>
          <p:nvPr>
            <p:ph type="body" sz="quarter" idx="34" hasCustomPrompt="1"/>
          </p:nvPr>
        </p:nvSpPr>
        <p:spPr>
          <a:xfrm>
            <a:off x="1504336" y="2879998"/>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7" name="Text Placeholder 3">
            <a:extLst>
              <a:ext uri="{FF2B5EF4-FFF2-40B4-BE49-F238E27FC236}">
                <a16:creationId xmlns:a16="http://schemas.microsoft.com/office/drawing/2014/main" id="{78D0999E-7FD4-1BAC-8767-D88D80D5ED79}"/>
              </a:ext>
            </a:extLst>
          </p:cNvPr>
          <p:cNvSpPr>
            <a:spLocks noGrp="1"/>
          </p:cNvSpPr>
          <p:nvPr>
            <p:ph type="body" sz="quarter" idx="35" hasCustomPrompt="1"/>
          </p:nvPr>
        </p:nvSpPr>
        <p:spPr>
          <a:xfrm>
            <a:off x="405001" y="3122112"/>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28" name="Text Placeholder 2">
            <a:extLst>
              <a:ext uri="{FF2B5EF4-FFF2-40B4-BE49-F238E27FC236}">
                <a16:creationId xmlns:a16="http://schemas.microsoft.com/office/drawing/2014/main" id="{1DCBE047-FC28-09EA-D81A-9826C6BDC8E5}"/>
              </a:ext>
            </a:extLst>
          </p:cNvPr>
          <p:cNvSpPr>
            <a:spLocks noGrp="1"/>
          </p:cNvSpPr>
          <p:nvPr>
            <p:ph type="body" sz="quarter" idx="36" hasCustomPrompt="1"/>
          </p:nvPr>
        </p:nvSpPr>
        <p:spPr>
          <a:xfrm>
            <a:off x="1504336" y="3122112"/>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29" name="Text Placeholder 3">
            <a:extLst>
              <a:ext uri="{FF2B5EF4-FFF2-40B4-BE49-F238E27FC236}">
                <a16:creationId xmlns:a16="http://schemas.microsoft.com/office/drawing/2014/main" id="{4A33A6EC-28A9-B4B7-AE4E-612E4C70F307}"/>
              </a:ext>
            </a:extLst>
          </p:cNvPr>
          <p:cNvSpPr>
            <a:spLocks noGrp="1"/>
          </p:cNvSpPr>
          <p:nvPr>
            <p:ph type="body" sz="quarter" idx="37" hasCustomPrompt="1"/>
          </p:nvPr>
        </p:nvSpPr>
        <p:spPr>
          <a:xfrm>
            <a:off x="405001" y="3364226"/>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0" name="Text Placeholder 2">
            <a:extLst>
              <a:ext uri="{FF2B5EF4-FFF2-40B4-BE49-F238E27FC236}">
                <a16:creationId xmlns:a16="http://schemas.microsoft.com/office/drawing/2014/main" id="{9A82A1DD-E3D1-62FD-2183-4264BBA45EC9}"/>
              </a:ext>
            </a:extLst>
          </p:cNvPr>
          <p:cNvSpPr>
            <a:spLocks noGrp="1"/>
          </p:cNvSpPr>
          <p:nvPr>
            <p:ph type="body" sz="quarter" idx="38" hasCustomPrompt="1"/>
          </p:nvPr>
        </p:nvSpPr>
        <p:spPr>
          <a:xfrm>
            <a:off x="1504336" y="3364226"/>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31" name="Text Placeholder 3">
            <a:extLst>
              <a:ext uri="{FF2B5EF4-FFF2-40B4-BE49-F238E27FC236}">
                <a16:creationId xmlns:a16="http://schemas.microsoft.com/office/drawing/2014/main" id="{FB09D4EE-DC8E-AC04-DB03-04AC01D499F6}"/>
              </a:ext>
            </a:extLst>
          </p:cNvPr>
          <p:cNvSpPr>
            <a:spLocks noGrp="1"/>
          </p:cNvSpPr>
          <p:nvPr>
            <p:ph type="body" sz="quarter" idx="39" hasCustomPrompt="1"/>
          </p:nvPr>
        </p:nvSpPr>
        <p:spPr>
          <a:xfrm>
            <a:off x="404813" y="3606341"/>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2" name="Text Placeholder 2">
            <a:extLst>
              <a:ext uri="{FF2B5EF4-FFF2-40B4-BE49-F238E27FC236}">
                <a16:creationId xmlns:a16="http://schemas.microsoft.com/office/drawing/2014/main" id="{45266105-38B6-559B-F10E-F137448925D9}"/>
              </a:ext>
            </a:extLst>
          </p:cNvPr>
          <p:cNvSpPr>
            <a:spLocks noGrp="1"/>
          </p:cNvSpPr>
          <p:nvPr>
            <p:ph type="body" sz="quarter" idx="40" hasCustomPrompt="1"/>
          </p:nvPr>
        </p:nvSpPr>
        <p:spPr>
          <a:xfrm>
            <a:off x="1504149" y="3606341"/>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33" name="Text Placeholder 3">
            <a:extLst>
              <a:ext uri="{FF2B5EF4-FFF2-40B4-BE49-F238E27FC236}">
                <a16:creationId xmlns:a16="http://schemas.microsoft.com/office/drawing/2014/main" id="{2515CCA3-D812-4F32-053A-B08456ACD3F7}"/>
              </a:ext>
            </a:extLst>
          </p:cNvPr>
          <p:cNvSpPr>
            <a:spLocks noGrp="1"/>
          </p:cNvSpPr>
          <p:nvPr>
            <p:ph type="body" sz="quarter" idx="41" hasCustomPrompt="1"/>
          </p:nvPr>
        </p:nvSpPr>
        <p:spPr>
          <a:xfrm>
            <a:off x="404813" y="3846611"/>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4" name="Text Placeholder 2">
            <a:extLst>
              <a:ext uri="{FF2B5EF4-FFF2-40B4-BE49-F238E27FC236}">
                <a16:creationId xmlns:a16="http://schemas.microsoft.com/office/drawing/2014/main" id="{7D9D8073-0B8C-5932-0C7C-D004CFEBB238}"/>
              </a:ext>
            </a:extLst>
          </p:cNvPr>
          <p:cNvSpPr>
            <a:spLocks noGrp="1"/>
          </p:cNvSpPr>
          <p:nvPr>
            <p:ph type="body" sz="quarter" idx="42" hasCustomPrompt="1"/>
          </p:nvPr>
        </p:nvSpPr>
        <p:spPr>
          <a:xfrm>
            <a:off x="1504149" y="3846611"/>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35" name="Text Placeholder 3">
            <a:extLst>
              <a:ext uri="{FF2B5EF4-FFF2-40B4-BE49-F238E27FC236}">
                <a16:creationId xmlns:a16="http://schemas.microsoft.com/office/drawing/2014/main" id="{77FA5820-EB6D-8F5A-C0B6-2490FC952FEF}"/>
              </a:ext>
            </a:extLst>
          </p:cNvPr>
          <p:cNvSpPr>
            <a:spLocks noGrp="1"/>
          </p:cNvSpPr>
          <p:nvPr>
            <p:ph type="body" sz="quarter" idx="43" hasCustomPrompt="1"/>
          </p:nvPr>
        </p:nvSpPr>
        <p:spPr>
          <a:xfrm>
            <a:off x="405001" y="4086882"/>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6" name="Text Placeholder 2">
            <a:extLst>
              <a:ext uri="{FF2B5EF4-FFF2-40B4-BE49-F238E27FC236}">
                <a16:creationId xmlns:a16="http://schemas.microsoft.com/office/drawing/2014/main" id="{7646BE67-3B64-E336-4366-7B6997887CB8}"/>
              </a:ext>
            </a:extLst>
          </p:cNvPr>
          <p:cNvSpPr>
            <a:spLocks noGrp="1"/>
          </p:cNvSpPr>
          <p:nvPr>
            <p:ph type="body" sz="quarter" idx="44" hasCustomPrompt="1"/>
          </p:nvPr>
        </p:nvSpPr>
        <p:spPr>
          <a:xfrm>
            <a:off x="1504336" y="4086882"/>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37" name="Text Placeholder 3">
            <a:extLst>
              <a:ext uri="{FF2B5EF4-FFF2-40B4-BE49-F238E27FC236}">
                <a16:creationId xmlns:a16="http://schemas.microsoft.com/office/drawing/2014/main" id="{00A3F1D9-1CD2-F25E-5F62-2AC5E05E2AEE}"/>
              </a:ext>
            </a:extLst>
          </p:cNvPr>
          <p:cNvSpPr>
            <a:spLocks noGrp="1"/>
          </p:cNvSpPr>
          <p:nvPr>
            <p:ph type="body" sz="quarter" idx="45" hasCustomPrompt="1"/>
          </p:nvPr>
        </p:nvSpPr>
        <p:spPr>
          <a:xfrm>
            <a:off x="405001" y="4327153"/>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a:t>00.00 - 00.00</a:t>
            </a:r>
          </a:p>
        </p:txBody>
      </p:sp>
      <p:sp>
        <p:nvSpPr>
          <p:cNvPr id="38" name="Text Placeholder 2">
            <a:extLst>
              <a:ext uri="{FF2B5EF4-FFF2-40B4-BE49-F238E27FC236}">
                <a16:creationId xmlns:a16="http://schemas.microsoft.com/office/drawing/2014/main" id="{EB822A8D-1EEC-6DA5-524B-C98A9DFDF78E}"/>
              </a:ext>
            </a:extLst>
          </p:cNvPr>
          <p:cNvSpPr>
            <a:spLocks noGrp="1"/>
          </p:cNvSpPr>
          <p:nvPr>
            <p:ph type="body" sz="quarter" idx="46" hasCustomPrompt="1"/>
          </p:nvPr>
        </p:nvSpPr>
        <p:spPr>
          <a:xfrm>
            <a:off x="1504336" y="4327153"/>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a:t>Klik for at tilføje agendapunkt</a:t>
            </a:r>
          </a:p>
          <a:p>
            <a:pPr lvl="1"/>
            <a:endParaRPr lang="da-DK" noProof="0"/>
          </a:p>
        </p:txBody>
      </p:sp>
      <p:sp>
        <p:nvSpPr>
          <p:cNvPr id="18" name="Pladsholder til dato 17">
            <a:extLst>
              <a:ext uri="{FF2B5EF4-FFF2-40B4-BE49-F238E27FC236}">
                <a16:creationId xmlns:a16="http://schemas.microsoft.com/office/drawing/2014/main" id="{CD90634D-8101-F6C4-83E7-B23E68904390}"/>
              </a:ext>
            </a:extLst>
          </p:cNvPr>
          <p:cNvSpPr>
            <a:spLocks noGrp="1"/>
          </p:cNvSpPr>
          <p:nvPr>
            <p:ph type="dt" sz="half" idx="20"/>
          </p:nvPr>
        </p:nvSpPr>
        <p:spPr/>
        <p:txBody>
          <a:bodyPr/>
          <a:lstStyle>
            <a:lvl1pPr>
              <a:defRPr>
                <a:solidFill>
                  <a:schemeClr val="bg1"/>
                </a:solidFill>
              </a:defRPr>
            </a:lvl1pPr>
          </a:lstStyle>
          <a:p>
            <a:fld id="{2A9E7E65-270D-4F3F-848C-98E95A93B5E1}" type="datetime2">
              <a:rPr lang="da-DK" smtClean="0"/>
              <a:pPr/>
              <a:t>11. december 2025</a:t>
            </a:fld>
            <a:endParaRPr lang="da-DK"/>
          </a:p>
        </p:txBody>
      </p:sp>
      <p:sp>
        <p:nvSpPr>
          <p:cNvPr id="19" name="Pladsholder til sidefod 18">
            <a:extLst>
              <a:ext uri="{FF2B5EF4-FFF2-40B4-BE49-F238E27FC236}">
                <a16:creationId xmlns:a16="http://schemas.microsoft.com/office/drawing/2014/main" id="{FAD3D5B6-58B2-9664-F0BC-1DEF32B0772B}"/>
              </a:ext>
            </a:extLst>
          </p:cNvPr>
          <p:cNvSpPr>
            <a:spLocks noGrp="1"/>
          </p:cNvSpPr>
          <p:nvPr>
            <p:ph type="ftr" sz="quarter" idx="21"/>
          </p:nvPr>
        </p:nvSpPr>
        <p:spPr/>
        <p:txBody>
          <a:bodyPr/>
          <a:lstStyle>
            <a:lvl1pPr>
              <a:defRPr>
                <a:solidFill>
                  <a:schemeClr val="bg1"/>
                </a:solidFill>
              </a:defRPr>
            </a:lvl1pPr>
          </a:lstStyle>
          <a:p>
            <a:r>
              <a:rPr lang="da-DK"/>
              <a:t>Digitaliseringsstyrelsen</a:t>
            </a:r>
          </a:p>
        </p:txBody>
      </p:sp>
      <p:sp>
        <p:nvSpPr>
          <p:cNvPr id="20" name="Pladsholder til slidenummer 19">
            <a:extLst>
              <a:ext uri="{FF2B5EF4-FFF2-40B4-BE49-F238E27FC236}">
                <a16:creationId xmlns:a16="http://schemas.microsoft.com/office/drawing/2014/main" id="{DFAA6004-F3B1-3667-5F85-60651A0B7444}"/>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grpSp>
        <p:nvGrpSpPr>
          <p:cNvPr id="8" name="Makro grafik 1">
            <a:extLst>
              <a:ext uri="{FF2B5EF4-FFF2-40B4-BE49-F238E27FC236}">
                <a16:creationId xmlns:a16="http://schemas.microsoft.com/office/drawing/2014/main" id="{7CB9B91B-9F42-9A6B-994C-DBFB7D0F9075}"/>
              </a:ext>
            </a:extLst>
          </p:cNvPr>
          <p:cNvGrpSpPr/>
          <p:nvPr userDrawn="1"/>
        </p:nvGrpSpPr>
        <p:grpSpPr>
          <a:xfrm>
            <a:off x="6550364" y="661590"/>
            <a:ext cx="2202731" cy="3163881"/>
            <a:chOff x="14414221" y="1458764"/>
            <a:chExt cx="4856885" cy="6976163"/>
          </a:xfrm>
          <a:solidFill>
            <a:srgbClr val="88C66D"/>
          </a:solidFill>
        </p:grpSpPr>
        <p:sp>
          <p:nvSpPr>
            <p:cNvPr id="9" name="object 39">
              <a:extLst>
                <a:ext uri="{FF2B5EF4-FFF2-40B4-BE49-F238E27FC236}">
                  <a16:creationId xmlns:a16="http://schemas.microsoft.com/office/drawing/2014/main" id="{DBE52B15-4C22-6CD1-3F0A-BB3A69D3053E}"/>
                </a:ext>
              </a:extLst>
            </p:cNvPr>
            <p:cNvSpPr/>
            <p:nvPr/>
          </p:nvSpPr>
          <p:spPr>
            <a:xfrm>
              <a:off x="17451196" y="6499447"/>
              <a:ext cx="1819910" cy="1935480"/>
            </a:xfrm>
            <a:custGeom>
              <a:avLst/>
              <a:gdLst/>
              <a:ahLst/>
              <a:cxnLst/>
              <a:rect l="l" t="t" r="r" b="b"/>
              <a:pathLst>
                <a:path w="1819909" h="1935479">
                  <a:moveTo>
                    <a:pt x="1005204" y="0"/>
                  </a:moveTo>
                  <a:lnTo>
                    <a:pt x="814216" y="0"/>
                  </a:lnTo>
                  <a:lnTo>
                    <a:pt x="824268" y="849398"/>
                  </a:lnTo>
                  <a:lnTo>
                    <a:pt x="100520" y="422185"/>
                  </a:lnTo>
                  <a:lnTo>
                    <a:pt x="0" y="577991"/>
                  </a:lnTo>
                  <a:lnTo>
                    <a:pt x="738825" y="995152"/>
                  </a:lnTo>
                  <a:lnTo>
                    <a:pt x="0" y="1402260"/>
                  </a:lnTo>
                  <a:lnTo>
                    <a:pt x="100520" y="1558067"/>
                  </a:lnTo>
                  <a:lnTo>
                    <a:pt x="824268" y="1130855"/>
                  </a:lnTo>
                  <a:lnTo>
                    <a:pt x="814216" y="1935019"/>
                  </a:lnTo>
                  <a:lnTo>
                    <a:pt x="1005204" y="1935019"/>
                  </a:lnTo>
                  <a:lnTo>
                    <a:pt x="1000178" y="1130855"/>
                  </a:lnTo>
                  <a:lnTo>
                    <a:pt x="1723926" y="1558067"/>
                  </a:lnTo>
                  <a:lnTo>
                    <a:pt x="1819421" y="1402260"/>
                  </a:lnTo>
                  <a:lnTo>
                    <a:pt x="1090647" y="995152"/>
                  </a:lnTo>
                  <a:lnTo>
                    <a:pt x="1819421" y="577991"/>
                  </a:lnTo>
                  <a:lnTo>
                    <a:pt x="1723926" y="422185"/>
                  </a:lnTo>
                  <a:lnTo>
                    <a:pt x="1000178" y="849398"/>
                  </a:lnTo>
                  <a:lnTo>
                    <a:pt x="1005204" y="0"/>
                  </a:lnTo>
                  <a:close/>
                </a:path>
              </a:pathLst>
            </a:custGeom>
            <a:grpFill/>
          </p:spPr>
          <p:txBody>
            <a:bodyPr wrap="square" lIns="0" tIns="0" rIns="0" bIns="0" rtlCol="0"/>
            <a:lstStyle/>
            <a:p>
              <a:endParaRPr lang="da-DK" sz="816"/>
            </a:p>
          </p:txBody>
        </p:sp>
        <p:sp>
          <p:nvSpPr>
            <p:cNvPr id="10" name="object 40">
              <a:extLst>
                <a:ext uri="{FF2B5EF4-FFF2-40B4-BE49-F238E27FC236}">
                  <a16:creationId xmlns:a16="http://schemas.microsoft.com/office/drawing/2014/main" id="{EB105B90-9C2A-E001-81E9-CB88B077A266}"/>
                </a:ext>
              </a:extLst>
            </p:cNvPr>
            <p:cNvSpPr/>
            <p:nvPr/>
          </p:nvSpPr>
          <p:spPr>
            <a:xfrm>
              <a:off x="16290024" y="1484470"/>
              <a:ext cx="1106170" cy="3879850"/>
            </a:xfrm>
            <a:custGeom>
              <a:avLst/>
              <a:gdLst/>
              <a:ahLst/>
              <a:cxnLst/>
              <a:rect l="l" t="t" r="r" b="b"/>
              <a:pathLst>
                <a:path w="1106169" h="3879850">
                  <a:moveTo>
                    <a:pt x="1105725" y="0"/>
                  </a:moveTo>
                  <a:lnTo>
                    <a:pt x="0" y="0"/>
                  </a:lnTo>
                  <a:lnTo>
                    <a:pt x="0" y="175260"/>
                  </a:lnTo>
                  <a:lnTo>
                    <a:pt x="0" y="3703320"/>
                  </a:lnTo>
                  <a:lnTo>
                    <a:pt x="0" y="3879850"/>
                  </a:lnTo>
                  <a:lnTo>
                    <a:pt x="1105725" y="3879850"/>
                  </a:lnTo>
                  <a:lnTo>
                    <a:pt x="1105725" y="3703320"/>
                  </a:lnTo>
                  <a:lnTo>
                    <a:pt x="206070" y="3703320"/>
                  </a:lnTo>
                  <a:lnTo>
                    <a:pt x="206070" y="175260"/>
                  </a:lnTo>
                  <a:lnTo>
                    <a:pt x="1105725" y="175260"/>
                  </a:lnTo>
                  <a:lnTo>
                    <a:pt x="1105725" y="0"/>
                  </a:lnTo>
                  <a:close/>
                </a:path>
              </a:pathLst>
            </a:custGeom>
            <a:grpFill/>
          </p:spPr>
          <p:txBody>
            <a:bodyPr wrap="square" lIns="0" tIns="0" rIns="0" bIns="0" rtlCol="0"/>
            <a:lstStyle/>
            <a:p>
              <a:endParaRPr lang="da-DK" sz="816"/>
            </a:p>
          </p:txBody>
        </p:sp>
        <p:sp>
          <p:nvSpPr>
            <p:cNvPr id="11" name="object 41">
              <a:extLst>
                <a:ext uri="{FF2B5EF4-FFF2-40B4-BE49-F238E27FC236}">
                  <a16:creationId xmlns:a16="http://schemas.microsoft.com/office/drawing/2014/main" id="{A8034995-BEAF-5ACC-DB5F-82B335A4970C}"/>
                </a:ext>
              </a:extLst>
            </p:cNvPr>
            <p:cNvSpPr/>
            <p:nvPr/>
          </p:nvSpPr>
          <p:spPr>
            <a:xfrm>
              <a:off x="14414221" y="1458764"/>
              <a:ext cx="1362075" cy="3920490"/>
            </a:xfrm>
            <a:custGeom>
              <a:avLst/>
              <a:gdLst/>
              <a:ahLst/>
              <a:cxnLst/>
              <a:rect l="l" t="t" r="r" b="b"/>
              <a:pathLst>
                <a:path w="1362075" h="3920490">
                  <a:moveTo>
                    <a:pt x="1362052" y="0"/>
                  </a:moveTo>
                  <a:lnTo>
                    <a:pt x="1309311" y="614"/>
                  </a:lnTo>
                  <a:lnTo>
                    <a:pt x="1257861" y="2451"/>
                  </a:lnTo>
                  <a:lnTo>
                    <a:pt x="1207687" y="5503"/>
                  </a:lnTo>
                  <a:lnTo>
                    <a:pt x="1158776" y="9759"/>
                  </a:lnTo>
                  <a:lnTo>
                    <a:pt x="1111113" y="15212"/>
                  </a:lnTo>
                  <a:lnTo>
                    <a:pt x="1064684" y="21852"/>
                  </a:lnTo>
                  <a:lnTo>
                    <a:pt x="1019476" y="29671"/>
                  </a:lnTo>
                  <a:lnTo>
                    <a:pt x="975474" y="38659"/>
                  </a:lnTo>
                  <a:lnTo>
                    <a:pt x="932664" y="48808"/>
                  </a:lnTo>
                  <a:lnTo>
                    <a:pt x="891033" y="60109"/>
                  </a:lnTo>
                  <a:lnTo>
                    <a:pt x="850565" y="72552"/>
                  </a:lnTo>
                  <a:lnTo>
                    <a:pt x="811247" y="86129"/>
                  </a:lnTo>
                  <a:lnTo>
                    <a:pt x="773065" y="100832"/>
                  </a:lnTo>
                  <a:lnTo>
                    <a:pt x="736005" y="116650"/>
                  </a:lnTo>
                  <a:lnTo>
                    <a:pt x="700052" y="133576"/>
                  </a:lnTo>
                  <a:lnTo>
                    <a:pt x="665193" y="151600"/>
                  </a:lnTo>
                  <a:lnTo>
                    <a:pt x="631413" y="170714"/>
                  </a:lnTo>
                  <a:lnTo>
                    <a:pt x="598698" y="190908"/>
                  </a:lnTo>
                  <a:lnTo>
                    <a:pt x="567035" y="212174"/>
                  </a:lnTo>
                  <a:lnTo>
                    <a:pt x="506807" y="257884"/>
                  </a:lnTo>
                  <a:lnTo>
                    <a:pt x="450615" y="307775"/>
                  </a:lnTo>
                  <a:lnTo>
                    <a:pt x="398346" y="361774"/>
                  </a:lnTo>
                  <a:lnTo>
                    <a:pt x="349888" y="419810"/>
                  </a:lnTo>
                  <a:lnTo>
                    <a:pt x="327053" y="450319"/>
                  </a:lnTo>
                  <a:lnTo>
                    <a:pt x="305128" y="481812"/>
                  </a:lnTo>
                  <a:lnTo>
                    <a:pt x="284100" y="514278"/>
                  </a:lnTo>
                  <a:lnTo>
                    <a:pt x="263954" y="547709"/>
                  </a:lnTo>
                  <a:lnTo>
                    <a:pt x="244677" y="582096"/>
                  </a:lnTo>
                  <a:lnTo>
                    <a:pt x="226253" y="617430"/>
                  </a:lnTo>
                  <a:lnTo>
                    <a:pt x="208670" y="653702"/>
                  </a:lnTo>
                  <a:lnTo>
                    <a:pt x="191912" y="690903"/>
                  </a:lnTo>
                  <a:lnTo>
                    <a:pt x="175967" y="729024"/>
                  </a:lnTo>
                  <a:lnTo>
                    <a:pt x="160819" y="768057"/>
                  </a:lnTo>
                  <a:lnTo>
                    <a:pt x="146455" y="807992"/>
                  </a:lnTo>
                  <a:lnTo>
                    <a:pt x="132860" y="848821"/>
                  </a:lnTo>
                  <a:lnTo>
                    <a:pt x="120022" y="890535"/>
                  </a:lnTo>
                  <a:lnTo>
                    <a:pt x="107924" y="933125"/>
                  </a:lnTo>
                  <a:lnTo>
                    <a:pt x="96554" y="976581"/>
                  </a:lnTo>
                  <a:lnTo>
                    <a:pt x="85898" y="1020895"/>
                  </a:lnTo>
                  <a:lnTo>
                    <a:pt x="75940" y="1066059"/>
                  </a:lnTo>
                  <a:lnTo>
                    <a:pt x="66668" y="1112062"/>
                  </a:lnTo>
                  <a:lnTo>
                    <a:pt x="58067" y="1158897"/>
                  </a:lnTo>
                  <a:lnTo>
                    <a:pt x="50122" y="1206555"/>
                  </a:lnTo>
                  <a:lnTo>
                    <a:pt x="42821" y="1255025"/>
                  </a:lnTo>
                  <a:lnTo>
                    <a:pt x="36148" y="1304301"/>
                  </a:lnTo>
                  <a:lnTo>
                    <a:pt x="30091" y="1354372"/>
                  </a:lnTo>
                  <a:lnTo>
                    <a:pt x="24634" y="1405230"/>
                  </a:lnTo>
                  <a:lnTo>
                    <a:pt x="19763" y="1456866"/>
                  </a:lnTo>
                  <a:lnTo>
                    <a:pt x="15465" y="1509270"/>
                  </a:lnTo>
                  <a:lnTo>
                    <a:pt x="11725" y="1562435"/>
                  </a:lnTo>
                  <a:lnTo>
                    <a:pt x="8530" y="1616351"/>
                  </a:lnTo>
                  <a:lnTo>
                    <a:pt x="5865" y="1671009"/>
                  </a:lnTo>
                  <a:lnTo>
                    <a:pt x="3716" y="1726401"/>
                  </a:lnTo>
                  <a:lnTo>
                    <a:pt x="2069" y="1782517"/>
                  </a:lnTo>
                  <a:lnTo>
                    <a:pt x="910" y="1839349"/>
                  </a:lnTo>
                  <a:lnTo>
                    <a:pt x="225" y="1896887"/>
                  </a:lnTo>
                  <a:lnTo>
                    <a:pt x="0" y="1955123"/>
                  </a:lnTo>
                  <a:lnTo>
                    <a:pt x="221" y="2013606"/>
                  </a:lnTo>
                  <a:lnTo>
                    <a:pt x="894" y="2071392"/>
                  </a:lnTo>
                  <a:lnTo>
                    <a:pt x="2034" y="2128470"/>
                  </a:lnTo>
                  <a:lnTo>
                    <a:pt x="3655" y="2184833"/>
                  </a:lnTo>
                  <a:lnTo>
                    <a:pt x="5772" y="2240470"/>
                  </a:lnTo>
                  <a:lnTo>
                    <a:pt x="8398" y="2295374"/>
                  </a:lnTo>
                  <a:lnTo>
                    <a:pt x="11549" y="2349534"/>
                  </a:lnTo>
                  <a:lnTo>
                    <a:pt x="15240" y="2402942"/>
                  </a:lnTo>
                  <a:lnTo>
                    <a:pt x="19483" y="2455589"/>
                  </a:lnTo>
                  <a:lnTo>
                    <a:pt x="24295" y="2507466"/>
                  </a:lnTo>
                  <a:lnTo>
                    <a:pt x="29689" y="2558564"/>
                  </a:lnTo>
                  <a:lnTo>
                    <a:pt x="35680" y="2608873"/>
                  </a:lnTo>
                  <a:lnTo>
                    <a:pt x="42282" y="2658386"/>
                  </a:lnTo>
                  <a:lnTo>
                    <a:pt x="49510" y="2707092"/>
                  </a:lnTo>
                  <a:lnTo>
                    <a:pt x="57379" y="2754982"/>
                  </a:lnTo>
                  <a:lnTo>
                    <a:pt x="65903" y="2802048"/>
                  </a:lnTo>
                  <a:lnTo>
                    <a:pt x="75095" y="2848281"/>
                  </a:lnTo>
                  <a:lnTo>
                    <a:pt x="84972" y="2893671"/>
                  </a:lnTo>
                  <a:lnTo>
                    <a:pt x="95547" y="2938210"/>
                  </a:lnTo>
                  <a:lnTo>
                    <a:pt x="106835" y="2981888"/>
                  </a:lnTo>
                  <a:lnTo>
                    <a:pt x="118850" y="3024697"/>
                  </a:lnTo>
                  <a:lnTo>
                    <a:pt x="131606" y="3066627"/>
                  </a:lnTo>
                  <a:lnTo>
                    <a:pt x="145119" y="3107670"/>
                  </a:lnTo>
                  <a:lnTo>
                    <a:pt x="159403" y="3147816"/>
                  </a:lnTo>
                  <a:lnTo>
                    <a:pt x="174472" y="3187056"/>
                  </a:lnTo>
                  <a:lnTo>
                    <a:pt x="190341" y="3225381"/>
                  </a:lnTo>
                  <a:lnTo>
                    <a:pt x="207023" y="3262783"/>
                  </a:lnTo>
                  <a:lnTo>
                    <a:pt x="224535" y="3299252"/>
                  </a:lnTo>
                  <a:lnTo>
                    <a:pt x="242889" y="3334779"/>
                  </a:lnTo>
                  <a:lnTo>
                    <a:pt x="262101" y="3369355"/>
                  </a:lnTo>
                  <a:lnTo>
                    <a:pt x="282185" y="3402971"/>
                  </a:lnTo>
                  <a:lnTo>
                    <a:pt x="303156" y="3435619"/>
                  </a:lnTo>
                  <a:lnTo>
                    <a:pt x="325027" y="3467288"/>
                  </a:lnTo>
                  <a:lnTo>
                    <a:pt x="347815" y="3497971"/>
                  </a:lnTo>
                  <a:lnTo>
                    <a:pt x="396194" y="3556338"/>
                  </a:lnTo>
                  <a:lnTo>
                    <a:pt x="448408" y="3610650"/>
                  </a:lnTo>
                  <a:lnTo>
                    <a:pt x="504575" y="3660832"/>
                  </a:lnTo>
                  <a:lnTo>
                    <a:pt x="564809" y="3706814"/>
                  </a:lnTo>
                  <a:lnTo>
                    <a:pt x="596488" y="3728207"/>
                  </a:lnTo>
                  <a:lnTo>
                    <a:pt x="629227" y="3748522"/>
                  </a:lnTo>
                  <a:lnTo>
                    <a:pt x="663040" y="3767752"/>
                  </a:lnTo>
                  <a:lnTo>
                    <a:pt x="697943" y="3785885"/>
                  </a:lnTo>
                  <a:lnTo>
                    <a:pt x="733950" y="3802915"/>
                  </a:lnTo>
                  <a:lnTo>
                    <a:pt x="771075" y="3818830"/>
                  </a:lnTo>
                  <a:lnTo>
                    <a:pt x="809333" y="3833624"/>
                  </a:lnTo>
                  <a:lnTo>
                    <a:pt x="848738" y="3847286"/>
                  </a:lnTo>
                  <a:lnTo>
                    <a:pt x="889305" y="3859807"/>
                  </a:lnTo>
                  <a:lnTo>
                    <a:pt x="931048" y="3871178"/>
                  </a:lnTo>
                  <a:lnTo>
                    <a:pt x="973981" y="3881391"/>
                  </a:lnTo>
                  <a:lnTo>
                    <a:pt x="1018120" y="3890436"/>
                  </a:lnTo>
                  <a:lnTo>
                    <a:pt x="1063479" y="3898305"/>
                  </a:lnTo>
                  <a:lnTo>
                    <a:pt x="1110071" y="3904988"/>
                  </a:lnTo>
                  <a:lnTo>
                    <a:pt x="1157912" y="3910476"/>
                  </a:lnTo>
                  <a:lnTo>
                    <a:pt x="1207016" y="3914760"/>
                  </a:lnTo>
                  <a:lnTo>
                    <a:pt x="1257398" y="3917831"/>
                  </a:lnTo>
                  <a:lnTo>
                    <a:pt x="1309072" y="3919681"/>
                  </a:lnTo>
                  <a:lnTo>
                    <a:pt x="1362052" y="3920299"/>
                  </a:lnTo>
                  <a:lnTo>
                    <a:pt x="1362052" y="3744388"/>
                  </a:lnTo>
                  <a:lnTo>
                    <a:pt x="1310968" y="3743717"/>
                  </a:lnTo>
                  <a:lnTo>
                    <a:pt x="1261330" y="3741708"/>
                  </a:lnTo>
                  <a:lnTo>
                    <a:pt x="1213120" y="3738372"/>
                  </a:lnTo>
                  <a:lnTo>
                    <a:pt x="1166318" y="3733716"/>
                  </a:lnTo>
                  <a:lnTo>
                    <a:pt x="1120905" y="3727750"/>
                  </a:lnTo>
                  <a:lnTo>
                    <a:pt x="1076863" y="3720483"/>
                  </a:lnTo>
                  <a:lnTo>
                    <a:pt x="1034171" y="3711923"/>
                  </a:lnTo>
                  <a:lnTo>
                    <a:pt x="992812" y="3702080"/>
                  </a:lnTo>
                  <a:lnTo>
                    <a:pt x="952766" y="3690962"/>
                  </a:lnTo>
                  <a:lnTo>
                    <a:pt x="914015" y="3678578"/>
                  </a:lnTo>
                  <a:lnTo>
                    <a:pt x="876538" y="3664937"/>
                  </a:lnTo>
                  <a:lnTo>
                    <a:pt x="840318" y="3650048"/>
                  </a:lnTo>
                  <a:lnTo>
                    <a:pt x="805334" y="3633919"/>
                  </a:lnTo>
                  <a:lnTo>
                    <a:pt x="739003" y="3597980"/>
                  </a:lnTo>
                  <a:lnTo>
                    <a:pt x="677391" y="3557191"/>
                  </a:lnTo>
                  <a:lnTo>
                    <a:pt x="620346" y="3511622"/>
                  </a:lnTo>
                  <a:lnTo>
                    <a:pt x="567718" y="3461345"/>
                  </a:lnTo>
                  <a:lnTo>
                    <a:pt x="519352" y="3406431"/>
                  </a:lnTo>
                  <a:lnTo>
                    <a:pt x="475097" y="3346951"/>
                  </a:lnTo>
                  <a:lnTo>
                    <a:pt x="434800" y="3282975"/>
                  </a:lnTo>
                  <a:lnTo>
                    <a:pt x="416089" y="3249324"/>
                  </a:lnTo>
                  <a:lnTo>
                    <a:pt x="398310" y="3214576"/>
                  </a:lnTo>
                  <a:lnTo>
                    <a:pt x="381445" y="3178739"/>
                  </a:lnTo>
                  <a:lnTo>
                    <a:pt x="365474" y="3141823"/>
                  </a:lnTo>
                  <a:lnTo>
                    <a:pt x="350379" y="3103837"/>
                  </a:lnTo>
                  <a:lnTo>
                    <a:pt x="336140" y="3064789"/>
                  </a:lnTo>
                  <a:lnTo>
                    <a:pt x="322739" y="3024688"/>
                  </a:lnTo>
                  <a:lnTo>
                    <a:pt x="310155" y="2983544"/>
                  </a:lnTo>
                  <a:lnTo>
                    <a:pt x="298372" y="2941364"/>
                  </a:lnTo>
                  <a:lnTo>
                    <a:pt x="287368" y="2898159"/>
                  </a:lnTo>
                  <a:lnTo>
                    <a:pt x="277126" y="2853936"/>
                  </a:lnTo>
                  <a:lnTo>
                    <a:pt x="267626" y="2808705"/>
                  </a:lnTo>
                  <a:lnTo>
                    <a:pt x="258849" y="2762474"/>
                  </a:lnTo>
                  <a:lnTo>
                    <a:pt x="250777" y="2715253"/>
                  </a:lnTo>
                  <a:lnTo>
                    <a:pt x="243389" y="2667050"/>
                  </a:lnTo>
                  <a:lnTo>
                    <a:pt x="236668" y="2617875"/>
                  </a:lnTo>
                  <a:lnTo>
                    <a:pt x="230594" y="2567735"/>
                  </a:lnTo>
                  <a:lnTo>
                    <a:pt x="225147" y="2516641"/>
                  </a:lnTo>
                  <a:lnTo>
                    <a:pt x="220310" y="2464600"/>
                  </a:lnTo>
                  <a:lnTo>
                    <a:pt x="216063" y="2411622"/>
                  </a:lnTo>
                  <a:lnTo>
                    <a:pt x="212387" y="2357716"/>
                  </a:lnTo>
                  <a:lnTo>
                    <a:pt x="209262" y="2302890"/>
                  </a:lnTo>
                  <a:lnTo>
                    <a:pt x="206671" y="2247154"/>
                  </a:lnTo>
                  <a:lnTo>
                    <a:pt x="204593" y="2190516"/>
                  </a:lnTo>
                  <a:lnTo>
                    <a:pt x="203010" y="2132985"/>
                  </a:lnTo>
                  <a:lnTo>
                    <a:pt x="201903" y="2074570"/>
                  </a:lnTo>
                  <a:lnTo>
                    <a:pt x="201253" y="2015280"/>
                  </a:lnTo>
                  <a:lnTo>
                    <a:pt x="201040" y="1955123"/>
                  </a:lnTo>
                  <a:lnTo>
                    <a:pt x="201271" y="1894678"/>
                  </a:lnTo>
                  <a:lnTo>
                    <a:pt x="201976" y="1835092"/>
                  </a:lnTo>
                  <a:lnTo>
                    <a:pt x="203173" y="1776374"/>
                  </a:lnTo>
                  <a:lnTo>
                    <a:pt x="204883" y="1718535"/>
                  </a:lnTo>
                  <a:lnTo>
                    <a:pt x="207123" y="1661585"/>
                  </a:lnTo>
                  <a:lnTo>
                    <a:pt x="209914" y="1605535"/>
                  </a:lnTo>
                  <a:lnTo>
                    <a:pt x="213273" y="1550395"/>
                  </a:lnTo>
                  <a:lnTo>
                    <a:pt x="217219" y="1496176"/>
                  </a:lnTo>
                  <a:lnTo>
                    <a:pt x="221773" y="1442888"/>
                  </a:lnTo>
                  <a:lnTo>
                    <a:pt x="226952" y="1390540"/>
                  </a:lnTo>
                  <a:lnTo>
                    <a:pt x="232776" y="1339144"/>
                  </a:lnTo>
                  <a:lnTo>
                    <a:pt x="239263" y="1288710"/>
                  </a:lnTo>
                  <a:lnTo>
                    <a:pt x="246433" y="1239247"/>
                  </a:lnTo>
                  <a:lnTo>
                    <a:pt x="254304" y="1190768"/>
                  </a:lnTo>
                  <a:lnTo>
                    <a:pt x="262896" y="1143281"/>
                  </a:lnTo>
                  <a:lnTo>
                    <a:pt x="272228" y="1096797"/>
                  </a:lnTo>
                  <a:lnTo>
                    <a:pt x="282317" y="1051326"/>
                  </a:lnTo>
                  <a:lnTo>
                    <a:pt x="293184" y="1006880"/>
                  </a:lnTo>
                  <a:lnTo>
                    <a:pt x="304848" y="963467"/>
                  </a:lnTo>
                  <a:lnTo>
                    <a:pt x="317326" y="921100"/>
                  </a:lnTo>
                  <a:lnTo>
                    <a:pt x="330639" y="879787"/>
                  </a:lnTo>
                  <a:lnTo>
                    <a:pt x="344805" y="839539"/>
                  </a:lnTo>
                  <a:lnTo>
                    <a:pt x="359843" y="800366"/>
                  </a:lnTo>
                  <a:lnTo>
                    <a:pt x="375772" y="762280"/>
                  </a:lnTo>
                  <a:lnTo>
                    <a:pt x="392612" y="725290"/>
                  </a:lnTo>
                  <a:lnTo>
                    <a:pt x="410380" y="689406"/>
                  </a:lnTo>
                  <a:lnTo>
                    <a:pt x="429096" y="654639"/>
                  </a:lnTo>
                  <a:lnTo>
                    <a:pt x="448780" y="621000"/>
                  </a:lnTo>
                  <a:lnTo>
                    <a:pt x="469449" y="588498"/>
                  </a:lnTo>
                  <a:lnTo>
                    <a:pt x="491123" y="557144"/>
                  </a:lnTo>
                  <a:lnTo>
                    <a:pt x="537561" y="497921"/>
                  </a:lnTo>
                  <a:lnTo>
                    <a:pt x="588247" y="443413"/>
                  </a:lnTo>
                  <a:lnTo>
                    <a:pt x="643331" y="393705"/>
                  </a:lnTo>
                  <a:lnTo>
                    <a:pt x="702965" y="348877"/>
                  </a:lnTo>
                  <a:lnTo>
                    <a:pt x="767301" y="309014"/>
                  </a:lnTo>
                  <a:lnTo>
                    <a:pt x="801280" y="290969"/>
                  </a:lnTo>
                  <a:lnTo>
                    <a:pt x="836491" y="274197"/>
                  </a:lnTo>
                  <a:lnTo>
                    <a:pt x="872954" y="258707"/>
                  </a:lnTo>
                  <a:lnTo>
                    <a:pt x="910687" y="244510"/>
                  </a:lnTo>
                  <a:lnTo>
                    <a:pt x="949709" y="231615"/>
                  </a:lnTo>
                  <a:lnTo>
                    <a:pt x="990039" y="220035"/>
                  </a:lnTo>
                  <a:lnTo>
                    <a:pt x="1031697" y="209777"/>
                  </a:lnTo>
                  <a:lnTo>
                    <a:pt x="1074700" y="200854"/>
                  </a:lnTo>
                  <a:lnTo>
                    <a:pt x="1119069" y="193276"/>
                  </a:lnTo>
                  <a:lnTo>
                    <a:pt x="1164822" y="187052"/>
                  </a:lnTo>
                  <a:lnTo>
                    <a:pt x="1211977" y="182193"/>
                  </a:lnTo>
                  <a:lnTo>
                    <a:pt x="1260555" y="178710"/>
                  </a:lnTo>
                  <a:lnTo>
                    <a:pt x="1310574" y="176612"/>
                  </a:lnTo>
                  <a:lnTo>
                    <a:pt x="1362052" y="175910"/>
                  </a:lnTo>
                  <a:lnTo>
                    <a:pt x="1362052" y="0"/>
                  </a:lnTo>
                  <a:close/>
                </a:path>
              </a:pathLst>
            </a:custGeom>
            <a:grpFill/>
          </p:spPr>
          <p:txBody>
            <a:bodyPr wrap="square" lIns="0" tIns="0" rIns="0" bIns="0" rtlCol="0"/>
            <a:lstStyle/>
            <a:p>
              <a:endParaRPr lang="da-DK" sz="816"/>
            </a:p>
          </p:txBody>
        </p:sp>
      </p:grpSp>
    </p:spTree>
    <p:extLst>
      <p:ext uri="{BB962C8B-B14F-4D97-AF65-F5344CB8AC3E}">
        <p14:creationId xmlns:p14="http://schemas.microsoft.com/office/powerpoint/2010/main" val="273103332"/>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1201">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el og et indhold">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83349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p:txBody>
          <a:bodyPr/>
          <a:lstStyle/>
          <a:p>
            <a:r>
              <a:rPr lang="da-DK"/>
              <a:t>Klik for at tilføje titel</a:t>
            </a:r>
          </a:p>
        </p:txBody>
      </p:sp>
      <p:sp>
        <p:nvSpPr>
          <p:cNvPr id="3" name="Content Placeholder 2"/>
          <p:cNvSpPr>
            <a:spLocks noGrp="1"/>
          </p:cNvSpPr>
          <p:nvPr>
            <p:ph idx="1" hasCustomPrompt="1"/>
          </p:nvPr>
        </p:nvSpPr>
        <p:spPr>
          <a:xfrm>
            <a:off x="405000" y="1431000"/>
            <a:ext cx="8334900" cy="31725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41969349-67F1-41F8-83EC-133BBA9F9E3B}" type="datetime2">
              <a:rPr lang="da-DK" smtClean="0"/>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a:p>
        </p:txBody>
      </p:sp>
    </p:spTree>
    <p:extLst>
      <p:ext uri="{BB962C8B-B14F-4D97-AF65-F5344CB8AC3E}">
        <p14:creationId xmlns:p14="http://schemas.microsoft.com/office/powerpoint/2010/main" val="1731956511"/>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el og to indhold">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83349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p:txBody>
          <a:bodyPr/>
          <a:lstStyle/>
          <a:p>
            <a:r>
              <a:rPr lang="da-DK"/>
              <a:t>Klik for at tilføje titel</a:t>
            </a:r>
          </a:p>
        </p:txBody>
      </p:sp>
      <p:sp>
        <p:nvSpPr>
          <p:cNvPr id="3" name="Content Placeholder 2"/>
          <p:cNvSpPr>
            <a:spLocks noGrp="1"/>
          </p:cNvSpPr>
          <p:nvPr>
            <p:ph idx="1" hasCustomPrompt="1"/>
          </p:nvPr>
        </p:nvSpPr>
        <p:spPr>
          <a:xfrm>
            <a:off x="405000" y="1431000"/>
            <a:ext cx="4097306" cy="31725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2" name="Content Placeholder 3">
            <a:extLst>
              <a:ext uri="{FF2B5EF4-FFF2-40B4-BE49-F238E27FC236}">
                <a16:creationId xmlns:a16="http://schemas.microsoft.com/office/drawing/2014/main" id="{B40077F1-D271-DC8F-912A-2105F80A1015}"/>
              </a:ext>
            </a:extLst>
          </p:cNvPr>
          <p:cNvSpPr>
            <a:spLocks noGrp="1"/>
          </p:cNvSpPr>
          <p:nvPr>
            <p:ph sz="half" idx="2" hasCustomPrompt="1"/>
          </p:nvPr>
        </p:nvSpPr>
        <p:spPr>
          <a:xfrm>
            <a:off x="4639500" y="1431000"/>
            <a:ext cx="4097306" cy="3172500"/>
          </a:xfrm>
        </p:spPr>
        <p:txBody>
          <a:bodyPr/>
          <a:lstStyle>
            <a:lvl1pPr>
              <a:defRPr/>
            </a:lvl1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49E4CC4B-14E8-420D-9FEA-FB5E3520C699}" type="datetime2">
              <a:rPr lang="da-DK" smtClean="0"/>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a:p>
        </p:txBody>
      </p:sp>
    </p:spTree>
    <p:extLst>
      <p:ext uri="{BB962C8B-B14F-4D97-AF65-F5344CB8AC3E}">
        <p14:creationId xmlns:p14="http://schemas.microsoft.com/office/powerpoint/2010/main" val="1560309741"/>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el og tre indhold">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83349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p:txBody>
          <a:bodyPr/>
          <a:lstStyle/>
          <a:p>
            <a:r>
              <a:rPr lang="da-DK"/>
              <a:t>Klik for at tilføje titel</a:t>
            </a:r>
          </a:p>
        </p:txBody>
      </p:sp>
      <p:sp>
        <p:nvSpPr>
          <p:cNvPr id="3" name="Content Placeholder 2"/>
          <p:cNvSpPr>
            <a:spLocks noGrp="1"/>
          </p:cNvSpPr>
          <p:nvPr>
            <p:ph idx="1" hasCustomPrompt="1"/>
          </p:nvPr>
        </p:nvSpPr>
        <p:spPr>
          <a:xfrm>
            <a:off x="405000" y="1431000"/>
            <a:ext cx="2686500" cy="31725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2" name="Content Placeholder 3">
            <a:extLst>
              <a:ext uri="{FF2B5EF4-FFF2-40B4-BE49-F238E27FC236}">
                <a16:creationId xmlns:a16="http://schemas.microsoft.com/office/drawing/2014/main" id="{B40077F1-D271-DC8F-912A-2105F80A1015}"/>
              </a:ext>
            </a:extLst>
          </p:cNvPr>
          <p:cNvSpPr>
            <a:spLocks noGrp="1"/>
          </p:cNvSpPr>
          <p:nvPr>
            <p:ph sz="half" idx="2" hasCustomPrompt="1"/>
          </p:nvPr>
        </p:nvSpPr>
        <p:spPr>
          <a:xfrm>
            <a:off x="3227785" y="1431000"/>
            <a:ext cx="2686500" cy="3172500"/>
          </a:xfrm>
        </p:spPr>
        <p:txBody>
          <a:bodyPr/>
          <a:lstStyle>
            <a:lvl1pPr>
              <a:defRPr/>
            </a:lvl1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8" name="Content Placeholder 4">
            <a:extLst>
              <a:ext uri="{FF2B5EF4-FFF2-40B4-BE49-F238E27FC236}">
                <a16:creationId xmlns:a16="http://schemas.microsoft.com/office/drawing/2014/main" id="{413F396F-50A0-F9A2-43DA-C2F0171D12AA}"/>
              </a:ext>
            </a:extLst>
          </p:cNvPr>
          <p:cNvSpPr>
            <a:spLocks noGrp="1"/>
          </p:cNvSpPr>
          <p:nvPr>
            <p:ph sz="half" idx="14" hasCustomPrompt="1"/>
          </p:nvPr>
        </p:nvSpPr>
        <p:spPr>
          <a:xfrm>
            <a:off x="6050756" y="1431000"/>
            <a:ext cx="2686500" cy="3172500"/>
          </a:xfrm>
        </p:spPr>
        <p:txBody>
          <a:bodyPr/>
          <a:lstStyle>
            <a:lvl1pPr>
              <a:defRPr/>
            </a:lvl1pPr>
            <a:lvl5pPr>
              <a:defRPr/>
            </a:lvl5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1F1698FC-AA98-48BA-82F3-6D983747A4E6}" type="datetime2">
              <a:rPr lang="da-DK" smtClean="0"/>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a:p>
        </p:txBody>
      </p:sp>
    </p:spTree>
    <p:extLst>
      <p:ext uri="{BB962C8B-B14F-4D97-AF65-F5344CB8AC3E}">
        <p14:creationId xmlns:p14="http://schemas.microsoft.com/office/powerpoint/2010/main" val="1136635408"/>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40986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a:xfrm>
            <a:off x="405000" y="675000"/>
            <a:ext cx="4098600" cy="621000"/>
          </a:xfrm>
        </p:spPr>
        <p:txBody>
          <a:bodyPr/>
          <a:lstStyle/>
          <a:p>
            <a:r>
              <a:rPr lang="da-DK"/>
              <a:t>Klik for at tilføje titel</a:t>
            </a:r>
          </a:p>
        </p:txBody>
      </p:sp>
      <p:sp>
        <p:nvSpPr>
          <p:cNvPr id="3" name="Content Placeholder 2"/>
          <p:cNvSpPr>
            <a:spLocks noGrp="1"/>
          </p:cNvSpPr>
          <p:nvPr>
            <p:ph idx="1" hasCustomPrompt="1"/>
          </p:nvPr>
        </p:nvSpPr>
        <p:spPr>
          <a:xfrm>
            <a:off x="405000" y="1431000"/>
            <a:ext cx="4098600" cy="31725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5076000" y="0"/>
            <a:ext cx="3661997" cy="405765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23" name="Makro grafik 1">
            <a:extLst>
              <a:ext uri="{FF2B5EF4-FFF2-40B4-BE49-F238E27FC236}">
                <a16:creationId xmlns:a16="http://schemas.microsoft.com/office/drawing/2014/main" id="{EBA2552F-EC8F-624C-5264-AC2B088E31EF}"/>
              </a:ext>
            </a:extLst>
          </p:cNvPr>
          <p:cNvSpPr>
            <a:spLocks noGrp="1" noChangeAspect="1"/>
          </p:cNvSpPr>
          <p:nvPr>
            <p:ph type="body" sz="quarter" idx="18" hasCustomPrompt="1"/>
          </p:nvPr>
        </p:nvSpPr>
        <p:spPr>
          <a:xfrm>
            <a:off x="4774500" y="200901"/>
            <a:ext cx="810120" cy="265984"/>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a:t>.</a:t>
            </a:r>
          </a:p>
        </p:txBody>
      </p:sp>
      <p:sp>
        <p:nvSpPr>
          <p:cNvPr id="25" name="Makro grafik 2">
            <a:extLst>
              <a:ext uri="{FF2B5EF4-FFF2-40B4-BE49-F238E27FC236}">
                <a16:creationId xmlns:a16="http://schemas.microsoft.com/office/drawing/2014/main" id="{719BADAE-19E7-74F8-5098-F36C7712747B}"/>
              </a:ext>
            </a:extLst>
          </p:cNvPr>
          <p:cNvSpPr>
            <a:spLocks noGrp="1" noChangeAspect="1"/>
          </p:cNvSpPr>
          <p:nvPr>
            <p:ph type="body" sz="quarter" idx="19" hasCustomPrompt="1"/>
          </p:nvPr>
        </p:nvSpPr>
        <p:spPr>
          <a:xfrm>
            <a:off x="7927357" y="3104990"/>
            <a:ext cx="1009898" cy="1313123"/>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a:t>.</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B8DC7334-5B00-458F-ACE6-F27E5084DF10}" type="datetime2">
              <a:rPr lang="da-DK" smtClean="0"/>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a:p>
        </p:txBody>
      </p:sp>
    </p:spTree>
    <p:extLst>
      <p:ext uri="{BB962C8B-B14F-4D97-AF65-F5344CB8AC3E}">
        <p14:creationId xmlns:p14="http://schemas.microsoft.com/office/powerpoint/2010/main" val="786851340"/>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guide id="5" pos="4263">
          <p15:clr>
            <a:srgbClr val="A4A3A4"/>
          </p15:clr>
        </p15:guide>
        <p15:guide id="6" orient="horz" pos="3408">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2" name="Baggrund">
            <a:extLst>
              <a:ext uri="{FF2B5EF4-FFF2-40B4-BE49-F238E27FC236}">
                <a16:creationId xmlns:a16="http://schemas.microsoft.com/office/drawing/2014/main" id="{275AE316-2331-6809-4E9B-58CFF6AD5B81}"/>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4098600" cy="337548"/>
          </a:xfrm>
        </p:spPr>
        <p:txBody>
          <a:bodyPr anchor="b" anchorCtr="0"/>
          <a:lstStyle>
            <a:lvl1pPr marL="0" indent="0" algn="l">
              <a:spcBef>
                <a:spcPts val="0"/>
              </a:spcBef>
              <a:buFont typeface="Arial" panose="020B0604020202020204" pitchFamily="34" charset="0"/>
              <a:buNone/>
              <a:defRPr sz="1200">
                <a:solidFill>
                  <a:schemeClr val="bg1"/>
                </a:solidFill>
              </a:defRPr>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a:xfrm>
            <a:off x="405000" y="675000"/>
            <a:ext cx="4098600" cy="621000"/>
          </a:xfrm>
        </p:spPr>
        <p:txBody>
          <a:bodyPr/>
          <a:lstStyle>
            <a:lvl1pPr>
              <a:defRPr>
                <a:solidFill>
                  <a:schemeClr val="bg1"/>
                </a:solidFill>
              </a:defRPr>
            </a:lvl1pPr>
          </a:lstStyle>
          <a:p>
            <a:r>
              <a:rPr lang="da-DK"/>
              <a:t>Klik for at tilføje titel</a:t>
            </a:r>
          </a:p>
        </p:txBody>
      </p:sp>
      <p:sp>
        <p:nvSpPr>
          <p:cNvPr id="3" name="Content Placeholder 2"/>
          <p:cNvSpPr>
            <a:spLocks noGrp="1"/>
          </p:cNvSpPr>
          <p:nvPr>
            <p:ph idx="1" hasCustomPrompt="1"/>
          </p:nvPr>
        </p:nvSpPr>
        <p:spPr>
          <a:xfrm>
            <a:off x="405000" y="1431000"/>
            <a:ext cx="4098600" cy="31725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a:p>
            <a:pPr lvl="5"/>
            <a:r>
              <a:rPr lang="da-DK" noProof="0"/>
              <a:t>6 Niveau</a:t>
            </a:r>
          </a:p>
          <a:p>
            <a:pPr lvl="6"/>
            <a:r>
              <a:rPr lang="da-DK" noProof="0"/>
              <a:t>7 Niveau</a:t>
            </a:r>
          </a:p>
          <a:p>
            <a:pPr lvl="7"/>
            <a:r>
              <a:rPr lang="da-DK" noProof="0"/>
              <a:t>8 Niveau</a:t>
            </a:r>
          </a:p>
          <a:p>
            <a:pPr lvl="8"/>
            <a:r>
              <a:rPr lang="da-DK" noProof="0"/>
              <a:t>9 Niveau</a:t>
            </a:r>
          </a:p>
        </p:txBody>
      </p:sp>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5076000" y="0"/>
            <a:ext cx="3661997" cy="405765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23" name="Makro grafik 1">
            <a:extLst>
              <a:ext uri="{FF2B5EF4-FFF2-40B4-BE49-F238E27FC236}">
                <a16:creationId xmlns:a16="http://schemas.microsoft.com/office/drawing/2014/main" id="{EBA2552F-EC8F-624C-5264-AC2B088E31EF}"/>
              </a:ext>
            </a:extLst>
          </p:cNvPr>
          <p:cNvSpPr>
            <a:spLocks noGrp="1" noChangeAspect="1"/>
          </p:cNvSpPr>
          <p:nvPr>
            <p:ph type="body" sz="quarter" idx="18" hasCustomPrompt="1"/>
          </p:nvPr>
        </p:nvSpPr>
        <p:spPr>
          <a:xfrm>
            <a:off x="4774500" y="200901"/>
            <a:ext cx="810120" cy="265984"/>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a:t>.</a:t>
            </a:r>
          </a:p>
        </p:txBody>
      </p:sp>
      <p:sp>
        <p:nvSpPr>
          <p:cNvPr id="25" name="Makro grafik 2">
            <a:extLst>
              <a:ext uri="{FF2B5EF4-FFF2-40B4-BE49-F238E27FC236}">
                <a16:creationId xmlns:a16="http://schemas.microsoft.com/office/drawing/2014/main" id="{719BADAE-19E7-74F8-5098-F36C7712747B}"/>
              </a:ext>
            </a:extLst>
          </p:cNvPr>
          <p:cNvSpPr>
            <a:spLocks noGrp="1" noChangeAspect="1"/>
          </p:cNvSpPr>
          <p:nvPr>
            <p:ph type="body" sz="quarter" idx="19" hasCustomPrompt="1"/>
          </p:nvPr>
        </p:nvSpPr>
        <p:spPr>
          <a:xfrm>
            <a:off x="7927357" y="3104990"/>
            <a:ext cx="1009898" cy="1313123"/>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a:t>.</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lvl1pPr>
              <a:defRPr>
                <a:solidFill>
                  <a:schemeClr val="bg1"/>
                </a:solidFill>
              </a:defRPr>
            </a:lvl1pPr>
          </a:lstStyle>
          <a:p>
            <a:fld id="{B8DC7334-5B00-458F-ACE6-F27E5084DF10}" type="datetime2">
              <a:rPr lang="da-DK" smtClean="0"/>
              <a:pPr/>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lvl1pPr>
              <a:defRPr>
                <a:solidFill>
                  <a:schemeClr val="bg1"/>
                </a:solidFill>
              </a:defRPr>
            </a:lvl1pPr>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3944898383"/>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guide id="5" pos="4263">
          <p15:clr>
            <a:srgbClr val="A4A3A4"/>
          </p15:clr>
        </p15:guide>
        <p15:guide id="6" orient="horz" pos="3408">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o billeder og tekst A">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404999" y="0"/>
            <a:ext cx="3393900"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31" name="Picture Placeholder 3">
            <a:extLst>
              <a:ext uri="{FF2B5EF4-FFF2-40B4-BE49-F238E27FC236}">
                <a16:creationId xmlns:a16="http://schemas.microsoft.com/office/drawing/2014/main" id="{0C5AC296-1E96-EE8B-9C85-121FADCDAEEA}"/>
              </a:ext>
            </a:extLst>
          </p:cNvPr>
          <p:cNvSpPr>
            <a:spLocks noGrp="1"/>
          </p:cNvSpPr>
          <p:nvPr>
            <p:ph type="pic" sz="quarter" idx="26" hasCustomPrompt="1"/>
          </p:nvPr>
        </p:nvSpPr>
        <p:spPr>
          <a:xfrm>
            <a:off x="3938784" y="0"/>
            <a:ext cx="3393094"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18" name="Pladsholder til tekst 17">
            <a:extLst>
              <a:ext uri="{FF2B5EF4-FFF2-40B4-BE49-F238E27FC236}">
                <a16:creationId xmlns:a16="http://schemas.microsoft.com/office/drawing/2014/main" id="{7A036220-52A4-5423-2E3D-CA9465DCF383}"/>
              </a:ext>
            </a:extLst>
          </p:cNvPr>
          <p:cNvSpPr>
            <a:spLocks noGrp="1"/>
          </p:cNvSpPr>
          <p:nvPr>
            <p:ph type="body" sz="quarter" idx="21" hasCustomPrompt="1"/>
          </p:nvPr>
        </p:nvSpPr>
        <p:spPr>
          <a:xfrm>
            <a:off x="404999" y="3302101"/>
            <a:ext cx="3393900" cy="1300856"/>
          </a:xfrm>
        </p:spPr>
        <p:txBody>
          <a:bodyPr/>
          <a:lstStyle>
            <a:lvl1pPr>
              <a:defRPr/>
            </a:lvl1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p:txBody>
      </p:sp>
      <p:sp>
        <p:nvSpPr>
          <p:cNvPr id="20" name="Pladsholder til tekst 19">
            <a:extLst>
              <a:ext uri="{FF2B5EF4-FFF2-40B4-BE49-F238E27FC236}">
                <a16:creationId xmlns:a16="http://schemas.microsoft.com/office/drawing/2014/main" id="{B8BFA8BA-84C0-F72E-A750-BA569C419DF9}"/>
              </a:ext>
            </a:extLst>
          </p:cNvPr>
          <p:cNvSpPr>
            <a:spLocks noGrp="1"/>
          </p:cNvSpPr>
          <p:nvPr>
            <p:ph type="body" sz="quarter" idx="22" hasCustomPrompt="1"/>
          </p:nvPr>
        </p:nvSpPr>
        <p:spPr>
          <a:xfrm>
            <a:off x="3939300" y="3302101"/>
            <a:ext cx="3393900" cy="1300856"/>
          </a:xfrm>
        </p:spPr>
        <p:txBody>
          <a:bodyPr/>
          <a:lstStyle>
            <a:lvl1pPr>
              <a:defRPr/>
            </a:lvl1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p:txBody>
      </p:sp>
      <p:sp>
        <p:nvSpPr>
          <p:cNvPr id="35" name="Makro grafik 1">
            <a:extLst>
              <a:ext uri="{FF2B5EF4-FFF2-40B4-BE49-F238E27FC236}">
                <a16:creationId xmlns:a16="http://schemas.microsoft.com/office/drawing/2014/main" id="{7C623DFE-050D-8EBF-2AB6-73D6BB690D9E}"/>
              </a:ext>
            </a:extLst>
          </p:cNvPr>
          <p:cNvSpPr>
            <a:spLocks noGrp="1" noChangeAspect="1"/>
          </p:cNvSpPr>
          <p:nvPr>
            <p:ph type="body" sz="quarter" idx="24" hasCustomPrompt="1"/>
          </p:nvPr>
        </p:nvSpPr>
        <p:spPr>
          <a:xfrm>
            <a:off x="3059924" y="508903"/>
            <a:ext cx="824373" cy="876750"/>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
        <p:nvSpPr>
          <p:cNvPr id="37" name="Makro grafik 2">
            <a:extLst>
              <a:ext uri="{FF2B5EF4-FFF2-40B4-BE49-F238E27FC236}">
                <a16:creationId xmlns:a16="http://schemas.microsoft.com/office/drawing/2014/main" id="{B01E448D-548C-DEA9-6590-C279C5C3F197}"/>
              </a:ext>
            </a:extLst>
          </p:cNvPr>
          <p:cNvSpPr>
            <a:spLocks noGrp="1" noChangeAspect="1"/>
          </p:cNvSpPr>
          <p:nvPr>
            <p:ph type="body" sz="quarter" idx="25" hasCustomPrompt="1"/>
          </p:nvPr>
        </p:nvSpPr>
        <p:spPr>
          <a:xfrm>
            <a:off x="6627459" y="1161722"/>
            <a:ext cx="1239333" cy="177627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6EE1813C-833F-4B00-8AC7-CD62351492B7}" type="datetime2">
              <a:rPr lang="da-DK" smtClean="0"/>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a:p>
        </p:txBody>
      </p:sp>
    </p:spTree>
    <p:extLst>
      <p:ext uri="{BB962C8B-B14F-4D97-AF65-F5344CB8AC3E}">
        <p14:creationId xmlns:p14="http://schemas.microsoft.com/office/powerpoint/2010/main" val="3222878966"/>
      </p:ext>
    </p:extLst>
  </p:cSld>
  <p:clrMapOvr>
    <a:masterClrMapping/>
  </p:clrMapOvr>
  <p:extLst>
    <p:ext uri="{DCECCB84-F9BA-43D5-87BE-67443E8EF086}">
      <p15:sldGuideLst xmlns:p15="http://schemas.microsoft.com/office/powerpoint/2012/main">
        <p15:guide id="6" orient="horz" pos="2660">
          <p15:clr>
            <a:srgbClr val="A4A3A4"/>
          </p15:clr>
        </p15:guide>
        <p15:guide id="7" orient="horz" pos="2773">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o billeder og tekst B">
    <p:spTree>
      <p:nvGrpSpPr>
        <p:cNvPr id="1" name=""/>
        <p:cNvGrpSpPr/>
        <p:nvPr/>
      </p:nvGrpSpPr>
      <p:grpSpPr>
        <a:xfrm>
          <a:off x="0" y="0"/>
          <a:ext cx="0" cy="0"/>
          <a:chOff x="0" y="0"/>
          <a:chExt cx="0" cy="0"/>
        </a:xfrm>
      </p:grpSpPr>
      <p:sp>
        <p:nvSpPr>
          <p:cNvPr id="2" name="Baggrund">
            <a:extLst>
              <a:ext uri="{FF2B5EF4-FFF2-40B4-BE49-F238E27FC236}">
                <a16:creationId xmlns:a16="http://schemas.microsoft.com/office/drawing/2014/main" id="{541EA801-8FE7-2F0F-7F59-C28047217BA7}"/>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404999" y="0"/>
            <a:ext cx="3393900"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31" name="Picture Placeholder 3">
            <a:extLst>
              <a:ext uri="{FF2B5EF4-FFF2-40B4-BE49-F238E27FC236}">
                <a16:creationId xmlns:a16="http://schemas.microsoft.com/office/drawing/2014/main" id="{0C5AC296-1E96-EE8B-9C85-121FADCDAEEA}"/>
              </a:ext>
            </a:extLst>
          </p:cNvPr>
          <p:cNvSpPr>
            <a:spLocks noGrp="1"/>
          </p:cNvSpPr>
          <p:nvPr>
            <p:ph type="pic" sz="quarter" idx="26" hasCustomPrompt="1"/>
          </p:nvPr>
        </p:nvSpPr>
        <p:spPr>
          <a:xfrm>
            <a:off x="3938784" y="0"/>
            <a:ext cx="3393094"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18" name="Pladsholder til tekst 17">
            <a:extLst>
              <a:ext uri="{FF2B5EF4-FFF2-40B4-BE49-F238E27FC236}">
                <a16:creationId xmlns:a16="http://schemas.microsoft.com/office/drawing/2014/main" id="{7A036220-52A4-5423-2E3D-CA9465DCF383}"/>
              </a:ext>
            </a:extLst>
          </p:cNvPr>
          <p:cNvSpPr>
            <a:spLocks noGrp="1"/>
          </p:cNvSpPr>
          <p:nvPr>
            <p:ph type="body" sz="quarter" idx="21" hasCustomPrompt="1"/>
          </p:nvPr>
        </p:nvSpPr>
        <p:spPr>
          <a:xfrm>
            <a:off x="404999" y="3302101"/>
            <a:ext cx="3393900" cy="130085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p:txBody>
      </p:sp>
      <p:sp>
        <p:nvSpPr>
          <p:cNvPr id="20" name="Pladsholder til tekst 19">
            <a:extLst>
              <a:ext uri="{FF2B5EF4-FFF2-40B4-BE49-F238E27FC236}">
                <a16:creationId xmlns:a16="http://schemas.microsoft.com/office/drawing/2014/main" id="{B8BFA8BA-84C0-F72E-A750-BA569C419DF9}"/>
              </a:ext>
            </a:extLst>
          </p:cNvPr>
          <p:cNvSpPr>
            <a:spLocks noGrp="1"/>
          </p:cNvSpPr>
          <p:nvPr>
            <p:ph type="body" sz="quarter" idx="22" hasCustomPrompt="1"/>
          </p:nvPr>
        </p:nvSpPr>
        <p:spPr>
          <a:xfrm>
            <a:off x="3939300" y="3302101"/>
            <a:ext cx="3393900" cy="130085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a:p>
            <a:pPr lvl="2"/>
            <a:r>
              <a:rPr lang="da-DK" noProof="0"/>
              <a:t>Tredje Niveau</a:t>
            </a:r>
          </a:p>
        </p:txBody>
      </p:sp>
      <p:sp>
        <p:nvSpPr>
          <p:cNvPr id="35" name="Makro grafik 1">
            <a:extLst>
              <a:ext uri="{FF2B5EF4-FFF2-40B4-BE49-F238E27FC236}">
                <a16:creationId xmlns:a16="http://schemas.microsoft.com/office/drawing/2014/main" id="{7C623DFE-050D-8EBF-2AB6-73D6BB690D9E}"/>
              </a:ext>
            </a:extLst>
          </p:cNvPr>
          <p:cNvSpPr>
            <a:spLocks noGrp="1" noChangeAspect="1"/>
          </p:cNvSpPr>
          <p:nvPr>
            <p:ph type="body" sz="quarter" idx="24" hasCustomPrompt="1"/>
          </p:nvPr>
        </p:nvSpPr>
        <p:spPr>
          <a:xfrm>
            <a:off x="3059924" y="508903"/>
            <a:ext cx="824373" cy="876750"/>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
        <p:nvSpPr>
          <p:cNvPr id="37" name="Makro grafik 2">
            <a:extLst>
              <a:ext uri="{FF2B5EF4-FFF2-40B4-BE49-F238E27FC236}">
                <a16:creationId xmlns:a16="http://schemas.microsoft.com/office/drawing/2014/main" id="{B01E448D-548C-DEA9-6590-C279C5C3F197}"/>
              </a:ext>
            </a:extLst>
          </p:cNvPr>
          <p:cNvSpPr>
            <a:spLocks noGrp="1" noChangeAspect="1"/>
          </p:cNvSpPr>
          <p:nvPr>
            <p:ph type="body" sz="quarter" idx="25" hasCustomPrompt="1"/>
          </p:nvPr>
        </p:nvSpPr>
        <p:spPr>
          <a:xfrm>
            <a:off x="6627459" y="1161722"/>
            <a:ext cx="1239333" cy="177627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lvl1pPr>
              <a:defRPr>
                <a:solidFill>
                  <a:schemeClr val="bg1"/>
                </a:solidFill>
              </a:defRPr>
            </a:lvl1pPr>
          </a:lstStyle>
          <a:p>
            <a:fld id="{6EE1813C-833F-4B00-8AC7-CD62351492B7}" type="datetime2">
              <a:rPr lang="da-DK" smtClean="0"/>
              <a:pPr/>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lvl1pPr>
              <a:defRPr>
                <a:solidFill>
                  <a:schemeClr val="bg1"/>
                </a:solidFill>
              </a:defRPr>
            </a:lvl1pPr>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827068003"/>
      </p:ext>
    </p:extLst>
  </p:cSld>
  <p:clrMapOvr>
    <a:masterClrMapping/>
  </p:clrMapOvr>
  <p:extLst>
    <p:ext uri="{DCECCB84-F9BA-43D5-87BE-67443E8EF086}">
      <p15:sldGuideLst xmlns:p15="http://schemas.microsoft.com/office/powerpoint/2012/main">
        <p15:guide id="6" orient="horz" pos="2660">
          <p15:clr>
            <a:srgbClr val="A4A3A4"/>
          </p15:clr>
        </p15:guide>
        <p15:guide id="7" orient="horz" pos="2773">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re billeder og tekst A">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405001" y="0"/>
            <a:ext cx="2686500"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31" name="Picture Placeholder 3">
            <a:extLst>
              <a:ext uri="{FF2B5EF4-FFF2-40B4-BE49-F238E27FC236}">
                <a16:creationId xmlns:a16="http://schemas.microsoft.com/office/drawing/2014/main" id="{0C5AC296-1E96-EE8B-9C85-121FADCDAEEA}"/>
              </a:ext>
            </a:extLst>
          </p:cNvPr>
          <p:cNvSpPr>
            <a:spLocks noGrp="1"/>
          </p:cNvSpPr>
          <p:nvPr>
            <p:ph type="pic" sz="quarter" idx="26" hasCustomPrompt="1"/>
          </p:nvPr>
        </p:nvSpPr>
        <p:spPr>
          <a:xfrm>
            <a:off x="3229200" y="0"/>
            <a:ext cx="2686500"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3" name="Picture Placeholder 3">
            <a:extLst>
              <a:ext uri="{FF2B5EF4-FFF2-40B4-BE49-F238E27FC236}">
                <a16:creationId xmlns:a16="http://schemas.microsoft.com/office/drawing/2014/main" id="{5F2C9F80-9D2C-1AE1-46B6-2D3A7D8A6976}"/>
              </a:ext>
            </a:extLst>
          </p:cNvPr>
          <p:cNvSpPr>
            <a:spLocks noGrp="1"/>
          </p:cNvSpPr>
          <p:nvPr>
            <p:ph type="pic" sz="quarter" idx="27" hasCustomPrompt="1"/>
          </p:nvPr>
        </p:nvSpPr>
        <p:spPr>
          <a:xfrm>
            <a:off x="6050570" y="0"/>
            <a:ext cx="2686500"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18" name="Pladsholder til tekst 17">
            <a:extLst>
              <a:ext uri="{FF2B5EF4-FFF2-40B4-BE49-F238E27FC236}">
                <a16:creationId xmlns:a16="http://schemas.microsoft.com/office/drawing/2014/main" id="{7A036220-52A4-5423-2E3D-CA9465DCF383}"/>
              </a:ext>
            </a:extLst>
          </p:cNvPr>
          <p:cNvSpPr>
            <a:spLocks noGrp="1"/>
          </p:cNvSpPr>
          <p:nvPr>
            <p:ph type="body" sz="quarter" idx="21" hasCustomPrompt="1"/>
          </p:nvPr>
        </p:nvSpPr>
        <p:spPr>
          <a:xfrm>
            <a:off x="405001" y="3302100"/>
            <a:ext cx="2686500" cy="1301400"/>
          </a:xfrm>
        </p:spPr>
        <p:txBody>
          <a:bodyPr/>
          <a:lstStyle>
            <a:lvl1pPr>
              <a:defRPr/>
            </a:lvl1pPr>
          </a:lstStyle>
          <a:p>
            <a:pPr lvl="0"/>
            <a:r>
              <a:rPr lang="da-DK" noProof="0"/>
              <a:t>Klik for at tilføje tekst                             Klik ENTER og derefter TAB for at se næste tekstformat                              Klik SHIFT+TAB for at se foregående tekstformat</a:t>
            </a:r>
          </a:p>
          <a:p>
            <a:pPr lvl="1"/>
            <a:r>
              <a:rPr lang="da-DK" noProof="0"/>
              <a:t>Andet Niveau</a:t>
            </a:r>
          </a:p>
        </p:txBody>
      </p:sp>
      <p:sp>
        <p:nvSpPr>
          <p:cNvPr id="20" name="Pladsholder til tekst 19">
            <a:extLst>
              <a:ext uri="{FF2B5EF4-FFF2-40B4-BE49-F238E27FC236}">
                <a16:creationId xmlns:a16="http://schemas.microsoft.com/office/drawing/2014/main" id="{B8BFA8BA-84C0-F72E-A750-BA569C419DF9}"/>
              </a:ext>
            </a:extLst>
          </p:cNvPr>
          <p:cNvSpPr>
            <a:spLocks noGrp="1"/>
          </p:cNvSpPr>
          <p:nvPr>
            <p:ph type="body" sz="quarter" idx="22" hasCustomPrompt="1"/>
          </p:nvPr>
        </p:nvSpPr>
        <p:spPr>
          <a:xfrm>
            <a:off x="3229200" y="3302100"/>
            <a:ext cx="2686500" cy="1301400"/>
          </a:xfrm>
        </p:spPr>
        <p:txBody>
          <a:bodyPr/>
          <a:lstStyle>
            <a:lvl1pPr>
              <a:defRPr/>
            </a:lvl1pPr>
          </a:lstStyle>
          <a:p>
            <a:pPr lvl="0"/>
            <a:r>
              <a:rPr lang="da-DK" noProof="0"/>
              <a:t>Klik for at tilføje tekst                         Klik ENTER og derefter TAB for at se næste tekstformat                                Klik SHIFT+TAB for at se foregående tekstformat</a:t>
            </a:r>
          </a:p>
          <a:p>
            <a:pPr lvl="1"/>
            <a:r>
              <a:rPr lang="da-DK" noProof="0"/>
              <a:t>Andet Niveau</a:t>
            </a:r>
          </a:p>
        </p:txBody>
      </p:sp>
      <p:sp>
        <p:nvSpPr>
          <p:cNvPr id="2" name="Pladsholder til tekst 21">
            <a:extLst>
              <a:ext uri="{FF2B5EF4-FFF2-40B4-BE49-F238E27FC236}">
                <a16:creationId xmlns:a16="http://schemas.microsoft.com/office/drawing/2014/main" id="{B9E2D20B-4753-F312-1E3D-2FCF85F1B474}"/>
              </a:ext>
            </a:extLst>
          </p:cNvPr>
          <p:cNvSpPr>
            <a:spLocks noGrp="1"/>
          </p:cNvSpPr>
          <p:nvPr>
            <p:ph type="body" sz="quarter" idx="23" hasCustomPrompt="1"/>
          </p:nvPr>
        </p:nvSpPr>
        <p:spPr>
          <a:xfrm>
            <a:off x="6050570" y="3302100"/>
            <a:ext cx="2686500" cy="1301400"/>
          </a:xfrm>
        </p:spPr>
        <p:txBody>
          <a:bodyPr/>
          <a:lstStyle/>
          <a:p>
            <a:pPr lvl="0"/>
            <a:r>
              <a:rPr lang="da-DK" noProof="0"/>
              <a:t>Klik for at tilføje tekst                         Klik ENTER og derefter TAB for at se næste tekstformat                                Klik SHIFT+TAB for at se foregående tekstformat</a:t>
            </a:r>
          </a:p>
          <a:p>
            <a:pPr lvl="1"/>
            <a:r>
              <a:rPr lang="da-DK" noProof="0"/>
              <a:t>Andet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97661291-5352-4918-9316-2BC4EAD39735}" type="datetime2">
              <a:rPr lang="da-DK" smtClean="0"/>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a:p>
        </p:txBody>
      </p:sp>
      <p:sp>
        <p:nvSpPr>
          <p:cNvPr id="11" name="Makro grafik 1">
            <a:extLst>
              <a:ext uri="{FF2B5EF4-FFF2-40B4-BE49-F238E27FC236}">
                <a16:creationId xmlns:a16="http://schemas.microsoft.com/office/drawing/2014/main" id="{5B5C7922-7CE1-04FB-3F00-E2781F5AA6A3}"/>
              </a:ext>
            </a:extLst>
          </p:cNvPr>
          <p:cNvSpPr>
            <a:spLocks noGrp="1" noChangeAspect="1"/>
          </p:cNvSpPr>
          <p:nvPr>
            <p:ph type="body" sz="quarter" idx="28" hasCustomPrompt="1"/>
          </p:nvPr>
        </p:nvSpPr>
        <p:spPr>
          <a:xfrm>
            <a:off x="2395552" y="508903"/>
            <a:ext cx="824373" cy="876750"/>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
        <p:nvSpPr>
          <p:cNvPr id="12" name="Makro grafik 2">
            <a:extLst>
              <a:ext uri="{FF2B5EF4-FFF2-40B4-BE49-F238E27FC236}">
                <a16:creationId xmlns:a16="http://schemas.microsoft.com/office/drawing/2014/main" id="{FC0E9C59-2E77-747D-58BC-6769C9984CA6}"/>
              </a:ext>
            </a:extLst>
          </p:cNvPr>
          <p:cNvSpPr>
            <a:spLocks noGrp="1" noChangeAspect="1"/>
          </p:cNvSpPr>
          <p:nvPr>
            <p:ph type="body" sz="quarter" idx="29" hasCustomPrompt="1"/>
          </p:nvPr>
        </p:nvSpPr>
        <p:spPr>
          <a:xfrm>
            <a:off x="5678484" y="1161722"/>
            <a:ext cx="1239333" cy="177627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Tree>
    <p:extLst>
      <p:ext uri="{BB962C8B-B14F-4D97-AF65-F5344CB8AC3E}">
        <p14:creationId xmlns:p14="http://schemas.microsoft.com/office/powerpoint/2010/main" val="3310273705"/>
      </p:ext>
    </p:extLst>
  </p:cSld>
  <p:clrMapOvr>
    <a:masterClrMapping/>
  </p:clrMapOvr>
  <p:extLst>
    <p:ext uri="{DCECCB84-F9BA-43D5-87BE-67443E8EF086}">
      <p15:sldGuideLst xmlns:p15="http://schemas.microsoft.com/office/powerpoint/2012/main">
        <p15:guide id="6" orient="horz" pos="2660">
          <p15:clr>
            <a:srgbClr val="A4A3A4"/>
          </p15:clr>
        </p15:guide>
        <p15:guide id="7" orient="horz" pos="2773">
          <p15:clr>
            <a:srgbClr val="A4A3A4"/>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re billeder og tekst B">
    <p:spTree>
      <p:nvGrpSpPr>
        <p:cNvPr id="1" name=""/>
        <p:cNvGrpSpPr/>
        <p:nvPr/>
      </p:nvGrpSpPr>
      <p:grpSpPr>
        <a:xfrm>
          <a:off x="0" y="0"/>
          <a:ext cx="0" cy="0"/>
          <a:chOff x="0" y="0"/>
          <a:chExt cx="0" cy="0"/>
        </a:xfrm>
      </p:grpSpPr>
      <p:sp>
        <p:nvSpPr>
          <p:cNvPr id="9" name="Baggrund">
            <a:extLst>
              <a:ext uri="{FF2B5EF4-FFF2-40B4-BE49-F238E27FC236}">
                <a16:creationId xmlns:a16="http://schemas.microsoft.com/office/drawing/2014/main" id="{19CC1437-361E-D512-8F65-9DF166DE9E2C}"/>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405001" y="0"/>
            <a:ext cx="2686500"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31" name="Picture Placeholder 3">
            <a:extLst>
              <a:ext uri="{FF2B5EF4-FFF2-40B4-BE49-F238E27FC236}">
                <a16:creationId xmlns:a16="http://schemas.microsoft.com/office/drawing/2014/main" id="{0C5AC296-1E96-EE8B-9C85-121FADCDAEEA}"/>
              </a:ext>
            </a:extLst>
          </p:cNvPr>
          <p:cNvSpPr>
            <a:spLocks noGrp="1"/>
          </p:cNvSpPr>
          <p:nvPr>
            <p:ph type="pic" sz="quarter" idx="26" hasCustomPrompt="1"/>
          </p:nvPr>
        </p:nvSpPr>
        <p:spPr>
          <a:xfrm>
            <a:off x="3229200" y="0"/>
            <a:ext cx="2686500"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3" name="Picture Placeholder 3">
            <a:extLst>
              <a:ext uri="{FF2B5EF4-FFF2-40B4-BE49-F238E27FC236}">
                <a16:creationId xmlns:a16="http://schemas.microsoft.com/office/drawing/2014/main" id="{5F2C9F80-9D2C-1AE1-46B6-2D3A7D8A6976}"/>
              </a:ext>
            </a:extLst>
          </p:cNvPr>
          <p:cNvSpPr>
            <a:spLocks noGrp="1"/>
          </p:cNvSpPr>
          <p:nvPr>
            <p:ph type="pic" sz="quarter" idx="27" hasCustomPrompt="1"/>
          </p:nvPr>
        </p:nvSpPr>
        <p:spPr>
          <a:xfrm>
            <a:off x="6050570" y="0"/>
            <a:ext cx="2686500" cy="31671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18" name="Pladsholder til tekst 17">
            <a:extLst>
              <a:ext uri="{FF2B5EF4-FFF2-40B4-BE49-F238E27FC236}">
                <a16:creationId xmlns:a16="http://schemas.microsoft.com/office/drawing/2014/main" id="{7A036220-52A4-5423-2E3D-CA9465DCF383}"/>
              </a:ext>
            </a:extLst>
          </p:cNvPr>
          <p:cNvSpPr>
            <a:spLocks noGrp="1"/>
          </p:cNvSpPr>
          <p:nvPr>
            <p:ph type="body" sz="quarter" idx="21" hasCustomPrompt="1"/>
          </p:nvPr>
        </p:nvSpPr>
        <p:spPr>
          <a:xfrm>
            <a:off x="405001" y="3302100"/>
            <a:ext cx="2686500" cy="1301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p:txBody>
      </p:sp>
      <p:sp>
        <p:nvSpPr>
          <p:cNvPr id="20" name="Pladsholder til tekst 19">
            <a:extLst>
              <a:ext uri="{FF2B5EF4-FFF2-40B4-BE49-F238E27FC236}">
                <a16:creationId xmlns:a16="http://schemas.microsoft.com/office/drawing/2014/main" id="{B8BFA8BA-84C0-F72E-A750-BA569C419DF9}"/>
              </a:ext>
            </a:extLst>
          </p:cNvPr>
          <p:cNvSpPr>
            <a:spLocks noGrp="1"/>
          </p:cNvSpPr>
          <p:nvPr>
            <p:ph type="body" sz="quarter" idx="22" hasCustomPrompt="1"/>
          </p:nvPr>
        </p:nvSpPr>
        <p:spPr>
          <a:xfrm>
            <a:off x="3229200" y="3302100"/>
            <a:ext cx="2686500" cy="1301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p:txBody>
      </p:sp>
      <p:sp>
        <p:nvSpPr>
          <p:cNvPr id="2" name="Pladsholder til tekst 21">
            <a:extLst>
              <a:ext uri="{FF2B5EF4-FFF2-40B4-BE49-F238E27FC236}">
                <a16:creationId xmlns:a16="http://schemas.microsoft.com/office/drawing/2014/main" id="{B9E2D20B-4753-F312-1E3D-2FCF85F1B474}"/>
              </a:ext>
            </a:extLst>
          </p:cNvPr>
          <p:cNvSpPr>
            <a:spLocks noGrp="1"/>
          </p:cNvSpPr>
          <p:nvPr>
            <p:ph type="body" sz="quarter" idx="23" hasCustomPrompt="1"/>
          </p:nvPr>
        </p:nvSpPr>
        <p:spPr>
          <a:xfrm>
            <a:off x="6050570" y="3302100"/>
            <a:ext cx="2686500" cy="1301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a:t>Klik for at tilføje tekst                         Klik ENTER og derefter TAB for at se næste tekstformat                                Klik SHIFT+TAB for at se foregående tekstformat</a:t>
            </a:r>
          </a:p>
          <a:p>
            <a:pPr lvl="1"/>
            <a:r>
              <a:rPr lang="da-DK" noProof="0"/>
              <a:t>Andet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lvl1pPr>
              <a:defRPr>
                <a:solidFill>
                  <a:schemeClr val="bg1"/>
                </a:solidFill>
              </a:defRPr>
            </a:lvl1pPr>
          </a:lstStyle>
          <a:p>
            <a:fld id="{97661291-5352-4918-9316-2BC4EAD39735}" type="datetime2">
              <a:rPr lang="da-DK" smtClean="0"/>
              <a:pPr/>
              <a:t>11. december 2025</a:t>
            </a:fld>
            <a:endParaRPr lang="da-DK"/>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lvl1pPr>
              <a:defRPr>
                <a:solidFill>
                  <a:schemeClr val="bg1"/>
                </a:solidFill>
              </a:defRPr>
            </a:lvl1pPr>
          </a:lstStyle>
          <a:p>
            <a:r>
              <a:rPr lang="da-DK"/>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lvl1pPr>
              <a:defRPr>
                <a:solidFill>
                  <a:schemeClr val="bg1"/>
                </a:solidFill>
              </a:defRPr>
            </a:lvl1pPr>
          </a:lstStyle>
          <a:p>
            <a:fld id="{24C8C45C-947F-4981-8B3F-4F32E973C901}" type="slidenum">
              <a:rPr lang="da-DK" smtClean="0"/>
              <a:pPr/>
              <a:t>‹nr.›</a:t>
            </a:fld>
            <a:endParaRPr lang="da-DK"/>
          </a:p>
        </p:txBody>
      </p:sp>
      <p:sp>
        <p:nvSpPr>
          <p:cNvPr id="11" name="Makro grafik 1">
            <a:extLst>
              <a:ext uri="{FF2B5EF4-FFF2-40B4-BE49-F238E27FC236}">
                <a16:creationId xmlns:a16="http://schemas.microsoft.com/office/drawing/2014/main" id="{5B5C7922-7CE1-04FB-3F00-E2781F5AA6A3}"/>
              </a:ext>
            </a:extLst>
          </p:cNvPr>
          <p:cNvSpPr>
            <a:spLocks noGrp="1" noChangeAspect="1"/>
          </p:cNvSpPr>
          <p:nvPr>
            <p:ph type="body" sz="quarter" idx="28" hasCustomPrompt="1"/>
          </p:nvPr>
        </p:nvSpPr>
        <p:spPr>
          <a:xfrm>
            <a:off x="2395552" y="508903"/>
            <a:ext cx="824373" cy="876750"/>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
        <p:nvSpPr>
          <p:cNvPr id="12" name="Makro grafik 2">
            <a:extLst>
              <a:ext uri="{FF2B5EF4-FFF2-40B4-BE49-F238E27FC236}">
                <a16:creationId xmlns:a16="http://schemas.microsoft.com/office/drawing/2014/main" id="{FC0E9C59-2E77-747D-58BC-6769C9984CA6}"/>
              </a:ext>
            </a:extLst>
          </p:cNvPr>
          <p:cNvSpPr>
            <a:spLocks noGrp="1" noChangeAspect="1"/>
          </p:cNvSpPr>
          <p:nvPr>
            <p:ph type="body" sz="quarter" idx="29" hasCustomPrompt="1"/>
          </p:nvPr>
        </p:nvSpPr>
        <p:spPr>
          <a:xfrm>
            <a:off x="5678484" y="1161722"/>
            <a:ext cx="1239333" cy="177627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Tree>
    <p:extLst>
      <p:ext uri="{BB962C8B-B14F-4D97-AF65-F5344CB8AC3E}">
        <p14:creationId xmlns:p14="http://schemas.microsoft.com/office/powerpoint/2010/main" val="420374779"/>
      </p:ext>
    </p:extLst>
  </p:cSld>
  <p:clrMapOvr>
    <a:masterClrMapping/>
  </p:clrMapOvr>
  <p:extLst>
    <p:ext uri="{DCECCB84-F9BA-43D5-87BE-67443E8EF086}">
      <p15:sldGuideLst xmlns:p15="http://schemas.microsoft.com/office/powerpoint/2012/main">
        <p15:guide id="6" orient="horz" pos="2660">
          <p15:clr>
            <a:srgbClr val="A4A3A4"/>
          </p15:clr>
        </p15:guide>
        <p15:guide id="7" orient="horz" pos="2773">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reakslide 1">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2CCE40-CB87-CF3D-3C78-4E5925E60970}"/>
              </a:ext>
            </a:extLst>
          </p:cNvPr>
          <p:cNvSpPr>
            <a:spLocks noGrp="1"/>
          </p:cNvSpPr>
          <p:nvPr>
            <p:ph type="title" hasCustomPrompt="1"/>
          </p:nvPr>
        </p:nvSpPr>
        <p:spPr>
          <a:xfrm>
            <a:off x="1512044" y="2175706"/>
            <a:ext cx="6119911" cy="792088"/>
          </a:xfrm>
        </p:spPr>
        <p:txBody>
          <a:bodyPr anchor="ctr"/>
          <a:lstStyle>
            <a:lvl1pPr algn="ctr">
              <a:defRPr sz="3200">
                <a:solidFill>
                  <a:schemeClr val="accent1"/>
                </a:solidFill>
              </a:defRPr>
            </a:lvl1pPr>
          </a:lstStyle>
          <a:p>
            <a:r>
              <a:rPr lang="da-DK"/>
              <a:t>Klik for at redigere titeltypografien </a:t>
            </a:r>
            <a:br>
              <a:rPr lang="da-DK"/>
            </a:br>
            <a:r>
              <a:rPr lang="da-DK"/>
              <a:t>i masteren</a:t>
            </a:r>
            <a:endParaRPr lang="en-GB"/>
          </a:p>
        </p:txBody>
      </p:sp>
      <p:sp>
        <p:nvSpPr>
          <p:cNvPr id="3" name="Pladsholder til tekst 6">
            <a:extLst>
              <a:ext uri="{FF2B5EF4-FFF2-40B4-BE49-F238E27FC236}">
                <a16:creationId xmlns:a16="http://schemas.microsoft.com/office/drawing/2014/main" id="{88E82764-40A9-FF34-977C-F956EE92FDAB}"/>
              </a:ext>
            </a:extLst>
          </p:cNvPr>
          <p:cNvSpPr>
            <a:spLocks noGrp="1"/>
          </p:cNvSpPr>
          <p:nvPr>
            <p:ph type="body" sz="quarter" idx="18"/>
          </p:nvPr>
        </p:nvSpPr>
        <p:spPr>
          <a:xfrm>
            <a:off x="186110" y="4728638"/>
            <a:ext cx="219600" cy="219600"/>
          </a:xfrm>
          <a:blipFill>
            <a:blip r:embed="rId2"/>
            <a:stretch>
              <a:fillRect/>
            </a:stretch>
          </a:blipFill>
        </p:spPr>
        <p:txBody>
          <a:bodyPr/>
          <a:lstStyle>
            <a:lvl1pPr marL="0" indent="0">
              <a:buNone/>
              <a:defRPr>
                <a:noFill/>
              </a:defRPr>
            </a:lvl1pPr>
          </a:lstStyle>
          <a:p>
            <a:pPr lvl="0"/>
            <a:r>
              <a:rPr lang="da-DK"/>
              <a:t>Klik for at redigere teksttypografierne i masteren</a:t>
            </a:r>
          </a:p>
        </p:txBody>
      </p:sp>
    </p:spTree>
    <p:extLst>
      <p:ext uri="{BB962C8B-B14F-4D97-AF65-F5344CB8AC3E}">
        <p14:creationId xmlns:p14="http://schemas.microsoft.com/office/powerpoint/2010/main" val="201833556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reaker A">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ADCF4DF5-C986-E697-27B9-49E982F3621E}"/>
              </a:ext>
            </a:extLst>
          </p:cNvPr>
          <p:cNvSpPr>
            <a:spLocks noGrp="1"/>
          </p:cNvSpPr>
          <p:nvPr>
            <p:ph type="pic" sz="quarter" idx="14" hasCustomPrompt="1"/>
          </p:nvPr>
        </p:nvSpPr>
        <p:spPr>
          <a:xfrm>
            <a:off x="0" y="0"/>
            <a:ext cx="4504135" cy="51435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accent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accent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25EE03DE-7CB9-4829-AA4A-B448C54E8591}" type="datetime2">
              <a:rPr lang="da-DK" smtClean="0"/>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accent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27" name="Makro grafik 1">
            <a:extLst>
              <a:ext uri="{FF2B5EF4-FFF2-40B4-BE49-F238E27FC236}">
                <a16:creationId xmlns:a16="http://schemas.microsoft.com/office/drawing/2014/main" id="{BCB3F802-0640-FE07-D164-6E14C9C290DB}"/>
              </a:ext>
            </a:extLst>
          </p:cNvPr>
          <p:cNvSpPr>
            <a:spLocks noGrp="1" noChangeAspect="1"/>
          </p:cNvSpPr>
          <p:nvPr>
            <p:ph type="body" sz="quarter" idx="25" hasCustomPrompt="1"/>
          </p:nvPr>
        </p:nvSpPr>
        <p:spPr>
          <a:xfrm>
            <a:off x="347623" y="3904622"/>
            <a:ext cx="1207553" cy="569472"/>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
        <p:nvSpPr>
          <p:cNvPr id="22" name="Makro grafik 2">
            <a:extLst>
              <a:ext uri="{FF2B5EF4-FFF2-40B4-BE49-F238E27FC236}">
                <a16:creationId xmlns:a16="http://schemas.microsoft.com/office/drawing/2014/main" id="{6989E875-2685-8530-428A-CEC55B52321F}"/>
              </a:ext>
            </a:extLst>
          </p:cNvPr>
          <p:cNvSpPr>
            <a:spLocks noGrp="1" noChangeAspect="1"/>
          </p:cNvSpPr>
          <p:nvPr>
            <p:ph type="body" sz="quarter" idx="24" hasCustomPrompt="1"/>
          </p:nvPr>
        </p:nvSpPr>
        <p:spPr>
          <a:xfrm>
            <a:off x="3294273" y="299690"/>
            <a:ext cx="1463740" cy="1463700"/>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Tree>
    <p:extLst>
      <p:ext uri="{BB962C8B-B14F-4D97-AF65-F5344CB8AC3E}">
        <p14:creationId xmlns:p14="http://schemas.microsoft.com/office/powerpoint/2010/main" val="3220411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6" name="Picture Placeholder 3">
            <a:extLst>
              <a:ext uri="{FF2B5EF4-FFF2-40B4-BE49-F238E27FC236}">
                <a16:creationId xmlns:a16="http://schemas.microsoft.com/office/drawing/2014/main" id="{ADCF4DF5-C986-E697-27B9-49E982F3621E}"/>
              </a:ext>
            </a:extLst>
          </p:cNvPr>
          <p:cNvSpPr>
            <a:spLocks noGrp="1"/>
          </p:cNvSpPr>
          <p:nvPr>
            <p:ph type="pic" sz="quarter" idx="14" hasCustomPrompt="1"/>
          </p:nvPr>
        </p:nvSpPr>
        <p:spPr>
          <a:xfrm>
            <a:off x="0" y="0"/>
            <a:ext cx="4504135" cy="5143500"/>
          </a:xfrm>
          <a:solidFill>
            <a:schemeClr val="bg1"/>
          </a:solidFill>
        </p:spPr>
        <p:txBody>
          <a:bodyPr tIns="648000" anchor="ctr" anchorCtr="0"/>
          <a:lstStyle>
            <a:lvl1pPr marL="0" indent="0" algn="ctr">
              <a:buNone/>
              <a:defRPr sz="1200"/>
            </a:lvl1pPr>
          </a:lstStyle>
          <a:p>
            <a:r>
              <a:rPr lang="da-DK" noProof="0"/>
              <a:t>Klik for at indsætte billede</a:t>
            </a:r>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25EE03DE-7CB9-4829-AA4A-B448C54E8591}" type="datetime2">
              <a:rPr lang="da-DK" smtClean="0"/>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27" name="Makro grafik 1">
            <a:extLst>
              <a:ext uri="{FF2B5EF4-FFF2-40B4-BE49-F238E27FC236}">
                <a16:creationId xmlns:a16="http://schemas.microsoft.com/office/drawing/2014/main" id="{BCB3F802-0640-FE07-D164-6E14C9C290DB}"/>
              </a:ext>
            </a:extLst>
          </p:cNvPr>
          <p:cNvSpPr>
            <a:spLocks noGrp="1" noChangeAspect="1"/>
          </p:cNvSpPr>
          <p:nvPr>
            <p:ph type="body" sz="quarter" idx="25" hasCustomPrompt="1"/>
          </p:nvPr>
        </p:nvSpPr>
        <p:spPr>
          <a:xfrm>
            <a:off x="347623" y="3904622"/>
            <a:ext cx="1207553" cy="569472"/>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
        <p:nvSpPr>
          <p:cNvPr id="22" name="Makro grafik 2">
            <a:extLst>
              <a:ext uri="{FF2B5EF4-FFF2-40B4-BE49-F238E27FC236}">
                <a16:creationId xmlns:a16="http://schemas.microsoft.com/office/drawing/2014/main" id="{6989E875-2685-8530-428A-CEC55B52321F}"/>
              </a:ext>
            </a:extLst>
          </p:cNvPr>
          <p:cNvSpPr>
            <a:spLocks noGrp="1" noChangeAspect="1"/>
          </p:cNvSpPr>
          <p:nvPr>
            <p:ph type="body" sz="quarter" idx="24" hasCustomPrompt="1"/>
          </p:nvPr>
        </p:nvSpPr>
        <p:spPr>
          <a:xfrm>
            <a:off x="3294273" y="299690"/>
            <a:ext cx="1463740" cy="1463700"/>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a:t>.</a:t>
            </a:r>
          </a:p>
        </p:txBody>
      </p:sp>
    </p:spTree>
    <p:extLst>
      <p:ext uri="{BB962C8B-B14F-4D97-AF65-F5344CB8AC3E}">
        <p14:creationId xmlns:p14="http://schemas.microsoft.com/office/powerpoint/2010/main" val="11883069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reaker C">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accent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accent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accent1"/>
                </a:solidFill>
              </a:defRPr>
            </a:lvl1pPr>
          </a:lstStyle>
          <a:p>
            <a:fld id="{3BB9AE99-772C-4228-AF46-BF964994F324}" type="datetime2">
              <a:rPr lang="da-DK" smtClean="0"/>
              <a:pPr/>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accent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accent1"/>
                </a:solidFill>
              </a:defRPr>
            </a:lvl1pPr>
          </a:lstStyle>
          <a:p>
            <a:fld id="{24C8C45C-947F-4981-8B3F-4F32E973C901}" type="slidenum">
              <a:rPr lang="da-DK" smtClean="0"/>
              <a:pPr/>
              <a:t>‹nr.›</a:t>
            </a:fld>
            <a:endParaRPr lang="da-DK"/>
          </a:p>
        </p:txBody>
      </p:sp>
      <p:sp>
        <p:nvSpPr>
          <p:cNvPr id="6" name="Mikro grafik 1">
            <a:extLst>
              <a:ext uri="{FF2B5EF4-FFF2-40B4-BE49-F238E27FC236}">
                <a16:creationId xmlns:a16="http://schemas.microsoft.com/office/drawing/2014/main" id="{CF298011-2AEF-EC84-54F2-B43A8661A425}"/>
              </a:ext>
            </a:extLst>
          </p:cNvPr>
          <p:cNvSpPr/>
          <p:nvPr userDrawn="1"/>
        </p:nvSpPr>
        <p:spPr>
          <a:xfrm>
            <a:off x="257176" y="930323"/>
            <a:ext cx="4065815" cy="3297127"/>
          </a:xfrm>
          <a:custGeom>
            <a:avLst/>
            <a:gdLst>
              <a:gd name="connsiteX0" fmla="*/ 6351898 w 9012328"/>
              <a:gd name="connsiteY0" fmla="*/ 7031333 h 7308446"/>
              <a:gd name="connsiteX1" fmla="*/ 6558899 w 9012328"/>
              <a:gd name="connsiteY1" fmla="*/ 7031333 h 7308446"/>
              <a:gd name="connsiteX2" fmla="*/ 6558899 w 9012328"/>
              <a:gd name="connsiteY2" fmla="*/ 7204946 h 7308446"/>
              <a:gd name="connsiteX3" fmla="*/ 6351898 w 9012328"/>
              <a:gd name="connsiteY3" fmla="*/ 7204946 h 7308446"/>
              <a:gd name="connsiteX4" fmla="*/ 3333905 w 9012328"/>
              <a:gd name="connsiteY4" fmla="*/ 6881094 h 7308446"/>
              <a:gd name="connsiteX5" fmla="*/ 4238693 w 9012328"/>
              <a:gd name="connsiteY5" fmla="*/ 6881094 h 7308446"/>
              <a:gd name="connsiteX6" fmla="*/ 4238693 w 9012328"/>
              <a:gd name="connsiteY6" fmla="*/ 6987931 h 7308446"/>
              <a:gd name="connsiteX7" fmla="*/ 3333905 w 9012328"/>
              <a:gd name="connsiteY7" fmla="*/ 6987931 h 7308446"/>
              <a:gd name="connsiteX8" fmla="*/ 3333905 w 9012328"/>
              <a:gd name="connsiteY8" fmla="*/ 6532197 h 7308446"/>
              <a:gd name="connsiteX9" fmla="*/ 4238693 w 9012328"/>
              <a:gd name="connsiteY9" fmla="*/ 6532197 h 7308446"/>
              <a:gd name="connsiteX10" fmla="*/ 4238693 w 9012328"/>
              <a:gd name="connsiteY10" fmla="*/ 6639034 h 7308446"/>
              <a:gd name="connsiteX11" fmla="*/ 3333905 w 9012328"/>
              <a:gd name="connsiteY11" fmla="*/ 6639034 h 7308446"/>
              <a:gd name="connsiteX12" fmla="*/ 5357969 w 9012328"/>
              <a:gd name="connsiteY12" fmla="*/ 6016022 h 7308446"/>
              <a:gd name="connsiteX13" fmla="*/ 5731908 w 9012328"/>
              <a:gd name="connsiteY13" fmla="*/ 6016022 h 7308446"/>
              <a:gd name="connsiteX14" fmla="*/ 5731908 w 9012328"/>
              <a:gd name="connsiteY14" fmla="*/ 6111272 h 7308446"/>
              <a:gd name="connsiteX15" fmla="*/ 5731908 w 9012328"/>
              <a:gd name="connsiteY15" fmla="*/ 7209822 h 7308446"/>
              <a:gd name="connsiteX16" fmla="*/ 5731908 w 9012328"/>
              <a:gd name="connsiteY16" fmla="*/ 7305072 h 7308446"/>
              <a:gd name="connsiteX17" fmla="*/ 5357969 w 9012328"/>
              <a:gd name="connsiteY17" fmla="*/ 7305072 h 7308446"/>
              <a:gd name="connsiteX18" fmla="*/ 5357969 w 9012328"/>
              <a:gd name="connsiteY18" fmla="*/ 7209822 h 7308446"/>
              <a:gd name="connsiteX19" fmla="*/ 5616719 w 9012328"/>
              <a:gd name="connsiteY19" fmla="*/ 7209822 h 7308446"/>
              <a:gd name="connsiteX20" fmla="*/ 5616719 w 9012328"/>
              <a:gd name="connsiteY20" fmla="*/ 6111272 h 7308446"/>
              <a:gd name="connsiteX21" fmla="*/ 5357969 w 9012328"/>
              <a:gd name="connsiteY21" fmla="*/ 6111272 h 7308446"/>
              <a:gd name="connsiteX22" fmla="*/ 4884222 w 9012328"/>
              <a:gd name="connsiteY22" fmla="*/ 6016022 h 7308446"/>
              <a:gd name="connsiteX23" fmla="*/ 5258161 w 9012328"/>
              <a:gd name="connsiteY23" fmla="*/ 6016022 h 7308446"/>
              <a:gd name="connsiteX24" fmla="*/ 5258161 w 9012328"/>
              <a:gd name="connsiteY24" fmla="*/ 6111272 h 7308446"/>
              <a:gd name="connsiteX25" fmla="*/ 4999412 w 9012328"/>
              <a:gd name="connsiteY25" fmla="*/ 6111272 h 7308446"/>
              <a:gd name="connsiteX26" fmla="*/ 4999412 w 9012328"/>
              <a:gd name="connsiteY26" fmla="*/ 7209822 h 7308446"/>
              <a:gd name="connsiteX27" fmla="*/ 5258161 w 9012328"/>
              <a:gd name="connsiteY27" fmla="*/ 7209822 h 7308446"/>
              <a:gd name="connsiteX28" fmla="*/ 5258161 w 9012328"/>
              <a:gd name="connsiteY28" fmla="*/ 7305072 h 7308446"/>
              <a:gd name="connsiteX29" fmla="*/ 4884222 w 9012328"/>
              <a:gd name="connsiteY29" fmla="*/ 7305072 h 7308446"/>
              <a:gd name="connsiteX30" fmla="*/ 4884222 w 9012328"/>
              <a:gd name="connsiteY30" fmla="*/ 7209822 h 7308446"/>
              <a:gd name="connsiteX31" fmla="*/ 4884222 w 9012328"/>
              <a:gd name="connsiteY31" fmla="*/ 6111272 h 7308446"/>
              <a:gd name="connsiteX32" fmla="*/ 8549915 w 9012328"/>
              <a:gd name="connsiteY32" fmla="*/ 6009685 h 7308446"/>
              <a:gd name="connsiteX33" fmla="*/ 8602985 w 9012328"/>
              <a:gd name="connsiteY33" fmla="*/ 6011561 h 7308446"/>
              <a:gd name="connsiteX34" fmla="*/ 8652106 w 9012328"/>
              <a:gd name="connsiteY34" fmla="*/ 6017138 h 7308446"/>
              <a:gd name="connsiteX35" fmla="*/ 8697411 w 9012328"/>
              <a:gd name="connsiteY35" fmla="*/ 6026333 h 7308446"/>
              <a:gd name="connsiteX36" fmla="*/ 8739033 w 9012328"/>
              <a:gd name="connsiteY36" fmla="*/ 6039065 h 7308446"/>
              <a:gd name="connsiteX37" fmla="*/ 8777104 w 9012328"/>
              <a:gd name="connsiteY37" fmla="*/ 6055253 h 7308446"/>
              <a:gd name="connsiteX38" fmla="*/ 8811757 w 9012328"/>
              <a:gd name="connsiteY38" fmla="*/ 6074814 h 7308446"/>
              <a:gd name="connsiteX39" fmla="*/ 8843125 w 9012328"/>
              <a:gd name="connsiteY39" fmla="*/ 6097669 h 7308446"/>
              <a:gd name="connsiteX40" fmla="*/ 8871340 w 9012328"/>
              <a:gd name="connsiteY40" fmla="*/ 6123735 h 7308446"/>
              <a:gd name="connsiteX41" fmla="*/ 8896535 w 9012328"/>
              <a:gd name="connsiteY41" fmla="*/ 6152931 h 7308446"/>
              <a:gd name="connsiteX42" fmla="*/ 8918843 w 9012328"/>
              <a:gd name="connsiteY42" fmla="*/ 6185176 h 7308446"/>
              <a:gd name="connsiteX43" fmla="*/ 8938397 w 9012328"/>
              <a:gd name="connsiteY43" fmla="*/ 6220388 h 7308446"/>
              <a:gd name="connsiteX44" fmla="*/ 8955329 w 9012328"/>
              <a:gd name="connsiteY44" fmla="*/ 6258486 h 7308446"/>
              <a:gd name="connsiteX45" fmla="*/ 8969772 w 9012328"/>
              <a:gd name="connsiteY45" fmla="*/ 6299388 h 7308446"/>
              <a:gd name="connsiteX46" fmla="*/ 8981858 w 9012328"/>
              <a:gd name="connsiteY46" fmla="*/ 6343014 h 7308446"/>
              <a:gd name="connsiteX47" fmla="*/ 8991721 w 9012328"/>
              <a:gd name="connsiteY47" fmla="*/ 6389281 h 7308446"/>
              <a:gd name="connsiteX48" fmla="*/ 8999494 w 9012328"/>
              <a:gd name="connsiteY48" fmla="*/ 6438109 h 7308446"/>
              <a:gd name="connsiteX49" fmla="*/ 9005308 w 9012328"/>
              <a:gd name="connsiteY49" fmla="*/ 6489415 h 7308446"/>
              <a:gd name="connsiteX50" fmla="*/ 9009296 w 9012328"/>
              <a:gd name="connsiteY50" fmla="*/ 6543120 h 7308446"/>
              <a:gd name="connsiteX51" fmla="*/ 9011592 w 9012328"/>
              <a:gd name="connsiteY51" fmla="*/ 6599140 h 7308446"/>
              <a:gd name="connsiteX52" fmla="*/ 9012328 w 9012328"/>
              <a:gd name="connsiteY52" fmla="*/ 6657396 h 7308446"/>
              <a:gd name="connsiteX53" fmla="*/ 9011628 w 9012328"/>
              <a:gd name="connsiteY53" fmla="*/ 6715902 h 7308446"/>
              <a:gd name="connsiteX54" fmla="*/ 9009431 w 9012328"/>
              <a:gd name="connsiteY54" fmla="*/ 6772172 h 7308446"/>
              <a:gd name="connsiteX55" fmla="*/ 9005595 w 9012328"/>
              <a:gd name="connsiteY55" fmla="*/ 6826122 h 7308446"/>
              <a:gd name="connsiteX56" fmla="*/ 8999974 w 9012328"/>
              <a:gd name="connsiteY56" fmla="*/ 6877672 h 7308446"/>
              <a:gd name="connsiteX57" fmla="*/ 8992426 w 9012328"/>
              <a:gd name="connsiteY57" fmla="*/ 6926737 h 7308446"/>
              <a:gd name="connsiteX58" fmla="*/ 8982805 w 9012328"/>
              <a:gd name="connsiteY58" fmla="*/ 6973236 h 7308446"/>
              <a:gd name="connsiteX59" fmla="*/ 8970968 w 9012328"/>
              <a:gd name="connsiteY59" fmla="*/ 7017085 h 7308446"/>
              <a:gd name="connsiteX60" fmla="*/ 8956771 w 9012328"/>
              <a:gd name="connsiteY60" fmla="*/ 7058203 h 7308446"/>
              <a:gd name="connsiteX61" fmla="*/ 8940070 w 9012328"/>
              <a:gd name="connsiteY61" fmla="*/ 7096506 h 7308446"/>
              <a:gd name="connsiteX62" fmla="*/ 8920721 w 9012328"/>
              <a:gd name="connsiteY62" fmla="*/ 7131912 h 7308446"/>
              <a:gd name="connsiteX63" fmla="*/ 8898580 w 9012328"/>
              <a:gd name="connsiteY63" fmla="*/ 7164338 h 7308446"/>
              <a:gd name="connsiteX64" fmla="*/ 8873503 w 9012328"/>
              <a:gd name="connsiteY64" fmla="*/ 7193701 h 7308446"/>
              <a:gd name="connsiteX65" fmla="*/ 8845346 w 9012328"/>
              <a:gd name="connsiteY65" fmla="*/ 7219920 h 7308446"/>
              <a:gd name="connsiteX66" fmla="*/ 8813966 w 9012328"/>
              <a:gd name="connsiteY66" fmla="*/ 7242910 h 7308446"/>
              <a:gd name="connsiteX67" fmla="*/ 8779217 w 9012328"/>
              <a:gd name="connsiteY67" fmla="*/ 7262591 h 7308446"/>
              <a:gd name="connsiteX68" fmla="*/ 8740956 w 9012328"/>
              <a:gd name="connsiteY68" fmla="*/ 7278878 h 7308446"/>
              <a:gd name="connsiteX69" fmla="*/ 8699039 w 9012328"/>
              <a:gd name="connsiteY69" fmla="*/ 7291690 h 7308446"/>
              <a:gd name="connsiteX70" fmla="*/ 8653323 w 9012328"/>
              <a:gd name="connsiteY70" fmla="*/ 7300944 h 7308446"/>
              <a:gd name="connsiteX71" fmla="*/ 8603663 w 9012328"/>
              <a:gd name="connsiteY71" fmla="*/ 7306557 h 7308446"/>
              <a:gd name="connsiteX72" fmla="*/ 8549915 w 9012328"/>
              <a:gd name="connsiteY72" fmla="*/ 7308446 h 7308446"/>
              <a:gd name="connsiteX73" fmla="*/ 8549915 w 9012328"/>
              <a:gd name="connsiteY73" fmla="*/ 7211624 h 7308446"/>
              <a:gd name="connsiteX74" fmla="*/ 8599600 w 9012328"/>
              <a:gd name="connsiteY74" fmla="*/ 7209391 h 7308446"/>
              <a:gd name="connsiteX75" fmla="*/ 8644521 w 9012328"/>
              <a:gd name="connsiteY75" fmla="*/ 7202770 h 7308446"/>
              <a:gd name="connsiteX76" fmla="*/ 8684903 w 9012328"/>
              <a:gd name="connsiteY76" fmla="*/ 7191881 h 7308446"/>
              <a:gd name="connsiteX77" fmla="*/ 8720974 w 9012328"/>
              <a:gd name="connsiteY77" fmla="*/ 7176841 h 7308446"/>
              <a:gd name="connsiteX78" fmla="*/ 8781085 w 9012328"/>
              <a:gd name="connsiteY78" fmla="*/ 7134781 h 7308446"/>
              <a:gd name="connsiteX79" fmla="*/ 8826665 w 9012328"/>
              <a:gd name="connsiteY79" fmla="*/ 7077537 h 7308446"/>
              <a:gd name="connsiteX80" fmla="*/ 8844570 w 9012328"/>
              <a:gd name="connsiteY80" fmla="*/ 7043516 h 7308446"/>
              <a:gd name="connsiteX81" fmla="*/ 8859522 w 9012328"/>
              <a:gd name="connsiteY81" fmla="*/ 7006054 h 7308446"/>
              <a:gd name="connsiteX82" fmla="*/ 8871746 w 9012328"/>
              <a:gd name="connsiteY82" fmla="*/ 6965269 h 7308446"/>
              <a:gd name="connsiteX83" fmla="*/ 8881469 w 9012328"/>
              <a:gd name="connsiteY83" fmla="*/ 6921279 h 7308446"/>
              <a:gd name="connsiteX84" fmla="*/ 8888916 w 9012328"/>
              <a:gd name="connsiteY84" fmla="*/ 6874203 h 7308446"/>
              <a:gd name="connsiteX85" fmla="*/ 8894315 w 9012328"/>
              <a:gd name="connsiteY85" fmla="*/ 6824158 h 7308446"/>
              <a:gd name="connsiteX86" fmla="*/ 8897891 w 9012328"/>
              <a:gd name="connsiteY86" fmla="*/ 6771263 h 7308446"/>
              <a:gd name="connsiteX87" fmla="*/ 8899870 w 9012328"/>
              <a:gd name="connsiteY87" fmla="*/ 6715637 h 7308446"/>
              <a:gd name="connsiteX88" fmla="*/ 8900480 w 9012328"/>
              <a:gd name="connsiteY88" fmla="*/ 6657396 h 7308446"/>
              <a:gd name="connsiteX89" fmla="*/ 8899838 w 9012328"/>
              <a:gd name="connsiteY89" fmla="*/ 6599727 h 7308446"/>
              <a:gd name="connsiteX90" fmla="*/ 8897768 w 9012328"/>
              <a:gd name="connsiteY90" fmla="*/ 6544638 h 7308446"/>
              <a:gd name="connsiteX91" fmla="*/ 8894058 w 9012328"/>
              <a:gd name="connsiteY91" fmla="*/ 6492245 h 7308446"/>
              <a:gd name="connsiteX92" fmla="*/ 8888492 w 9012328"/>
              <a:gd name="connsiteY92" fmla="*/ 6442669 h 7308446"/>
              <a:gd name="connsiteX93" fmla="*/ 8880857 w 9012328"/>
              <a:gd name="connsiteY93" fmla="*/ 6396025 h 7308446"/>
              <a:gd name="connsiteX94" fmla="*/ 8870939 w 9012328"/>
              <a:gd name="connsiteY94" fmla="*/ 6352434 h 7308446"/>
              <a:gd name="connsiteX95" fmla="*/ 8858523 w 9012328"/>
              <a:gd name="connsiteY95" fmla="*/ 6312013 h 7308446"/>
              <a:gd name="connsiteX96" fmla="*/ 8843396 w 9012328"/>
              <a:gd name="connsiteY96" fmla="*/ 6274881 h 7308446"/>
              <a:gd name="connsiteX97" fmla="*/ 8825343 w 9012328"/>
              <a:gd name="connsiteY97" fmla="*/ 6241155 h 7308446"/>
              <a:gd name="connsiteX98" fmla="*/ 8779605 w 9012328"/>
              <a:gd name="connsiteY98" fmla="*/ 6184396 h 7308446"/>
              <a:gd name="connsiteX99" fmla="*/ 8719596 w 9012328"/>
              <a:gd name="connsiteY99" fmla="*/ 6142683 h 7308446"/>
              <a:gd name="connsiteX100" fmla="*/ 8683704 w 9012328"/>
              <a:gd name="connsiteY100" fmla="*/ 6127764 h 7308446"/>
              <a:gd name="connsiteX101" fmla="*/ 8643603 w 9012328"/>
              <a:gd name="connsiteY101" fmla="*/ 6116961 h 7308446"/>
              <a:gd name="connsiteX102" fmla="*/ 8599078 w 9012328"/>
              <a:gd name="connsiteY102" fmla="*/ 6110393 h 7308446"/>
              <a:gd name="connsiteX103" fmla="*/ 8549915 w 9012328"/>
              <a:gd name="connsiteY103" fmla="*/ 6108177 h 7308446"/>
              <a:gd name="connsiteX104" fmla="*/ 8458035 w 9012328"/>
              <a:gd name="connsiteY104" fmla="*/ 6009685 h 7308446"/>
              <a:gd name="connsiteX105" fmla="*/ 8458035 w 9012328"/>
              <a:gd name="connsiteY105" fmla="*/ 6108177 h 7308446"/>
              <a:gd name="connsiteX106" fmla="*/ 8409149 w 9012328"/>
              <a:gd name="connsiteY106" fmla="*/ 6110393 h 7308446"/>
              <a:gd name="connsiteX107" fmla="*/ 8364868 w 9012328"/>
              <a:gd name="connsiteY107" fmla="*/ 6116961 h 7308446"/>
              <a:gd name="connsiteX108" fmla="*/ 8324982 w 9012328"/>
              <a:gd name="connsiteY108" fmla="*/ 6127764 h 7308446"/>
              <a:gd name="connsiteX109" fmla="*/ 8289276 w 9012328"/>
              <a:gd name="connsiteY109" fmla="*/ 6142683 h 7308446"/>
              <a:gd name="connsiteX110" fmla="*/ 8229561 w 9012328"/>
              <a:gd name="connsiteY110" fmla="*/ 6184396 h 7308446"/>
              <a:gd name="connsiteX111" fmla="*/ 8184027 w 9012328"/>
              <a:gd name="connsiteY111" fmla="*/ 6241155 h 7308446"/>
              <a:gd name="connsiteX112" fmla="*/ 8166048 w 9012328"/>
              <a:gd name="connsiteY112" fmla="*/ 6274881 h 7308446"/>
              <a:gd name="connsiteX113" fmla="*/ 8150978 w 9012328"/>
              <a:gd name="connsiteY113" fmla="*/ 6312013 h 7308446"/>
              <a:gd name="connsiteX114" fmla="*/ 8138606 w 9012328"/>
              <a:gd name="connsiteY114" fmla="*/ 6352434 h 7308446"/>
              <a:gd name="connsiteX115" fmla="*/ 8128718 w 9012328"/>
              <a:gd name="connsiteY115" fmla="*/ 6396025 h 7308446"/>
              <a:gd name="connsiteX116" fmla="*/ 8121104 w 9012328"/>
              <a:gd name="connsiteY116" fmla="*/ 6442669 h 7308446"/>
              <a:gd name="connsiteX117" fmla="*/ 8115551 w 9012328"/>
              <a:gd name="connsiteY117" fmla="*/ 6492245 h 7308446"/>
              <a:gd name="connsiteX118" fmla="*/ 8111847 w 9012328"/>
              <a:gd name="connsiteY118" fmla="*/ 6544638 h 7308446"/>
              <a:gd name="connsiteX119" fmla="*/ 8109780 w 9012328"/>
              <a:gd name="connsiteY119" fmla="*/ 6599727 h 7308446"/>
              <a:gd name="connsiteX120" fmla="*/ 8109138 w 9012328"/>
              <a:gd name="connsiteY120" fmla="*/ 6657396 h 7308446"/>
              <a:gd name="connsiteX121" fmla="*/ 8109764 w 9012328"/>
              <a:gd name="connsiteY121" fmla="*/ 6715637 h 7308446"/>
              <a:gd name="connsiteX122" fmla="*/ 8111786 w 9012328"/>
              <a:gd name="connsiteY122" fmla="*/ 6771263 h 7308446"/>
              <a:gd name="connsiteX123" fmla="*/ 8115423 w 9012328"/>
              <a:gd name="connsiteY123" fmla="*/ 6824158 h 7308446"/>
              <a:gd name="connsiteX124" fmla="*/ 8120892 w 9012328"/>
              <a:gd name="connsiteY124" fmla="*/ 6874203 h 7308446"/>
              <a:gd name="connsiteX125" fmla="*/ 8128413 w 9012328"/>
              <a:gd name="connsiteY125" fmla="*/ 6921279 h 7308446"/>
              <a:gd name="connsiteX126" fmla="*/ 8138202 w 9012328"/>
              <a:gd name="connsiteY126" fmla="*/ 6965269 h 7308446"/>
              <a:gd name="connsiteX127" fmla="*/ 8150479 w 9012328"/>
              <a:gd name="connsiteY127" fmla="*/ 7006054 h 7308446"/>
              <a:gd name="connsiteX128" fmla="*/ 8165461 w 9012328"/>
              <a:gd name="connsiteY128" fmla="*/ 7043516 h 7308446"/>
              <a:gd name="connsiteX129" fmla="*/ 8183367 w 9012328"/>
              <a:gd name="connsiteY129" fmla="*/ 7077537 h 7308446"/>
              <a:gd name="connsiteX130" fmla="*/ 8228821 w 9012328"/>
              <a:gd name="connsiteY130" fmla="*/ 7134781 h 7308446"/>
              <a:gd name="connsiteX131" fmla="*/ 8288587 w 9012328"/>
              <a:gd name="connsiteY131" fmla="*/ 7176841 h 7308446"/>
              <a:gd name="connsiteX132" fmla="*/ 8324382 w 9012328"/>
              <a:gd name="connsiteY132" fmla="*/ 7191881 h 7308446"/>
              <a:gd name="connsiteX133" fmla="*/ 8364410 w 9012328"/>
              <a:gd name="connsiteY133" fmla="*/ 7202770 h 7308446"/>
              <a:gd name="connsiteX134" fmla="*/ 8408888 w 9012328"/>
              <a:gd name="connsiteY134" fmla="*/ 7209391 h 7308446"/>
              <a:gd name="connsiteX135" fmla="*/ 8458035 w 9012328"/>
              <a:gd name="connsiteY135" fmla="*/ 7211624 h 7308446"/>
              <a:gd name="connsiteX136" fmla="*/ 8458035 w 9012328"/>
              <a:gd name="connsiteY136" fmla="*/ 7308446 h 7308446"/>
              <a:gd name="connsiteX137" fmla="*/ 8404513 w 9012328"/>
              <a:gd name="connsiteY137" fmla="*/ 7306557 h 7308446"/>
              <a:gd name="connsiteX138" fmla="*/ 8355032 w 9012328"/>
              <a:gd name="connsiteY138" fmla="*/ 7300944 h 7308446"/>
              <a:gd name="connsiteX139" fmla="*/ 8309453 w 9012328"/>
              <a:gd name="connsiteY139" fmla="*/ 7291690 h 7308446"/>
              <a:gd name="connsiteX140" fmla="*/ 8267634 w 9012328"/>
              <a:gd name="connsiteY140" fmla="*/ 7278878 h 7308446"/>
              <a:gd name="connsiteX141" fmla="*/ 8229437 w 9012328"/>
              <a:gd name="connsiteY141" fmla="*/ 7262591 h 7308446"/>
              <a:gd name="connsiteX142" fmla="*/ 8194720 w 9012328"/>
              <a:gd name="connsiteY142" fmla="*/ 7242910 h 7308446"/>
              <a:gd name="connsiteX143" fmla="*/ 8163344 w 9012328"/>
              <a:gd name="connsiteY143" fmla="*/ 7219920 h 7308446"/>
              <a:gd name="connsiteX144" fmla="*/ 8135168 w 9012328"/>
              <a:gd name="connsiteY144" fmla="*/ 7193701 h 7308446"/>
              <a:gd name="connsiteX145" fmla="*/ 8110051 w 9012328"/>
              <a:gd name="connsiteY145" fmla="*/ 7164338 h 7308446"/>
              <a:gd name="connsiteX146" fmla="*/ 8087855 w 9012328"/>
              <a:gd name="connsiteY146" fmla="*/ 7131912 h 7308446"/>
              <a:gd name="connsiteX147" fmla="*/ 8068437 w 9012328"/>
              <a:gd name="connsiteY147" fmla="*/ 7096506 h 7308446"/>
              <a:gd name="connsiteX148" fmla="*/ 8051660 w 9012328"/>
              <a:gd name="connsiteY148" fmla="*/ 7058203 h 7308446"/>
              <a:gd name="connsiteX149" fmla="*/ 8037381 w 9012328"/>
              <a:gd name="connsiteY149" fmla="*/ 7017085 h 7308446"/>
              <a:gd name="connsiteX150" fmla="*/ 8025461 w 9012328"/>
              <a:gd name="connsiteY150" fmla="*/ 6973236 h 7308446"/>
              <a:gd name="connsiteX151" fmla="*/ 8015759 w 9012328"/>
              <a:gd name="connsiteY151" fmla="*/ 6926737 h 7308446"/>
              <a:gd name="connsiteX152" fmla="*/ 8008136 w 9012328"/>
              <a:gd name="connsiteY152" fmla="*/ 6877672 h 7308446"/>
              <a:gd name="connsiteX153" fmla="*/ 8002451 w 9012328"/>
              <a:gd name="connsiteY153" fmla="*/ 6826122 h 7308446"/>
              <a:gd name="connsiteX154" fmla="*/ 7998564 w 9012328"/>
              <a:gd name="connsiteY154" fmla="*/ 6772172 h 7308446"/>
              <a:gd name="connsiteX155" fmla="*/ 7996334 w 9012328"/>
              <a:gd name="connsiteY155" fmla="*/ 6715902 h 7308446"/>
              <a:gd name="connsiteX156" fmla="*/ 7995623 w 9012328"/>
              <a:gd name="connsiteY156" fmla="*/ 6657396 h 7308446"/>
              <a:gd name="connsiteX157" fmla="*/ 7996358 w 9012328"/>
              <a:gd name="connsiteY157" fmla="*/ 6599140 h 7308446"/>
              <a:gd name="connsiteX158" fmla="*/ 7998654 w 9012328"/>
              <a:gd name="connsiteY158" fmla="*/ 6543120 h 7308446"/>
              <a:gd name="connsiteX159" fmla="*/ 8002643 w 9012328"/>
              <a:gd name="connsiteY159" fmla="*/ 6489415 h 7308446"/>
              <a:gd name="connsiteX160" fmla="*/ 8008456 w 9012328"/>
              <a:gd name="connsiteY160" fmla="*/ 6438109 h 7308446"/>
              <a:gd name="connsiteX161" fmla="*/ 8016229 w 9012328"/>
              <a:gd name="connsiteY161" fmla="*/ 6389281 h 7308446"/>
              <a:gd name="connsiteX162" fmla="*/ 8026092 w 9012328"/>
              <a:gd name="connsiteY162" fmla="*/ 6343014 h 7308446"/>
              <a:gd name="connsiteX163" fmla="*/ 8038178 w 9012328"/>
              <a:gd name="connsiteY163" fmla="*/ 6299388 h 7308446"/>
              <a:gd name="connsiteX164" fmla="*/ 8052621 w 9012328"/>
              <a:gd name="connsiteY164" fmla="*/ 6258486 h 7308446"/>
              <a:gd name="connsiteX165" fmla="*/ 8069553 w 9012328"/>
              <a:gd name="connsiteY165" fmla="*/ 6220388 h 7308446"/>
              <a:gd name="connsiteX166" fmla="*/ 8089106 w 9012328"/>
              <a:gd name="connsiteY166" fmla="*/ 6185176 h 7308446"/>
              <a:gd name="connsiteX167" fmla="*/ 8111414 w 9012328"/>
              <a:gd name="connsiteY167" fmla="*/ 6152931 h 7308446"/>
              <a:gd name="connsiteX168" fmla="*/ 8136610 w 9012328"/>
              <a:gd name="connsiteY168" fmla="*/ 6123735 h 7308446"/>
              <a:gd name="connsiteX169" fmla="*/ 8164825 w 9012328"/>
              <a:gd name="connsiteY169" fmla="*/ 6097669 h 7308446"/>
              <a:gd name="connsiteX170" fmla="*/ 8196192 w 9012328"/>
              <a:gd name="connsiteY170" fmla="*/ 6074814 h 7308446"/>
              <a:gd name="connsiteX171" fmla="*/ 8230845 w 9012328"/>
              <a:gd name="connsiteY171" fmla="*/ 6055253 h 7308446"/>
              <a:gd name="connsiteX172" fmla="*/ 8268916 w 9012328"/>
              <a:gd name="connsiteY172" fmla="*/ 6039065 h 7308446"/>
              <a:gd name="connsiteX173" fmla="*/ 8310538 w 9012328"/>
              <a:gd name="connsiteY173" fmla="*/ 6026333 h 7308446"/>
              <a:gd name="connsiteX174" fmla="*/ 8355843 w 9012328"/>
              <a:gd name="connsiteY174" fmla="*/ 6017138 h 7308446"/>
              <a:gd name="connsiteX175" fmla="*/ 8404964 w 9012328"/>
              <a:gd name="connsiteY175" fmla="*/ 6011561 h 7308446"/>
              <a:gd name="connsiteX176" fmla="*/ 1409388 w 9012328"/>
              <a:gd name="connsiteY176" fmla="*/ 6009685 h 7308446"/>
              <a:gd name="connsiteX177" fmla="*/ 1462459 w 9012328"/>
              <a:gd name="connsiteY177" fmla="*/ 6011561 h 7308446"/>
              <a:gd name="connsiteX178" fmla="*/ 1511579 w 9012328"/>
              <a:gd name="connsiteY178" fmla="*/ 6017138 h 7308446"/>
              <a:gd name="connsiteX179" fmla="*/ 1556884 w 9012328"/>
              <a:gd name="connsiteY179" fmla="*/ 6026333 h 7308446"/>
              <a:gd name="connsiteX180" fmla="*/ 1598508 w 9012328"/>
              <a:gd name="connsiteY180" fmla="*/ 6039065 h 7308446"/>
              <a:gd name="connsiteX181" fmla="*/ 1636578 w 9012328"/>
              <a:gd name="connsiteY181" fmla="*/ 6055253 h 7308446"/>
              <a:gd name="connsiteX182" fmla="*/ 1671231 w 9012328"/>
              <a:gd name="connsiteY182" fmla="*/ 6074814 h 7308446"/>
              <a:gd name="connsiteX183" fmla="*/ 1702600 w 9012328"/>
              <a:gd name="connsiteY183" fmla="*/ 6097669 h 7308446"/>
              <a:gd name="connsiteX184" fmla="*/ 1730815 w 9012328"/>
              <a:gd name="connsiteY184" fmla="*/ 6123735 h 7308446"/>
              <a:gd name="connsiteX185" fmla="*/ 1756009 w 9012328"/>
              <a:gd name="connsiteY185" fmla="*/ 6152931 h 7308446"/>
              <a:gd name="connsiteX186" fmla="*/ 1778317 w 9012328"/>
              <a:gd name="connsiteY186" fmla="*/ 6185176 h 7308446"/>
              <a:gd name="connsiteX187" fmla="*/ 1797871 w 9012328"/>
              <a:gd name="connsiteY187" fmla="*/ 6220388 h 7308446"/>
              <a:gd name="connsiteX188" fmla="*/ 1814804 w 9012328"/>
              <a:gd name="connsiteY188" fmla="*/ 6258486 h 7308446"/>
              <a:gd name="connsiteX189" fmla="*/ 1829247 w 9012328"/>
              <a:gd name="connsiteY189" fmla="*/ 6299388 h 7308446"/>
              <a:gd name="connsiteX190" fmla="*/ 1841333 w 9012328"/>
              <a:gd name="connsiteY190" fmla="*/ 6343014 h 7308446"/>
              <a:gd name="connsiteX191" fmla="*/ 1851196 w 9012328"/>
              <a:gd name="connsiteY191" fmla="*/ 6389281 h 7308446"/>
              <a:gd name="connsiteX192" fmla="*/ 1858969 w 9012328"/>
              <a:gd name="connsiteY192" fmla="*/ 6438109 h 7308446"/>
              <a:gd name="connsiteX193" fmla="*/ 1864782 w 9012328"/>
              <a:gd name="connsiteY193" fmla="*/ 6489415 h 7308446"/>
              <a:gd name="connsiteX194" fmla="*/ 1868770 w 9012328"/>
              <a:gd name="connsiteY194" fmla="*/ 6543120 h 7308446"/>
              <a:gd name="connsiteX195" fmla="*/ 1871067 w 9012328"/>
              <a:gd name="connsiteY195" fmla="*/ 6599140 h 7308446"/>
              <a:gd name="connsiteX196" fmla="*/ 1871802 w 9012328"/>
              <a:gd name="connsiteY196" fmla="*/ 6657396 h 7308446"/>
              <a:gd name="connsiteX197" fmla="*/ 1871103 w 9012328"/>
              <a:gd name="connsiteY197" fmla="*/ 6715902 h 7308446"/>
              <a:gd name="connsiteX198" fmla="*/ 1868906 w 9012328"/>
              <a:gd name="connsiteY198" fmla="*/ 6772172 h 7308446"/>
              <a:gd name="connsiteX199" fmla="*/ 1865069 w 9012328"/>
              <a:gd name="connsiteY199" fmla="*/ 6826122 h 7308446"/>
              <a:gd name="connsiteX200" fmla="*/ 1859448 w 9012328"/>
              <a:gd name="connsiteY200" fmla="*/ 6877672 h 7308446"/>
              <a:gd name="connsiteX201" fmla="*/ 1851900 w 9012328"/>
              <a:gd name="connsiteY201" fmla="*/ 6926737 h 7308446"/>
              <a:gd name="connsiteX202" fmla="*/ 1842280 w 9012328"/>
              <a:gd name="connsiteY202" fmla="*/ 6973236 h 7308446"/>
              <a:gd name="connsiteX203" fmla="*/ 1830443 w 9012328"/>
              <a:gd name="connsiteY203" fmla="*/ 7017085 h 7308446"/>
              <a:gd name="connsiteX204" fmla="*/ 1816246 w 9012328"/>
              <a:gd name="connsiteY204" fmla="*/ 7058203 h 7308446"/>
              <a:gd name="connsiteX205" fmla="*/ 1799544 w 9012328"/>
              <a:gd name="connsiteY205" fmla="*/ 7096506 h 7308446"/>
              <a:gd name="connsiteX206" fmla="*/ 1780195 w 9012328"/>
              <a:gd name="connsiteY206" fmla="*/ 7131912 h 7308446"/>
              <a:gd name="connsiteX207" fmla="*/ 1758055 w 9012328"/>
              <a:gd name="connsiteY207" fmla="*/ 7164338 h 7308446"/>
              <a:gd name="connsiteX208" fmla="*/ 1732977 w 9012328"/>
              <a:gd name="connsiteY208" fmla="*/ 7193701 h 7308446"/>
              <a:gd name="connsiteX209" fmla="*/ 1704820 w 9012328"/>
              <a:gd name="connsiteY209" fmla="*/ 7219920 h 7308446"/>
              <a:gd name="connsiteX210" fmla="*/ 1673440 w 9012328"/>
              <a:gd name="connsiteY210" fmla="*/ 7242910 h 7308446"/>
              <a:gd name="connsiteX211" fmla="*/ 1638691 w 9012328"/>
              <a:gd name="connsiteY211" fmla="*/ 7262591 h 7308446"/>
              <a:gd name="connsiteX212" fmla="*/ 1600431 w 9012328"/>
              <a:gd name="connsiteY212" fmla="*/ 7278878 h 7308446"/>
              <a:gd name="connsiteX213" fmla="*/ 1558512 w 9012328"/>
              <a:gd name="connsiteY213" fmla="*/ 7291690 h 7308446"/>
              <a:gd name="connsiteX214" fmla="*/ 1512797 w 9012328"/>
              <a:gd name="connsiteY214" fmla="*/ 7300944 h 7308446"/>
              <a:gd name="connsiteX215" fmla="*/ 1463136 w 9012328"/>
              <a:gd name="connsiteY215" fmla="*/ 7306557 h 7308446"/>
              <a:gd name="connsiteX216" fmla="*/ 1409388 w 9012328"/>
              <a:gd name="connsiteY216" fmla="*/ 7308446 h 7308446"/>
              <a:gd name="connsiteX217" fmla="*/ 1409388 w 9012328"/>
              <a:gd name="connsiteY217" fmla="*/ 7211624 h 7308446"/>
              <a:gd name="connsiteX218" fmla="*/ 1459074 w 9012328"/>
              <a:gd name="connsiteY218" fmla="*/ 7209391 h 7308446"/>
              <a:gd name="connsiteX219" fmla="*/ 1503995 w 9012328"/>
              <a:gd name="connsiteY219" fmla="*/ 7202770 h 7308446"/>
              <a:gd name="connsiteX220" fmla="*/ 1544377 w 9012328"/>
              <a:gd name="connsiteY220" fmla="*/ 7191881 h 7308446"/>
              <a:gd name="connsiteX221" fmla="*/ 1580448 w 9012328"/>
              <a:gd name="connsiteY221" fmla="*/ 7176841 h 7308446"/>
              <a:gd name="connsiteX222" fmla="*/ 1640559 w 9012328"/>
              <a:gd name="connsiteY222" fmla="*/ 7134781 h 7308446"/>
              <a:gd name="connsiteX223" fmla="*/ 1686139 w 9012328"/>
              <a:gd name="connsiteY223" fmla="*/ 7077537 h 7308446"/>
              <a:gd name="connsiteX224" fmla="*/ 1704044 w 9012328"/>
              <a:gd name="connsiteY224" fmla="*/ 7043516 h 7308446"/>
              <a:gd name="connsiteX225" fmla="*/ 1718997 w 9012328"/>
              <a:gd name="connsiteY225" fmla="*/ 7006054 h 7308446"/>
              <a:gd name="connsiteX226" fmla="*/ 1731220 w 9012328"/>
              <a:gd name="connsiteY226" fmla="*/ 6965269 h 7308446"/>
              <a:gd name="connsiteX227" fmla="*/ 1740944 w 9012328"/>
              <a:gd name="connsiteY227" fmla="*/ 6921279 h 7308446"/>
              <a:gd name="connsiteX228" fmla="*/ 1748390 w 9012328"/>
              <a:gd name="connsiteY228" fmla="*/ 6874203 h 7308446"/>
              <a:gd name="connsiteX229" fmla="*/ 1753790 w 9012328"/>
              <a:gd name="connsiteY229" fmla="*/ 6824158 h 7308446"/>
              <a:gd name="connsiteX230" fmla="*/ 1757366 w 9012328"/>
              <a:gd name="connsiteY230" fmla="*/ 6771263 h 7308446"/>
              <a:gd name="connsiteX231" fmla="*/ 1759345 w 9012328"/>
              <a:gd name="connsiteY231" fmla="*/ 6715637 h 7308446"/>
              <a:gd name="connsiteX232" fmla="*/ 1759955 w 9012328"/>
              <a:gd name="connsiteY232" fmla="*/ 6657396 h 7308446"/>
              <a:gd name="connsiteX233" fmla="*/ 1759313 w 9012328"/>
              <a:gd name="connsiteY233" fmla="*/ 6599727 h 7308446"/>
              <a:gd name="connsiteX234" fmla="*/ 1757242 w 9012328"/>
              <a:gd name="connsiteY234" fmla="*/ 6544638 h 7308446"/>
              <a:gd name="connsiteX235" fmla="*/ 1753533 w 9012328"/>
              <a:gd name="connsiteY235" fmla="*/ 6492245 h 7308446"/>
              <a:gd name="connsiteX236" fmla="*/ 1747967 w 9012328"/>
              <a:gd name="connsiteY236" fmla="*/ 6442669 h 7308446"/>
              <a:gd name="connsiteX237" fmla="*/ 1740332 w 9012328"/>
              <a:gd name="connsiteY237" fmla="*/ 6396025 h 7308446"/>
              <a:gd name="connsiteX238" fmla="*/ 1730413 w 9012328"/>
              <a:gd name="connsiteY238" fmla="*/ 6352434 h 7308446"/>
              <a:gd name="connsiteX239" fmla="*/ 1717998 w 9012328"/>
              <a:gd name="connsiteY239" fmla="*/ 6312013 h 7308446"/>
              <a:gd name="connsiteX240" fmla="*/ 1702871 w 9012328"/>
              <a:gd name="connsiteY240" fmla="*/ 6274881 h 7308446"/>
              <a:gd name="connsiteX241" fmla="*/ 1684817 w 9012328"/>
              <a:gd name="connsiteY241" fmla="*/ 6241155 h 7308446"/>
              <a:gd name="connsiteX242" fmla="*/ 1639079 w 9012328"/>
              <a:gd name="connsiteY242" fmla="*/ 6184396 h 7308446"/>
              <a:gd name="connsiteX243" fmla="*/ 1579070 w 9012328"/>
              <a:gd name="connsiteY243" fmla="*/ 6142683 h 7308446"/>
              <a:gd name="connsiteX244" fmla="*/ 1543178 w 9012328"/>
              <a:gd name="connsiteY244" fmla="*/ 6127764 h 7308446"/>
              <a:gd name="connsiteX245" fmla="*/ 1503076 w 9012328"/>
              <a:gd name="connsiteY245" fmla="*/ 6116961 h 7308446"/>
              <a:gd name="connsiteX246" fmla="*/ 1458551 w 9012328"/>
              <a:gd name="connsiteY246" fmla="*/ 6110393 h 7308446"/>
              <a:gd name="connsiteX247" fmla="*/ 1409388 w 9012328"/>
              <a:gd name="connsiteY247" fmla="*/ 6108177 h 7308446"/>
              <a:gd name="connsiteX248" fmla="*/ 1317509 w 9012328"/>
              <a:gd name="connsiteY248" fmla="*/ 6009685 h 7308446"/>
              <a:gd name="connsiteX249" fmla="*/ 1317509 w 9012328"/>
              <a:gd name="connsiteY249" fmla="*/ 6108177 h 7308446"/>
              <a:gd name="connsiteX250" fmla="*/ 1268623 w 9012328"/>
              <a:gd name="connsiteY250" fmla="*/ 6110393 h 7308446"/>
              <a:gd name="connsiteX251" fmla="*/ 1224343 w 9012328"/>
              <a:gd name="connsiteY251" fmla="*/ 6116961 h 7308446"/>
              <a:gd name="connsiteX252" fmla="*/ 1184456 w 9012328"/>
              <a:gd name="connsiteY252" fmla="*/ 6127764 h 7308446"/>
              <a:gd name="connsiteX253" fmla="*/ 1148750 w 9012328"/>
              <a:gd name="connsiteY253" fmla="*/ 6142683 h 7308446"/>
              <a:gd name="connsiteX254" fmla="*/ 1089035 w 9012328"/>
              <a:gd name="connsiteY254" fmla="*/ 6184396 h 7308446"/>
              <a:gd name="connsiteX255" fmla="*/ 1043502 w 9012328"/>
              <a:gd name="connsiteY255" fmla="*/ 6241155 h 7308446"/>
              <a:gd name="connsiteX256" fmla="*/ 1025523 w 9012328"/>
              <a:gd name="connsiteY256" fmla="*/ 6274881 h 7308446"/>
              <a:gd name="connsiteX257" fmla="*/ 1010453 w 9012328"/>
              <a:gd name="connsiteY257" fmla="*/ 6312013 h 7308446"/>
              <a:gd name="connsiteX258" fmla="*/ 998080 w 9012328"/>
              <a:gd name="connsiteY258" fmla="*/ 6352434 h 7308446"/>
              <a:gd name="connsiteX259" fmla="*/ 988193 w 9012328"/>
              <a:gd name="connsiteY259" fmla="*/ 6396025 h 7308446"/>
              <a:gd name="connsiteX260" fmla="*/ 980578 w 9012328"/>
              <a:gd name="connsiteY260" fmla="*/ 6442669 h 7308446"/>
              <a:gd name="connsiteX261" fmla="*/ 975024 w 9012328"/>
              <a:gd name="connsiteY261" fmla="*/ 6492245 h 7308446"/>
              <a:gd name="connsiteX262" fmla="*/ 971321 w 9012328"/>
              <a:gd name="connsiteY262" fmla="*/ 6544638 h 7308446"/>
              <a:gd name="connsiteX263" fmla="*/ 969254 w 9012328"/>
              <a:gd name="connsiteY263" fmla="*/ 6599727 h 7308446"/>
              <a:gd name="connsiteX264" fmla="*/ 968612 w 9012328"/>
              <a:gd name="connsiteY264" fmla="*/ 6657396 h 7308446"/>
              <a:gd name="connsiteX265" fmla="*/ 969237 w 9012328"/>
              <a:gd name="connsiteY265" fmla="*/ 6715637 h 7308446"/>
              <a:gd name="connsiteX266" fmla="*/ 971260 w 9012328"/>
              <a:gd name="connsiteY266" fmla="*/ 6771263 h 7308446"/>
              <a:gd name="connsiteX267" fmla="*/ 974897 w 9012328"/>
              <a:gd name="connsiteY267" fmla="*/ 6824158 h 7308446"/>
              <a:gd name="connsiteX268" fmla="*/ 980366 w 9012328"/>
              <a:gd name="connsiteY268" fmla="*/ 6874203 h 7308446"/>
              <a:gd name="connsiteX269" fmla="*/ 987887 w 9012328"/>
              <a:gd name="connsiteY269" fmla="*/ 6921279 h 7308446"/>
              <a:gd name="connsiteX270" fmla="*/ 997676 w 9012328"/>
              <a:gd name="connsiteY270" fmla="*/ 6965269 h 7308446"/>
              <a:gd name="connsiteX271" fmla="*/ 1009953 w 9012328"/>
              <a:gd name="connsiteY271" fmla="*/ 7006054 h 7308446"/>
              <a:gd name="connsiteX272" fmla="*/ 1024935 w 9012328"/>
              <a:gd name="connsiteY272" fmla="*/ 7043516 h 7308446"/>
              <a:gd name="connsiteX273" fmla="*/ 1042841 w 9012328"/>
              <a:gd name="connsiteY273" fmla="*/ 7077537 h 7308446"/>
              <a:gd name="connsiteX274" fmla="*/ 1088295 w 9012328"/>
              <a:gd name="connsiteY274" fmla="*/ 7134781 h 7308446"/>
              <a:gd name="connsiteX275" fmla="*/ 1148061 w 9012328"/>
              <a:gd name="connsiteY275" fmla="*/ 7176841 h 7308446"/>
              <a:gd name="connsiteX276" fmla="*/ 1183856 w 9012328"/>
              <a:gd name="connsiteY276" fmla="*/ 7191881 h 7308446"/>
              <a:gd name="connsiteX277" fmla="*/ 1223884 w 9012328"/>
              <a:gd name="connsiteY277" fmla="*/ 7202770 h 7308446"/>
              <a:gd name="connsiteX278" fmla="*/ 1268362 w 9012328"/>
              <a:gd name="connsiteY278" fmla="*/ 7209391 h 7308446"/>
              <a:gd name="connsiteX279" fmla="*/ 1317509 w 9012328"/>
              <a:gd name="connsiteY279" fmla="*/ 7211624 h 7308446"/>
              <a:gd name="connsiteX280" fmla="*/ 1317509 w 9012328"/>
              <a:gd name="connsiteY280" fmla="*/ 7308446 h 7308446"/>
              <a:gd name="connsiteX281" fmla="*/ 1263987 w 9012328"/>
              <a:gd name="connsiteY281" fmla="*/ 7306557 h 7308446"/>
              <a:gd name="connsiteX282" fmla="*/ 1214506 w 9012328"/>
              <a:gd name="connsiteY282" fmla="*/ 7300944 h 7308446"/>
              <a:gd name="connsiteX283" fmla="*/ 1168927 w 9012328"/>
              <a:gd name="connsiteY283" fmla="*/ 7291690 h 7308446"/>
              <a:gd name="connsiteX284" fmla="*/ 1127108 w 9012328"/>
              <a:gd name="connsiteY284" fmla="*/ 7278878 h 7308446"/>
              <a:gd name="connsiteX285" fmla="*/ 1088911 w 9012328"/>
              <a:gd name="connsiteY285" fmla="*/ 7262591 h 7308446"/>
              <a:gd name="connsiteX286" fmla="*/ 1054194 w 9012328"/>
              <a:gd name="connsiteY286" fmla="*/ 7242910 h 7308446"/>
              <a:gd name="connsiteX287" fmla="*/ 1022818 w 9012328"/>
              <a:gd name="connsiteY287" fmla="*/ 7219920 h 7308446"/>
              <a:gd name="connsiteX288" fmla="*/ 994641 w 9012328"/>
              <a:gd name="connsiteY288" fmla="*/ 7193701 h 7308446"/>
              <a:gd name="connsiteX289" fmla="*/ 969525 w 9012328"/>
              <a:gd name="connsiteY289" fmla="*/ 7164338 h 7308446"/>
              <a:gd name="connsiteX290" fmla="*/ 947329 w 9012328"/>
              <a:gd name="connsiteY290" fmla="*/ 7131912 h 7308446"/>
              <a:gd name="connsiteX291" fmla="*/ 927911 w 9012328"/>
              <a:gd name="connsiteY291" fmla="*/ 7096506 h 7308446"/>
              <a:gd name="connsiteX292" fmla="*/ 911133 w 9012328"/>
              <a:gd name="connsiteY292" fmla="*/ 7058203 h 7308446"/>
              <a:gd name="connsiteX293" fmla="*/ 896855 w 9012328"/>
              <a:gd name="connsiteY293" fmla="*/ 7017085 h 7308446"/>
              <a:gd name="connsiteX294" fmla="*/ 884935 w 9012328"/>
              <a:gd name="connsiteY294" fmla="*/ 6973236 h 7308446"/>
              <a:gd name="connsiteX295" fmla="*/ 875233 w 9012328"/>
              <a:gd name="connsiteY295" fmla="*/ 6926737 h 7308446"/>
              <a:gd name="connsiteX296" fmla="*/ 867610 w 9012328"/>
              <a:gd name="connsiteY296" fmla="*/ 6877672 h 7308446"/>
              <a:gd name="connsiteX297" fmla="*/ 861924 w 9012328"/>
              <a:gd name="connsiteY297" fmla="*/ 6826122 h 7308446"/>
              <a:gd name="connsiteX298" fmla="*/ 858037 w 9012328"/>
              <a:gd name="connsiteY298" fmla="*/ 6772172 h 7308446"/>
              <a:gd name="connsiteX299" fmla="*/ 855809 w 9012328"/>
              <a:gd name="connsiteY299" fmla="*/ 6715902 h 7308446"/>
              <a:gd name="connsiteX300" fmla="*/ 855097 w 9012328"/>
              <a:gd name="connsiteY300" fmla="*/ 6657396 h 7308446"/>
              <a:gd name="connsiteX301" fmla="*/ 855832 w 9012328"/>
              <a:gd name="connsiteY301" fmla="*/ 6599140 h 7308446"/>
              <a:gd name="connsiteX302" fmla="*/ 858128 w 9012328"/>
              <a:gd name="connsiteY302" fmla="*/ 6543120 h 7308446"/>
              <a:gd name="connsiteX303" fmla="*/ 862117 w 9012328"/>
              <a:gd name="connsiteY303" fmla="*/ 6489415 h 7308446"/>
              <a:gd name="connsiteX304" fmla="*/ 867930 w 9012328"/>
              <a:gd name="connsiteY304" fmla="*/ 6438109 h 7308446"/>
              <a:gd name="connsiteX305" fmla="*/ 875703 w 9012328"/>
              <a:gd name="connsiteY305" fmla="*/ 6389281 h 7308446"/>
              <a:gd name="connsiteX306" fmla="*/ 885565 w 9012328"/>
              <a:gd name="connsiteY306" fmla="*/ 6343014 h 7308446"/>
              <a:gd name="connsiteX307" fmla="*/ 897652 w 9012328"/>
              <a:gd name="connsiteY307" fmla="*/ 6299388 h 7308446"/>
              <a:gd name="connsiteX308" fmla="*/ 912095 w 9012328"/>
              <a:gd name="connsiteY308" fmla="*/ 6258486 h 7308446"/>
              <a:gd name="connsiteX309" fmla="*/ 929026 w 9012328"/>
              <a:gd name="connsiteY309" fmla="*/ 6220388 h 7308446"/>
              <a:gd name="connsiteX310" fmla="*/ 948580 w 9012328"/>
              <a:gd name="connsiteY310" fmla="*/ 6185176 h 7308446"/>
              <a:gd name="connsiteX311" fmla="*/ 970888 w 9012328"/>
              <a:gd name="connsiteY311" fmla="*/ 6152931 h 7308446"/>
              <a:gd name="connsiteX312" fmla="*/ 996084 w 9012328"/>
              <a:gd name="connsiteY312" fmla="*/ 6123735 h 7308446"/>
              <a:gd name="connsiteX313" fmla="*/ 1024299 w 9012328"/>
              <a:gd name="connsiteY313" fmla="*/ 6097669 h 7308446"/>
              <a:gd name="connsiteX314" fmla="*/ 1055666 w 9012328"/>
              <a:gd name="connsiteY314" fmla="*/ 6074814 h 7308446"/>
              <a:gd name="connsiteX315" fmla="*/ 1090319 w 9012328"/>
              <a:gd name="connsiteY315" fmla="*/ 6055253 h 7308446"/>
              <a:gd name="connsiteX316" fmla="*/ 1128390 w 9012328"/>
              <a:gd name="connsiteY316" fmla="*/ 6039065 h 7308446"/>
              <a:gd name="connsiteX317" fmla="*/ 1170012 w 9012328"/>
              <a:gd name="connsiteY317" fmla="*/ 6026333 h 7308446"/>
              <a:gd name="connsiteX318" fmla="*/ 1215317 w 9012328"/>
              <a:gd name="connsiteY318" fmla="*/ 6017138 h 7308446"/>
              <a:gd name="connsiteX319" fmla="*/ 1264438 w 9012328"/>
              <a:gd name="connsiteY319" fmla="*/ 6011561 h 7308446"/>
              <a:gd name="connsiteX320" fmla="*/ 505166 w 9012328"/>
              <a:gd name="connsiteY320" fmla="*/ 5528915 h 7308446"/>
              <a:gd name="connsiteX321" fmla="*/ 547395 w 9012328"/>
              <a:gd name="connsiteY321" fmla="*/ 5532593 h 7308446"/>
              <a:gd name="connsiteX322" fmla="*/ 580078 w 9012328"/>
              <a:gd name="connsiteY322" fmla="*/ 5545817 h 7308446"/>
              <a:gd name="connsiteX323" fmla="*/ 601179 w 9012328"/>
              <a:gd name="connsiteY323" fmla="*/ 5571874 h 7308446"/>
              <a:gd name="connsiteX324" fmla="*/ 608666 w 9012328"/>
              <a:gd name="connsiteY324" fmla="*/ 5614052 h 7308446"/>
              <a:gd name="connsiteX325" fmla="*/ 601179 w 9012328"/>
              <a:gd name="connsiteY325" fmla="*/ 5658159 h 7308446"/>
              <a:gd name="connsiteX326" fmla="*/ 580078 w 9012328"/>
              <a:gd name="connsiteY326" fmla="*/ 5685208 h 7308446"/>
              <a:gd name="connsiteX327" fmla="*/ 547395 w 9012328"/>
              <a:gd name="connsiteY327" fmla="*/ 5698798 h 7308446"/>
              <a:gd name="connsiteX328" fmla="*/ 505166 w 9012328"/>
              <a:gd name="connsiteY328" fmla="*/ 5702529 h 7308446"/>
              <a:gd name="connsiteX329" fmla="*/ 462936 w 9012328"/>
              <a:gd name="connsiteY329" fmla="*/ 5698798 h 7308446"/>
              <a:gd name="connsiteX330" fmla="*/ 430252 w 9012328"/>
              <a:gd name="connsiteY330" fmla="*/ 5685208 h 7308446"/>
              <a:gd name="connsiteX331" fmla="*/ 409151 w 9012328"/>
              <a:gd name="connsiteY331" fmla="*/ 5658159 h 7308446"/>
              <a:gd name="connsiteX332" fmla="*/ 401665 w 9012328"/>
              <a:gd name="connsiteY332" fmla="*/ 5614052 h 7308446"/>
              <a:gd name="connsiteX333" fmla="*/ 409385 w 9012328"/>
              <a:gd name="connsiteY333" fmla="*/ 5571874 h 7308446"/>
              <a:gd name="connsiteX334" fmla="*/ 430878 w 9012328"/>
              <a:gd name="connsiteY334" fmla="*/ 5545817 h 7308446"/>
              <a:gd name="connsiteX335" fmla="*/ 463640 w 9012328"/>
              <a:gd name="connsiteY335" fmla="*/ 5532593 h 7308446"/>
              <a:gd name="connsiteX336" fmla="*/ 2465444 w 9012328"/>
              <a:gd name="connsiteY336" fmla="*/ 5378664 h 7308446"/>
              <a:gd name="connsiteX337" fmla="*/ 3370236 w 9012328"/>
              <a:gd name="connsiteY337" fmla="*/ 5378664 h 7308446"/>
              <a:gd name="connsiteX338" fmla="*/ 3370236 w 9012328"/>
              <a:gd name="connsiteY338" fmla="*/ 5485502 h 7308446"/>
              <a:gd name="connsiteX339" fmla="*/ 2465444 w 9012328"/>
              <a:gd name="connsiteY339" fmla="*/ 5485502 h 7308446"/>
              <a:gd name="connsiteX340" fmla="*/ 2465444 w 9012328"/>
              <a:gd name="connsiteY340" fmla="*/ 5029768 h 7308446"/>
              <a:gd name="connsiteX341" fmla="*/ 3370236 w 9012328"/>
              <a:gd name="connsiteY341" fmla="*/ 5029768 h 7308446"/>
              <a:gd name="connsiteX342" fmla="*/ 3370236 w 9012328"/>
              <a:gd name="connsiteY342" fmla="*/ 5136606 h 7308446"/>
              <a:gd name="connsiteX343" fmla="*/ 2465444 w 9012328"/>
              <a:gd name="connsiteY343" fmla="*/ 5136606 h 7308446"/>
              <a:gd name="connsiteX344" fmla="*/ 505166 w 9012328"/>
              <a:gd name="connsiteY344" fmla="*/ 4827784 h 7308446"/>
              <a:gd name="connsiteX345" fmla="*/ 547395 w 9012328"/>
              <a:gd name="connsiteY345" fmla="*/ 4831253 h 7308446"/>
              <a:gd name="connsiteX346" fmla="*/ 580078 w 9012328"/>
              <a:gd name="connsiteY346" fmla="*/ 4844268 h 7308446"/>
              <a:gd name="connsiteX347" fmla="*/ 601179 w 9012328"/>
              <a:gd name="connsiteY347" fmla="*/ 4870743 h 7308446"/>
              <a:gd name="connsiteX348" fmla="*/ 608666 w 9012328"/>
              <a:gd name="connsiteY348" fmla="*/ 4914590 h 7308446"/>
              <a:gd name="connsiteX349" fmla="*/ 601179 w 9012328"/>
              <a:gd name="connsiteY349" fmla="*/ 4957028 h 7308446"/>
              <a:gd name="connsiteX350" fmla="*/ 580078 w 9012328"/>
              <a:gd name="connsiteY350" fmla="*/ 4983660 h 7308446"/>
              <a:gd name="connsiteX351" fmla="*/ 547395 w 9012328"/>
              <a:gd name="connsiteY351" fmla="*/ 4997458 h 7308446"/>
              <a:gd name="connsiteX352" fmla="*/ 505166 w 9012328"/>
              <a:gd name="connsiteY352" fmla="*/ 5001397 h 7308446"/>
              <a:gd name="connsiteX353" fmla="*/ 463901 w 9012328"/>
              <a:gd name="connsiteY353" fmla="*/ 4997458 h 7308446"/>
              <a:gd name="connsiteX354" fmla="*/ 431713 w 9012328"/>
              <a:gd name="connsiteY354" fmla="*/ 4983660 h 7308446"/>
              <a:gd name="connsiteX355" fmla="*/ 410794 w 9012328"/>
              <a:gd name="connsiteY355" fmla="*/ 4957028 h 7308446"/>
              <a:gd name="connsiteX356" fmla="*/ 403334 w 9012328"/>
              <a:gd name="connsiteY356" fmla="*/ 4914590 h 7308446"/>
              <a:gd name="connsiteX357" fmla="*/ 410794 w 9012328"/>
              <a:gd name="connsiteY357" fmla="*/ 4870743 h 7308446"/>
              <a:gd name="connsiteX358" fmla="*/ 431713 w 9012328"/>
              <a:gd name="connsiteY358" fmla="*/ 4844268 h 7308446"/>
              <a:gd name="connsiteX359" fmla="*/ 463901 w 9012328"/>
              <a:gd name="connsiteY359" fmla="*/ 4831253 h 7308446"/>
              <a:gd name="connsiteX360" fmla="*/ 4111651 w 9012328"/>
              <a:gd name="connsiteY360" fmla="*/ 4507266 h 7308446"/>
              <a:gd name="connsiteX361" fmla="*/ 4164721 w 9012328"/>
              <a:gd name="connsiteY361" fmla="*/ 4509142 h 7308446"/>
              <a:gd name="connsiteX362" fmla="*/ 4213842 w 9012328"/>
              <a:gd name="connsiteY362" fmla="*/ 4514719 h 7308446"/>
              <a:gd name="connsiteX363" fmla="*/ 4259148 w 9012328"/>
              <a:gd name="connsiteY363" fmla="*/ 4523914 h 7308446"/>
              <a:gd name="connsiteX364" fmla="*/ 4300769 w 9012328"/>
              <a:gd name="connsiteY364" fmla="*/ 4536646 h 7308446"/>
              <a:gd name="connsiteX365" fmla="*/ 4338840 w 9012328"/>
              <a:gd name="connsiteY365" fmla="*/ 4552834 h 7308446"/>
              <a:gd name="connsiteX366" fmla="*/ 4373493 w 9012328"/>
              <a:gd name="connsiteY366" fmla="*/ 4572395 h 7308446"/>
              <a:gd name="connsiteX367" fmla="*/ 4404861 w 9012328"/>
              <a:gd name="connsiteY367" fmla="*/ 4595250 h 7308446"/>
              <a:gd name="connsiteX368" fmla="*/ 4433076 w 9012328"/>
              <a:gd name="connsiteY368" fmla="*/ 4621316 h 7308446"/>
              <a:gd name="connsiteX369" fmla="*/ 4458271 w 9012328"/>
              <a:gd name="connsiteY369" fmla="*/ 4650512 h 7308446"/>
              <a:gd name="connsiteX370" fmla="*/ 4480579 w 9012328"/>
              <a:gd name="connsiteY370" fmla="*/ 4682757 h 7308446"/>
              <a:gd name="connsiteX371" fmla="*/ 4500133 w 9012328"/>
              <a:gd name="connsiteY371" fmla="*/ 4717969 h 7308446"/>
              <a:gd name="connsiteX372" fmla="*/ 4517065 w 9012328"/>
              <a:gd name="connsiteY372" fmla="*/ 4756067 h 7308446"/>
              <a:gd name="connsiteX373" fmla="*/ 4531508 w 9012328"/>
              <a:gd name="connsiteY373" fmla="*/ 4796969 h 7308446"/>
              <a:gd name="connsiteX374" fmla="*/ 4543594 w 9012328"/>
              <a:gd name="connsiteY374" fmla="*/ 4840595 h 7308446"/>
              <a:gd name="connsiteX375" fmla="*/ 4553457 w 9012328"/>
              <a:gd name="connsiteY375" fmla="*/ 4886863 h 7308446"/>
              <a:gd name="connsiteX376" fmla="*/ 4561230 w 9012328"/>
              <a:gd name="connsiteY376" fmla="*/ 4935691 h 7308446"/>
              <a:gd name="connsiteX377" fmla="*/ 4567043 w 9012328"/>
              <a:gd name="connsiteY377" fmla="*/ 4986997 h 7308446"/>
              <a:gd name="connsiteX378" fmla="*/ 4571032 w 9012328"/>
              <a:gd name="connsiteY378" fmla="*/ 5040702 h 7308446"/>
              <a:gd name="connsiteX379" fmla="*/ 4573328 w 9012328"/>
              <a:gd name="connsiteY379" fmla="*/ 5096722 h 7308446"/>
              <a:gd name="connsiteX380" fmla="*/ 4574064 w 9012328"/>
              <a:gd name="connsiteY380" fmla="*/ 5154978 h 7308446"/>
              <a:gd name="connsiteX381" fmla="*/ 4573364 w 9012328"/>
              <a:gd name="connsiteY381" fmla="*/ 5213483 h 7308446"/>
              <a:gd name="connsiteX382" fmla="*/ 4571167 w 9012328"/>
              <a:gd name="connsiteY382" fmla="*/ 5269753 h 7308446"/>
              <a:gd name="connsiteX383" fmla="*/ 4567331 w 9012328"/>
              <a:gd name="connsiteY383" fmla="*/ 5323704 h 7308446"/>
              <a:gd name="connsiteX384" fmla="*/ 4561710 w 9012328"/>
              <a:gd name="connsiteY384" fmla="*/ 5375253 h 7308446"/>
              <a:gd name="connsiteX385" fmla="*/ 4554162 w 9012328"/>
              <a:gd name="connsiteY385" fmla="*/ 5424318 h 7308446"/>
              <a:gd name="connsiteX386" fmla="*/ 4544541 w 9012328"/>
              <a:gd name="connsiteY386" fmla="*/ 5470817 h 7308446"/>
              <a:gd name="connsiteX387" fmla="*/ 4532704 w 9012328"/>
              <a:gd name="connsiteY387" fmla="*/ 5514667 h 7308446"/>
              <a:gd name="connsiteX388" fmla="*/ 4518507 w 9012328"/>
              <a:gd name="connsiteY388" fmla="*/ 5555784 h 7308446"/>
              <a:gd name="connsiteX389" fmla="*/ 4501806 w 9012328"/>
              <a:gd name="connsiteY389" fmla="*/ 5594087 h 7308446"/>
              <a:gd name="connsiteX390" fmla="*/ 4482457 w 9012328"/>
              <a:gd name="connsiteY390" fmla="*/ 5629493 h 7308446"/>
              <a:gd name="connsiteX391" fmla="*/ 4460316 w 9012328"/>
              <a:gd name="connsiteY391" fmla="*/ 5661919 h 7308446"/>
              <a:gd name="connsiteX392" fmla="*/ 4435240 w 9012328"/>
              <a:gd name="connsiteY392" fmla="*/ 5691283 h 7308446"/>
              <a:gd name="connsiteX393" fmla="*/ 4407083 w 9012328"/>
              <a:gd name="connsiteY393" fmla="*/ 5717501 h 7308446"/>
              <a:gd name="connsiteX394" fmla="*/ 4375702 w 9012328"/>
              <a:gd name="connsiteY394" fmla="*/ 5740492 h 7308446"/>
              <a:gd name="connsiteX395" fmla="*/ 4340953 w 9012328"/>
              <a:gd name="connsiteY395" fmla="*/ 5760173 h 7308446"/>
              <a:gd name="connsiteX396" fmla="*/ 4302693 w 9012328"/>
              <a:gd name="connsiteY396" fmla="*/ 5776460 h 7308446"/>
              <a:gd name="connsiteX397" fmla="*/ 4260776 w 9012328"/>
              <a:gd name="connsiteY397" fmla="*/ 5789272 h 7308446"/>
              <a:gd name="connsiteX398" fmla="*/ 4215059 w 9012328"/>
              <a:gd name="connsiteY398" fmla="*/ 5798526 h 7308446"/>
              <a:gd name="connsiteX399" fmla="*/ 4165399 w 9012328"/>
              <a:gd name="connsiteY399" fmla="*/ 5804139 h 7308446"/>
              <a:gd name="connsiteX400" fmla="*/ 4111651 w 9012328"/>
              <a:gd name="connsiteY400" fmla="*/ 5806028 h 7308446"/>
              <a:gd name="connsiteX401" fmla="*/ 4111651 w 9012328"/>
              <a:gd name="connsiteY401" fmla="*/ 5709205 h 7308446"/>
              <a:gd name="connsiteX402" fmla="*/ 4161336 w 9012328"/>
              <a:gd name="connsiteY402" fmla="*/ 5706972 h 7308446"/>
              <a:gd name="connsiteX403" fmla="*/ 4206256 w 9012328"/>
              <a:gd name="connsiteY403" fmla="*/ 5700351 h 7308446"/>
              <a:gd name="connsiteX404" fmla="*/ 4246640 w 9012328"/>
              <a:gd name="connsiteY404" fmla="*/ 5689462 h 7308446"/>
              <a:gd name="connsiteX405" fmla="*/ 4282711 w 9012328"/>
              <a:gd name="connsiteY405" fmla="*/ 5674422 h 7308446"/>
              <a:gd name="connsiteX406" fmla="*/ 4342822 w 9012328"/>
              <a:gd name="connsiteY406" fmla="*/ 5632362 h 7308446"/>
              <a:gd name="connsiteX407" fmla="*/ 4388401 w 9012328"/>
              <a:gd name="connsiteY407" fmla="*/ 5575118 h 7308446"/>
              <a:gd name="connsiteX408" fmla="*/ 4406307 w 9012328"/>
              <a:gd name="connsiteY408" fmla="*/ 5541097 h 7308446"/>
              <a:gd name="connsiteX409" fmla="*/ 4421259 w 9012328"/>
              <a:gd name="connsiteY409" fmla="*/ 5503636 h 7308446"/>
              <a:gd name="connsiteX410" fmla="*/ 4433483 w 9012328"/>
              <a:gd name="connsiteY410" fmla="*/ 5462851 h 7308446"/>
              <a:gd name="connsiteX411" fmla="*/ 4443206 w 9012328"/>
              <a:gd name="connsiteY411" fmla="*/ 5418861 h 7308446"/>
              <a:gd name="connsiteX412" fmla="*/ 4450653 w 9012328"/>
              <a:gd name="connsiteY412" fmla="*/ 5371784 h 7308446"/>
              <a:gd name="connsiteX413" fmla="*/ 4456052 w 9012328"/>
              <a:gd name="connsiteY413" fmla="*/ 5321740 h 7308446"/>
              <a:gd name="connsiteX414" fmla="*/ 4459628 w 9012328"/>
              <a:gd name="connsiteY414" fmla="*/ 5268845 h 7308446"/>
              <a:gd name="connsiteX415" fmla="*/ 4461607 w 9012328"/>
              <a:gd name="connsiteY415" fmla="*/ 5213218 h 7308446"/>
              <a:gd name="connsiteX416" fmla="*/ 4462217 w 9012328"/>
              <a:gd name="connsiteY416" fmla="*/ 5154978 h 7308446"/>
              <a:gd name="connsiteX417" fmla="*/ 4461575 w 9012328"/>
              <a:gd name="connsiteY417" fmla="*/ 5097309 h 7308446"/>
              <a:gd name="connsiteX418" fmla="*/ 4459505 w 9012328"/>
              <a:gd name="connsiteY418" fmla="*/ 5042220 h 7308446"/>
              <a:gd name="connsiteX419" fmla="*/ 4455795 w 9012328"/>
              <a:gd name="connsiteY419" fmla="*/ 4989827 h 7308446"/>
              <a:gd name="connsiteX420" fmla="*/ 4450229 w 9012328"/>
              <a:gd name="connsiteY420" fmla="*/ 4940251 h 7308446"/>
              <a:gd name="connsiteX421" fmla="*/ 4442594 w 9012328"/>
              <a:gd name="connsiteY421" fmla="*/ 4893607 h 7308446"/>
              <a:gd name="connsiteX422" fmla="*/ 4432676 w 9012328"/>
              <a:gd name="connsiteY422" fmla="*/ 4850015 h 7308446"/>
              <a:gd name="connsiteX423" fmla="*/ 4420260 w 9012328"/>
              <a:gd name="connsiteY423" fmla="*/ 4809594 h 7308446"/>
              <a:gd name="connsiteX424" fmla="*/ 4405133 w 9012328"/>
              <a:gd name="connsiteY424" fmla="*/ 4772462 h 7308446"/>
              <a:gd name="connsiteX425" fmla="*/ 4387080 w 9012328"/>
              <a:gd name="connsiteY425" fmla="*/ 4738736 h 7308446"/>
              <a:gd name="connsiteX426" fmla="*/ 4341342 w 9012328"/>
              <a:gd name="connsiteY426" fmla="*/ 4681977 h 7308446"/>
              <a:gd name="connsiteX427" fmla="*/ 4281333 w 9012328"/>
              <a:gd name="connsiteY427" fmla="*/ 4640264 h 7308446"/>
              <a:gd name="connsiteX428" fmla="*/ 4245441 w 9012328"/>
              <a:gd name="connsiteY428" fmla="*/ 4625345 h 7308446"/>
              <a:gd name="connsiteX429" fmla="*/ 4205339 w 9012328"/>
              <a:gd name="connsiteY429" fmla="*/ 4614542 h 7308446"/>
              <a:gd name="connsiteX430" fmla="*/ 4160814 w 9012328"/>
              <a:gd name="connsiteY430" fmla="*/ 4607974 h 7308446"/>
              <a:gd name="connsiteX431" fmla="*/ 4111651 w 9012328"/>
              <a:gd name="connsiteY431" fmla="*/ 4605758 h 7308446"/>
              <a:gd name="connsiteX432" fmla="*/ 4019781 w 9012328"/>
              <a:gd name="connsiteY432" fmla="*/ 4507266 h 7308446"/>
              <a:gd name="connsiteX433" fmla="*/ 4019781 w 9012328"/>
              <a:gd name="connsiteY433" fmla="*/ 4605758 h 7308446"/>
              <a:gd name="connsiteX434" fmla="*/ 3970895 w 9012328"/>
              <a:gd name="connsiteY434" fmla="*/ 4607974 h 7308446"/>
              <a:gd name="connsiteX435" fmla="*/ 3926615 w 9012328"/>
              <a:gd name="connsiteY435" fmla="*/ 4614542 h 7308446"/>
              <a:gd name="connsiteX436" fmla="*/ 3886728 w 9012328"/>
              <a:gd name="connsiteY436" fmla="*/ 4625345 h 7308446"/>
              <a:gd name="connsiteX437" fmla="*/ 3851022 w 9012328"/>
              <a:gd name="connsiteY437" fmla="*/ 4640264 h 7308446"/>
              <a:gd name="connsiteX438" fmla="*/ 3791307 w 9012328"/>
              <a:gd name="connsiteY438" fmla="*/ 4681977 h 7308446"/>
              <a:gd name="connsiteX439" fmla="*/ 3745774 w 9012328"/>
              <a:gd name="connsiteY439" fmla="*/ 4738736 h 7308446"/>
              <a:gd name="connsiteX440" fmla="*/ 3727795 w 9012328"/>
              <a:gd name="connsiteY440" fmla="*/ 4772462 h 7308446"/>
              <a:gd name="connsiteX441" fmla="*/ 3712725 w 9012328"/>
              <a:gd name="connsiteY441" fmla="*/ 4809594 h 7308446"/>
              <a:gd name="connsiteX442" fmla="*/ 3700353 w 9012328"/>
              <a:gd name="connsiteY442" fmla="*/ 4850015 h 7308446"/>
              <a:gd name="connsiteX443" fmla="*/ 3690465 w 9012328"/>
              <a:gd name="connsiteY443" fmla="*/ 4893607 h 7308446"/>
              <a:gd name="connsiteX444" fmla="*/ 3682853 w 9012328"/>
              <a:gd name="connsiteY444" fmla="*/ 4940251 h 7308446"/>
              <a:gd name="connsiteX445" fmla="*/ 3677301 w 9012328"/>
              <a:gd name="connsiteY445" fmla="*/ 4989827 h 7308446"/>
              <a:gd name="connsiteX446" fmla="*/ 3673597 w 9012328"/>
              <a:gd name="connsiteY446" fmla="*/ 5042220 h 7308446"/>
              <a:gd name="connsiteX447" fmla="*/ 3671530 w 9012328"/>
              <a:gd name="connsiteY447" fmla="*/ 5097309 h 7308446"/>
              <a:gd name="connsiteX448" fmla="*/ 3670887 w 9012328"/>
              <a:gd name="connsiteY448" fmla="*/ 5154978 h 7308446"/>
              <a:gd name="connsiteX449" fmla="*/ 3671513 w 9012328"/>
              <a:gd name="connsiteY449" fmla="*/ 5213218 h 7308446"/>
              <a:gd name="connsiteX450" fmla="*/ 3673535 w 9012328"/>
              <a:gd name="connsiteY450" fmla="*/ 5268845 h 7308446"/>
              <a:gd name="connsiteX451" fmla="*/ 3677173 w 9012328"/>
              <a:gd name="connsiteY451" fmla="*/ 5321740 h 7308446"/>
              <a:gd name="connsiteX452" fmla="*/ 3682642 w 9012328"/>
              <a:gd name="connsiteY452" fmla="*/ 5371784 h 7308446"/>
              <a:gd name="connsiteX453" fmla="*/ 3690160 w 9012328"/>
              <a:gd name="connsiteY453" fmla="*/ 5418861 h 7308446"/>
              <a:gd name="connsiteX454" fmla="*/ 3699949 w 9012328"/>
              <a:gd name="connsiteY454" fmla="*/ 5462851 h 7308446"/>
              <a:gd name="connsiteX455" fmla="*/ 3712226 w 9012328"/>
              <a:gd name="connsiteY455" fmla="*/ 5503636 h 7308446"/>
              <a:gd name="connsiteX456" fmla="*/ 3727208 w 9012328"/>
              <a:gd name="connsiteY456" fmla="*/ 5541097 h 7308446"/>
              <a:gd name="connsiteX457" fmla="*/ 3745113 w 9012328"/>
              <a:gd name="connsiteY457" fmla="*/ 5575118 h 7308446"/>
              <a:gd name="connsiteX458" fmla="*/ 3790567 w 9012328"/>
              <a:gd name="connsiteY458" fmla="*/ 5632362 h 7308446"/>
              <a:gd name="connsiteX459" fmla="*/ 3850333 w 9012328"/>
              <a:gd name="connsiteY459" fmla="*/ 5674422 h 7308446"/>
              <a:gd name="connsiteX460" fmla="*/ 3886128 w 9012328"/>
              <a:gd name="connsiteY460" fmla="*/ 5689462 h 7308446"/>
              <a:gd name="connsiteX461" fmla="*/ 3926156 w 9012328"/>
              <a:gd name="connsiteY461" fmla="*/ 5700351 h 7308446"/>
              <a:gd name="connsiteX462" fmla="*/ 3970634 w 9012328"/>
              <a:gd name="connsiteY462" fmla="*/ 5706972 h 7308446"/>
              <a:gd name="connsiteX463" fmla="*/ 4019781 w 9012328"/>
              <a:gd name="connsiteY463" fmla="*/ 5709205 h 7308446"/>
              <a:gd name="connsiteX464" fmla="*/ 4019781 w 9012328"/>
              <a:gd name="connsiteY464" fmla="*/ 5806028 h 7308446"/>
              <a:gd name="connsiteX465" fmla="*/ 3966259 w 9012328"/>
              <a:gd name="connsiteY465" fmla="*/ 5804139 h 7308446"/>
              <a:gd name="connsiteX466" fmla="*/ 3916778 w 9012328"/>
              <a:gd name="connsiteY466" fmla="*/ 5798526 h 7308446"/>
              <a:gd name="connsiteX467" fmla="*/ 3871199 w 9012328"/>
              <a:gd name="connsiteY467" fmla="*/ 5789272 h 7308446"/>
              <a:gd name="connsiteX468" fmla="*/ 3829380 w 9012328"/>
              <a:gd name="connsiteY468" fmla="*/ 5776460 h 7308446"/>
              <a:gd name="connsiteX469" fmla="*/ 3791183 w 9012328"/>
              <a:gd name="connsiteY469" fmla="*/ 5760173 h 7308446"/>
              <a:gd name="connsiteX470" fmla="*/ 3756466 w 9012328"/>
              <a:gd name="connsiteY470" fmla="*/ 5740492 h 7308446"/>
              <a:gd name="connsiteX471" fmla="*/ 3725090 w 9012328"/>
              <a:gd name="connsiteY471" fmla="*/ 5717501 h 7308446"/>
              <a:gd name="connsiteX472" fmla="*/ 3696914 w 9012328"/>
              <a:gd name="connsiteY472" fmla="*/ 5691283 h 7308446"/>
              <a:gd name="connsiteX473" fmla="*/ 3671799 w 9012328"/>
              <a:gd name="connsiteY473" fmla="*/ 5661919 h 7308446"/>
              <a:gd name="connsiteX474" fmla="*/ 3649604 w 9012328"/>
              <a:gd name="connsiteY474" fmla="*/ 5629493 h 7308446"/>
              <a:gd name="connsiteX475" fmla="*/ 3630186 w 9012328"/>
              <a:gd name="connsiteY475" fmla="*/ 5594087 h 7308446"/>
              <a:gd name="connsiteX476" fmla="*/ 3613408 w 9012328"/>
              <a:gd name="connsiteY476" fmla="*/ 5555784 h 7308446"/>
              <a:gd name="connsiteX477" fmla="*/ 3599129 w 9012328"/>
              <a:gd name="connsiteY477" fmla="*/ 5514667 h 7308446"/>
              <a:gd name="connsiteX478" fmla="*/ 3587210 w 9012328"/>
              <a:gd name="connsiteY478" fmla="*/ 5470817 h 7308446"/>
              <a:gd name="connsiteX479" fmla="*/ 3577507 w 9012328"/>
              <a:gd name="connsiteY479" fmla="*/ 5424318 h 7308446"/>
              <a:gd name="connsiteX480" fmla="*/ 3569884 w 9012328"/>
              <a:gd name="connsiteY480" fmla="*/ 5375253 h 7308446"/>
              <a:gd name="connsiteX481" fmla="*/ 3564199 w 9012328"/>
              <a:gd name="connsiteY481" fmla="*/ 5323704 h 7308446"/>
              <a:gd name="connsiteX482" fmla="*/ 3560312 w 9012328"/>
              <a:gd name="connsiteY482" fmla="*/ 5269753 h 7308446"/>
              <a:gd name="connsiteX483" fmla="*/ 3558082 w 9012328"/>
              <a:gd name="connsiteY483" fmla="*/ 5213483 h 7308446"/>
              <a:gd name="connsiteX484" fmla="*/ 3557372 w 9012328"/>
              <a:gd name="connsiteY484" fmla="*/ 5154978 h 7308446"/>
              <a:gd name="connsiteX485" fmla="*/ 3558107 w 9012328"/>
              <a:gd name="connsiteY485" fmla="*/ 5096722 h 7308446"/>
              <a:gd name="connsiteX486" fmla="*/ 3560402 w 9012328"/>
              <a:gd name="connsiteY486" fmla="*/ 5040702 h 7308446"/>
              <a:gd name="connsiteX487" fmla="*/ 3564391 w 9012328"/>
              <a:gd name="connsiteY487" fmla="*/ 4986997 h 7308446"/>
              <a:gd name="connsiteX488" fmla="*/ 3570205 w 9012328"/>
              <a:gd name="connsiteY488" fmla="*/ 4935691 h 7308446"/>
              <a:gd name="connsiteX489" fmla="*/ 3577977 w 9012328"/>
              <a:gd name="connsiteY489" fmla="*/ 4886863 h 7308446"/>
              <a:gd name="connsiteX490" fmla="*/ 3587840 w 9012328"/>
              <a:gd name="connsiteY490" fmla="*/ 4840595 h 7308446"/>
              <a:gd name="connsiteX491" fmla="*/ 3599926 w 9012328"/>
              <a:gd name="connsiteY491" fmla="*/ 4796969 h 7308446"/>
              <a:gd name="connsiteX492" fmla="*/ 3614369 w 9012328"/>
              <a:gd name="connsiteY492" fmla="*/ 4756067 h 7308446"/>
              <a:gd name="connsiteX493" fmla="*/ 3631302 w 9012328"/>
              <a:gd name="connsiteY493" fmla="*/ 4717969 h 7308446"/>
              <a:gd name="connsiteX494" fmla="*/ 3650855 w 9012328"/>
              <a:gd name="connsiteY494" fmla="*/ 4682757 h 7308446"/>
              <a:gd name="connsiteX495" fmla="*/ 3673163 w 9012328"/>
              <a:gd name="connsiteY495" fmla="*/ 4650512 h 7308446"/>
              <a:gd name="connsiteX496" fmla="*/ 3698356 w 9012328"/>
              <a:gd name="connsiteY496" fmla="*/ 4621316 h 7308446"/>
              <a:gd name="connsiteX497" fmla="*/ 3726571 w 9012328"/>
              <a:gd name="connsiteY497" fmla="*/ 4595250 h 7308446"/>
              <a:gd name="connsiteX498" fmla="*/ 3757938 w 9012328"/>
              <a:gd name="connsiteY498" fmla="*/ 4572395 h 7308446"/>
              <a:gd name="connsiteX499" fmla="*/ 3792591 w 9012328"/>
              <a:gd name="connsiteY499" fmla="*/ 4552834 h 7308446"/>
              <a:gd name="connsiteX500" fmla="*/ 3830662 w 9012328"/>
              <a:gd name="connsiteY500" fmla="*/ 4536646 h 7308446"/>
              <a:gd name="connsiteX501" fmla="*/ 3872284 w 9012328"/>
              <a:gd name="connsiteY501" fmla="*/ 4523914 h 7308446"/>
              <a:gd name="connsiteX502" fmla="*/ 3917589 w 9012328"/>
              <a:gd name="connsiteY502" fmla="*/ 4514719 h 7308446"/>
              <a:gd name="connsiteX503" fmla="*/ 3966710 w 9012328"/>
              <a:gd name="connsiteY503" fmla="*/ 4509142 h 7308446"/>
              <a:gd name="connsiteX504" fmla="*/ 0 w 9012328"/>
              <a:gd name="connsiteY504" fmla="*/ 3876244 h 7308446"/>
              <a:gd name="connsiteX505" fmla="*/ 904792 w 9012328"/>
              <a:gd name="connsiteY505" fmla="*/ 3876244 h 7308446"/>
              <a:gd name="connsiteX506" fmla="*/ 904792 w 9012328"/>
              <a:gd name="connsiteY506" fmla="*/ 3983083 h 7308446"/>
              <a:gd name="connsiteX507" fmla="*/ 0 w 9012328"/>
              <a:gd name="connsiteY507" fmla="*/ 3983083 h 7308446"/>
              <a:gd name="connsiteX508" fmla="*/ 0 w 9012328"/>
              <a:gd name="connsiteY508" fmla="*/ 3527349 h 7308446"/>
              <a:gd name="connsiteX509" fmla="*/ 904792 w 9012328"/>
              <a:gd name="connsiteY509" fmla="*/ 3527349 h 7308446"/>
              <a:gd name="connsiteX510" fmla="*/ 904792 w 9012328"/>
              <a:gd name="connsiteY510" fmla="*/ 3634187 h 7308446"/>
              <a:gd name="connsiteX511" fmla="*/ 0 w 9012328"/>
              <a:gd name="connsiteY511" fmla="*/ 3634187 h 7308446"/>
              <a:gd name="connsiteX512" fmla="*/ 1599039 w 9012328"/>
              <a:gd name="connsiteY512" fmla="*/ 3011203 h 7308446"/>
              <a:gd name="connsiteX513" fmla="*/ 1972978 w 9012328"/>
              <a:gd name="connsiteY513" fmla="*/ 3011203 h 7308446"/>
              <a:gd name="connsiteX514" fmla="*/ 1972978 w 9012328"/>
              <a:gd name="connsiteY514" fmla="*/ 3106453 h 7308446"/>
              <a:gd name="connsiteX515" fmla="*/ 1972978 w 9012328"/>
              <a:gd name="connsiteY515" fmla="*/ 4205003 h 7308446"/>
              <a:gd name="connsiteX516" fmla="*/ 1972978 w 9012328"/>
              <a:gd name="connsiteY516" fmla="*/ 4300253 h 7308446"/>
              <a:gd name="connsiteX517" fmla="*/ 1599039 w 9012328"/>
              <a:gd name="connsiteY517" fmla="*/ 4300253 h 7308446"/>
              <a:gd name="connsiteX518" fmla="*/ 1599039 w 9012328"/>
              <a:gd name="connsiteY518" fmla="*/ 4205003 h 7308446"/>
              <a:gd name="connsiteX519" fmla="*/ 1857788 w 9012328"/>
              <a:gd name="connsiteY519" fmla="*/ 4205003 h 7308446"/>
              <a:gd name="connsiteX520" fmla="*/ 1857788 w 9012328"/>
              <a:gd name="connsiteY520" fmla="*/ 3106453 h 7308446"/>
              <a:gd name="connsiteX521" fmla="*/ 1599039 w 9012328"/>
              <a:gd name="connsiteY521" fmla="*/ 3106453 h 7308446"/>
              <a:gd name="connsiteX522" fmla="*/ 1125303 w 9012328"/>
              <a:gd name="connsiteY522" fmla="*/ 3011203 h 7308446"/>
              <a:gd name="connsiteX523" fmla="*/ 1499242 w 9012328"/>
              <a:gd name="connsiteY523" fmla="*/ 3011203 h 7308446"/>
              <a:gd name="connsiteX524" fmla="*/ 1499242 w 9012328"/>
              <a:gd name="connsiteY524" fmla="*/ 3106453 h 7308446"/>
              <a:gd name="connsiteX525" fmla="*/ 1240492 w 9012328"/>
              <a:gd name="connsiteY525" fmla="*/ 3106453 h 7308446"/>
              <a:gd name="connsiteX526" fmla="*/ 1240492 w 9012328"/>
              <a:gd name="connsiteY526" fmla="*/ 4205003 h 7308446"/>
              <a:gd name="connsiteX527" fmla="*/ 1499242 w 9012328"/>
              <a:gd name="connsiteY527" fmla="*/ 4205003 h 7308446"/>
              <a:gd name="connsiteX528" fmla="*/ 1499242 w 9012328"/>
              <a:gd name="connsiteY528" fmla="*/ 4300253 h 7308446"/>
              <a:gd name="connsiteX529" fmla="*/ 1125303 w 9012328"/>
              <a:gd name="connsiteY529" fmla="*/ 4300253 h 7308446"/>
              <a:gd name="connsiteX530" fmla="*/ 1125303 w 9012328"/>
              <a:gd name="connsiteY530" fmla="*/ 4205003 h 7308446"/>
              <a:gd name="connsiteX531" fmla="*/ 1125303 w 9012328"/>
              <a:gd name="connsiteY531" fmla="*/ 3106453 h 7308446"/>
              <a:gd name="connsiteX532" fmla="*/ 3600665 w 9012328"/>
              <a:gd name="connsiteY532" fmla="*/ 3004837 h 7308446"/>
              <a:gd name="connsiteX533" fmla="*/ 3653736 w 9012328"/>
              <a:gd name="connsiteY533" fmla="*/ 3006713 h 7308446"/>
              <a:gd name="connsiteX534" fmla="*/ 3702854 w 9012328"/>
              <a:gd name="connsiteY534" fmla="*/ 3012290 h 7308446"/>
              <a:gd name="connsiteX535" fmla="*/ 3748160 w 9012328"/>
              <a:gd name="connsiteY535" fmla="*/ 3021485 h 7308446"/>
              <a:gd name="connsiteX536" fmla="*/ 3789782 w 9012328"/>
              <a:gd name="connsiteY536" fmla="*/ 3034217 h 7308446"/>
              <a:gd name="connsiteX537" fmla="*/ 3827853 w 9012328"/>
              <a:gd name="connsiteY537" fmla="*/ 3050405 h 7308446"/>
              <a:gd name="connsiteX538" fmla="*/ 3862506 w 9012328"/>
              <a:gd name="connsiteY538" fmla="*/ 3069966 h 7308446"/>
              <a:gd name="connsiteX539" fmla="*/ 3893873 w 9012328"/>
              <a:gd name="connsiteY539" fmla="*/ 3092821 h 7308446"/>
              <a:gd name="connsiteX540" fmla="*/ 3922088 w 9012328"/>
              <a:gd name="connsiteY540" fmla="*/ 3118887 h 7308446"/>
              <a:gd name="connsiteX541" fmla="*/ 3947284 w 9012328"/>
              <a:gd name="connsiteY541" fmla="*/ 3148083 h 7308446"/>
              <a:gd name="connsiteX542" fmla="*/ 3969592 w 9012328"/>
              <a:gd name="connsiteY542" fmla="*/ 3180328 h 7308446"/>
              <a:gd name="connsiteX543" fmla="*/ 3989145 w 9012328"/>
              <a:gd name="connsiteY543" fmla="*/ 3215540 h 7308446"/>
              <a:gd name="connsiteX544" fmla="*/ 4006077 w 9012328"/>
              <a:gd name="connsiteY544" fmla="*/ 3253638 h 7308446"/>
              <a:gd name="connsiteX545" fmla="*/ 4020520 w 9012328"/>
              <a:gd name="connsiteY545" fmla="*/ 3294540 h 7308446"/>
              <a:gd name="connsiteX546" fmla="*/ 4032607 w 9012328"/>
              <a:gd name="connsiteY546" fmla="*/ 3338166 h 7308446"/>
              <a:gd name="connsiteX547" fmla="*/ 4042470 w 9012328"/>
              <a:gd name="connsiteY547" fmla="*/ 3384433 h 7308446"/>
              <a:gd name="connsiteX548" fmla="*/ 4050242 w 9012328"/>
              <a:gd name="connsiteY548" fmla="*/ 3433261 h 7308446"/>
              <a:gd name="connsiteX549" fmla="*/ 4056056 w 9012328"/>
              <a:gd name="connsiteY549" fmla="*/ 3484567 h 7308446"/>
              <a:gd name="connsiteX550" fmla="*/ 4060044 w 9012328"/>
              <a:gd name="connsiteY550" fmla="*/ 3538272 h 7308446"/>
              <a:gd name="connsiteX551" fmla="*/ 4062340 w 9012328"/>
              <a:gd name="connsiteY551" fmla="*/ 3594292 h 7308446"/>
              <a:gd name="connsiteX552" fmla="*/ 4063076 w 9012328"/>
              <a:gd name="connsiteY552" fmla="*/ 3652548 h 7308446"/>
              <a:gd name="connsiteX553" fmla="*/ 4062376 w 9012328"/>
              <a:gd name="connsiteY553" fmla="*/ 3711053 h 7308446"/>
              <a:gd name="connsiteX554" fmla="*/ 4060179 w 9012328"/>
              <a:gd name="connsiteY554" fmla="*/ 3767323 h 7308446"/>
              <a:gd name="connsiteX555" fmla="*/ 4056343 w 9012328"/>
              <a:gd name="connsiteY555" fmla="*/ 3821273 h 7308446"/>
              <a:gd name="connsiteX556" fmla="*/ 4050722 w 9012328"/>
              <a:gd name="connsiteY556" fmla="*/ 3872823 h 7308446"/>
              <a:gd name="connsiteX557" fmla="*/ 4043174 w 9012328"/>
              <a:gd name="connsiteY557" fmla="*/ 3921888 h 7308446"/>
              <a:gd name="connsiteX558" fmla="*/ 4033553 w 9012328"/>
              <a:gd name="connsiteY558" fmla="*/ 3968387 h 7308446"/>
              <a:gd name="connsiteX559" fmla="*/ 4021716 w 9012328"/>
              <a:gd name="connsiteY559" fmla="*/ 4012236 h 7308446"/>
              <a:gd name="connsiteX560" fmla="*/ 4007519 w 9012328"/>
              <a:gd name="connsiteY560" fmla="*/ 4053354 h 7308446"/>
              <a:gd name="connsiteX561" fmla="*/ 3990818 w 9012328"/>
              <a:gd name="connsiteY561" fmla="*/ 4091657 h 7308446"/>
              <a:gd name="connsiteX562" fmla="*/ 3971469 w 9012328"/>
              <a:gd name="connsiteY562" fmla="*/ 4127063 h 7308446"/>
              <a:gd name="connsiteX563" fmla="*/ 3949328 w 9012328"/>
              <a:gd name="connsiteY563" fmla="*/ 4159489 h 7308446"/>
              <a:gd name="connsiteX564" fmla="*/ 3924252 w 9012328"/>
              <a:gd name="connsiteY564" fmla="*/ 4188852 h 7308446"/>
              <a:gd name="connsiteX565" fmla="*/ 3896095 w 9012328"/>
              <a:gd name="connsiteY565" fmla="*/ 4215071 h 7308446"/>
              <a:gd name="connsiteX566" fmla="*/ 3864714 w 9012328"/>
              <a:gd name="connsiteY566" fmla="*/ 4238061 h 7308446"/>
              <a:gd name="connsiteX567" fmla="*/ 3829965 w 9012328"/>
              <a:gd name="connsiteY567" fmla="*/ 4257742 h 7308446"/>
              <a:gd name="connsiteX568" fmla="*/ 3791705 w 9012328"/>
              <a:gd name="connsiteY568" fmla="*/ 4274029 h 7308446"/>
              <a:gd name="connsiteX569" fmla="*/ 3749788 w 9012328"/>
              <a:gd name="connsiteY569" fmla="*/ 4286841 h 7308446"/>
              <a:gd name="connsiteX570" fmla="*/ 3704071 w 9012328"/>
              <a:gd name="connsiteY570" fmla="*/ 4296095 h 7308446"/>
              <a:gd name="connsiteX571" fmla="*/ 3654414 w 9012328"/>
              <a:gd name="connsiteY571" fmla="*/ 4301708 h 7308446"/>
              <a:gd name="connsiteX572" fmla="*/ 3600665 w 9012328"/>
              <a:gd name="connsiteY572" fmla="*/ 4303597 h 7308446"/>
              <a:gd name="connsiteX573" fmla="*/ 3600665 w 9012328"/>
              <a:gd name="connsiteY573" fmla="*/ 4206775 h 7308446"/>
              <a:gd name="connsiteX574" fmla="*/ 3650351 w 9012328"/>
              <a:gd name="connsiteY574" fmla="*/ 4204542 h 7308446"/>
              <a:gd name="connsiteX575" fmla="*/ 3695268 w 9012328"/>
              <a:gd name="connsiteY575" fmla="*/ 4197921 h 7308446"/>
              <a:gd name="connsiteX576" fmla="*/ 3735652 w 9012328"/>
              <a:gd name="connsiteY576" fmla="*/ 4187032 h 7308446"/>
              <a:gd name="connsiteX577" fmla="*/ 3771723 w 9012328"/>
              <a:gd name="connsiteY577" fmla="*/ 4171992 h 7308446"/>
              <a:gd name="connsiteX578" fmla="*/ 3831834 w 9012328"/>
              <a:gd name="connsiteY578" fmla="*/ 4129932 h 7308446"/>
              <a:gd name="connsiteX579" fmla="*/ 3877413 w 9012328"/>
              <a:gd name="connsiteY579" fmla="*/ 4072688 h 7308446"/>
              <a:gd name="connsiteX580" fmla="*/ 3895319 w 9012328"/>
              <a:gd name="connsiteY580" fmla="*/ 4038667 h 7308446"/>
              <a:gd name="connsiteX581" fmla="*/ 3910271 w 9012328"/>
              <a:gd name="connsiteY581" fmla="*/ 4001206 h 7308446"/>
              <a:gd name="connsiteX582" fmla="*/ 3922495 w 9012328"/>
              <a:gd name="connsiteY582" fmla="*/ 3960421 h 7308446"/>
              <a:gd name="connsiteX583" fmla="*/ 3932218 w 9012328"/>
              <a:gd name="connsiteY583" fmla="*/ 3916431 h 7308446"/>
              <a:gd name="connsiteX584" fmla="*/ 3939665 w 9012328"/>
              <a:gd name="connsiteY584" fmla="*/ 3869354 h 7308446"/>
              <a:gd name="connsiteX585" fmla="*/ 3945064 w 9012328"/>
              <a:gd name="connsiteY585" fmla="*/ 3819310 h 7308446"/>
              <a:gd name="connsiteX586" fmla="*/ 3948640 w 9012328"/>
              <a:gd name="connsiteY586" fmla="*/ 3766415 h 7308446"/>
              <a:gd name="connsiteX587" fmla="*/ 3950619 w 9012328"/>
              <a:gd name="connsiteY587" fmla="*/ 3710788 h 7308446"/>
              <a:gd name="connsiteX588" fmla="*/ 3951229 w 9012328"/>
              <a:gd name="connsiteY588" fmla="*/ 3652548 h 7308446"/>
              <a:gd name="connsiteX589" fmla="*/ 3950587 w 9012328"/>
              <a:gd name="connsiteY589" fmla="*/ 3594879 h 7308446"/>
              <a:gd name="connsiteX590" fmla="*/ 3948517 w 9012328"/>
              <a:gd name="connsiteY590" fmla="*/ 3539790 h 7308446"/>
              <a:gd name="connsiteX591" fmla="*/ 3944807 w 9012328"/>
              <a:gd name="connsiteY591" fmla="*/ 3487397 h 7308446"/>
              <a:gd name="connsiteX592" fmla="*/ 3939241 w 9012328"/>
              <a:gd name="connsiteY592" fmla="*/ 3437821 h 7308446"/>
              <a:gd name="connsiteX593" fmla="*/ 3931606 w 9012328"/>
              <a:gd name="connsiteY593" fmla="*/ 3391177 h 7308446"/>
              <a:gd name="connsiteX594" fmla="*/ 3921688 w 9012328"/>
              <a:gd name="connsiteY594" fmla="*/ 3347586 h 7308446"/>
              <a:gd name="connsiteX595" fmla="*/ 3909272 w 9012328"/>
              <a:gd name="connsiteY595" fmla="*/ 3307165 h 7308446"/>
              <a:gd name="connsiteX596" fmla="*/ 3894145 w 9012328"/>
              <a:gd name="connsiteY596" fmla="*/ 3270033 h 7308446"/>
              <a:gd name="connsiteX597" fmla="*/ 3876092 w 9012328"/>
              <a:gd name="connsiteY597" fmla="*/ 3236307 h 7308446"/>
              <a:gd name="connsiteX598" fmla="*/ 3830354 w 9012328"/>
              <a:gd name="connsiteY598" fmla="*/ 3179548 h 7308446"/>
              <a:gd name="connsiteX599" fmla="*/ 3770345 w 9012328"/>
              <a:gd name="connsiteY599" fmla="*/ 3137835 h 7308446"/>
              <a:gd name="connsiteX600" fmla="*/ 3734453 w 9012328"/>
              <a:gd name="connsiteY600" fmla="*/ 3122916 h 7308446"/>
              <a:gd name="connsiteX601" fmla="*/ 3694351 w 9012328"/>
              <a:gd name="connsiteY601" fmla="*/ 3112113 h 7308446"/>
              <a:gd name="connsiteX602" fmla="*/ 3649829 w 9012328"/>
              <a:gd name="connsiteY602" fmla="*/ 3105545 h 7308446"/>
              <a:gd name="connsiteX603" fmla="*/ 3600665 w 9012328"/>
              <a:gd name="connsiteY603" fmla="*/ 3103329 h 7308446"/>
              <a:gd name="connsiteX604" fmla="*/ 3508797 w 9012328"/>
              <a:gd name="connsiteY604" fmla="*/ 3004837 h 7308446"/>
              <a:gd name="connsiteX605" fmla="*/ 3508797 w 9012328"/>
              <a:gd name="connsiteY605" fmla="*/ 3103329 h 7308446"/>
              <a:gd name="connsiteX606" fmla="*/ 3459910 w 9012328"/>
              <a:gd name="connsiteY606" fmla="*/ 3105545 h 7308446"/>
              <a:gd name="connsiteX607" fmla="*/ 3415630 w 9012328"/>
              <a:gd name="connsiteY607" fmla="*/ 3112113 h 7308446"/>
              <a:gd name="connsiteX608" fmla="*/ 3375743 w 9012328"/>
              <a:gd name="connsiteY608" fmla="*/ 3122916 h 7308446"/>
              <a:gd name="connsiteX609" fmla="*/ 3340039 w 9012328"/>
              <a:gd name="connsiteY609" fmla="*/ 3137835 h 7308446"/>
              <a:gd name="connsiteX610" fmla="*/ 3280323 w 9012328"/>
              <a:gd name="connsiteY610" fmla="*/ 3179548 h 7308446"/>
              <a:gd name="connsiteX611" fmla="*/ 3234789 w 9012328"/>
              <a:gd name="connsiteY611" fmla="*/ 3236307 h 7308446"/>
              <a:gd name="connsiteX612" fmla="*/ 3216810 w 9012328"/>
              <a:gd name="connsiteY612" fmla="*/ 3270033 h 7308446"/>
              <a:gd name="connsiteX613" fmla="*/ 3201740 w 9012328"/>
              <a:gd name="connsiteY613" fmla="*/ 3307165 h 7308446"/>
              <a:gd name="connsiteX614" fmla="*/ 3189368 w 9012328"/>
              <a:gd name="connsiteY614" fmla="*/ 3347586 h 7308446"/>
              <a:gd name="connsiteX615" fmla="*/ 3179480 w 9012328"/>
              <a:gd name="connsiteY615" fmla="*/ 3391177 h 7308446"/>
              <a:gd name="connsiteX616" fmla="*/ 3171865 w 9012328"/>
              <a:gd name="connsiteY616" fmla="*/ 3437821 h 7308446"/>
              <a:gd name="connsiteX617" fmla="*/ 3166313 w 9012328"/>
              <a:gd name="connsiteY617" fmla="*/ 3487397 h 7308446"/>
              <a:gd name="connsiteX618" fmla="*/ 3162609 w 9012328"/>
              <a:gd name="connsiteY618" fmla="*/ 3539790 h 7308446"/>
              <a:gd name="connsiteX619" fmla="*/ 3160541 w 9012328"/>
              <a:gd name="connsiteY619" fmla="*/ 3594879 h 7308446"/>
              <a:gd name="connsiteX620" fmla="*/ 3159899 w 9012328"/>
              <a:gd name="connsiteY620" fmla="*/ 3652548 h 7308446"/>
              <a:gd name="connsiteX621" fmla="*/ 3160527 w 9012328"/>
              <a:gd name="connsiteY621" fmla="*/ 3710788 h 7308446"/>
              <a:gd name="connsiteX622" fmla="*/ 3162547 w 9012328"/>
              <a:gd name="connsiteY622" fmla="*/ 3766415 h 7308446"/>
              <a:gd name="connsiteX623" fmla="*/ 3166185 w 9012328"/>
              <a:gd name="connsiteY623" fmla="*/ 3819310 h 7308446"/>
              <a:gd name="connsiteX624" fmla="*/ 3171653 w 9012328"/>
              <a:gd name="connsiteY624" fmla="*/ 3869354 h 7308446"/>
              <a:gd name="connsiteX625" fmla="*/ 3179175 w 9012328"/>
              <a:gd name="connsiteY625" fmla="*/ 3916431 h 7308446"/>
              <a:gd name="connsiteX626" fmla="*/ 3188965 w 9012328"/>
              <a:gd name="connsiteY626" fmla="*/ 3960421 h 7308446"/>
              <a:gd name="connsiteX627" fmla="*/ 3201241 w 9012328"/>
              <a:gd name="connsiteY627" fmla="*/ 4001206 h 7308446"/>
              <a:gd name="connsiteX628" fmla="*/ 3216223 w 9012328"/>
              <a:gd name="connsiteY628" fmla="*/ 4038667 h 7308446"/>
              <a:gd name="connsiteX629" fmla="*/ 3234129 w 9012328"/>
              <a:gd name="connsiteY629" fmla="*/ 4072688 h 7308446"/>
              <a:gd name="connsiteX630" fmla="*/ 3279582 w 9012328"/>
              <a:gd name="connsiteY630" fmla="*/ 4129932 h 7308446"/>
              <a:gd name="connsiteX631" fmla="*/ 3339348 w 9012328"/>
              <a:gd name="connsiteY631" fmla="*/ 4171992 h 7308446"/>
              <a:gd name="connsiteX632" fmla="*/ 3375143 w 9012328"/>
              <a:gd name="connsiteY632" fmla="*/ 4187032 h 7308446"/>
              <a:gd name="connsiteX633" fmla="*/ 3415171 w 9012328"/>
              <a:gd name="connsiteY633" fmla="*/ 4197921 h 7308446"/>
              <a:gd name="connsiteX634" fmla="*/ 3459650 w 9012328"/>
              <a:gd name="connsiteY634" fmla="*/ 4204542 h 7308446"/>
              <a:gd name="connsiteX635" fmla="*/ 3508797 w 9012328"/>
              <a:gd name="connsiteY635" fmla="*/ 4206775 h 7308446"/>
              <a:gd name="connsiteX636" fmla="*/ 3508797 w 9012328"/>
              <a:gd name="connsiteY636" fmla="*/ 4303597 h 7308446"/>
              <a:gd name="connsiteX637" fmla="*/ 3455275 w 9012328"/>
              <a:gd name="connsiteY637" fmla="*/ 4301708 h 7308446"/>
              <a:gd name="connsiteX638" fmla="*/ 3405793 w 9012328"/>
              <a:gd name="connsiteY638" fmla="*/ 4296095 h 7308446"/>
              <a:gd name="connsiteX639" fmla="*/ 3360214 w 9012328"/>
              <a:gd name="connsiteY639" fmla="*/ 4286841 h 7308446"/>
              <a:gd name="connsiteX640" fmla="*/ 3318395 w 9012328"/>
              <a:gd name="connsiteY640" fmla="*/ 4274029 h 7308446"/>
              <a:gd name="connsiteX641" fmla="*/ 3280198 w 9012328"/>
              <a:gd name="connsiteY641" fmla="*/ 4257742 h 7308446"/>
              <a:gd name="connsiteX642" fmla="*/ 3245481 w 9012328"/>
              <a:gd name="connsiteY642" fmla="*/ 4238061 h 7308446"/>
              <a:gd name="connsiteX643" fmla="*/ 3214105 w 9012328"/>
              <a:gd name="connsiteY643" fmla="*/ 4215071 h 7308446"/>
              <a:gd name="connsiteX644" fmla="*/ 3185929 w 9012328"/>
              <a:gd name="connsiteY644" fmla="*/ 4188852 h 7308446"/>
              <a:gd name="connsiteX645" fmla="*/ 3160812 w 9012328"/>
              <a:gd name="connsiteY645" fmla="*/ 4159489 h 7308446"/>
              <a:gd name="connsiteX646" fmla="*/ 3138616 w 9012328"/>
              <a:gd name="connsiteY646" fmla="*/ 4127063 h 7308446"/>
              <a:gd name="connsiteX647" fmla="*/ 3119198 w 9012328"/>
              <a:gd name="connsiteY647" fmla="*/ 4091657 h 7308446"/>
              <a:gd name="connsiteX648" fmla="*/ 3102421 w 9012328"/>
              <a:gd name="connsiteY648" fmla="*/ 4053354 h 7308446"/>
              <a:gd name="connsiteX649" fmla="*/ 3088141 w 9012328"/>
              <a:gd name="connsiteY649" fmla="*/ 4012236 h 7308446"/>
              <a:gd name="connsiteX650" fmla="*/ 3076222 w 9012328"/>
              <a:gd name="connsiteY650" fmla="*/ 3968387 h 7308446"/>
              <a:gd name="connsiteX651" fmla="*/ 3066519 w 9012328"/>
              <a:gd name="connsiteY651" fmla="*/ 3921888 h 7308446"/>
              <a:gd name="connsiteX652" fmla="*/ 3058896 w 9012328"/>
              <a:gd name="connsiteY652" fmla="*/ 3872823 h 7308446"/>
              <a:gd name="connsiteX653" fmla="*/ 3053212 w 9012328"/>
              <a:gd name="connsiteY653" fmla="*/ 3821273 h 7308446"/>
              <a:gd name="connsiteX654" fmla="*/ 3049324 w 9012328"/>
              <a:gd name="connsiteY654" fmla="*/ 3767323 h 7308446"/>
              <a:gd name="connsiteX655" fmla="*/ 3047094 w 9012328"/>
              <a:gd name="connsiteY655" fmla="*/ 3711053 h 7308446"/>
              <a:gd name="connsiteX656" fmla="*/ 3046384 w 9012328"/>
              <a:gd name="connsiteY656" fmla="*/ 3652548 h 7308446"/>
              <a:gd name="connsiteX657" fmla="*/ 3047118 w 9012328"/>
              <a:gd name="connsiteY657" fmla="*/ 3594292 h 7308446"/>
              <a:gd name="connsiteX658" fmla="*/ 3049414 w 9012328"/>
              <a:gd name="connsiteY658" fmla="*/ 3538272 h 7308446"/>
              <a:gd name="connsiteX659" fmla="*/ 3053403 w 9012328"/>
              <a:gd name="connsiteY659" fmla="*/ 3484567 h 7308446"/>
              <a:gd name="connsiteX660" fmla="*/ 3059217 w 9012328"/>
              <a:gd name="connsiteY660" fmla="*/ 3433261 h 7308446"/>
              <a:gd name="connsiteX661" fmla="*/ 3066990 w 9012328"/>
              <a:gd name="connsiteY661" fmla="*/ 3384433 h 7308446"/>
              <a:gd name="connsiteX662" fmla="*/ 3076852 w 9012328"/>
              <a:gd name="connsiteY662" fmla="*/ 3338166 h 7308446"/>
              <a:gd name="connsiteX663" fmla="*/ 3088939 w 9012328"/>
              <a:gd name="connsiteY663" fmla="*/ 3294540 h 7308446"/>
              <a:gd name="connsiteX664" fmla="*/ 3103381 w 9012328"/>
              <a:gd name="connsiteY664" fmla="*/ 3253638 h 7308446"/>
              <a:gd name="connsiteX665" fmla="*/ 3120314 w 9012328"/>
              <a:gd name="connsiteY665" fmla="*/ 3215540 h 7308446"/>
              <a:gd name="connsiteX666" fmla="*/ 3139867 w 9012328"/>
              <a:gd name="connsiteY666" fmla="*/ 3180328 h 7308446"/>
              <a:gd name="connsiteX667" fmla="*/ 3162174 w 9012328"/>
              <a:gd name="connsiteY667" fmla="*/ 3148083 h 7308446"/>
              <a:gd name="connsiteX668" fmla="*/ 3187372 w 9012328"/>
              <a:gd name="connsiteY668" fmla="*/ 3118887 h 7308446"/>
              <a:gd name="connsiteX669" fmla="*/ 3215586 w 9012328"/>
              <a:gd name="connsiteY669" fmla="*/ 3092821 h 7308446"/>
              <a:gd name="connsiteX670" fmla="*/ 3246953 w 9012328"/>
              <a:gd name="connsiteY670" fmla="*/ 3069966 h 7308446"/>
              <a:gd name="connsiteX671" fmla="*/ 3281606 w 9012328"/>
              <a:gd name="connsiteY671" fmla="*/ 3050405 h 7308446"/>
              <a:gd name="connsiteX672" fmla="*/ 3319678 w 9012328"/>
              <a:gd name="connsiteY672" fmla="*/ 3034217 h 7308446"/>
              <a:gd name="connsiteX673" fmla="*/ 3361299 w 9012328"/>
              <a:gd name="connsiteY673" fmla="*/ 3021485 h 7308446"/>
              <a:gd name="connsiteX674" fmla="*/ 3406605 w 9012328"/>
              <a:gd name="connsiteY674" fmla="*/ 3012290 h 7308446"/>
              <a:gd name="connsiteX675" fmla="*/ 3455726 w 9012328"/>
              <a:gd name="connsiteY675" fmla="*/ 3006713 h 7308446"/>
              <a:gd name="connsiteX676" fmla="*/ 3637118 w 9012328"/>
              <a:gd name="connsiteY676" fmla="*/ 2373826 h 7308446"/>
              <a:gd name="connsiteX677" fmla="*/ 4541909 w 9012328"/>
              <a:gd name="connsiteY677" fmla="*/ 2373826 h 7308446"/>
              <a:gd name="connsiteX678" fmla="*/ 4541909 w 9012328"/>
              <a:gd name="connsiteY678" fmla="*/ 2480664 h 7308446"/>
              <a:gd name="connsiteX679" fmla="*/ 3637118 w 9012328"/>
              <a:gd name="connsiteY679" fmla="*/ 2480664 h 7308446"/>
              <a:gd name="connsiteX680" fmla="*/ 2550201 w 9012328"/>
              <a:gd name="connsiteY680" fmla="*/ 2373826 h 7308446"/>
              <a:gd name="connsiteX681" fmla="*/ 3454993 w 9012328"/>
              <a:gd name="connsiteY681" fmla="*/ 2373826 h 7308446"/>
              <a:gd name="connsiteX682" fmla="*/ 3454993 w 9012328"/>
              <a:gd name="connsiteY682" fmla="*/ 2480664 h 7308446"/>
              <a:gd name="connsiteX683" fmla="*/ 2550201 w 9012328"/>
              <a:gd name="connsiteY683" fmla="*/ 2480664 h 7308446"/>
              <a:gd name="connsiteX684" fmla="*/ 3637119 w 9012328"/>
              <a:gd name="connsiteY684" fmla="*/ 2024930 h 7308446"/>
              <a:gd name="connsiteX685" fmla="*/ 4541909 w 9012328"/>
              <a:gd name="connsiteY685" fmla="*/ 2024930 h 7308446"/>
              <a:gd name="connsiteX686" fmla="*/ 4541909 w 9012328"/>
              <a:gd name="connsiteY686" fmla="*/ 2131769 h 7308446"/>
              <a:gd name="connsiteX687" fmla="*/ 3637119 w 9012328"/>
              <a:gd name="connsiteY687" fmla="*/ 2131769 h 7308446"/>
              <a:gd name="connsiteX688" fmla="*/ 2550201 w 9012328"/>
              <a:gd name="connsiteY688" fmla="*/ 2024930 h 7308446"/>
              <a:gd name="connsiteX689" fmla="*/ 3454993 w 9012328"/>
              <a:gd name="connsiteY689" fmla="*/ 2024930 h 7308446"/>
              <a:gd name="connsiteX690" fmla="*/ 3454993 w 9012328"/>
              <a:gd name="connsiteY690" fmla="*/ 2131769 h 7308446"/>
              <a:gd name="connsiteX691" fmla="*/ 2550201 w 9012328"/>
              <a:gd name="connsiteY691" fmla="*/ 2131769 h 7308446"/>
              <a:gd name="connsiteX692" fmla="*/ 6133380 w 9012328"/>
              <a:gd name="connsiteY692" fmla="*/ 1502419 h 7308446"/>
              <a:gd name="connsiteX693" fmla="*/ 6186450 w 9012328"/>
              <a:gd name="connsiteY693" fmla="*/ 1504296 h 7308446"/>
              <a:gd name="connsiteX694" fmla="*/ 6235571 w 9012328"/>
              <a:gd name="connsiteY694" fmla="*/ 1509872 h 7308446"/>
              <a:gd name="connsiteX695" fmla="*/ 6280876 w 9012328"/>
              <a:gd name="connsiteY695" fmla="*/ 1519068 h 7308446"/>
              <a:gd name="connsiteX696" fmla="*/ 6322498 w 9012328"/>
              <a:gd name="connsiteY696" fmla="*/ 1531799 h 7308446"/>
              <a:gd name="connsiteX697" fmla="*/ 6360569 w 9012328"/>
              <a:gd name="connsiteY697" fmla="*/ 1547987 h 7308446"/>
              <a:gd name="connsiteX698" fmla="*/ 6395222 w 9012328"/>
              <a:gd name="connsiteY698" fmla="*/ 1567548 h 7308446"/>
              <a:gd name="connsiteX699" fmla="*/ 6426589 w 9012328"/>
              <a:gd name="connsiteY699" fmla="*/ 1590403 h 7308446"/>
              <a:gd name="connsiteX700" fmla="*/ 6454804 w 9012328"/>
              <a:gd name="connsiteY700" fmla="*/ 1616469 h 7308446"/>
              <a:gd name="connsiteX701" fmla="*/ 6480000 w 9012328"/>
              <a:gd name="connsiteY701" fmla="*/ 1645665 h 7308446"/>
              <a:gd name="connsiteX702" fmla="*/ 6502308 w 9012328"/>
              <a:gd name="connsiteY702" fmla="*/ 1677910 h 7308446"/>
              <a:gd name="connsiteX703" fmla="*/ 6521861 w 9012328"/>
              <a:gd name="connsiteY703" fmla="*/ 1713122 h 7308446"/>
              <a:gd name="connsiteX704" fmla="*/ 6538793 w 9012328"/>
              <a:gd name="connsiteY704" fmla="*/ 1751221 h 7308446"/>
              <a:gd name="connsiteX705" fmla="*/ 6553236 w 9012328"/>
              <a:gd name="connsiteY705" fmla="*/ 1792122 h 7308446"/>
              <a:gd name="connsiteX706" fmla="*/ 6565323 w 9012328"/>
              <a:gd name="connsiteY706" fmla="*/ 1835748 h 7308446"/>
              <a:gd name="connsiteX707" fmla="*/ 6575186 w 9012328"/>
              <a:gd name="connsiteY707" fmla="*/ 1882015 h 7308446"/>
              <a:gd name="connsiteX708" fmla="*/ 6582958 w 9012328"/>
              <a:gd name="connsiteY708" fmla="*/ 1930843 h 7308446"/>
              <a:gd name="connsiteX709" fmla="*/ 6588772 w 9012328"/>
              <a:gd name="connsiteY709" fmla="*/ 1982149 h 7308446"/>
              <a:gd name="connsiteX710" fmla="*/ 6592760 w 9012328"/>
              <a:gd name="connsiteY710" fmla="*/ 2035854 h 7308446"/>
              <a:gd name="connsiteX711" fmla="*/ 6595056 w 9012328"/>
              <a:gd name="connsiteY711" fmla="*/ 2091874 h 7308446"/>
              <a:gd name="connsiteX712" fmla="*/ 6595792 w 9012328"/>
              <a:gd name="connsiteY712" fmla="*/ 2150130 h 7308446"/>
              <a:gd name="connsiteX713" fmla="*/ 6595092 w 9012328"/>
              <a:gd name="connsiteY713" fmla="*/ 2208635 h 7308446"/>
              <a:gd name="connsiteX714" fmla="*/ 6592895 w 9012328"/>
              <a:gd name="connsiteY714" fmla="*/ 2264905 h 7308446"/>
              <a:gd name="connsiteX715" fmla="*/ 6589059 w 9012328"/>
              <a:gd name="connsiteY715" fmla="*/ 2318855 h 7308446"/>
              <a:gd name="connsiteX716" fmla="*/ 6583438 w 9012328"/>
              <a:gd name="connsiteY716" fmla="*/ 2370405 h 7308446"/>
              <a:gd name="connsiteX717" fmla="*/ 6575890 w 9012328"/>
              <a:gd name="connsiteY717" fmla="*/ 2419470 h 7308446"/>
              <a:gd name="connsiteX718" fmla="*/ 6566269 w 9012328"/>
              <a:gd name="connsiteY718" fmla="*/ 2465969 h 7308446"/>
              <a:gd name="connsiteX719" fmla="*/ 6554432 w 9012328"/>
              <a:gd name="connsiteY719" fmla="*/ 2509818 h 7308446"/>
              <a:gd name="connsiteX720" fmla="*/ 6540235 w 9012328"/>
              <a:gd name="connsiteY720" fmla="*/ 2550936 h 7308446"/>
              <a:gd name="connsiteX721" fmla="*/ 6523535 w 9012328"/>
              <a:gd name="connsiteY721" fmla="*/ 2589239 h 7308446"/>
              <a:gd name="connsiteX722" fmla="*/ 6504186 w 9012328"/>
              <a:gd name="connsiteY722" fmla="*/ 2624645 h 7308446"/>
              <a:gd name="connsiteX723" fmla="*/ 6482045 w 9012328"/>
              <a:gd name="connsiteY723" fmla="*/ 2657071 h 7308446"/>
              <a:gd name="connsiteX724" fmla="*/ 6456968 w 9012328"/>
              <a:gd name="connsiteY724" fmla="*/ 2686434 h 7308446"/>
              <a:gd name="connsiteX725" fmla="*/ 6428811 w 9012328"/>
              <a:gd name="connsiteY725" fmla="*/ 2712653 h 7308446"/>
              <a:gd name="connsiteX726" fmla="*/ 6397430 w 9012328"/>
              <a:gd name="connsiteY726" fmla="*/ 2735643 h 7308446"/>
              <a:gd name="connsiteX727" fmla="*/ 6362682 w 9012328"/>
              <a:gd name="connsiteY727" fmla="*/ 2755324 h 7308446"/>
              <a:gd name="connsiteX728" fmla="*/ 6324421 w 9012328"/>
              <a:gd name="connsiteY728" fmla="*/ 2771611 h 7308446"/>
              <a:gd name="connsiteX729" fmla="*/ 6282504 w 9012328"/>
              <a:gd name="connsiteY729" fmla="*/ 2784423 h 7308446"/>
              <a:gd name="connsiteX730" fmla="*/ 6236788 w 9012328"/>
              <a:gd name="connsiteY730" fmla="*/ 2793677 h 7308446"/>
              <a:gd name="connsiteX731" fmla="*/ 6187128 w 9012328"/>
              <a:gd name="connsiteY731" fmla="*/ 2799290 h 7308446"/>
              <a:gd name="connsiteX732" fmla="*/ 6133380 w 9012328"/>
              <a:gd name="connsiteY732" fmla="*/ 2801179 h 7308446"/>
              <a:gd name="connsiteX733" fmla="*/ 6133380 w 9012328"/>
              <a:gd name="connsiteY733" fmla="*/ 2704356 h 7308446"/>
              <a:gd name="connsiteX734" fmla="*/ 6183065 w 9012328"/>
              <a:gd name="connsiteY734" fmla="*/ 2702123 h 7308446"/>
              <a:gd name="connsiteX735" fmla="*/ 6227986 w 9012328"/>
              <a:gd name="connsiteY735" fmla="*/ 2695502 h 7308446"/>
              <a:gd name="connsiteX736" fmla="*/ 6268368 w 9012328"/>
              <a:gd name="connsiteY736" fmla="*/ 2684613 h 7308446"/>
              <a:gd name="connsiteX737" fmla="*/ 6304439 w 9012328"/>
              <a:gd name="connsiteY737" fmla="*/ 2669573 h 7308446"/>
              <a:gd name="connsiteX738" fmla="*/ 6364550 w 9012328"/>
              <a:gd name="connsiteY738" fmla="*/ 2627513 h 7308446"/>
              <a:gd name="connsiteX739" fmla="*/ 6410130 w 9012328"/>
              <a:gd name="connsiteY739" fmla="*/ 2570269 h 7308446"/>
              <a:gd name="connsiteX740" fmla="*/ 6428035 w 9012328"/>
              <a:gd name="connsiteY740" fmla="*/ 2536249 h 7308446"/>
              <a:gd name="connsiteX741" fmla="*/ 6442987 w 9012328"/>
              <a:gd name="connsiteY741" fmla="*/ 2498787 h 7308446"/>
              <a:gd name="connsiteX742" fmla="*/ 6455211 w 9012328"/>
              <a:gd name="connsiteY742" fmla="*/ 2458002 h 7308446"/>
              <a:gd name="connsiteX743" fmla="*/ 6464934 w 9012328"/>
              <a:gd name="connsiteY743" fmla="*/ 2414012 h 7308446"/>
              <a:gd name="connsiteX744" fmla="*/ 6472381 w 9012328"/>
              <a:gd name="connsiteY744" fmla="*/ 2366936 h 7308446"/>
              <a:gd name="connsiteX745" fmla="*/ 6477780 w 9012328"/>
              <a:gd name="connsiteY745" fmla="*/ 2316891 h 7308446"/>
              <a:gd name="connsiteX746" fmla="*/ 6481356 w 9012328"/>
              <a:gd name="connsiteY746" fmla="*/ 2263996 h 7308446"/>
              <a:gd name="connsiteX747" fmla="*/ 6483335 w 9012328"/>
              <a:gd name="connsiteY747" fmla="*/ 2208370 h 7308446"/>
              <a:gd name="connsiteX748" fmla="*/ 6483945 w 9012328"/>
              <a:gd name="connsiteY748" fmla="*/ 2150130 h 7308446"/>
              <a:gd name="connsiteX749" fmla="*/ 6483303 w 9012328"/>
              <a:gd name="connsiteY749" fmla="*/ 2092461 h 7308446"/>
              <a:gd name="connsiteX750" fmla="*/ 6481233 w 9012328"/>
              <a:gd name="connsiteY750" fmla="*/ 2037371 h 7308446"/>
              <a:gd name="connsiteX751" fmla="*/ 6477523 w 9012328"/>
              <a:gd name="connsiteY751" fmla="*/ 1984979 h 7308446"/>
              <a:gd name="connsiteX752" fmla="*/ 6471957 w 9012328"/>
              <a:gd name="connsiteY752" fmla="*/ 1935402 h 7308446"/>
              <a:gd name="connsiteX753" fmla="*/ 6464322 w 9012328"/>
              <a:gd name="connsiteY753" fmla="*/ 1888759 h 7308446"/>
              <a:gd name="connsiteX754" fmla="*/ 6454404 w 9012328"/>
              <a:gd name="connsiteY754" fmla="*/ 1845167 h 7308446"/>
              <a:gd name="connsiteX755" fmla="*/ 6441988 w 9012328"/>
              <a:gd name="connsiteY755" fmla="*/ 1804746 h 7308446"/>
              <a:gd name="connsiteX756" fmla="*/ 6426861 w 9012328"/>
              <a:gd name="connsiteY756" fmla="*/ 1767614 h 7308446"/>
              <a:gd name="connsiteX757" fmla="*/ 6408808 w 9012328"/>
              <a:gd name="connsiteY757" fmla="*/ 1733888 h 7308446"/>
              <a:gd name="connsiteX758" fmla="*/ 6363070 w 9012328"/>
              <a:gd name="connsiteY758" fmla="*/ 1677129 h 7308446"/>
              <a:gd name="connsiteX759" fmla="*/ 6303061 w 9012328"/>
              <a:gd name="connsiteY759" fmla="*/ 1635416 h 7308446"/>
              <a:gd name="connsiteX760" fmla="*/ 6267169 w 9012328"/>
              <a:gd name="connsiteY760" fmla="*/ 1620497 h 7308446"/>
              <a:gd name="connsiteX761" fmla="*/ 6227068 w 9012328"/>
              <a:gd name="connsiteY761" fmla="*/ 1609694 h 7308446"/>
              <a:gd name="connsiteX762" fmla="*/ 6182543 w 9012328"/>
              <a:gd name="connsiteY762" fmla="*/ 1603125 h 7308446"/>
              <a:gd name="connsiteX763" fmla="*/ 6133380 w 9012328"/>
              <a:gd name="connsiteY763" fmla="*/ 1600910 h 7308446"/>
              <a:gd name="connsiteX764" fmla="*/ 6041530 w 9012328"/>
              <a:gd name="connsiteY764" fmla="*/ 1502419 h 7308446"/>
              <a:gd name="connsiteX765" fmla="*/ 6041530 w 9012328"/>
              <a:gd name="connsiteY765" fmla="*/ 1600910 h 7308446"/>
              <a:gd name="connsiteX766" fmla="*/ 5992644 w 9012328"/>
              <a:gd name="connsiteY766" fmla="*/ 1603125 h 7308446"/>
              <a:gd name="connsiteX767" fmla="*/ 5948363 w 9012328"/>
              <a:gd name="connsiteY767" fmla="*/ 1609694 h 7308446"/>
              <a:gd name="connsiteX768" fmla="*/ 5908477 w 9012328"/>
              <a:gd name="connsiteY768" fmla="*/ 1620497 h 7308446"/>
              <a:gd name="connsiteX769" fmla="*/ 5872771 w 9012328"/>
              <a:gd name="connsiteY769" fmla="*/ 1635416 h 7308446"/>
              <a:gd name="connsiteX770" fmla="*/ 5813056 w 9012328"/>
              <a:gd name="connsiteY770" fmla="*/ 1677129 h 7308446"/>
              <a:gd name="connsiteX771" fmla="*/ 5767522 w 9012328"/>
              <a:gd name="connsiteY771" fmla="*/ 1733888 h 7308446"/>
              <a:gd name="connsiteX772" fmla="*/ 5749543 w 9012328"/>
              <a:gd name="connsiteY772" fmla="*/ 1767614 h 7308446"/>
              <a:gd name="connsiteX773" fmla="*/ 5734473 w 9012328"/>
              <a:gd name="connsiteY773" fmla="*/ 1804746 h 7308446"/>
              <a:gd name="connsiteX774" fmla="*/ 5722101 w 9012328"/>
              <a:gd name="connsiteY774" fmla="*/ 1845167 h 7308446"/>
              <a:gd name="connsiteX775" fmla="*/ 5712213 w 9012328"/>
              <a:gd name="connsiteY775" fmla="*/ 1888759 h 7308446"/>
              <a:gd name="connsiteX776" fmla="*/ 5704599 w 9012328"/>
              <a:gd name="connsiteY776" fmla="*/ 1935402 h 7308446"/>
              <a:gd name="connsiteX777" fmla="*/ 5699046 w 9012328"/>
              <a:gd name="connsiteY777" fmla="*/ 1984979 h 7308446"/>
              <a:gd name="connsiteX778" fmla="*/ 5695342 w 9012328"/>
              <a:gd name="connsiteY778" fmla="*/ 2037371 h 7308446"/>
              <a:gd name="connsiteX779" fmla="*/ 5693275 w 9012328"/>
              <a:gd name="connsiteY779" fmla="*/ 2092461 h 7308446"/>
              <a:gd name="connsiteX780" fmla="*/ 5692633 w 9012328"/>
              <a:gd name="connsiteY780" fmla="*/ 2150130 h 7308446"/>
              <a:gd name="connsiteX781" fmla="*/ 5693259 w 9012328"/>
              <a:gd name="connsiteY781" fmla="*/ 2208370 h 7308446"/>
              <a:gd name="connsiteX782" fmla="*/ 5695281 w 9012328"/>
              <a:gd name="connsiteY782" fmla="*/ 2263996 h 7308446"/>
              <a:gd name="connsiteX783" fmla="*/ 5698918 w 9012328"/>
              <a:gd name="connsiteY783" fmla="*/ 2316891 h 7308446"/>
              <a:gd name="connsiteX784" fmla="*/ 5704387 w 9012328"/>
              <a:gd name="connsiteY784" fmla="*/ 2366936 h 7308446"/>
              <a:gd name="connsiteX785" fmla="*/ 5711908 w 9012328"/>
              <a:gd name="connsiteY785" fmla="*/ 2414012 h 7308446"/>
              <a:gd name="connsiteX786" fmla="*/ 5721697 w 9012328"/>
              <a:gd name="connsiteY786" fmla="*/ 2458002 h 7308446"/>
              <a:gd name="connsiteX787" fmla="*/ 5733974 w 9012328"/>
              <a:gd name="connsiteY787" fmla="*/ 2498787 h 7308446"/>
              <a:gd name="connsiteX788" fmla="*/ 5748956 w 9012328"/>
              <a:gd name="connsiteY788" fmla="*/ 2536249 h 7308446"/>
              <a:gd name="connsiteX789" fmla="*/ 5766862 w 9012328"/>
              <a:gd name="connsiteY789" fmla="*/ 2570269 h 7308446"/>
              <a:gd name="connsiteX790" fmla="*/ 5812316 w 9012328"/>
              <a:gd name="connsiteY790" fmla="*/ 2627513 h 7308446"/>
              <a:gd name="connsiteX791" fmla="*/ 5872082 w 9012328"/>
              <a:gd name="connsiteY791" fmla="*/ 2669573 h 7308446"/>
              <a:gd name="connsiteX792" fmla="*/ 5907877 w 9012328"/>
              <a:gd name="connsiteY792" fmla="*/ 2684613 h 7308446"/>
              <a:gd name="connsiteX793" fmla="*/ 5947905 w 9012328"/>
              <a:gd name="connsiteY793" fmla="*/ 2695502 h 7308446"/>
              <a:gd name="connsiteX794" fmla="*/ 5992383 w 9012328"/>
              <a:gd name="connsiteY794" fmla="*/ 2702123 h 7308446"/>
              <a:gd name="connsiteX795" fmla="*/ 6041530 w 9012328"/>
              <a:gd name="connsiteY795" fmla="*/ 2704356 h 7308446"/>
              <a:gd name="connsiteX796" fmla="*/ 6041530 w 9012328"/>
              <a:gd name="connsiteY796" fmla="*/ 2801179 h 7308446"/>
              <a:gd name="connsiteX797" fmla="*/ 5988008 w 9012328"/>
              <a:gd name="connsiteY797" fmla="*/ 2799290 h 7308446"/>
              <a:gd name="connsiteX798" fmla="*/ 5938527 w 9012328"/>
              <a:gd name="connsiteY798" fmla="*/ 2793677 h 7308446"/>
              <a:gd name="connsiteX799" fmla="*/ 5892948 w 9012328"/>
              <a:gd name="connsiteY799" fmla="*/ 2784423 h 7308446"/>
              <a:gd name="connsiteX800" fmla="*/ 5851129 w 9012328"/>
              <a:gd name="connsiteY800" fmla="*/ 2771611 h 7308446"/>
              <a:gd name="connsiteX801" fmla="*/ 5812932 w 9012328"/>
              <a:gd name="connsiteY801" fmla="*/ 2755324 h 7308446"/>
              <a:gd name="connsiteX802" fmla="*/ 5778215 w 9012328"/>
              <a:gd name="connsiteY802" fmla="*/ 2735643 h 7308446"/>
              <a:gd name="connsiteX803" fmla="*/ 5746839 w 9012328"/>
              <a:gd name="connsiteY803" fmla="*/ 2712653 h 7308446"/>
              <a:gd name="connsiteX804" fmla="*/ 5718663 w 9012328"/>
              <a:gd name="connsiteY804" fmla="*/ 2686434 h 7308446"/>
              <a:gd name="connsiteX805" fmla="*/ 5693546 w 9012328"/>
              <a:gd name="connsiteY805" fmla="*/ 2657071 h 7308446"/>
              <a:gd name="connsiteX806" fmla="*/ 5671350 w 9012328"/>
              <a:gd name="connsiteY806" fmla="*/ 2624645 h 7308446"/>
              <a:gd name="connsiteX807" fmla="*/ 5651932 w 9012328"/>
              <a:gd name="connsiteY807" fmla="*/ 2589239 h 7308446"/>
              <a:gd name="connsiteX808" fmla="*/ 5635155 w 9012328"/>
              <a:gd name="connsiteY808" fmla="*/ 2550936 h 7308446"/>
              <a:gd name="connsiteX809" fmla="*/ 5620876 w 9012328"/>
              <a:gd name="connsiteY809" fmla="*/ 2509818 h 7308446"/>
              <a:gd name="connsiteX810" fmla="*/ 5608956 w 9012328"/>
              <a:gd name="connsiteY810" fmla="*/ 2465969 h 7308446"/>
              <a:gd name="connsiteX811" fmla="*/ 5599254 w 9012328"/>
              <a:gd name="connsiteY811" fmla="*/ 2419470 h 7308446"/>
              <a:gd name="connsiteX812" fmla="*/ 5591631 w 9012328"/>
              <a:gd name="connsiteY812" fmla="*/ 2370405 h 7308446"/>
              <a:gd name="connsiteX813" fmla="*/ 5585946 w 9012328"/>
              <a:gd name="connsiteY813" fmla="*/ 2318855 h 7308446"/>
              <a:gd name="connsiteX814" fmla="*/ 5582059 w 9012328"/>
              <a:gd name="connsiteY814" fmla="*/ 2264905 h 7308446"/>
              <a:gd name="connsiteX815" fmla="*/ 5579829 w 9012328"/>
              <a:gd name="connsiteY815" fmla="*/ 2208635 h 7308446"/>
              <a:gd name="connsiteX816" fmla="*/ 5579118 w 9012328"/>
              <a:gd name="connsiteY816" fmla="*/ 2150130 h 7308446"/>
              <a:gd name="connsiteX817" fmla="*/ 5579853 w 9012328"/>
              <a:gd name="connsiteY817" fmla="*/ 2091874 h 7308446"/>
              <a:gd name="connsiteX818" fmla="*/ 5582149 w 9012328"/>
              <a:gd name="connsiteY818" fmla="*/ 2035854 h 7308446"/>
              <a:gd name="connsiteX819" fmla="*/ 5586138 w 9012328"/>
              <a:gd name="connsiteY819" fmla="*/ 1982149 h 7308446"/>
              <a:gd name="connsiteX820" fmla="*/ 5591951 w 9012328"/>
              <a:gd name="connsiteY820" fmla="*/ 1930843 h 7308446"/>
              <a:gd name="connsiteX821" fmla="*/ 5599724 w 9012328"/>
              <a:gd name="connsiteY821" fmla="*/ 1882015 h 7308446"/>
              <a:gd name="connsiteX822" fmla="*/ 5609587 w 9012328"/>
              <a:gd name="connsiteY822" fmla="*/ 1835748 h 7308446"/>
              <a:gd name="connsiteX823" fmla="*/ 5621673 w 9012328"/>
              <a:gd name="connsiteY823" fmla="*/ 1792122 h 7308446"/>
              <a:gd name="connsiteX824" fmla="*/ 5636116 w 9012328"/>
              <a:gd name="connsiteY824" fmla="*/ 1751221 h 7308446"/>
              <a:gd name="connsiteX825" fmla="*/ 5653048 w 9012328"/>
              <a:gd name="connsiteY825" fmla="*/ 1713122 h 7308446"/>
              <a:gd name="connsiteX826" fmla="*/ 5672601 w 9012328"/>
              <a:gd name="connsiteY826" fmla="*/ 1677910 h 7308446"/>
              <a:gd name="connsiteX827" fmla="*/ 5694909 w 9012328"/>
              <a:gd name="connsiteY827" fmla="*/ 1645665 h 7308446"/>
              <a:gd name="connsiteX828" fmla="*/ 5720105 w 9012328"/>
              <a:gd name="connsiteY828" fmla="*/ 1616469 h 7308446"/>
              <a:gd name="connsiteX829" fmla="*/ 5748320 w 9012328"/>
              <a:gd name="connsiteY829" fmla="*/ 1590403 h 7308446"/>
              <a:gd name="connsiteX830" fmla="*/ 5779687 w 9012328"/>
              <a:gd name="connsiteY830" fmla="*/ 1567548 h 7308446"/>
              <a:gd name="connsiteX831" fmla="*/ 5814340 w 9012328"/>
              <a:gd name="connsiteY831" fmla="*/ 1547987 h 7308446"/>
              <a:gd name="connsiteX832" fmla="*/ 5852411 w 9012328"/>
              <a:gd name="connsiteY832" fmla="*/ 1531799 h 7308446"/>
              <a:gd name="connsiteX833" fmla="*/ 5894033 w 9012328"/>
              <a:gd name="connsiteY833" fmla="*/ 1519068 h 7308446"/>
              <a:gd name="connsiteX834" fmla="*/ 5939338 w 9012328"/>
              <a:gd name="connsiteY834" fmla="*/ 1509872 h 7308446"/>
              <a:gd name="connsiteX835" fmla="*/ 5988459 w 9012328"/>
              <a:gd name="connsiteY835" fmla="*/ 1504296 h 7308446"/>
              <a:gd name="connsiteX836" fmla="*/ 4160590 w 9012328"/>
              <a:gd name="connsiteY836" fmla="*/ 1021648 h 7308446"/>
              <a:gd name="connsiteX837" fmla="*/ 4367589 w 9012328"/>
              <a:gd name="connsiteY837" fmla="*/ 1021648 h 7308446"/>
              <a:gd name="connsiteX838" fmla="*/ 4367589 w 9012328"/>
              <a:gd name="connsiteY838" fmla="*/ 1195261 h 7308446"/>
              <a:gd name="connsiteX839" fmla="*/ 4160590 w 9012328"/>
              <a:gd name="connsiteY839" fmla="*/ 1195261 h 7308446"/>
              <a:gd name="connsiteX840" fmla="*/ 5799344 w 9012328"/>
              <a:gd name="connsiteY840" fmla="*/ 871408 h 7308446"/>
              <a:gd name="connsiteX841" fmla="*/ 6704136 w 9012328"/>
              <a:gd name="connsiteY841" fmla="*/ 871408 h 7308446"/>
              <a:gd name="connsiteX842" fmla="*/ 6704136 w 9012328"/>
              <a:gd name="connsiteY842" fmla="*/ 978246 h 7308446"/>
              <a:gd name="connsiteX843" fmla="*/ 5799344 w 9012328"/>
              <a:gd name="connsiteY843" fmla="*/ 978246 h 7308446"/>
              <a:gd name="connsiteX844" fmla="*/ 5799344 w 9012328"/>
              <a:gd name="connsiteY844" fmla="*/ 522512 h 7308446"/>
              <a:gd name="connsiteX845" fmla="*/ 6704136 w 9012328"/>
              <a:gd name="connsiteY845" fmla="*/ 522512 h 7308446"/>
              <a:gd name="connsiteX846" fmla="*/ 6704136 w 9012328"/>
              <a:gd name="connsiteY846" fmla="*/ 629350 h 7308446"/>
              <a:gd name="connsiteX847" fmla="*/ 5799344 w 9012328"/>
              <a:gd name="connsiteY847" fmla="*/ 629350 h 7308446"/>
              <a:gd name="connsiteX848" fmla="*/ 7774691 w 9012328"/>
              <a:gd name="connsiteY848" fmla="*/ 6383 h 7308446"/>
              <a:gd name="connsiteX849" fmla="*/ 8148629 w 9012328"/>
              <a:gd name="connsiteY849" fmla="*/ 6383 h 7308446"/>
              <a:gd name="connsiteX850" fmla="*/ 8148629 w 9012328"/>
              <a:gd name="connsiteY850" fmla="*/ 101632 h 7308446"/>
              <a:gd name="connsiteX851" fmla="*/ 7889880 w 9012328"/>
              <a:gd name="connsiteY851" fmla="*/ 101632 h 7308446"/>
              <a:gd name="connsiteX852" fmla="*/ 7889880 w 9012328"/>
              <a:gd name="connsiteY852" fmla="*/ 1200182 h 7308446"/>
              <a:gd name="connsiteX853" fmla="*/ 8148629 w 9012328"/>
              <a:gd name="connsiteY853" fmla="*/ 1200182 h 7308446"/>
              <a:gd name="connsiteX854" fmla="*/ 8148629 w 9012328"/>
              <a:gd name="connsiteY854" fmla="*/ 1295432 h 7308446"/>
              <a:gd name="connsiteX855" fmla="*/ 7774691 w 9012328"/>
              <a:gd name="connsiteY855" fmla="*/ 1295432 h 7308446"/>
              <a:gd name="connsiteX856" fmla="*/ 7774691 w 9012328"/>
              <a:gd name="connsiteY856" fmla="*/ 1200182 h 7308446"/>
              <a:gd name="connsiteX857" fmla="*/ 7774691 w 9012328"/>
              <a:gd name="connsiteY857" fmla="*/ 101632 h 7308446"/>
              <a:gd name="connsiteX858" fmla="*/ 8243417 w 9012328"/>
              <a:gd name="connsiteY858" fmla="*/ 0 h 7308446"/>
              <a:gd name="connsiteX859" fmla="*/ 8296487 w 9012328"/>
              <a:gd name="connsiteY859" fmla="*/ 1877 h 7308446"/>
              <a:gd name="connsiteX860" fmla="*/ 8345608 w 9012328"/>
              <a:gd name="connsiteY860" fmla="*/ 7454 h 7308446"/>
              <a:gd name="connsiteX861" fmla="*/ 8390913 w 9012328"/>
              <a:gd name="connsiteY861" fmla="*/ 16649 h 7308446"/>
              <a:gd name="connsiteX862" fmla="*/ 8432534 w 9012328"/>
              <a:gd name="connsiteY862" fmla="*/ 29381 h 7308446"/>
              <a:gd name="connsiteX863" fmla="*/ 8470605 w 9012328"/>
              <a:gd name="connsiteY863" fmla="*/ 45569 h 7308446"/>
              <a:gd name="connsiteX864" fmla="*/ 8505258 w 9012328"/>
              <a:gd name="connsiteY864" fmla="*/ 65130 h 7308446"/>
              <a:gd name="connsiteX865" fmla="*/ 8536626 w 9012328"/>
              <a:gd name="connsiteY865" fmla="*/ 87984 h 7308446"/>
              <a:gd name="connsiteX866" fmla="*/ 8564841 w 9012328"/>
              <a:gd name="connsiteY866" fmla="*/ 114050 h 7308446"/>
              <a:gd name="connsiteX867" fmla="*/ 8590036 w 9012328"/>
              <a:gd name="connsiteY867" fmla="*/ 143246 h 7308446"/>
              <a:gd name="connsiteX868" fmla="*/ 8612344 w 9012328"/>
              <a:gd name="connsiteY868" fmla="*/ 175491 h 7308446"/>
              <a:gd name="connsiteX869" fmla="*/ 8631898 w 9012328"/>
              <a:gd name="connsiteY869" fmla="*/ 210703 h 7308446"/>
              <a:gd name="connsiteX870" fmla="*/ 8648830 w 9012328"/>
              <a:gd name="connsiteY870" fmla="*/ 248801 h 7308446"/>
              <a:gd name="connsiteX871" fmla="*/ 8663273 w 9012328"/>
              <a:gd name="connsiteY871" fmla="*/ 289703 h 7308446"/>
              <a:gd name="connsiteX872" fmla="*/ 8675359 w 9012328"/>
              <a:gd name="connsiteY872" fmla="*/ 333329 h 7308446"/>
              <a:gd name="connsiteX873" fmla="*/ 8685222 w 9012328"/>
              <a:gd name="connsiteY873" fmla="*/ 379596 h 7308446"/>
              <a:gd name="connsiteX874" fmla="*/ 8692995 w 9012328"/>
              <a:gd name="connsiteY874" fmla="*/ 428424 h 7308446"/>
              <a:gd name="connsiteX875" fmla="*/ 8698808 w 9012328"/>
              <a:gd name="connsiteY875" fmla="*/ 479730 h 7308446"/>
              <a:gd name="connsiteX876" fmla="*/ 8702797 w 9012328"/>
              <a:gd name="connsiteY876" fmla="*/ 533435 h 7308446"/>
              <a:gd name="connsiteX877" fmla="*/ 8705093 w 9012328"/>
              <a:gd name="connsiteY877" fmla="*/ 589455 h 7308446"/>
              <a:gd name="connsiteX878" fmla="*/ 8705829 w 9012328"/>
              <a:gd name="connsiteY878" fmla="*/ 647711 h 7308446"/>
              <a:gd name="connsiteX879" fmla="*/ 8705129 w 9012328"/>
              <a:gd name="connsiteY879" fmla="*/ 706216 h 7308446"/>
              <a:gd name="connsiteX880" fmla="*/ 8702932 w 9012328"/>
              <a:gd name="connsiteY880" fmla="*/ 762486 h 7308446"/>
              <a:gd name="connsiteX881" fmla="*/ 8699096 w 9012328"/>
              <a:gd name="connsiteY881" fmla="*/ 816436 h 7308446"/>
              <a:gd name="connsiteX882" fmla="*/ 8693475 w 9012328"/>
              <a:gd name="connsiteY882" fmla="*/ 867986 h 7308446"/>
              <a:gd name="connsiteX883" fmla="*/ 8685927 w 9012328"/>
              <a:gd name="connsiteY883" fmla="*/ 917051 h 7308446"/>
              <a:gd name="connsiteX884" fmla="*/ 8676306 w 9012328"/>
              <a:gd name="connsiteY884" fmla="*/ 963550 h 7308446"/>
              <a:gd name="connsiteX885" fmla="*/ 8664469 w 9012328"/>
              <a:gd name="connsiteY885" fmla="*/ 1007399 h 7308446"/>
              <a:gd name="connsiteX886" fmla="*/ 8650272 w 9012328"/>
              <a:gd name="connsiteY886" fmla="*/ 1048517 h 7308446"/>
              <a:gd name="connsiteX887" fmla="*/ 8633571 w 9012328"/>
              <a:gd name="connsiteY887" fmla="*/ 1086820 h 7308446"/>
              <a:gd name="connsiteX888" fmla="*/ 8614222 w 9012328"/>
              <a:gd name="connsiteY888" fmla="*/ 1122226 h 7308446"/>
              <a:gd name="connsiteX889" fmla="*/ 8592081 w 9012328"/>
              <a:gd name="connsiteY889" fmla="*/ 1154652 h 7308446"/>
              <a:gd name="connsiteX890" fmla="*/ 8567005 w 9012328"/>
              <a:gd name="connsiteY890" fmla="*/ 1184015 h 7308446"/>
              <a:gd name="connsiteX891" fmla="*/ 8538848 w 9012328"/>
              <a:gd name="connsiteY891" fmla="*/ 1210234 h 7308446"/>
              <a:gd name="connsiteX892" fmla="*/ 8507467 w 9012328"/>
              <a:gd name="connsiteY892" fmla="*/ 1233224 h 7308446"/>
              <a:gd name="connsiteX893" fmla="*/ 8472718 w 9012328"/>
              <a:gd name="connsiteY893" fmla="*/ 1252905 h 7308446"/>
              <a:gd name="connsiteX894" fmla="*/ 8434458 w 9012328"/>
              <a:gd name="connsiteY894" fmla="*/ 1269193 h 7308446"/>
              <a:gd name="connsiteX895" fmla="*/ 8392541 w 9012328"/>
              <a:gd name="connsiteY895" fmla="*/ 1282004 h 7308446"/>
              <a:gd name="connsiteX896" fmla="*/ 8346825 w 9012328"/>
              <a:gd name="connsiteY896" fmla="*/ 1291258 h 7308446"/>
              <a:gd name="connsiteX897" fmla="*/ 8297165 w 9012328"/>
              <a:gd name="connsiteY897" fmla="*/ 1296871 h 7308446"/>
              <a:gd name="connsiteX898" fmla="*/ 8243417 w 9012328"/>
              <a:gd name="connsiteY898" fmla="*/ 1298760 h 7308446"/>
              <a:gd name="connsiteX899" fmla="*/ 8243417 w 9012328"/>
              <a:gd name="connsiteY899" fmla="*/ 1201938 h 7308446"/>
              <a:gd name="connsiteX900" fmla="*/ 8293102 w 9012328"/>
              <a:gd name="connsiteY900" fmla="*/ 1199705 h 7308446"/>
              <a:gd name="connsiteX901" fmla="*/ 8338022 w 9012328"/>
              <a:gd name="connsiteY901" fmla="*/ 1193084 h 7308446"/>
              <a:gd name="connsiteX902" fmla="*/ 8378405 w 9012328"/>
              <a:gd name="connsiteY902" fmla="*/ 1182195 h 7308446"/>
              <a:gd name="connsiteX903" fmla="*/ 8414476 w 9012328"/>
              <a:gd name="connsiteY903" fmla="*/ 1167155 h 7308446"/>
              <a:gd name="connsiteX904" fmla="*/ 8474587 w 9012328"/>
              <a:gd name="connsiteY904" fmla="*/ 1125095 h 7308446"/>
              <a:gd name="connsiteX905" fmla="*/ 8520166 w 9012328"/>
              <a:gd name="connsiteY905" fmla="*/ 1067851 h 7308446"/>
              <a:gd name="connsiteX906" fmla="*/ 8538072 w 9012328"/>
              <a:gd name="connsiteY906" fmla="*/ 1033830 h 7308446"/>
              <a:gd name="connsiteX907" fmla="*/ 8553024 w 9012328"/>
              <a:gd name="connsiteY907" fmla="*/ 996369 h 7308446"/>
              <a:gd name="connsiteX908" fmla="*/ 8565248 w 9012328"/>
              <a:gd name="connsiteY908" fmla="*/ 955584 h 7308446"/>
              <a:gd name="connsiteX909" fmla="*/ 8574971 w 9012328"/>
              <a:gd name="connsiteY909" fmla="*/ 911594 h 7308446"/>
              <a:gd name="connsiteX910" fmla="*/ 8582418 w 9012328"/>
              <a:gd name="connsiteY910" fmla="*/ 864517 h 7308446"/>
              <a:gd name="connsiteX911" fmla="*/ 8587817 w 9012328"/>
              <a:gd name="connsiteY911" fmla="*/ 814473 h 7308446"/>
              <a:gd name="connsiteX912" fmla="*/ 8591393 w 9012328"/>
              <a:gd name="connsiteY912" fmla="*/ 761578 h 7308446"/>
              <a:gd name="connsiteX913" fmla="*/ 8593372 w 9012328"/>
              <a:gd name="connsiteY913" fmla="*/ 705951 h 7308446"/>
              <a:gd name="connsiteX914" fmla="*/ 8593982 w 9012328"/>
              <a:gd name="connsiteY914" fmla="*/ 647711 h 7308446"/>
              <a:gd name="connsiteX915" fmla="*/ 8593340 w 9012328"/>
              <a:gd name="connsiteY915" fmla="*/ 590042 h 7308446"/>
              <a:gd name="connsiteX916" fmla="*/ 8591270 w 9012328"/>
              <a:gd name="connsiteY916" fmla="*/ 534953 h 7308446"/>
              <a:gd name="connsiteX917" fmla="*/ 8587560 w 9012328"/>
              <a:gd name="connsiteY917" fmla="*/ 482561 h 7308446"/>
              <a:gd name="connsiteX918" fmla="*/ 8581994 w 9012328"/>
              <a:gd name="connsiteY918" fmla="*/ 432984 h 7308446"/>
              <a:gd name="connsiteX919" fmla="*/ 8574359 w 9012328"/>
              <a:gd name="connsiteY919" fmla="*/ 386340 h 7308446"/>
              <a:gd name="connsiteX920" fmla="*/ 8564441 w 9012328"/>
              <a:gd name="connsiteY920" fmla="*/ 342749 h 7308446"/>
              <a:gd name="connsiteX921" fmla="*/ 8552025 w 9012328"/>
              <a:gd name="connsiteY921" fmla="*/ 302328 h 7308446"/>
              <a:gd name="connsiteX922" fmla="*/ 8536898 w 9012328"/>
              <a:gd name="connsiteY922" fmla="*/ 265196 h 7308446"/>
              <a:gd name="connsiteX923" fmla="*/ 8518845 w 9012328"/>
              <a:gd name="connsiteY923" fmla="*/ 231470 h 7308446"/>
              <a:gd name="connsiteX924" fmla="*/ 8473107 w 9012328"/>
              <a:gd name="connsiteY924" fmla="*/ 174711 h 7308446"/>
              <a:gd name="connsiteX925" fmla="*/ 8413098 w 9012328"/>
              <a:gd name="connsiteY925" fmla="*/ 132998 h 7308446"/>
              <a:gd name="connsiteX926" fmla="*/ 8377206 w 9012328"/>
              <a:gd name="connsiteY926" fmla="*/ 118079 h 7308446"/>
              <a:gd name="connsiteX927" fmla="*/ 8337105 w 9012328"/>
              <a:gd name="connsiteY927" fmla="*/ 107277 h 7308446"/>
              <a:gd name="connsiteX928" fmla="*/ 8292580 w 9012328"/>
              <a:gd name="connsiteY928" fmla="*/ 100708 h 7308446"/>
              <a:gd name="connsiteX929" fmla="*/ 8243417 w 9012328"/>
              <a:gd name="connsiteY929" fmla="*/ 98492 h 7308446"/>
              <a:gd name="connsiteX930" fmla="*/ 3109502 w 9012328"/>
              <a:gd name="connsiteY930" fmla="*/ 0 h 7308446"/>
              <a:gd name="connsiteX931" fmla="*/ 3162572 w 9012328"/>
              <a:gd name="connsiteY931" fmla="*/ 1876 h 7308446"/>
              <a:gd name="connsiteX932" fmla="*/ 3211694 w 9012328"/>
              <a:gd name="connsiteY932" fmla="*/ 7453 h 7308446"/>
              <a:gd name="connsiteX933" fmla="*/ 3256998 w 9012328"/>
              <a:gd name="connsiteY933" fmla="*/ 16648 h 7308446"/>
              <a:gd name="connsiteX934" fmla="*/ 3298621 w 9012328"/>
              <a:gd name="connsiteY934" fmla="*/ 29380 h 7308446"/>
              <a:gd name="connsiteX935" fmla="*/ 3336692 w 9012328"/>
              <a:gd name="connsiteY935" fmla="*/ 45568 h 7308446"/>
              <a:gd name="connsiteX936" fmla="*/ 3371345 w 9012328"/>
              <a:gd name="connsiteY936" fmla="*/ 65129 h 7308446"/>
              <a:gd name="connsiteX937" fmla="*/ 3402713 w 9012328"/>
              <a:gd name="connsiteY937" fmla="*/ 87984 h 7308446"/>
              <a:gd name="connsiteX938" fmla="*/ 3430928 w 9012328"/>
              <a:gd name="connsiteY938" fmla="*/ 114050 h 7308446"/>
              <a:gd name="connsiteX939" fmla="*/ 3456123 w 9012328"/>
              <a:gd name="connsiteY939" fmla="*/ 143246 h 7308446"/>
              <a:gd name="connsiteX940" fmla="*/ 3478431 w 9012328"/>
              <a:gd name="connsiteY940" fmla="*/ 175491 h 7308446"/>
              <a:gd name="connsiteX941" fmla="*/ 3497985 w 9012328"/>
              <a:gd name="connsiteY941" fmla="*/ 210703 h 7308446"/>
              <a:gd name="connsiteX942" fmla="*/ 3514917 w 9012328"/>
              <a:gd name="connsiteY942" fmla="*/ 248801 h 7308446"/>
              <a:gd name="connsiteX943" fmla="*/ 3529360 w 9012328"/>
              <a:gd name="connsiteY943" fmla="*/ 289703 h 7308446"/>
              <a:gd name="connsiteX944" fmla="*/ 3541446 w 9012328"/>
              <a:gd name="connsiteY944" fmla="*/ 333329 h 7308446"/>
              <a:gd name="connsiteX945" fmla="*/ 3551309 w 9012328"/>
              <a:gd name="connsiteY945" fmla="*/ 379596 h 7308446"/>
              <a:gd name="connsiteX946" fmla="*/ 3559082 w 9012328"/>
              <a:gd name="connsiteY946" fmla="*/ 428424 h 7308446"/>
              <a:gd name="connsiteX947" fmla="*/ 3564896 w 9012328"/>
              <a:gd name="connsiteY947" fmla="*/ 479730 h 7308446"/>
              <a:gd name="connsiteX948" fmla="*/ 3568884 w 9012328"/>
              <a:gd name="connsiteY948" fmla="*/ 533435 h 7308446"/>
              <a:gd name="connsiteX949" fmla="*/ 3571180 w 9012328"/>
              <a:gd name="connsiteY949" fmla="*/ 589455 h 7308446"/>
              <a:gd name="connsiteX950" fmla="*/ 3571916 w 9012328"/>
              <a:gd name="connsiteY950" fmla="*/ 647711 h 7308446"/>
              <a:gd name="connsiteX951" fmla="*/ 3571216 w 9012328"/>
              <a:gd name="connsiteY951" fmla="*/ 706216 h 7308446"/>
              <a:gd name="connsiteX952" fmla="*/ 3569019 w 9012328"/>
              <a:gd name="connsiteY952" fmla="*/ 762486 h 7308446"/>
              <a:gd name="connsiteX953" fmla="*/ 3565183 w 9012328"/>
              <a:gd name="connsiteY953" fmla="*/ 816436 h 7308446"/>
              <a:gd name="connsiteX954" fmla="*/ 3559562 w 9012328"/>
              <a:gd name="connsiteY954" fmla="*/ 867986 h 7308446"/>
              <a:gd name="connsiteX955" fmla="*/ 3552014 w 9012328"/>
              <a:gd name="connsiteY955" fmla="*/ 917051 h 7308446"/>
              <a:gd name="connsiteX956" fmla="*/ 3542393 w 9012328"/>
              <a:gd name="connsiteY956" fmla="*/ 963550 h 7308446"/>
              <a:gd name="connsiteX957" fmla="*/ 3530556 w 9012328"/>
              <a:gd name="connsiteY957" fmla="*/ 1007399 h 7308446"/>
              <a:gd name="connsiteX958" fmla="*/ 3516359 w 9012328"/>
              <a:gd name="connsiteY958" fmla="*/ 1048517 h 7308446"/>
              <a:gd name="connsiteX959" fmla="*/ 3499658 w 9012328"/>
              <a:gd name="connsiteY959" fmla="*/ 1086820 h 7308446"/>
              <a:gd name="connsiteX960" fmla="*/ 3480309 w 9012328"/>
              <a:gd name="connsiteY960" fmla="*/ 1122226 h 7308446"/>
              <a:gd name="connsiteX961" fmla="*/ 3458168 w 9012328"/>
              <a:gd name="connsiteY961" fmla="*/ 1154652 h 7308446"/>
              <a:gd name="connsiteX962" fmla="*/ 3433091 w 9012328"/>
              <a:gd name="connsiteY962" fmla="*/ 1184015 h 7308446"/>
              <a:gd name="connsiteX963" fmla="*/ 3404934 w 9012328"/>
              <a:gd name="connsiteY963" fmla="*/ 1210234 h 7308446"/>
              <a:gd name="connsiteX964" fmla="*/ 3373554 w 9012328"/>
              <a:gd name="connsiteY964" fmla="*/ 1233224 h 7308446"/>
              <a:gd name="connsiteX965" fmla="*/ 3338805 w 9012328"/>
              <a:gd name="connsiteY965" fmla="*/ 1252905 h 7308446"/>
              <a:gd name="connsiteX966" fmla="*/ 3300544 w 9012328"/>
              <a:gd name="connsiteY966" fmla="*/ 1269192 h 7308446"/>
              <a:gd name="connsiteX967" fmla="*/ 3258627 w 9012328"/>
              <a:gd name="connsiteY967" fmla="*/ 1282004 h 7308446"/>
              <a:gd name="connsiteX968" fmla="*/ 3212910 w 9012328"/>
              <a:gd name="connsiteY968" fmla="*/ 1291258 h 7308446"/>
              <a:gd name="connsiteX969" fmla="*/ 3163250 w 9012328"/>
              <a:gd name="connsiteY969" fmla="*/ 1296871 h 7308446"/>
              <a:gd name="connsiteX970" fmla="*/ 3109502 w 9012328"/>
              <a:gd name="connsiteY970" fmla="*/ 1298760 h 7308446"/>
              <a:gd name="connsiteX971" fmla="*/ 3109502 w 9012328"/>
              <a:gd name="connsiteY971" fmla="*/ 1201938 h 7308446"/>
              <a:gd name="connsiteX972" fmla="*/ 3159187 w 9012328"/>
              <a:gd name="connsiteY972" fmla="*/ 1199705 h 7308446"/>
              <a:gd name="connsiteX973" fmla="*/ 3204108 w 9012328"/>
              <a:gd name="connsiteY973" fmla="*/ 1193084 h 7308446"/>
              <a:gd name="connsiteX974" fmla="*/ 3244491 w 9012328"/>
              <a:gd name="connsiteY974" fmla="*/ 1182195 h 7308446"/>
              <a:gd name="connsiteX975" fmla="*/ 3280562 w 9012328"/>
              <a:gd name="connsiteY975" fmla="*/ 1167155 h 7308446"/>
              <a:gd name="connsiteX976" fmla="*/ 3340673 w 9012328"/>
              <a:gd name="connsiteY976" fmla="*/ 1125095 h 7308446"/>
              <a:gd name="connsiteX977" fmla="*/ 3386253 w 9012328"/>
              <a:gd name="connsiteY977" fmla="*/ 1067851 h 7308446"/>
              <a:gd name="connsiteX978" fmla="*/ 3404158 w 9012328"/>
              <a:gd name="connsiteY978" fmla="*/ 1033830 h 7308446"/>
              <a:gd name="connsiteX979" fmla="*/ 3419110 w 9012328"/>
              <a:gd name="connsiteY979" fmla="*/ 996369 h 7308446"/>
              <a:gd name="connsiteX980" fmla="*/ 3431334 w 9012328"/>
              <a:gd name="connsiteY980" fmla="*/ 955584 h 7308446"/>
              <a:gd name="connsiteX981" fmla="*/ 3441057 w 9012328"/>
              <a:gd name="connsiteY981" fmla="*/ 911594 h 7308446"/>
              <a:gd name="connsiteX982" fmla="*/ 3448504 w 9012328"/>
              <a:gd name="connsiteY982" fmla="*/ 864517 h 7308446"/>
              <a:gd name="connsiteX983" fmla="*/ 3453903 w 9012328"/>
              <a:gd name="connsiteY983" fmla="*/ 814473 h 7308446"/>
              <a:gd name="connsiteX984" fmla="*/ 3457479 w 9012328"/>
              <a:gd name="connsiteY984" fmla="*/ 761578 h 7308446"/>
              <a:gd name="connsiteX985" fmla="*/ 3459458 w 9012328"/>
              <a:gd name="connsiteY985" fmla="*/ 705951 h 7308446"/>
              <a:gd name="connsiteX986" fmla="*/ 3460068 w 9012328"/>
              <a:gd name="connsiteY986" fmla="*/ 647711 h 7308446"/>
              <a:gd name="connsiteX987" fmla="*/ 3459426 w 9012328"/>
              <a:gd name="connsiteY987" fmla="*/ 590042 h 7308446"/>
              <a:gd name="connsiteX988" fmla="*/ 3457356 w 9012328"/>
              <a:gd name="connsiteY988" fmla="*/ 534953 h 7308446"/>
              <a:gd name="connsiteX989" fmla="*/ 3453646 w 9012328"/>
              <a:gd name="connsiteY989" fmla="*/ 482560 h 7308446"/>
              <a:gd name="connsiteX990" fmla="*/ 3448080 w 9012328"/>
              <a:gd name="connsiteY990" fmla="*/ 432984 h 7308446"/>
              <a:gd name="connsiteX991" fmla="*/ 3440445 w 9012328"/>
              <a:gd name="connsiteY991" fmla="*/ 386340 h 7308446"/>
              <a:gd name="connsiteX992" fmla="*/ 3430527 w 9012328"/>
              <a:gd name="connsiteY992" fmla="*/ 342749 h 7308446"/>
              <a:gd name="connsiteX993" fmla="*/ 3418111 w 9012328"/>
              <a:gd name="connsiteY993" fmla="*/ 302328 h 7308446"/>
              <a:gd name="connsiteX994" fmla="*/ 3402984 w 9012328"/>
              <a:gd name="connsiteY994" fmla="*/ 265196 h 7308446"/>
              <a:gd name="connsiteX995" fmla="*/ 3384931 w 9012328"/>
              <a:gd name="connsiteY995" fmla="*/ 231470 h 7308446"/>
              <a:gd name="connsiteX996" fmla="*/ 3339193 w 9012328"/>
              <a:gd name="connsiteY996" fmla="*/ 174711 h 7308446"/>
              <a:gd name="connsiteX997" fmla="*/ 3279183 w 9012328"/>
              <a:gd name="connsiteY997" fmla="*/ 132998 h 7308446"/>
              <a:gd name="connsiteX998" fmla="*/ 3243291 w 9012328"/>
              <a:gd name="connsiteY998" fmla="*/ 118079 h 7308446"/>
              <a:gd name="connsiteX999" fmla="*/ 3203191 w 9012328"/>
              <a:gd name="connsiteY999" fmla="*/ 107276 h 7308446"/>
              <a:gd name="connsiteX1000" fmla="*/ 3158665 w 9012328"/>
              <a:gd name="connsiteY1000" fmla="*/ 100708 h 7308446"/>
              <a:gd name="connsiteX1001" fmla="*/ 3109502 w 9012328"/>
              <a:gd name="connsiteY1001" fmla="*/ 98492 h 7308446"/>
              <a:gd name="connsiteX1002" fmla="*/ 3017637 w 9012328"/>
              <a:gd name="connsiteY1002" fmla="*/ 0 h 7308446"/>
              <a:gd name="connsiteX1003" fmla="*/ 3017637 w 9012328"/>
              <a:gd name="connsiteY1003" fmla="*/ 98492 h 7308446"/>
              <a:gd name="connsiteX1004" fmla="*/ 2968752 w 9012328"/>
              <a:gd name="connsiteY1004" fmla="*/ 100708 h 7308446"/>
              <a:gd name="connsiteX1005" fmla="*/ 2924471 w 9012328"/>
              <a:gd name="connsiteY1005" fmla="*/ 107277 h 7308446"/>
              <a:gd name="connsiteX1006" fmla="*/ 2884585 w 9012328"/>
              <a:gd name="connsiteY1006" fmla="*/ 118079 h 7308446"/>
              <a:gd name="connsiteX1007" fmla="*/ 2848878 w 9012328"/>
              <a:gd name="connsiteY1007" fmla="*/ 132998 h 7308446"/>
              <a:gd name="connsiteX1008" fmla="*/ 2789164 w 9012328"/>
              <a:gd name="connsiteY1008" fmla="*/ 174711 h 7308446"/>
              <a:gd name="connsiteX1009" fmla="*/ 2743630 w 9012328"/>
              <a:gd name="connsiteY1009" fmla="*/ 231470 h 7308446"/>
              <a:gd name="connsiteX1010" fmla="*/ 2725650 w 9012328"/>
              <a:gd name="connsiteY1010" fmla="*/ 265196 h 7308446"/>
              <a:gd name="connsiteX1011" fmla="*/ 2710579 w 9012328"/>
              <a:gd name="connsiteY1011" fmla="*/ 302328 h 7308446"/>
              <a:gd name="connsiteX1012" fmla="*/ 2698207 w 9012328"/>
              <a:gd name="connsiteY1012" fmla="*/ 342749 h 7308446"/>
              <a:gd name="connsiteX1013" fmla="*/ 2688320 w 9012328"/>
              <a:gd name="connsiteY1013" fmla="*/ 386340 h 7308446"/>
              <a:gd name="connsiteX1014" fmla="*/ 2680706 w 9012328"/>
              <a:gd name="connsiteY1014" fmla="*/ 432984 h 7308446"/>
              <a:gd name="connsiteX1015" fmla="*/ 2675153 w 9012328"/>
              <a:gd name="connsiteY1015" fmla="*/ 482561 h 7308446"/>
              <a:gd name="connsiteX1016" fmla="*/ 2671448 w 9012328"/>
              <a:gd name="connsiteY1016" fmla="*/ 534953 h 7308446"/>
              <a:gd name="connsiteX1017" fmla="*/ 2669382 w 9012328"/>
              <a:gd name="connsiteY1017" fmla="*/ 590042 h 7308446"/>
              <a:gd name="connsiteX1018" fmla="*/ 2668740 w 9012328"/>
              <a:gd name="connsiteY1018" fmla="*/ 647711 h 7308446"/>
              <a:gd name="connsiteX1019" fmla="*/ 2669365 w 9012328"/>
              <a:gd name="connsiteY1019" fmla="*/ 705951 h 7308446"/>
              <a:gd name="connsiteX1020" fmla="*/ 2671388 w 9012328"/>
              <a:gd name="connsiteY1020" fmla="*/ 761578 h 7308446"/>
              <a:gd name="connsiteX1021" fmla="*/ 2675025 w 9012328"/>
              <a:gd name="connsiteY1021" fmla="*/ 814473 h 7308446"/>
              <a:gd name="connsiteX1022" fmla="*/ 2680494 w 9012328"/>
              <a:gd name="connsiteY1022" fmla="*/ 864517 h 7308446"/>
              <a:gd name="connsiteX1023" fmla="*/ 2688015 w 9012328"/>
              <a:gd name="connsiteY1023" fmla="*/ 911594 h 7308446"/>
              <a:gd name="connsiteX1024" fmla="*/ 2697803 w 9012328"/>
              <a:gd name="connsiteY1024" fmla="*/ 955584 h 7308446"/>
              <a:gd name="connsiteX1025" fmla="*/ 2710081 w 9012328"/>
              <a:gd name="connsiteY1025" fmla="*/ 996369 h 7308446"/>
              <a:gd name="connsiteX1026" fmla="*/ 2725063 w 9012328"/>
              <a:gd name="connsiteY1026" fmla="*/ 1033830 h 7308446"/>
              <a:gd name="connsiteX1027" fmla="*/ 2742969 w 9012328"/>
              <a:gd name="connsiteY1027" fmla="*/ 1067851 h 7308446"/>
              <a:gd name="connsiteX1028" fmla="*/ 2788423 w 9012328"/>
              <a:gd name="connsiteY1028" fmla="*/ 1125095 h 7308446"/>
              <a:gd name="connsiteX1029" fmla="*/ 2848189 w 9012328"/>
              <a:gd name="connsiteY1029" fmla="*/ 1167155 h 7308446"/>
              <a:gd name="connsiteX1030" fmla="*/ 2883984 w 9012328"/>
              <a:gd name="connsiteY1030" fmla="*/ 1182195 h 7308446"/>
              <a:gd name="connsiteX1031" fmla="*/ 2924012 w 9012328"/>
              <a:gd name="connsiteY1031" fmla="*/ 1193084 h 7308446"/>
              <a:gd name="connsiteX1032" fmla="*/ 2968491 w 9012328"/>
              <a:gd name="connsiteY1032" fmla="*/ 1199705 h 7308446"/>
              <a:gd name="connsiteX1033" fmla="*/ 3017637 w 9012328"/>
              <a:gd name="connsiteY1033" fmla="*/ 1201938 h 7308446"/>
              <a:gd name="connsiteX1034" fmla="*/ 3017637 w 9012328"/>
              <a:gd name="connsiteY1034" fmla="*/ 1298760 h 7308446"/>
              <a:gd name="connsiteX1035" fmla="*/ 2964115 w 9012328"/>
              <a:gd name="connsiteY1035" fmla="*/ 1296871 h 7308446"/>
              <a:gd name="connsiteX1036" fmla="*/ 2914634 w 9012328"/>
              <a:gd name="connsiteY1036" fmla="*/ 1291258 h 7308446"/>
              <a:gd name="connsiteX1037" fmla="*/ 2869056 w 9012328"/>
              <a:gd name="connsiteY1037" fmla="*/ 1282004 h 7308446"/>
              <a:gd name="connsiteX1038" fmla="*/ 2827236 w 9012328"/>
              <a:gd name="connsiteY1038" fmla="*/ 1269193 h 7308446"/>
              <a:gd name="connsiteX1039" fmla="*/ 2789039 w 9012328"/>
              <a:gd name="connsiteY1039" fmla="*/ 1252905 h 7308446"/>
              <a:gd name="connsiteX1040" fmla="*/ 2754322 w 9012328"/>
              <a:gd name="connsiteY1040" fmla="*/ 1233224 h 7308446"/>
              <a:gd name="connsiteX1041" fmla="*/ 2722946 w 9012328"/>
              <a:gd name="connsiteY1041" fmla="*/ 1210234 h 7308446"/>
              <a:gd name="connsiteX1042" fmla="*/ 2694770 w 9012328"/>
              <a:gd name="connsiteY1042" fmla="*/ 1184015 h 7308446"/>
              <a:gd name="connsiteX1043" fmla="*/ 2669653 w 9012328"/>
              <a:gd name="connsiteY1043" fmla="*/ 1154652 h 7308446"/>
              <a:gd name="connsiteX1044" fmla="*/ 2647457 w 9012328"/>
              <a:gd name="connsiteY1044" fmla="*/ 1122226 h 7308446"/>
              <a:gd name="connsiteX1045" fmla="*/ 2628039 w 9012328"/>
              <a:gd name="connsiteY1045" fmla="*/ 1086820 h 7308446"/>
              <a:gd name="connsiteX1046" fmla="*/ 2611262 w 9012328"/>
              <a:gd name="connsiteY1046" fmla="*/ 1048517 h 7308446"/>
              <a:gd name="connsiteX1047" fmla="*/ 2596982 w 9012328"/>
              <a:gd name="connsiteY1047" fmla="*/ 1007399 h 7308446"/>
              <a:gd name="connsiteX1048" fmla="*/ 2585062 w 9012328"/>
              <a:gd name="connsiteY1048" fmla="*/ 963550 h 7308446"/>
              <a:gd name="connsiteX1049" fmla="*/ 2575361 w 9012328"/>
              <a:gd name="connsiteY1049" fmla="*/ 917051 h 7308446"/>
              <a:gd name="connsiteX1050" fmla="*/ 2567737 w 9012328"/>
              <a:gd name="connsiteY1050" fmla="*/ 867986 h 7308446"/>
              <a:gd name="connsiteX1051" fmla="*/ 2562052 w 9012328"/>
              <a:gd name="connsiteY1051" fmla="*/ 816436 h 7308446"/>
              <a:gd name="connsiteX1052" fmla="*/ 2558166 w 9012328"/>
              <a:gd name="connsiteY1052" fmla="*/ 762486 h 7308446"/>
              <a:gd name="connsiteX1053" fmla="*/ 2555936 w 9012328"/>
              <a:gd name="connsiteY1053" fmla="*/ 706216 h 7308446"/>
              <a:gd name="connsiteX1054" fmla="*/ 2555225 w 9012328"/>
              <a:gd name="connsiteY1054" fmla="*/ 647711 h 7308446"/>
              <a:gd name="connsiteX1055" fmla="*/ 2555961 w 9012328"/>
              <a:gd name="connsiteY1055" fmla="*/ 589455 h 7308446"/>
              <a:gd name="connsiteX1056" fmla="*/ 2558256 w 9012328"/>
              <a:gd name="connsiteY1056" fmla="*/ 533435 h 7308446"/>
              <a:gd name="connsiteX1057" fmla="*/ 2562245 w 9012328"/>
              <a:gd name="connsiteY1057" fmla="*/ 479730 h 7308446"/>
              <a:gd name="connsiteX1058" fmla="*/ 2568057 w 9012328"/>
              <a:gd name="connsiteY1058" fmla="*/ 428424 h 7308446"/>
              <a:gd name="connsiteX1059" fmla="*/ 2575830 w 9012328"/>
              <a:gd name="connsiteY1059" fmla="*/ 379596 h 7308446"/>
              <a:gd name="connsiteX1060" fmla="*/ 2585694 w 9012328"/>
              <a:gd name="connsiteY1060" fmla="*/ 333329 h 7308446"/>
              <a:gd name="connsiteX1061" fmla="*/ 2597780 w 9012328"/>
              <a:gd name="connsiteY1061" fmla="*/ 289703 h 7308446"/>
              <a:gd name="connsiteX1062" fmla="*/ 2612222 w 9012328"/>
              <a:gd name="connsiteY1062" fmla="*/ 248801 h 7308446"/>
              <a:gd name="connsiteX1063" fmla="*/ 2629156 w 9012328"/>
              <a:gd name="connsiteY1063" fmla="*/ 210703 h 7308446"/>
              <a:gd name="connsiteX1064" fmla="*/ 2648708 w 9012328"/>
              <a:gd name="connsiteY1064" fmla="*/ 175491 h 7308446"/>
              <a:gd name="connsiteX1065" fmla="*/ 2671016 w 9012328"/>
              <a:gd name="connsiteY1065" fmla="*/ 143246 h 7308446"/>
              <a:gd name="connsiteX1066" fmla="*/ 2696212 w 9012328"/>
              <a:gd name="connsiteY1066" fmla="*/ 114050 h 7308446"/>
              <a:gd name="connsiteX1067" fmla="*/ 2724427 w 9012328"/>
              <a:gd name="connsiteY1067" fmla="*/ 87984 h 7308446"/>
              <a:gd name="connsiteX1068" fmla="*/ 2755794 w 9012328"/>
              <a:gd name="connsiteY1068" fmla="*/ 65130 h 7308446"/>
              <a:gd name="connsiteX1069" fmla="*/ 2790448 w 9012328"/>
              <a:gd name="connsiteY1069" fmla="*/ 45569 h 7308446"/>
              <a:gd name="connsiteX1070" fmla="*/ 2828518 w 9012328"/>
              <a:gd name="connsiteY1070" fmla="*/ 29382 h 7308446"/>
              <a:gd name="connsiteX1071" fmla="*/ 2870141 w 9012328"/>
              <a:gd name="connsiteY1071" fmla="*/ 16649 h 7308446"/>
              <a:gd name="connsiteX1072" fmla="*/ 2915445 w 9012328"/>
              <a:gd name="connsiteY1072" fmla="*/ 7455 h 7308446"/>
              <a:gd name="connsiteX1073" fmla="*/ 2964567 w 9012328"/>
              <a:gd name="connsiteY1073" fmla="*/ 1877 h 730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Lst>
            <a:rect l="l" t="t" r="r" b="b"/>
            <a:pathLst>
              <a:path w="9012328" h="7308446">
                <a:moveTo>
                  <a:pt x="6351898" y="7031333"/>
                </a:moveTo>
                <a:lnTo>
                  <a:pt x="6558899" y="7031333"/>
                </a:lnTo>
                <a:lnTo>
                  <a:pt x="6558899" y="7204946"/>
                </a:lnTo>
                <a:lnTo>
                  <a:pt x="6351898" y="7204946"/>
                </a:lnTo>
                <a:close/>
                <a:moveTo>
                  <a:pt x="3333905" y="6881094"/>
                </a:moveTo>
                <a:lnTo>
                  <a:pt x="4238693" y="6881094"/>
                </a:lnTo>
                <a:lnTo>
                  <a:pt x="4238693" y="6987931"/>
                </a:lnTo>
                <a:lnTo>
                  <a:pt x="3333905" y="6987931"/>
                </a:lnTo>
                <a:close/>
                <a:moveTo>
                  <a:pt x="3333905" y="6532197"/>
                </a:moveTo>
                <a:lnTo>
                  <a:pt x="4238693" y="6532197"/>
                </a:lnTo>
                <a:lnTo>
                  <a:pt x="4238693" y="6639034"/>
                </a:lnTo>
                <a:lnTo>
                  <a:pt x="3333905" y="6639034"/>
                </a:lnTo>
                <a:close/>
                <a:moveTo>
                  <a:pt x="5357969" y="6016022"/>
                </a:moveTo>
                <a:lnTo>
                  <a:pt x="5731908" y="6016022"/>
                </a:lnTo>
                <a:lnTo>
                  <a:pt x="5731908" y="6111272"/>
                </a:lnTo>
                <a:lnTo>
                  <a:pt x="5731908" y="7209822"/>
                </a:lnTo>
                <a:lnTo>
                  <a:pt x="5731908" y="7305072"/>
                </a:lnTo>
                <a:lnTo>
                  <a:pt x="5357969" y="7305072"/>
                </a:lnTo>
                <a:lnTo>
                  <a:pt x="5357969" y="7209822"/>
                </a:lnTo>
                <a:lnTo>
                  <a:pt x="5616719" y="7209822"/>
                </a:lnTo>
                <a:lnTo>
                  <a:pt x="5616719" y="6111272"/>
                </a:lnTo>
                <a:lnTo>
                  <a:pt x="5357969" y="6111272"/>
                </a:lnTo>
                <a:close/>
                <a:moveTo>
                  <a:pt x="4884222" y="6016022"/>
                </a:moveTo>
                <a:lnTo>
                  <a:pt x="5258161" y="6016022"/>
                </a:lnTo>
                <a:lnTo>
                  <a:pt x="5258161" y="6111272"/>
                </a:lnTo>
                <a:lnTo>
                  <a:pt x="4999412" y="6111272"/>
                </a:lnTo>
                <a:lnTo>
                  <a:pt x="4999412" y="7209822"/>
                </a:lnTo>
                <a:lnTo>
                  <a:pt x="5258161" y="7209822"/>
                </a:lnTo>
                <a:lnTo>
                  <a:pt x="5258161" y="7305072"/>
                </a:lnTo>
                <a:lnTo>
                  <a:pt x="4884222" y="7305072"/>
                </a:lnTo>
                <a:lnTo>
                  <a:pt x="4884222" y="7209822"/>
                </a:lnTo>
                <a:lnTo>
                  <a:pt x="4884222" y="6111272"/>
                </a:lnTo>
                <a:close/>
                <a:moveTo>
                  <a:pt x="8549915" y="6009685"/>
                </a:moveTo>
                <a:lnTo>
                  <a:pt x="8602985" y="6011561"/>
                </a:lnTo>
                <a:lnTo>
                  <a:pt x="8652106" y="6017138"/>
                </a:lnTo>
                <a:lnTo>
                  <a:pt x="8697411" y="6026333"/>
                </a:lnTo>
                <a:lnTo>
                  <a:pt x="8739033" y="6039065"/>
                </a:lnTo>
                <a:lnTo>
                  <a:pt x="8777104" y="6055253"/>
                </a:lnTo>
                <a:lnTo>
                  <a:pt x="8811757" y="6074814"/>
                </a:lnTo>
                <a:lnTo>
                  <a:pt x="8843125" y="6097669"/>
                </a:lnTo>
                <a:lnTo>
                  <a:pt x="8871340" y="6123735"/>
                </a:lnTo>
                <a:lnTo>
                  <a:pt x="8896535" y="6152931"/>
                </a:lnTo>
                <a:lnTo>
                  <a:pt x="8918843" y="6185176"/>
                </a:lnTo>
                <a:lnTo>
                  <a:pt x="8938397" y="6220388"/>
                </a:lnTo>
                <a:lnTo>
                  <a:pt x="8955329" y="6258486"/>
                </a:lnTo>
                <a:lnTo>
                  <a:pt x="8969772" y="6299388"/>
                </a:lnTo>
                <a:lnTo>
                  <a:pt x="8981858" y="6343014"/>
                </a:lnTo>
                <a:lnTo>
                  <a:pt x="8991721" y="6389281"/>
                </a:lnTo>
                <a:lnTo>
                  <a:pt x="8999494" y="6438109"/>
                </a:lnTo>
                <a:lnTo>
                  <a:pt x="9005308" y="6489415"/>
                </a:lnTo>
                <a:lnTo>
                  <a:pt x="9009296" y="6543120"/>
                </a:lnTo>
                <a:lnTo>
                  <a:pt x="9011592" y="6599140"/>
                </a:lnTo>
                <a:lnTo>
                  <a:pt x="9012328" y="6657396"/>
                </a:lnTo>
                <a:lnTo>
                  <a:pt x="9011628" y="6715902"/>
                </a:lnTo>
                <a:lnTo>
                  <a:pt x="9009431" y="6772172"/>
                </a:lnTo>
                <a:lnTo>
                  <a:pt x="9005595" y="6826122"/>
                </a:lnTo>
                <a:lnTo>
                  <a:pt x="8999974" y="6877672"/>
                </a:lnTo>
                <a:lnTo>
                  <a:pt x="8992426" y="6926737"/>
                </a:lnTo>
                <a:lnTo>
                  <a:pt x="8982805" y="6973236"/>
                </a:lnTo>
                <a:lnTo>
                  <a:pt x="8970968" y="7017085"/>
                </a:lnTo>
                <a:lnTo>
                  <a:pt x="8956771" y="7058203"/>
                </a:lnTo>
                <a:lnTo>
                  <a:pt x="8940070" y="7096506"/>
                </a:lnTo>
                <a:lnTo>
                  <a:pt x="8920721" y="7131912"/>
                </a:lnTo>
                <a:lnTo>
                  <a:pt x="8898580" y="7164338"/>
                </a:lnTo>
                <a:lnTo>
                  <a:pt x="8873503" y="7193701"/>
                </a:lnTo>
                <a:lnTo>
                  <a:pt x="8845346" y="7219920"/>
                </a:lnTo>
                <a:lnTo>
                  <a:pt x="8813966" y="7242910"/>
                </a:lnTo>
                <a:lnTo>
                  <a:pt x="8779217" y="7262591"/>
                </a:lnTo>
                <a:lnTo>
                  <a:pt x="8740956" y="7278878"/>
                </a:lnTo>
                <a:lnTo>
                  <a:pt x="8699039" y="7291690"/>
                </a:lnTo>
                <a:lnTo>
                  <a:pt x="8653323" y="7300944"/>
                </a:lnTo>
                <a:lnTo>
                  <a:pt x="8603663" y="7306557"/>
                </a:lnTo>
                <a:lnTo>
                  <a:pt x="8549915" y="7308446"/>
                </a:lnTo>
                <a:lnTo>
                  <a:pt x="8549915" y="7211624"/>
                </a:lnTo>
                <a:lnTo>
                  <a:pt x="8599600" y="7209391"/>
                </a:lnTo>
                <a:lnTo>
                  <a:pt x="8644521" y="7202770"/>
                </a:lnTo>
                <a:lnTo>
                  <a:pt x="8684903" y="7191881"/>
                </a:lnTo>
                <a:lnTo>
                  <a:pt x="8720974" y="7176841"/>
                </a:lnTo>
                <a:lnTo>
                  <a:pt x="8781085" y="7134781"/>
                </a:lnTo>
                <a:lnTo>
                  <a:pt x="8826665" y="7077537"/>
                </a:lnTo>
                <a:lnTo>
                  <a:pt x="8844570" y="7043516"/>
                </a:lnTo>
                <a:lnTo>
                  <a:pt x="8859522" y="7006054"/>
                </a:lnTo>
                <a:lnTo>
                  <a:pt x="8871746" y="6965269"/>
                </a:lnTo>
                <a:lnTo>
                  <a:pt x="8881469" y="6921279"/>
                </a:lnTo>
                <a:lnTo>
                  <a:pt x="8888916" y="6874203"/>
                </a:lnTo>
                <a:lnTo>
                  <a:pt x="8894315" y="6824158"/>
                </a:lnTo>
                <a:lnTo>
                  <a:pt x="8897891" y="6771263"/>
                </a:lnTo>
                <a:lnTo>
                  <a:pt x="8899870" y="6715637"/>
                </a:lnTo>
                <a:lnTo>
                  <a:pt x="8900480" y="6657396"/>
                </a:lnTo>
                <a:lnTo>
                  <a:pt x="8899838" y="6599727"/>
                </a:lnTo>
                <a:lnTo>
                  <a:pt x="8897768" y="6544638"/>
                </a:lnTo>
                <a:lnTo>
                  <a:pt x="8894058" y="6492245"/>
                </a:lnTo>
                <a:lnTo>
                  <a:pt x="8888492" y="6442669"/>
                </a:lnTo>
                <a:lnTo>
                  <a:pt x="8880857" y="6396025"/>
                </a:lnTo>
                <a:lnTo>
                  <a:pt x="8870939" y="6352434"/>
                </a:lnTo>
                <a:lnTo>
                  <a:pt x="8858523" y="6312013"/>
                </a:lnTo>
                <a:lnTo>
                  <a:pt x="8843396" y="6274881"/>
                </a:lnTo>
                <a:lnTo>
                  <a:pt x="8825343" y="6241155"/>
                </a:lnTo>
                <a:lnTo>
                  <a:pt x="8779605" y="6184396"/>
                </a:lnTo>
                <a:lnTo>
                  <a:pt x="8719596" y="6142683"/>
                </a:lnTo>
                <a:lnTo>
                  <a:pt x="8683704" y="6127764"/>
                </a:lnTo>
                <a:lnTo>
                  <a:pt x="8643603" y="6116961"/>
                </a:lnTo>
                <a:lnTo>
                  <a:pt x="8599078" y="6110393"/>
                </a:lnTo>
                <a:lnTo>
                  <a:pt x="8549915" y="6108177"/>
                </a:lnTo>
                <a:close/>
                <a:moveTo>
                  <a:pt x="8458035" y="6009685"/>
                </a:moveTo>
                <a:lnTo>
                  <a:pt x="8458035" y="6108177"/>
                </a:lnTo>
                <a:lnTo>
                  <a:pt x="8409149" y="6110393"/>
                </a:lnTo>
                <a:lnTo>
                  <a:pt x="8364868" y="6116961"/>
                </a:lnTo>
                <a:lnTo>
                  <a:pt x="8324982" y="6127764"/>
                </a:lnTo>
                <a:lnTo>
                  <a:pt x="8289276" y="6142683"/>
                </a:lnTo>
                <a:lnTo>
                  <a:pt x="8229561" y="6184396"/>
                </a:lnTo>
                <a:lnTo>
                  <a:pt x="8184027" y="6241155"/>
                </a:lnTo>
                <a:lnTo>
                  <a:pt x="8166048" y="6274881"/>
                </a:lnTo>
                <a:lnTo>
                  <a:pt x="8150978" y="6312013"/>
                </a:lnTo>
                <a:lnTo>
                  <a:pt x="8138606" y="6352434"/>
                </a:lnTo>
                <a:lnTo>
                  <a:pt x="8128718" y="6396025"/>
                </a:lnTo>
                <a:lnTo>
                  <a:pt x="8121104" y="6442669"/>
                </a:lnTo>
                <a:lnTo>
                  <a:pt x="8115551" y="6492245"/>
                </a:lnTo>
                <a:lnTo>
                  <a:pt x="8111847" y="6544638"/>
                </a:lnTo>
                <a:lnTo>
                  <a:pt x="8109780" y="6599727"/>
                </a:lnTo>
                <a:lnTo>
                  <a:pt x="8109138" y="6657396"/>
                </a:lnTo>
                <a:lnTo>
                  <a:pt x="8109764" y="6715637"/>
                </a:lnTo>
                <a:lnTo>
                  <a:pt x="8111786" y="6771263"/>
                </a:lnTo>
                <a:lnTo>
                  <a:pt x="8115423" y="6824158"/>
                </a:lnTo>
                <a:lnTo>
                  <a:pt x="8120892" y="6874203"/>
                </a:lnTo>
                <a:lnTo>
                  <a:pt x="8128413" y="6921279"/>
                </a:lnTo>
                <a:lnTo>
                  <a:pt x="8138202" y="6965269"/>
                </a:lnTo>
                <a:lnTo>
                  <a:pt x="8150479" y="7006054"/>
                </a:lnTo>
                <a:lnTo>
                  <a:pt x="8165461" y="7043516"/>
                </a:lnTo>
                <a:lnTo>
                  <a:pt x="8183367" y="7077537"/>
                </a:lnTo>
                <a:lnTo>
                  <a:pt x="8228821" y="7134781"/>
                </a:lnTo>
                <a:lnTo>
                  <a:pt x="8288587" y="7176841"/>
                </a:lnTo>
                <a:lnTo>
                  <a:pt x="8324382" y="7191881"/>
                </a:lnTo>
                <a:lnTo>
                  <a:pt x="8364410" y="7202770"/>
                </a:lnTo>
                <a:lnTo>
                  <a:pt x="8408888" y="7209391"/>
                </a:lnTo>
                <a:lnTo>
                  <a:pt x="8458035" y="7211624"/>
                </a:lnTo>
                <a:lnTo>
                  <a:pt x="8458035" y="7308446"/>
                </a:lnTo>
                <a:lnTo>
                  <a:pt x="8404513" y="7306557"/>
                </a:lnTo>
                <a:lnTo>
                  <a:pt x="8355032" y="7300944"/>
                </a:lnTo>
                <a:lnTo>
                  <a:pt x="8309453" y="7291690"/>
                </a:lnTo>
                <a:lnTo>
                  <a:pt x="8267634" y="7278878"/>
                </a:lnTo>
                <a:lnTo>
                  <a:pt x="8229437" y="7262591"/>
                </a:lnTo>
                <a:lnTo>
                  <a:pt x="8194720" y="7242910"/>
                </a:lnTo>
                <a:lnTo>
                  <a:pt x="8163344" y="7219920"/>
                </a:lnTo>
                <a:lnTo>
                  <a:pt x="8135168" y="7193701"/>
                </a:lnTo>
                <a:lnTo>
                  <a:pt x="8110051" y="7164338"/>
                </a:lnTo>
                <a:lnTo>
                  <a:pt x="8087855" y="7131912"/>
                </a:lnTo>
                <a:lnTo>
                  <a:pt x="8068437" y="7096506"/>
                </a:lnTo>
                <a:lnTo>
                  <a:pt x="8051660" y="7058203"/>
                </a:lnTo>
                <a:lnTo>
                  <a:pt x="8037381" y="7017085"/>
                </a:lnTo>
                <a:lnTo>
                  <a:pt x="8025461" y="6973236"/>
                </a:lnTo>
                <a:lnTo>
                  <a:pt x="8015759" y="6926737"/>
                </a:lnTo>
                <a:lnTo>
                  <a:pt x="8008136" y="6877672"/>
                </a:lnTo>
                <a:lnTo>
                  <a:pt x="8002451" y="6826122"/>
                </a:lnTo>
                <a:lnTo>
                  <a:pt x="7998564" y="6772172"/>
                </a:lnTo>
                <a:lnTo>
                  <a:pt x="7996334" y="6715902"/>
                </a:lnTo>
                <a:lnTo>
                  <a:pt x="7995623" y="6657396"/>
                </a:lnTo>
                <a:lnTo>
                  <a:pt x="7996358" y="6599140"/>
                </a:lnTo>
                <a:lnTo>
                  <a:pt x="7998654" y="6543120"/>
                </a:lnTo>
                <a:lnTo>
                  <a:pt x="8002643" y="6489415"/>
                </a:lnTo>
                <a:lnTo>
                  <a:pt x="8008456" y="6438109"/>
                </a:lnTo>
                <a:lnTo>
                  <a:pt x="8016229" y="6389281"/>
                </a:lnTo>
                <a:lnTo>
                  <a:pt x="8026092" y="6343014"/>
                </a:lnTo>
                <a:lnTo>
                  <a:pt x="8038178" y="6299388"/>
                </a:lnTo>
                <a:lnTo>
                  <a:pt x="8052621" y="6258486"/>
                </a:lnTo>
                <a:lnTo>
                  <a:pt x="8069553" y="6220388"/>
                </a:lnTo>
                <a:lnTo>
                  <a:pt x="8089106" y="6185176"/>
                </a:lnTo>
                <a:lnTo>
                  <a:pt x="8111414" y="6152931"/>
                </a:lnTo>
                <a:lnTo>
                  <a:pt x="8136610" y="6123735"/>
                </a:lnTo>
                <a:lnTo>
                  <a:pt x="8164825" y="6097669"/>
                </a:lnTo>
                <a:lnTo>
                  <a:pt x="8196192" y="6074814"/>
                </a:lnTo>
                <a:lnTo>
                  <a:pt x="8230845" y="6055253"/>
                </a:lnTo>
                <a:lnTo>
                  <a:pt x="8268916" y="6039065"/>
                </a:lnTo>
                <a:lnTo>
                  <a:pt x="8310538" y="6026333"/>
                </a:lnTo>
                <a:lnTo>
                  <a:pt x="8355843" y="6017138"/>
                </a:lnTo>
                <a:lnTo>
                  <a:pt x="8404964" y="6011561"/>
                </a:lnTo>
                <a:close/>
                <a:moveTo>
                  <a:pt x="1409388" y="6009685"/>
                </a:moveTo>
                <a:lnTo>
                  <a:pt x="1462459" y="6011561"/>
                </a:lnTo>
                <a:lnTo>
                  <a:pt x="1511579" y="6017138"/>
                </a:lnTo>
                <a:lnTo>
                  <a:pt x="1556884" y="6026333"/>
                </a:lnTo>
                <a:lnTo>
                  <a:pt x="1598508" y="6039065"/>
                </a:lnTo>
                <a:lnTo>
                  <a:pt x="1636578" y="6055253"/>
                </a:lnTo>
                <a:lnTo>
                  <a:pt x="1671231" y="6074814"/>
                </a:lnTo>
                <a:lnTo>
                  <a:pt x="1702600" y="6097669"/>
                </a:lnTo>
                <a:lnTo>
                  <a:pt x="1730815" y="6123735"/>
                </a:lnTo>
                <a:lnTo>
                  <a:pt x="1756009" y="6152931"/>
                </a:lnTo>
                <a:lnTo>
                  <a:pt x="1778317" y="6185176"/>
                </a:lnTo>
                <a:lnTo>
                  <a:pt x="1797871" y="6220388"/>
                </a:lnTo>
                <a:lnTo>
                  <a:pt x="1814804" y="6258486"/>
                </a:lnTo>
                <a:lnTo>
                  <a:pt x="1829247" y="6299388"/>
                </a:lnTo>
                <a:lnTo>
                  <a:pt x="1841333" y="6343014"/>
                </a:lnTo>
                <a:lnTo>
                  <a:pt x="1851196" y="6389281"/>
                </a:lnTo>
                <a:lnTo>
                  <a:pt x="1858969" y="6438109"/>
                </a:lnTo>
                <a:lnTo>
                  <a:pt x="1864782" y="6489415"/>
                </a:lnTo>
                <a:lnTo>
                  <a:pt x="1868770" y="6543120"/>
                </a:lnTo>
                <a:lnTo>
                  <a:pt x="1871067" y="6599140"/>
                </a:lnTo>
                <a:lnTo>
                  <a:pt x="1871802" y="6657396"/>
                </a:lnTo>
                <a:lnTo>
                  <a:pt x="1871103" y="6715902"/>
                </a:lnTo>
                <a:lnTo>
                  <a:pt x="1868906" y="6772172"/>
                </a:lnTo>
                <a:lnTo>
                  <a:pt x="1865069" y="6826122"/>
                </a:lnTo>
                <a:lnTo>
                  <a:pt x="1859448" y="6877672"/>
                </a:lnTo>
                <a:lnTo>
                  <a:pt x="1851900" y="6926737"/>
                </a:lnTo>
                <a:lnTo>
                  <a:pt x="1842280" y="6973236"/>
                </a:lnTo>
                <a:lnTo>
                  <a:pt x="1830443" y="7017085"/>
                </a:lnTo>
                <a:lnTo>
                  <a:pt x="1816246" y="7058203"/>
                </a:lnTo>
                <a:lnTo>
                  <a:pt x="1799544" y="7096506"/>
                </a:lnTo>
                <a:lnTo>
                  <a:pt x="1780195" y="7131912"/>
                </a:lnTo>
                <a:lnTo>
                  <a:pt x="1758055" y="7164338"/>
                </a:lnTo>
                <a:lnTo>
                  <a:pt x="1732977" y="7193701"/>
                </a:lnTo>
                <a:lnTo>
                  <a:pt x="1704820" y="7219920"/>
                </a:lnTo>
                <a:lnTo>
                  <a:pt x="1673440" y="7242910"/>
                </a:lnTo>
                <a:lnTo>
                  <a:pt x="1638691" y="7262591"/>
                </a:lnTo>
                <a:lnTo>
                  <a:pt x="1600431" y="7278878"/>
                </a:lnTo>
                <a:lnTo>
                  <a:pt x="1558512" y="7291690"/>
                </a:lnTo>
                <a:lnTo>
                  <a:pt x="1512797" y="7300944"/>
                </a:lnTo>
                <a:lnTo>
                  <a:pt x="1463136" y="7306557"/>
                </a:lnTo>
                <a:lnTo>
                  <a:pt x="1409388" y="7308446"/>
                </a:lnTo>
                <a:lnTo>
                  <a:pt x="1409388" y="7211624"/>
                </a:lnTo>
                <a:lnTo>
                  <a:pt x="1459074" y="7209391"/>
                </a:lnTo>
                <a:lnTo>
                  <a:pt x="1503995" y="7202770"/>
                </a:lnTo>
                <a:lnTo>
                  <a:pt x="1544377" y="7191881"/>
                </a:lnTo>
                <a:lnTo>
                  <a:pt x="1580448" y="7176841"/>
                </a:lnTo>
                <a:lnTo>
                  <a:pt x="1640559" y="7134781"/>
                </a:lnTo>
                <a:lnTo>
                  <a:pt x="1686139" y="7077537"/>
                </a:lnTo>
                <a:lnTo>
                  <a:pt x="1704044" y="7043516"/>
                </a:lnTo>
                <a:lnTo>
                  <a:pt x="1718997" y="7006054"/>
                </a:lnTo>
                <a:lnTo>
                  <a:pt x="1731220" y="6965269"/>
                </a:lnTo>
                <a:lnTo>
                  <a:pt x="1740944" y="6921279"/>
                </a:lnTo>
                <a:lnTo>
                  <a:pt x="1748390" y="6874203"/>
                </a:lnTo>
                <a:lnTo>
                  <a:pt x="1753790" y="6824158"/>
                </a:lnTo>
                <a:lnTo>
                  <a:pt x="1757366" y="6771263"/>
                </a:lnTo>
                <a:lnTo>
                  <a:pt x="1759345" y="6715637"/>
                </a:lnTo>
                <a:lnTo>
                  <a:pt x="1759955" y="6657396"/>
                </a:lnTo>
                <a:lnTo>
                  <a:pt x="1759313" y="6599727"/>
                </a:lnTo>
                <a:lnTo>
                  <a:pt x="1757242" y="6544638"/>
                </a:lnTo>
                <a:lnTo>
                  <a:pt x="1753533" y="6492245"/>
                </a:lnTo>
                <a:lnTo>
                  <a:pt x="1747967" y="6442669"/>
                </a:lnTo>
                <a:lnTo>
                  <a:pt x="1740332" y="6396025"/>
                </a:lnTo>
                <a:lnTo>
                  <a:pt x="1730413" y="6352434"/>
                </a:lnTo>
                <a:lnTo>
                  <a:pt x="1717998" y="6312013"/>
                </a:lnTo>
                <a:lnTo>
                  <a:pt x="1702871" y="6274881"/>
                </a:lnTo>
                <a:lnTo>
                  <a:pt x="1684817" y="6241155"/>
                </a:lnTo>
                <a:lnTo>
                  <a:pt x="1639079" y="6184396"/>
                </a:lnTo>
                <a:lnTo>
                  <a:pt x="1579070" y="6142683"/>
                </a:lnTo>
                <a:lnTo>
                  <a:pt x="1543178" y="6127764"/>
                </a:lnTo>
                <a:lnTo>
                  <a:pt x="1503076" y="6116961"/>
                </a:lnTo>
                <a:lnTo>
                  <a:pt x="1458551" y="6110393"/>
                </a:lnTo>
                <a:lnTo>
                  <a:pt x="1409388" y="6108177"/>
                </a:lnTo>
                <a:close/>
                <a:moveTo>
                  <a:pt x="1317509" y="6009685"/>
                </a:moveTo>
                <a:lnTo>
                  <a:pt x="1317509" y="6108177"/>
                </a:lnTo>
                <a:lnTo>
                  <a:pt x="1268623" y="6110393"/>
                </a:lnTo>
                <a:lnTo>
                  <a:pt x="1224343" y="6116961"/>
                </a:lnTo>
                <a:lnTo>
                  <a:pt x="1184456" y="6127764"/>
                </a:lnTo>
                <a:lnTo>
                  <a:pt x="1148750" y="6142683"/>
                </a:lnTo>
                <a:lnTo>
                  <a:pt x="1089035" y="6184396"/>
                </a:lnTo>
                <a:lnTo>
                  <a:pt x="1043502" y="6241155"/>
                </a:lnTo>
                <a:lnTo>
                  <a:pt x="1025523" y="6274881"/>
                </a:lnTo>
                <a:lnTo>
                  <a:pt x="1010453" y="6312013"/>
                </a:lnTo>
                <a:lnTo>
                  <a:pt x="998080" y="6352434"/>
                </a:lnTo>
                <a:lnTo>
                  <a:pt x="988193" y="6396025"/>
                </a:lnTo>
                <a:lnTo>
                  <a:pt x="980578" y="6442669"/>
                </a:lnTo>
                <a:lnTo>
                  <a:pt x="975024" y="6492245"/>
                </a:lnTo>
                <a:lnTo>
                  <a:pt x="971321" y="6544638"/>
                </a:lnTo>
                <a:lnTo>
                  <a:pt x="969254" y="6599727"/>
                </a:lnTo>
                <a:lnTo>
                  <a:pt x="968612" y="6657396"/>
                </a:lnTo>
                <a:lnTo>
                  <a:pt x="969237" y="6715637"/>
                </a:lnTo>
                <a:lnTo>
                  <a:pt x="971260" y="6771263"/>
                </a:lnTo>
                <a:lnTo>
                  <a:pt x="974897" y="6824158"/>
                </a:lnTo>
                <a:lnTo>
                  <a:pt x="980366" y="6874203"/>
                </a:lnTo>
                <a:lnTo>
                  <a:pt x="987887" y="6921279"/>
                </a:lnTo>
                <a:lnTo>
                  <a:pt x="997676" y="6965269"/>
                </a:lnTo>
                <a:lnTo>
                  <a:pt x="1009953" y="7006054"/>
                </a:lnTo>
                <a:lnTo>
                  <a:pt x="1024935" y="7043516"/>
                </a:lnTo>
                <a:lnTo>
                  <a:pt x="1042841" y="7077537"/>
                </a:lnTo>
                <a:lnTo>
                  <a:pt x="1088295" y="7134781"/>
                </a:lnTo>
                <a:lnTo>
                  <a:pt x="1148061" y="7176841"/>
                </a:lnTo>
                <a:lnTo>
                  <a:pt x="1183856" y="7191881"/>
                </a:lnTo>
                <a:lnTo>
                  <a:pt x="1223884" y="7202770"/>
                </a:lnTo>
                <a:lnTo>
                  <a:pt x="1268362" y="7209391"/>
                </a:lnTo>
                <a:lnTo>
                  <a:pt x="1317509" y="7211624"/>
                </a:lnTo>
                <a:lnTo>
                  <a:pt x="1317509" y="7308446"/>
                </a:lnTo>
                <a:lnTo>
                  <a:pt x="1263987" y="7306557"/>
                </a:lnTo>
                <a:lnTo>
                  <a:pt x="1214506" y="7300944"/>
                </a:lnTo>
                <a:lnTo>
                  <a:pt x="1168927" y="7291690"/>
                </a:lnTo>
                <a:lnTo>
                  <a:pt x="1127108" y="7278878"/>
                </a:lnTo>
                <a:lnTo>
                  <a:pt x="1088911" y="7262591"/>
                </a:lnTo>
                <a:lnTo>
                  <a:pt x="1054194" y="7242910"/>
                </a:lnTo>
                <a:lnTo>
                  <a:pt x="1022818" y="7219920"/>
                </a:lnTo>
                <a:lnTo>
                  <a:pt x="994641" y="7193701"/>
                </a:lnTo>
                <a:lnTo>
                  <a:pt x="969525" y="7164338"/>
                </a:lnTo>
                <a:lnTo>
                  <a:pt x="947329" y="7131912"/>
                </a:lnTo>
                <a:lnTo>
                  <a:pt x="927911" y="7096506"/>
                </a:lnTo>
                <a:lnTo>
                  <a:pt x="911133" y="7058203"/>
                </a:lnTo>
                <a:lnTo>
                  <a:pt x="896855" y="7017085"/>
                </a:lnTo>
                <a:lnTo>
                  <a:pt x="884935" y="6973236"/>
                </a:lnTo>
                <a:lnTo>
                  <a:pt x="875233" y="6926737"/>
                </a:lnTo>
                <a:lnTo>
                  <a:pt x="867610" y="6877672"/>
                </a:lnTo>
                <a:lnTo>
                  <a:pt x="861924" y="6826122"/>
                </a:lnTo>
                <a:lnTo>
                  <a:pt x="858037" y="6772172"/>
                </a:lnTo>
                <a:lnTo>
                  <a:pt x="855809" y="6715902"/>
                </a:lnTo>
                <a:lnTo>
                  <a:pt x="855097" y="6657396"/>
                </a:lnTo>
                <a:lnTo>
                  <a:pt x="855832" y="6599140"/>
                </a:lnTo>
                <a:lnTo>
                  <a:pt x="858128" y="6543120"/>
                </a:lnTo>
                <a:lnTo>
                  <a:pt x="862117" y="6489415"/>
                </a:lnTo>
                <a:lnTo>
                  <a:pt x="867930" y="6438109"/>
                </a:lnTo>
                <a:lnTo>
                  <a:pt x="875703" y="6389281"/>
                </a:lnTo>
                <a:lnTo>
                  <a:pt x="885565" y="6343014"/>
                </a:lnTo>
                <a:lnTo>
                  <a:pt x="897652" y="6299388"/>
                </a:lnTo>
                <a:lnTo>
                  <a:pt x="912095" y="6258486"/>
                </a:lnTo>
                <a:lnTo>
                  <a:pt x="929026" y="6220388"/>
                </a:lnTo>
                <a:lnTo>
                  <a:pt x="948580" y="6185176"/>
                </a:lnTo>
                <a:lnTo>
                  <a:pt x="970888" y="6152931"/>
                </a:lnTo>
                <a:lnTo>
                  <a:pt x="996084" y="6123735"/>
                </a:lnTo>
                <a:lnTo>
                  <a:pt x="1024299" y="6097669"/>
                </a:lnTo>
                <a:lnTo>
                  <a:pt x="1055666" y="6074814"/>
                </a:lnTo>
                <a:lnTo>
                  <a:pt x="1090319" y="6055253"/>
                </a:lnTo>
                <a:lnTo>
                  <a:pt x="1128390" y="6039065"/>
                </a:lnTo>
                <a:lnTo>
                  <a:pt x="1170012" y="6026333"/>
                </a:lnTo>
                <a:lnTo>
                  <a:pt x="1215317" y="6017138"/>
                </a:lnTo>
                <a:lnTo>
                  <a:pt x="1264438" y="6011561"/>
                </a:lnTo>
                <a:close/>
                <a:moveTo>
                  <a:pt x="505166" y="5528915"/>
                </a:moveTo>
                <a:lnTo>
                  <a:pt x="547395" y="5532593"/>
                </a:lnTo>
                <a:lnTo>
                  <a:pt x="580078" y="5545817"/>
                </a:lnTo>
                <a:lnTo>
                  <a:pt x="601179" y="5571874"/>
                </a:lnTo>
                <a:lnTo>
                  <a:pt x="608666" y="5614052"/>
                </a:lnTo>
                <a:lnTo>
                  <a:pt x="601179" y="5658159"/>
                </a:lnTo>
                <a:lnTo>
                  <a:pt x="580078" y="5685208"/>
                </a:lnTo>
                <a:lnTo>
                  <a:pt x="547395" y="5698798"/>
                </a:lnTo>
                <a:lnTo>
                  <a:pt x="505166" y="5702529"/>
                </a:lnTo>
                <a:lnTo>
                  <a:pt x="462936" y="5698798"/>
                </a:lnTo>
                <a:lnTo>
                  <a:pt x="430252" y="5685208"/>
                </a:lnTo>
                <a:lnTo>
                  <a:pt x="409151" y="5658159"/>
                </a:lnTo>
                <a:lnTo>
                  <a:pt x="401665" y="5614052"/>
                </a:lnTo>
                <a:lnTo>
                  <a:pt x="409385" y="5571874"/>
                </a:lnTo>
                <a:lnTo>
                  <a:pt x="430878" y="5545817"/>
                </a:lnTo>
                <a:lnTo>
                  <a:pt x="463640" y="5532593"/>
                </a:lnTo>
                <a:close/>
                <a:moveTo>
                  <a:pt x="2465444" y="5378664"/>
                </a:moveTo>
                <a:lnTo>
                  <a:pt x="3370236" y="5378664"/>
                </a:lnTo>
                <a:lnTo>
                  <a:pt x="3370236" y="5485502"/>
                </a:lnTo>
                <a:lnTo>
                  <a:pt x="2465444" y="5485502"/>
                </a:lnTo>
                <a:close/>
                <a:moveTo>
                  <a:pt x="2465444" y="5029768"/>
                </a:moveTo>
                <a:lnTo>
                  <a:pt x="3370236" y="5029768"/>
                </a:lnTo>
                <a:lnTo>
                  <a:pt x="3370236" y="5136606"/>
                </a:lnTo>
                <a:lnTo>
                  <a:pt x="2465444" y="5136606"/>
                </a:lnTo>
                <a:close/>
                <a:moveTo>
                  <a:pt x="505166" y="4827784"/>
                </a:moveTo>
                <a:lnTo>
                  <a:pt x="547395" y="4831253"/>
                </a:lnTo>
                <a:lnTo>
                  <a:pt x="580078" y="4844268"/>
                </a:lnTo>
                <a:lnTo>
                  <a:pt x="601179" y="4870743"/>
                </a:lnTo>
                <a:lnTo>
                  <a:pt x="608666" y="4914590"/>
                </a:lnTo>
                <a:lnTo>
                  <a:pt x="601179" y="4957028"/>
                </a:lnTo>
                <a:lnTo>
                  <a:pt x="580078" y="4983660"/>
                </a:lnTo>
                <a:lnTo>
                  <a:pt x="547395" y="4997458"/>
                </a:lnTo>
                <a:lnTo>
                  <a:pt x="505166" y="5001397"/>
                </a:lnTo>
                <a:lnTo>
                  <a:pt x="463901" y="4997458"/>
                </a:lnTo>
                <a:lnTo>
                  <a:pt x="431713" y="4983660"/>
                </a:lnTo>
                <a:lnTo>
                  <a:pt x="410794" y="4957028"/>
                </a:lnTo>
                <a:lnTo>
                  <a:pt x="403334" y="4914590"/>
                </a:lnTo>
                <a:lnTo>
                  <a:pt x="410794" y="4870743"/>
                </a:lnTo>
                <a:lnTo>
                  <a:pt x="431713" y="4844268"/>
                </a:lnTo>
                <a:lnTo>
                  <a:pt x="463901" y="4831253"/>
                </a:lnTo>
                <a:close/>
                <a:moveTo>
                  <a:pt x="4111651" y="4507266"/>
                </a:moveTo>
                <a:lnTo>
                  <a:pt x="4164721" y="4509142"/>
                </a:lnTo>
                <a:lnTo>
                  <a:pt x="4213842" y="4514719"/>
                </a:lnTo>
                <a:lnTo>
                  <a:pt x="4259148" y="4523914"/>
                </a:lnTo>
                <a:lnTo>
                  <a:pt x="4300769" y="4536646"/>
                </a:lnTo>
                <a:lnTo>
                  <a:pt x="4338840" y="4552834"/>
                </a:lnTo>
                <a:lnTo>
                  <a:pt x="4373493" y="4572395"/>
                </a:lnTo>
                <a:lnTo>
                  <a:pt x="4404861" y="4595250"/>
                </a:lnTo>
                <a:lnTo>
                  <a:pt x="4433076" y="4621316"/>
                </a:lnTo>
                <a:lnTo>
                  <a:pt x="4458271" y="4650512"/>
                </a:lnTo>
                <a:lnTo>
                  <a:pt x="4480579" y="4682757"/>
                </a:lnTo>
                <a:lnTo>
                  <a:pt x="4500133" y="4717969"/>
                </a:lnTo>
                <a:lnTo>
                  <a:pt x="4517065" y="4756067"/>
                </a:lnTo>
                <a:lnTo>
                  <a:pt x="4531508" y="4796969"/>
                </a:lnTo>
                <a:lnTo>
                  <a:pt x="4543594" y="4840595"/>
                </a:lnTo>
                <a:lnTo>
                  <a:pt x="4553457" y="4886863"/>
                </a:lnTo>
                <a:lnTo>
                  <a:pt x="4561230" y="4935691"/>
                </a:lnTo>
                <a:lnTo>
                  <a:pt x="4567043" y="4986997"/>
                </a:lnTo>
                <a:lnTo>
                  <a:pt x="4571032" y="5040702"/>
                </a:lnTo>
                <a:lnTo>
                  <a:pt x="4573328" y="5096722"/>
                </a:lnTo>
                <a:lnTo>
                  <a:pt x="4574064" y="5154978"/>
                </a:lnTo>
                <a:lnTo>
                  <a:pt x="4573364" y="5213483"/>
                </a:lnTo>
                <a:lnTo>
                  <a:pt x="4571167" y="5269753"/>
                </a:lnTo>
                <a:lnTo>
                  <a:pt x="4567331" y="5323704"/>
                </a:lnTo>
                <a:lnTo>
                  <a:pt x="4561710" y="5375253"/>
                </a:lnTo>
                <a:lnTo>
                  <a:pt x="4554162" y="5424318"/>
                </a:lnTo>
                <a:lnTo>
                  <a:pt x="4544541" y="5470817"/>
                </a:lnTo>
                <a:lnTo>
                  <a:pt x="4532704" y="5514667"/>
                </a:lnTo>
                <a:lnTo>
                  <a:pt x="4518507" y="5555784"/>
                </a:lnTo>
                <a:lnTo>
                  <a:pt x="4501806" y="5594087"/>
                </a:lnTo>
                <a:lnTo>
                  <a:pt x="4482457" y="5629493"/>
                </a:lnTo>
                <a:lnTo>
                  <a:pt x="4460316" y="5661919"/>
                </a:lnTo>
                <a:lnTo>
                  <a:pt x="4435240" y="5691283"/>
                </a:lnTo>
                <a:lnTo>
                  <a:pt x="4407083" y="5717501"/>
                </a:lnTo>
                <a:lnTo>
                  <a:pt x="4375702" y="5740492"/>
                </a:lnTo>
                <a:lnTo>
                  <a:pt x="4340953" y="5760173"/>
                </a:lnTo>
                <a:lnTo>
                  <a:pt x="4302693" y="5776460"/>
                </a:lnTo>
                <a:lnTo>
                  <a:pt x="4260776" y="5789272"/>
                </a:lnTo>
                <a:lnTo>
                  <a:pt x="4215059" y="5798526"/>
                </a:lnTo>
                <a:lnTo>
                  <a:pt x="4165399" y="5804139"/>
                </a:lnTo>
                <a:lnTo>
                  <a:pt x="4111651" y="5806028"/>
                </a:lnTo>
                <a:lnTo>
                  <a:pt x="4111651" y="5709205"/>
                </a:lnTo>
                <a:lnTo>
                  <a:pt x="4161336" y="5706972"/>
                </a:lnTo>
                <a:lnTo>
                  <a:pt x="4206256" y="5700351"/>
                </a:lnTo>
                <a:lnTo>
                  <a:pt x="4246640" y="5689462"/>
                </a:lnTo>
                <a:lnTo>
                  <a:pt x="4282711" y="5674422"/>
                </a:lnTo>
                <a:lnTo>
                  <a:pt x="4342822" y="5632362"/>
                </a:lnTo>
                <a:lnTo>
                  <a:pt x="4388401" y="5575118"/>
                </a:lnTo>
                <a:lnTo>
                  <a:pt x="4406307" y="5541097"/>
                </a:lnTo>
                <a:lnTo>
                  <a:pt x="4421259" y="5503636"/>
                </a:lnTo>
                <a:lnTo>
                  <a:pt x="4433483" y="5462851"/>
                </a:lnTo>
                <a:lnTo>
                  <a:pt x="4443206" y="5418861"/>
                </a:lnTo>
                <a:lnTo>
                  <a:pt x="4450653" y="5371784"/>
                </a:lnTo>
                <a:lnTo>
                  <a:pt x="4456052" y="5321740"/>
                </a:lnTo>
                <a:lnTo>
                  <a:pt x="4459628" y="5268845"/>
                </a:lnTo>
                <a:lnTo>
                  <a:pt x="4461607" y="5213218"/>
                </a:lnTo>
                <a:lnTo>
                  <a:pt x="4462217" y="5154978"/>
                </a:lnTo>
                <a:lnTo>
                  <a:pt x="4461575" y="5097309"/>
                </a:lnTo>
                <a:lnTo>
                  <a:pt x="4459505" y="5042220"/>
                </a:lnTo>
                <a:lnTo>
                  <a:pt x="4455795" y="4989827"/>
                </a:lnTo>
                <a:lnTo>
                  <a:pt x="4450229" y="4940251"/>
                </a:lnTo>
                <a:lnTo>
                  <a:pt x="4442594" y="4893607"/>
                </a:lnTo>
                <a:lnTo>
                  <a:pt x="4432676" y="4850015"/>
                </a:lnTo>
                <a:lnTo>
                  <a:pt x="4420260" y="4809594"/>
                </a:lnTo>
                <a:lnTo>
                  <a:pt x="4405133" y="4772462"/>
                </a:lnTo>
                <a:lnTo>
                  <a:pt x="4387080" y="4738736"/>
                </a:lnTo>
                <a:lnTo>
                  <a:pt x="4341342" y="4681977"/>
                </a:lnTo>
                <a:lnTo>
                  <a:pt x="4281333" y="4640264"/>
                </a:lnTo>
                <a:lnTo>
                  <a:pt x="4245441" y="4625345"/>
                </a:lnTo>
                <a:lnTo>
                  <a:pt x="4205339" y="4614542"/>
                </a:lnTo>
                <a:lnTo>
                  <a:pt x="4160814" y="4607974"/>
                </a:lnTo>
                <a:lnTo>
                  <a:pt x="4111651" y="4605758"/>
                </a:lnTo>
                <a:close/>
                <a:moveTo>
                  <a:pt x="4019781" y="4507266"/>
                </a:moveTo>
                <a:lnTo>
                  <a:pt x="4019781" y="4605758"/>
                </a:lnTo>
                <a:lnTo>
                  <a:pt x="3970895" y="4607974"/>
                </a:lnTo>
                <a:lnTo>
                  <a:pt x="3926615" y="4614542"/>
                </a:lnTo>
                <a:lnTo>
                  <a:pt x="3886728" y="4625345"/>
                </a:lnTo>
                <a:lnTo>
                  <a:pt x="3851022" y="4640264"/>
                </a:lnTo>
                <a:lnTo>
                  <a:pt x="3791307" y="4681977"/>
                </a:lnTo>
                <a:lnTo>
                  <a:pt x="3745774" y="4738736"/>
                </a:lnTo>
                <a:lnTo>
                  <a:pt x="3727795" y="4772462"/>
                </a:lnTo>
                <a:lnTo>
                  <a:pt x="3712725" y="4809594"/>
                </a:lnTo>
                <a:lnTo>
                  <a:pt x="3700353" y="4850015"/>
                </a:lnTo>
                <a:lnTo>
                  <a:pt x="3690465" y="4893607"/>
                </a:lnTo>
                <a:lnTo>
                  <a:pt x="3682853" y="4940251"/>
                </a:lnTo>
                <a:lnTo>
                  <a:pt x="3677301" y="4989827"/>
                </a:lnTo>
                <a:lnTo>
                  <a:pt x="3673597" y="5042220"/>
                </a:lnTo>
                <a:lnTo>
                  <a:pt x="3671530" y="5097309"/>
                </a:lnTo>
                <a:lnTo>
                  <a:pt x="3670887" y="5154978"/>
                </a:lnTo>
                <a:lnTo>
                  <a:pt x="3671513" y="5213218"/>
                </a:lnTo>
                <a:lnTo>
                  <a:pt x="3673535" y="5268845"/>
                </a:lnTo>
                <a:lnTo>
                  <a:pt x="3677173" y="5321740"/>
                </a:lnTo>
                <a:lnTo>
                  <a:pt x="3682642" y="5371784"/>
                </a:lnTo>
                <a:lnTo>
                  <a:pt x="3690160" y="5418861"/>
                </a:lnTo>
                <a:lnTo>
                  <a:pt x="3699949" y="5462851"/>
                </a:lnTo>
                <a:lnTo>
                  <a:pt x="3712226" y="5503636"/>
                </a:lnTo>
                <a:lnTo>
                  <a:pt x="3727208" y="5541097"/>
                </a:lnTo>
                <a:lnTo>
                  <a:pt x="3745113" y="5575118"/>
                </a:lnTo>
                <a:lnTo>
                  <a:pt x="3790567" y="5632362"/>
                </a:lnTo>
                <a:lnTo>
                  <a:pt x="3850333" y="5674422"/>
                </a:lnTo>
                <a:lnTo>
                  <a:pt x="3886128" y="5689462"/>
                </a:lnTo>
                <a:lnTo>
                  <a:pt x="3926156" y="5700351"/>
                </a:lnTo>
                <a:lnTo>
                  <a:pt x="3970634" y="5706972"/>
                </a:lnTo>
                <a:lnTo>
                  <a:pt x="4019781" y="5709205"/>
                </a:lnTo>
                <a:lnTo>
                  <a:pt x="4019781" y="5806028"/>
                </a:lnTo>
                <a:lnTo>
                  <a:pt x="3966259" y="5804139"/>
                </a:lnTo>
                <a:lnTo>
                  <a:pt x="3916778" y="5798526"/>
                </a:lnTo>
                <a:lnTo>
                  <a:pt x="3871199" y="5789272"/>
                </a:lnTo>
                <a:lnTo>
                  <a:pt x="3829380" y="5776460"/>
                </a:lnTo>
                <a:lnTo>
                  <a:pt x="3791183" y="5760173"/>
                </a:lnTo>
                <a:lnTo>
                  <a:pt x="3756466" y="5740492"/>
                </a:lnTo>
                <a:lnTo>
                  <a:pt x="3725090" y="5717501"/>
                </a:lnTo>
                <a:lnTo>
                  <a:pt x="3696914" y="5691283"/>
                </a:lnTo>
                <a:lnTo>
                  <a:pt x="3671799" y="5661919"/>
                </a:lnTo>
                <a:lnTo>
                  <a:pt x="3649604" y="5629493"/>
                </a:lnTo>
                <a:lnTo>
                  <a:pt x="3630186" y="5594087"/>
                </a:lnTo>
                <a:lnTo>
                  <a:pt x="3613408" y="5555784"/>
                </a:lnTo>
                <a:lnTo>
                  <a:pt x="3599129" y="5514667"/>
                </a:lnTo>
                <a:lnTo>
                  <a:pt x="3587210" y="5470817"/>
                </a:lnTo>
                <a:lnTo>
                  <a:pt x="3577507" y="5424318"/>
                </a:lnTo>
                <a:lnTo>
                  <a:pt x="3569884" y="5375253"/>
                </a:lnTo>
                <a:lnTo>
                  <a:pt x="3564199" y="5323704"/>
                </a:lnTo>
                <a:lnTo>
                  <a:pt x="3560312" y="5269753"/>
                </a:lnTo>
                <a:lnTo>
                  <a:pt x="3558082" y="5213483"/>
                </a:lnTo>
                <a:lnTo>
                  <a:pt x="3557372" y="5154978"/>
                </a:lnTo>
                <a:lnTo>
                  <a:pt x="3558107" y="5096722"/>
                </a:lnTo>
                <a:lnTo>
                  <a:pt x="3560402" y="5040702"/>
                </a:lnTo>
                <a:lnTo>
                  <a:pt x="3564391" y="4986997"/>
                </a:lnTo>
                <a:lnTo>
                  <a:pt x="3570205" y="4935691"/>
                </a:lnTo>
                <a:lnTo>
                  <a:pt x="3577977" y="4886863"/>
                </a:lnTo>
                <a:lnTo>
                  <a:pt x="3587840" y="4840595"/>
                </a:lnTo>
                <a:lnTo>
                  <a:pt x="3599926" y="4796969"/>
                </a:lnTo>
                <a:lnTo>
                  <a:pt x="3614369" y="4756067"/>
                </a:lnTo>
                <a:lnTo>
                  <a:pt x="3631302" y="4717969"/>
                </a:lnTo>
                <a:lnTo>
                  <a:pt x="3650855" y="4682757"/>
                </a:lnTo>
                <a:lnTo>
                  <a:pt x="3673163" y="4650512"/>
                </a:lnTo>
                <a:lnTo>
                  <a:pt x="3698356" y="4621316"/>
                </a:lnTo>
                <a:lnTo>
                  <a:pt x="3726571" y="4595250"/>
                </a:lnTo>
                <a:lnTo>
                  <a:pt x="3757938" y="4572395"/>
                </a:lnTo>
                <a:lnTo>
                  <a:pt x="3792591" y="4552834"/>
                </a:lnTo>
                <a:lnTo>
                  <a:pt x="3830662" y="4536646"/>
                </a:lnTo>
                <a:lnTo>
                  <a:pt x="3872284" y="4523914"/>
                </a:lnTo>
                <a:lnTo>
                  <a:pt x="3917589" y="4514719"/>
                </a:lnTo>
                <a:lnTo>
                  <a:pt x="3966710" y="4509142"/>
                </a:lnTo>
                <a:close/>
                <a:moveTo>
                  <a:pt x="0" y="3876244"/>
                </a:moveTo>
                <a:lnTo>
                  <a:pt x="904792" y="3876244"/>
                </a:lnTo>
                <a:lnTo>
                  <a:pt x="904792" y="3983083"/>
                </a:lnTo>
                <a:lnTo>
                  <a:pt x="0" y="3983083"/>
                </a:lnTo>
                <a:close/>
                <a:moveTo>
                  <a:pt x="0" y="3527349"/>
                </a:moveTo>
                <a:lnTo>
                  <a:pt x="904792" y="3527349"/>
                </a:lnTo>
                <a:lnTo>
                  <a:pt x="904792" y="3634187"/>
                </a:lnTo>
                <a:lnTo>
                  <a:pt x="0" y="3634187"/>
                </a:lnTo>
                <a:close/>
                <a:moveTo>
                  <a:pt x="1599039" y="3011203"/>
                </a:moveTo>
                <a:lnTo>
                  <a:pt x="1972978" y="3011203"/>
                </a:lnTo>
                <a:lnTo>
                  <a:pt x="1972978" y="3106453"/>
                </a:lnTo>
                <a:lnTo>
                  <a:pt x="1972978" y="4205003"/>
                </a:lnTo>
                <a:lnTo>
                  <a:pt x="1972978" y="4300253"/>
                </a:lnTo>
                <a:lnTo>
                  <a:pt x="1599039" y="4300253"/>
                </a:lnTo>
                <a:lnTo>
                  <a:pt x="1599039" y="4205003"/>
                </a:lnTo>
                <a:lnTo>
                  <a:pt x="1857788" y="4205003"/>
                </a:lnTo>
                <a:lnTo>
                  <a:pt x="1857788" y="3106453"/>
                </a:lnTo>
                <a:lnTo>
                  <a:pt x="1599039" y="3106453"/>
                </a:lnTo>
                <a:close/>
                <a:moveTo>
                  <a:pt x="1125303" y="3011203"/>
                </a:moveTo>
                <a:lnTo>
                  <a:pt x="1499242" y="3011203"/>
                </a:lnTo>
                <a:lnTo>
                  <a:pt x="1499242" y="3106453"/>
                </a:lnTo>
                <a:lnTo>
                  <a:pt x="1240492" y="3106453"/>
                </a:lnTo>
                <a:lnTo>
                  <a:pt x="1240492" y="4205003"/>
                </a:lnTo>
                <a:lnTo>
                  <a:pt x="1499242" y="4205003"/>
                </a:lnTo>
                <a:lnTo>
                  <a:pt x="1499242" y="4300253"/>
                </a:lnTo>
                <a:lnTo>
                  <a:pt x="1125303" y="4300253"/>
                </a:lnTo>
                <a:lnTo>
                  <a:pt x="1125303" y="4205003"/>
                </a:lnTo>
                <a:lnTo>
                  <a:pt x="1125303" y="3106453"/>
                </a:lnTo>
                <a:close/>
                <a:moveTo>
                  <a:pt x="3600665" y="3004837"/>
                </a:moveTo>
                <a:lnTo>
                  <a:pt x="3653736" y="3006713"/>
                </a:lnTo>
                <a:lnTo>
                  <a:pt x="3702854" y="3012290"/>
                </a:lnTo>
                <a:lnTo>
                  <a:pt x="3748160" y="3021485"/>
                </a:lnTo>
                <a:lnTo>
                  <a:pt x="3789782" y="3034217"/>
                </a:lnTo>
                <a:lnTo>
                  <a:pt x="3827853" y="3050405"/>
                </a:lnTo>
                <a:lnTo>
                  <a:pt x="3862506" y="3069966"/>
                </a:lnTo>
                <a:lnTo>
                  <a:pt x="3893873" y="3092821"/>
                </a:lnTo>
                <a:lnTo>
                  <a:pt x="3922088" y="3118887"/>
                </a:lnTo>
                <a:lnTo>
                  <a:pt x="3947284" y="3148083"/>
                </a:lnTo>
                <a:lnTo>
                  <a:pt x="3969592" y="3180328"/>
                </a:lnTo>
                <a:lnTo>
                  <a:pt x="3989145" y="3215540"/>
                </a:lnTo>
                <a:lnTo>
                  <a:pt x="4006077" y="3253638"/>
                </a:lnTo>
                <a:lnTo>
                  <a:pt x="4020520" y="3294540"/>
                </a:lnTo>
                <a:lnTo>
                  <a:pt x="4032607" y="3338166"/>
                </a:lnTo>
                <a:lnTo>
                  <a:pt x="4042470" y="3384433"/>
                </a:lnTo>
                <a:lnTo>
                  <a:pt x="4050242" y="3433261"/>
                </a:lnTo>
                <a:lnTo>
                  <a:pt x="4056056" y="3484567"/>
                </a:lnTo>
                <a:lnTo>
                  <a:pt x="4060044" y="3538272"/>
                </a:lnTo>
                <a:lnTo>
                  <a:pt x="4062340" y="3594292"/>
                </a:lnTo>
                <a:lnTo>
                  <a:pt x="4063076" y="3652548"/>
                </a:lnTo>
                <a:lnTo>
                  <a:pt x="4062376" y="3711053"/>
                </a:lnTo>
                <a:lnTo>
                  <a:pt x="4060179" y="3767323"/>
                </a:lnTo>
                <a:lnTo>
                  <a:pt x="4056343" y="3821273"/>
                </a:lnTo>
                <a:lnTo>
                  <a:pt x="4050722" y="3872823"/>
                </a:lnTo>
                <a:lnTo>
                  <a:pt x="4043174" y="3921888"/>
                </a:lnTo>
                <a:lnTo>
                  <a:pt x="4033553" y="3968387"/>
                </a:lnTo>
                <a:lnTo>
                  <a:pt x="4021716" y="4012236"/>
                </a:lnTo>
                <a:lnTo>
                  <a:pt x="4007519" y="4053354"/>
                </a:lnTo>
                <a:lnTo>
                  <a:pt x="3990818" y="4091657"/>
                </a:lnTo>
                <a:lnTo>
                  <a:pt x="3971469" y="4127063"/>
                </a:lnTo>
                <a:lnTo>
                  <a:pt x="3949328" y="4159489"/>
                </a:lnTo>
                <a:lnTo>
                  <a:pt x="3924252" y="4188852"/>
                </a:lnTo>
                <a:lnTo>
                  <a:pt x="3896095" y="4215071"/>
                </a:lnTo>
                <a:lnTo>
                  <a:pt x="3864714" y="4238061"/>
                </a:lnTo>
                <a:lnTo>
                  <a:pt x="3829965" y="4257742"/>
                </a:lnTo>
                <a:lnTo>
                  <a:pt x="3791705" y="4274029"/>
                </a:lnTo>
                <a:lnTo>
                  <a:pt x="3749788" y="4286841"/>
                </a:lnTo>
                <a:lnTo>
                  <a:pt x="3704071" y="4296095"/>
                </a:lnTo>
                <a:lnTo>
                  <a:pt x="3654414" y="4301708"/>
                </a:lnTo>
                <a:lnTo>
                  <a:pt x="3600665" y="4303597"/>
                </a:lnTo>
                <a:lnTo>
                  <a:pt x="3600665" y="4206775"/>
                </a:lnTo>
                <a:lnTo>
                  <a:pt x="3650351" y="4204542"/>
                </a:lnTo>
                <a:lnTo>
                  <a:pt x="3695268" y="4197921"/>
                </a:lnTo>
                <a:lnTo>
                  <a:pt x="3735652" y="4187032"/>
                </a:lnTo>
                <a:lnTo>
                  <a:pt x="3771723" y="4171992"/>
                </a:lnTo>
                <a:lnTo>
                  <a:pt x="3831834" y="4129932"/>
                </a:lnTo>
                <a:lnTo>
                  <a:pt x="3877413" y="4072688"/>
                </a:lnTo>
                <a:lnTo>
                  <a:pt x="3895319" y="4038667"/>
                </a:lnTo>
                <a:lnTo>
                  <a:pt x="3910271" y="4001206"/>
                </a:lnTo>
                <a:lnTo>
                  <a:pt x="3922495" y="3960421"/>
                </a:lnTo>
                <a:lnTo>
                  <a:pt x="3932218" y="3916431"/>
                </a:lnTo>
                <a:lnTo>
                  <a:pt x="3939665" y="3869354"/>
                </a:lnTo>
                <a:lnTo>
                  <a:pt x="3945064" y="3819310"/>
                </a:lnTo>
                <a:lnTo>
                  <a:pt x="3948640" y="3766415"/>
                </a:lnTo>
                <a:lnTo>
                  <a:pt x="3950619" y="3710788"/>
                </a:lnTo>
                <a:lnTo>
                  <a:pt x="3951229" y="3652548"/>
                </a:lnTo>
                <a:lnTo>
                  <a:pt x="3950587" y="3594879"/>
                </a:lnTo>
                <a:lnTo>
                  <a:pt x="3948517" y="3539790"/>
                </a:lnTo>
                <a:lnTo>
                  <a:pt x="3944807" y="3487397"/>
                </a:lnTo>
                <a:lnTo>
                  <a:pt x="3939241" y="3437821"/>
                </a:lnTo>
                <a:lnTo>
                  <a:pt x="3931606" y="3391177"/>
                </a:lnTo>
                <a:lnTo>
                  <a:pt x="3921688" y="3347586"/>
                </a:lnTo>
                <a:lnTo>
                  <a:pt x="3909272" y="3307165"/>
                </a:lnTo>
                <a:lnTo>
                  <a:pt x="3894145" y="3270033"/>
                </a:lnTo>
                <a:lnTo>
                  <a:pt x="3876092" y="3236307"/>
                </a:lnTo>
                <a:lnTo>
                  <a:pt x="3830354" y="3179548"/>
                </a:lnTo>
                <a:lnTo>
                  <a:pt x="3770345" y="3137835"/>
                </a:lnTo>
                <a:lnTo>
                  <a:pt x="3734453" y="3122916"/>
                </a:lnTo>
                <a:lnTo>
                  <a:pt x="3694351" y="3112113"/>
                </a:lnTo>
                <a:lnTo>
                  <a:pt x="3649829" y="3105545"/>
                </a:lnTo>
                <a:lnTo>
                  <a:pt x="3600665" y="3103329"/>
                </a:lnTo>
                <a:close/>
                <a:moveTo>
                  <a:pt x="3508797" y="3004837"/>
                </a:moveTo>
                <a:lnTo>
                  <a:pt x="3508797" y="3103329"/>
                </a:lnTo>
                <a:lnTo>
                  <a:pt x="3459910" y="3105545"/>
                </a:lnTo>
                <a:lnTo>
                  <a:pt x="3415630" y="3112113"/>
                </a:lnTo>
                <a:lnTo>
                  <a:pt x="3375743" y="3122916"/>
                </a:lnTo>
                <a:lnTo>
                  <a:pt x="3340039" y="3137835"/>
                </a:lnTo>
                <a:lnTo>
                  <a:pt x="3280323" y="3179548"/>
                </a:lnTo>
                <a:lnTo>
                  <a:pt x="3234789" y="3236307"/>
                </a:lnTo>
                <a:lnTo>
                  <a:pt x="3216810" y="3270033"/>
                </a:lnTo>
                <a:lnTo>
                  <a:pt x="3201740" y="3307165"/>
                </a:lnTo>
                <a:lnTo>
                  <a:pt x="3189368" y="3347586"/>
                </a:lnTo>
                <a:lnTo>
                  <a:pt x="3179480" y="3391177"/>
                </a:lnTo>
                <a:lnTo>
                  <a:pt x="3171865" y="3437821"/>
                </a:lnTo>
                <a:lnTo>
                  <a:pt x="3166313" y="3487397"/>
                </a:lnTo>
                <a:lnTo>
                  <a:pt x="3162609" y="3539790"/>
                </a:lnTo>
                <a:lnTo>
                  <a:pt x="3160541" y="3594879"/>
                </a:lnTo>
                <a:lnTo>
                  <a:pt x="3159899" y="3652548"/>
                </a:lnTo>
                <a:lnTo>
                  <a:pt x="3160527" y="3710788"/>
                </a:lnTo>
                <a:lnTo>
                  <a:pt x="3162547" y="3766415"/>
                </a:lnTo>
                <a:lnTo>
                  <a:pt x="3166185" y="3819310"/>
                </a:lnTo>
                <a:lnTo>
                  <a:pt x="3171653" y="3869354"/>
                </a:lnTo>
                <a:lnTo>
                  <a:pt x="3179175" y="3916431"/>
                </a:lnTo>
                <a:lnTo>
                  <a:pt x="3188965" y="3960421"/>
                </a:lnTo>
                <a:lnTo>
                  <a:pt x="3201241" y="4001206"/>
                </a:lnTo>
                <a:lnTo>
                  <a:pt x="3216223" y="4038667"/>
                </a:lnTo>
                <a:lnTo>
                  <a:pt x="3234129" y="4072688"/>
                </a:lnTo>
                <a:lnTo>
                  <a:pt x="3279582" y="4129932"/>
                </a:lnTo>
                <a:lnTo>
                  <a:pt x="3339348" y="4171992"/>
                </a:lnTo>
                <a:lnTo>
                  <a:pt x="3375143" y="4187032"/>
                </a:lnTo>
                <a:lnTo>
                  <a:pt x="3415171" y="4197921"/>
                </a:lnTo>
                <a:lnTo>
                  <a:pt x="3459650" y="4204542"/>
                </a:lnTo>
                <a:lnTo>
                  <a:pt x="3508797" y="4206775"/>
                </a:lnTo>
                <a:lnTo>
                  <a:pt x="3508797" y="4303597"/>
                </a:lnTo>
                <a:lnTo>
                  <a:pt x="3455275" y="4301708"/>
                </a:lnTo>
                <a:lnTo>
                  <a:pt x="3405793" y="4296095"/>
                </a:lnTo>
                <a:lnTo>
                  <a:pt x="3360214" y="4286841"/>
                </a:lnTo>
                <a:lnTo>
                  <a:pt x="3318395" y="4274029"/>
                </a:lnTo>
                <a:lnTo>
                  <a:pt x="3280198" y="4257742"/>
                </a:lnTo>
                <a:lnTo>
                  <a:pt x="3245481" y="4238061"/>
                </a:lnTo>
                <a:lnTo>
                  <a:pt x="3214105" y="4215071"/>
                </a:lnTo>
                <a:lnTo>
                  <a:pt x="3185929" y="4188852"/>
                </a:lnTo>
                <a:lnTo>
                  <a:pt x="3160812" y="4159489"/>
                </a:lnTo>
                <a:lnTo>
                  <a:pt x="3138616" y="4127063"/>
                </a:lnTo>
                <a:lnTo>
                  <a:pt x="3119198" y="4091657"/>
                </a:lnTo>
                <a:lnTo>
                  <a:pt x="3102421" y="4053354"/>
                </a:lnTo>
                <a:lnTo>
                  <a:pt x="3088141" y="4012236"/>
                </a:lnTo>
                <a:lnTo>
                  <a:pt x="3076222" y="3968387"/>
                </a:lnTo>
                <a:lnTo>
                  <a:pt x="3066519" y="3921888"/>
                </a:lnTo>
                <a:lnTo>
                  <a:pt x="3058896" y="3872823"/>
                </a:lnTo>
                <a:lnTo>
                  <a:pt x="3053212" y="3821273"/>
                </a:lnTo>
                <a:lnTo>
                  <a:pt x="3049324" y="3767323"/>
                </a:lnTo>
                <a:lnTo>
                  <a:pt x="3047094" y="3711053"/>
                </a:lnTo>
                <a:lnTo>
                  <a:pt x="3046384" y="3652548"/>
                </a:lnTo>
                <a:lnTo>
                  <a:pt x="3047118" y="3594292"/>
                </a:lnTo>
                <a:lnTo>
                  <a:pt x="3049414" y="3538272"/>
                </a:lnTo>
                <a:lnTo>
                  <a:pt x="3053403" y="3484567"/>
                </a:lnTo>
                <a:lnTo>
                  <a:pt x="3059217" y="3433261"/>
                </a:lnTo>
                <a:lnTo>
                  <a:pt x="3066990" y="3384433"/>
                </a:lnTo>
                <a:lnTo>
                  <a:pt x="3076852" y="3338166"/>
                </a:lnTo>
                <a:lnTo>
                  <a:pt x="3088939" y="3294540"/>
                </a:lnTo>
                <a:lnTo>
                  <a:pt x="3103381" y="3253638"/>
                </a:lnTo>
                <a:lnTo>
                  <a:pt x="3120314" y="3215540"/>
                </a:lnTo>
                <a:lnTo>
                  <a:pt x="3139867" y="3180328"/>
                </a:lnTo>
                <a:lnTo>
                  <a:pt x="3162174" y="3148083"/>
                </a:lnTo>
                <a:lnTo>
                  <a:pt x="3187372" y="3118887"/>
                </a:lnTo>
                <a:lnTo>
                  <a:pt x="3215586" y="3092821"/>
                </a:lnTo>
                <a:lnTo>
                  <a:pt x="3246953" y="3069966"/>
                </a:lnTo>
                <a:lnTo>
                  <a:pt x="3281606" y="3050405"/>
                </a:lnTo>
                <a:lnTo>
                  <a:pt x="3319678" y="3034217"/>
                </a:lnTo>
                <a:lnTo>
                  <a:pt x="3361299" y="3021485"/>
                </a:lnTo>
                <a:lnTo>
                  <a:pt x="3406605" y="3012290"/>
                </a:lnTo>
                <a:lnTo>
                  <a:pt x="3455726" y="3006713"/>
                </a:lnTo>
                <a:close/>
                <a:moveTo>
                  <a:pt x="3637118" y="2373826"/>
                </a:moveTo>
                <a:lnTo>
                  <a:pt x="4541909" y="2373826"/>
                </a:lnTo>
                <a:lnTo>
                  <a:pt x="4541909" y="2480664"/>
                </a:lnTo>
                <a:lnTo>
                  <a:pt x="3637118" y="2480664"/>
                </a:lnTo>
                <a:close/>
                <a:moveTo>
                  <a:pt x="2550201" y="2373826"/>
                </a:moveTo>
                <a:lnTo>
                  <a:pt x="3454993" y="2373826"/>
                </a:lnTo>
                <a:lnTo>
                  <a:pt x="3454993" y="2480664"/>
                </a:lnTo>
                <a:lnTo>
                  <a:pt x="2550201" y="2480664"/>
                </a:lnTo>
                <a:close/>
                <a:moveTo>
                  <a:pt x="3637119" y="2024930"/>
                </a:moveTo>
                <a:lnTo>
                  <a:pt x="4541909" y="2024930"/>
                </a:lnTo>
                <a:lnTo>
                  <a:pt x="4541909" y="2131769"/>
                </a:lnTo>
                <a:lnTo>
                  <a:pt x="3637119" y="2131769"/>
                </a:lnTo>
                <a:close/>
                <a:moveTo>
                  <a:pt x="2550201" y="2024930"/>
                </a:moveTo>
                <a:lnTo>
                  <a:pt x="3454993" y="2024930"/>
                </a:lnTo>
                <a:lnTo>
                  <a:pt x="3454993" y="2131769"/>
                </a:lnTo>
                <a:lnTo>
                  <a:pt x="2550201" y="2131769"/>
                </a:lnTo>
                <a:close/>
                <a:moveTo>
                  <a:pt x="6133380" y="1502419"/>
                </a:moveTo>
                <a:lnTo>
                  <a:pt x="6186450" y="1504296"/>
                </a:lnTo>
                <a:lnTo>
                  <a:pt x="6235571" y="1509872"/>
                </a:lnTo>
                <a:lnTo>
                  <a:pt x="6280876" y="1519068"/>
                </a:lnTo>
                <a:lnTo>
                  <a:pt x="6322498" y="1531799"/>
                </a:lnTo>
                <a:lnTo>
                  <a:pt x="6360569" y="1547987"/>
                </a:lnTo>
                <a:lnTo>
                  <a:pt x="6395222" y="1567548"/>
                </a:lnTo>
                <a:lnTo>
                  <a:pt x="6426589" y="1590403"/>
                </a:lnTo>
                <a:lnTo>
                  <a:pt x="6454804" y="1616469"/>
                </a:lnTo>
                <a:lnTo>
                  <a:pt x="6480000" y="1645665"/>
                </a:lnTo>
                <a:lnTo>
                  <a:pt x="6502308" y="1677910"/>
                </a:lnTo>
                <a:lnTo>
                  <a:pt x="6521861" y="1713122"/>
                </a:lnTo>
                <a:lnTo>
                  <a:pt x="6538793" y="1751221"/>
                </a:lnTo>
                <a:lnTo>
                  <a:pt x="6553236" y="1792122"/>
                </a:lnTo>
                <a:lnTo>
                  <a:pt x="6565323" y="1835748"/>
                </a:lnTo>
                <a:lnTo>
                  <a:pt x="6575186" y="1882015"/>
                </a:lnTo>
                <a:lnTo>
                  <a:pt x="6582958" y="1930843"/>
                </a:lnTo>
                <a:lnTo>
                  <a:pt x="6588772" y="1982149"/>
                </a:lnTo>
                <a:lnTo>
                  <a:pt x="6592760" y="2035854"/>
                </a:lnTo>
                <a:lnTo>
                  <a:pt x="6595056" y="2091874"/>
                </a:lnTo>
                <a:lnTo>
                  <a:pt x="6595792" y="2150130"/>
                </a:lnTo>
                <a:lnTo>
                  <a:pt x="6595092" y="2208635"/>
                </a:lnTo>
                <a:lnTo>
                  <a:pt x="6592895" y="2264905"/>
                </a:lnTo>
                <a:lnTo>
                  <a:pt x="6589059" y="2318855"/>
                </a:lnTo>
                <a:lnTo>
                  <a:pt x="6583438" y="2370405"/>
                </a:lnTo>
                <a:lnTo>
                  <a:pt x="6575890" y="2419470"/>
                </a:lnTo>
                <a:lnTo>
                  <a:pt x="6566269" y="2465969"/>
                </a:lnTo>
                <a:lnTo>
                  <a:pt x="6554432" y="2509818"/>
                </a:lnTo>
                <a:lnTo>
                  <a:pt x="6540235" y="2550936"/>
                </a:lnTo>
                <a:lnTo>
                  <a:pt x="6523535" y="2589239"/>
                </a:lnTo>
                <a:lnTo>
                  <a:pt x="6504186" y="2624645"/>
                </a:lnTo>
                <a:lnTo>
                  <a:pt x="6482045" y="2657071"/>
                </a:lnTo>
                <a:lnTo>
                  <a:pt x="6456968" y="2686434"/>
                </a:lnTo>
                <a:lnTo>
                  <a:pt x="6428811" y="2712653"/>
                </a:lnTo>
                <a:lnTo>
                  <a:pt x="6397430" y="2735643"/>
                </a:lnTo>
                <a:lnTo>
                  <a:pt x="6362682" y="2755324"/>
                </a:lnTo>
                <a:lnTo>
                  <a:pt x="6324421" y="2771611"/>
                </a:lnTo>
                <a:lnTo>
                  <a:pt x="6282504" y="2784423"/>
                </a:lnTo>
                <a:lnTo>
                  <a:pt x="6236788" y="2793677"/>
                </a:lnTo>
                <a:lnTo>
                  <a:pt x="6187128" y="2799290"/>
                </a:lnTo>
                <a:lnTo>
                  <a:pt x="6133380" y="2801179"/>
                </a:lnTo>
                <a:lnTo>
                  <a:pt x="6133380" y="2704356"/>
                </a:lnTo>
                <a:lnTo>
                  <a:pt x="6183065" y="2702123"/>
                </a:lnTo>
                <a:lnTo>
                  <a:pt x="6227986" y="2695502"/>
                </a:lnTo>
                <a:lnTo>
                  <a:pt x="6268368" y="2684613"/>
                </a:lnTo>
                <a:lnTo>
                  <a:pt x="6304439" y="2669573"/>
                </a:lnTo>
                <a:lnTo>
                  <a:pt x="6364550" y="2627513"/>
                </a:lnTo>
                <a:lnTo>
                  <a:pt x="6410130" y="2570269"/>
                </a:lnTo>
                <a:lnTo>
                  <a:pt x="6428035" y="2536249"/>
                </a:lnTo>
                <a:lnTo>
                  <a:pt x="6442987" y="2498787"/>
                </a:lnTo>
                <a:lnTo>
                  <a:pt x="6455211" y="2458002"/>
                </a:lnTo>
                <a:lnTo>
                  <a:pt x="6464934" y="2414012"/>
                </a:lnTo>
                <a:lnTo>
                  <a:pt x="6472381" y="2366936"/>
                </a:lnTo>
                <a:lnTo>
                  <a:pt x="6477780" y="2316891"/>
                </a:lnTo>
                <a:lnTo>
                  <a:pt x="6481356" y="2263996"/>
                </a:lnTo>
                <a:lnTo>
                  <a:pt x="6483335" y="2208370"/>
                </a:lnTo>
                <a:lnTo>
                  <a:pt x="6483945" y="2150130"/>
                </a:lnTo>
                <a:lnTo>
                  <a:pt x="6483303" y="2092461"/>
                </a:lnTo>
                <a:lnTo>
                  <a:pt x="6481233" y="2037371"/>
                </a:lnTo>
                <a:lnTo>
                  <a:pt x="6477523" y="1984979"/>
                </a:lnTo>
                <a:lnTo>
                  <a:pt x="6471957" y="1935402"/>
                </a:lnTo>
                <a:lnTo>
                  <a:pt x="6464322" y="1888759"/>
                </a:lnTo>
                <a:lnTo>
                  <a:pt x="6454404" y="1845167"/>
                </a:lnTo>
                <a:lnTo>
                  <a:pt x="6441988" y="1804746"/>
                </a:lnTo>
                <a:lnTo>
                  <a:pt x="6426861" y="1767614"/>
                </a:lnTo>
                <a:lnTo>
                  <a:pt x="6408808" y="1733888"/>
                </a:lnTo>
                <a:lnTo>
                  <a:pt x="6363070" y="1677129"/>
                </a:lnTo>
                <a:lnTo>
                  <a:pt x="6303061" y="1635416"/>
                </a:lnTo>
                <a:lnTo>
                  <a:pt x="6267169" y="1620497"/>
                </a:lnTo>
                <a:lnTo>
                  <a:pt x="6227068" y="1609694"/>
                </a:lnTo>
                <a:lnTo>
                  <a:pt x="6182543" y="1603125"/>
                </a:lnTo>
                <a:lnTo>
                  <a:pt x="6133380" y="1600910"/>
                </a:lnTo>
                <a:close/>
                <a:moveTo>
                  <a:pt x="6041530" y="1502419"/>
                </a:moveTo>
                <a:lnTo>
                  <a:pt x="6041530" y="1600910"/>
                </a:lnTo>
                <a:lnTo>
                  <a:pt x="5992644" y="1603125"/>
                </a:lnTo>
                <a:lnTo>
                  <a:pt x="5948363" y="1609694"/>
                </a:lnTo>
                <a:lnTo>
                  <a:pt x="5908477" y="1620497"/>
                </a:lnTo>
                <a:lnTo>
                  <a:pt x="5872771" y="1635416"/>
                </a:lnTo>
                <a:lnTo>
                  <a:pt x="5813056" y="1677129"/>
                </a:lnTo>
                <a:lnTo>
                  <a:pt x="5767522" y="1733888"/>
                </a:lnTo>
                <a:lnTo>
                  <a:pt x="5749543" y="1767614"/>
                </a:lnTo>
                <a:lnTo>
                  <a:pt x="5734473" y="1804746"/>
                </a:lnTo>
                <a:lnTo>
                  <a:pt x="5722101" y="1845167"/>
                </a:lnTo>
                <a:lnTo>
                  <a:pt x="5712213" y="1888759"/>
                </a:lnTo>
                <a:lnTo>
                  <a:pt x="5704599" y="1935402"/>
                </a:lnTo>
                <a:lnTo>
                  <a:pt x="5699046" y="1984979"/>
                </a:lnTo>
                <a:lnTo>
                  <a:pt x="5695342" y="2037371"/>
                </a:lnTo>
                <a:lnTo>
                  <a:pt x="5693275" y="2092461"/>
                </a:lnTo>
                <a:lnTo>
                  <a:pt x="5692633" y="2150130"/>
                </a:lnTo>
                <a:lnTo>
                  <a:pt x="5693259" y="2208370"/>
                </a:lnTo>
                <a:lnTo>
                  <a:pt x="5695281" y="2263996"/>
                </a:lnTo>
                <a:lnTo>
                  <a:pt x="5698918" y="2316891"/>
                </a:lnTo>
                <a:lnTo>
                  <a:pt x="5704387" y="2366936"/>
                </a:lnTo>
                <a:lnTo>
                  <a:pt x="5711908" y="2414012"/>
                </a:lnTo>
                <a:lnTo>
                  <a:pt x="5721697" y="2458002"/>
                </a:lnTo>
                <a:lnTo>
                  <a:pt x="5733974" y="2498787"/>
                </a:lnTo>
                <a:lnTo>
                  <a:pt x="5748956" y="2536249"/>
                </a:lnTo>
                <a:lnTo>
                  <a:pt x="5766862" y="2570269"/>
                </a:lnTo>
                <a:lnTo>
                  <a:pt x="5812316" y="2627513"/>
                </a:lnTo>
                <a:lnTo>
                  <a:pt x="5872082" y="2669573"/>
                </a:lnTo>
                <a:lnTo>
                  <a:pt x="5907877" y="2684613"/>
                </a:lnTo>
                <a:lnTo>
                  <a:pt x="5947905" y="2695502"/>
                </a:lnTo>
                <a:lnTo>
                  <a:pt x="5992383" y="2702123"/>
                </a:lnTo>
                <a:lnTo>
                  <a:pt x="6041530" y="2704356"/>
                </a:lnTo>
                <a:lnTo>
                  <a:pt x="6041530" y="2801179"/>
                </a:lnTo>
                <a:lnTo>
                  <a:pt x="5988008" y="2799290"/>
                </a:lnTo>
                <a:lnTo>
                  <a:pt x="5938527" y="2793677"/>
                </a:lnTo>
                <a:lnTo>
                  <a:pt x="5892948" y="2784423"/>
                </a:lnTo>
                <a:lnTo>
                  <a:pt x="5851129" y="2771611"/>
                </a:lnTo>
                <a:lnTo>
                  <a:pt x="5812932" y="2755324"/>
                </a:lnTo>
                <a:lnTo>
                  <a:pt x="5778215" y="2735643"/>
                </a:lnTo>
                <a:lnTo>
                  <a:pt x="5746839" y="2712653"/>
                </a:lnTo>
                <a:lnTo>
                  <a:pt x="5718663" y="2686434"/>
                </a:lnTo>
                <a:lnTo>
                  <a:pt x="5693546" y="2657071"/>
                </a:lnTo>
                <a:lnTo>
                  <a:pt x="5671350" y="2624645"/>
                </a:lnTo>
                <a:lnTo>
                  <a:pt x="5651932" y="2589239"/>
                </a:lnTo>
                <a:lnTo>
                  <a:pt x="5635155" y="2550936"/>
                </a:lnTo>
                <a:lnTo>
                  <a:pt x="5620876" y="2509818"/>
                </a:lnTo>
                <a:lnTo>
                  <a:pt x="5608956" y="2465969"/>
                </a:lnTo>
                <a:lnTo>
                  <a:pt x="5599254" y="2419470"/>
                </a:lnTo>
                <a:lnTo>
                  <a:pt x="5591631" y="2370405"/>
                </a:lnTo>
                <a:lnTo>
                  <a:pt x="5585946" y="2318855"/>
                </a:lnTo>
                <a:lnTo>
                  <a:pt x="5582059" y="2264905"/>
                </a:lnTo>
                <a:lnTo>
                  <a:pt x="5579829" y="2208635"/>
                </a:lnTo>
                <a:lnTo>
                  <a:pt x="5579118" y="2150130"/>
                </a:lnTo>
                <a:lnTo>
                  <a:pt x="5579853" y="2091874"/>
                </a:lnTo>
                <a:lnTo>
                  <a:pt x="5582149" y="2035854"/>
                </a:lnTo>
                <a:lnTo>
                  <a:pt x="5586138" y="1982149"/>
                </a:lnTo>
                <a:lnTo>
                  <a:pt x="5591951" y="1930843"/>
                </a:lnTo>
                <a:lnTo>
                  <a:pt x="5599724" y="1882015"/>
                </a:lnTo>
                <a:lnTo>
                  <a:pt x="5609587" y="1835748"/>
                </a:lnTo>
                <a:lnTo>
                  <a:pt x="5621673" y="1792122"/>
                </a:lnTo>
                <a:lnTo>
                  <a:pt x="5636116" y="1751221"/>
                </a:lnTo>
                <a:lnTo>
                  <a:pt x="5653048" y="1713122"/>
                </a:lnTo>
                <a:lnTo>
                  <a:pt x="5672601" y="1677910"/>
                </a:lnTo>
                <a:lnTo>
                  <a:pt x="5694909" y="1645665"/>
                </a:lnTo>
                <a:lnTo>
                  <a:pt x="5720105" y="1616469"/>
                </a:lnTo>
                <a:lnTo>
                  <a:pt x="5748320" y="1590403"/>
                </a:lnTo>
                <a:lnTo>
                  <a:pt x="5779687" y="1567548"/>
                </a:lnTo>
                <a:lnTo>
                  <a:pt x="5814340" y="1547987"/>
                </a:lnTo>
                <a:lnTo>
                  <a:pt x="5852411" y="1531799"/>
                </a:lnTo>
                <a:lnTo>
                  <a:pt x="5894033" y="1519068"/>
                </a:lnTo>
                <a:lnTo>
                  <a:pt x="5939338" y="1509872"/>
                </a:lnTo>
                <a:lnTo>
                  <a:pt x="5988459" y="1504296"/>
                </a:lnTo>
                <a:close/>
                <a:moveTo>
                  <a:pt x="4160590" y="1021648"/>
                </a:moveTo>
                <a:lnTo>
                  <a:pt x="4367589" y="1021648"/>
                </a:lnTo>
                <a:lnTo>
                  <a:pt x="4367589" y="1195261"/>
                </a:lnTo>
                <a:lnTo>
                  <a:pt x="4160590" y="1195261"/>
                </a:lnTo>
                <a:close/>
                <a:moveTo>
                  <a:pt x="5799344" y="871408"/>
                </a:moveTo>
                <a:lnTo>
                  <a:pt x="6704136" y="871408"/>
                </a:lnTo>
                <a:lnTo>
                  <a:pt x="6704136" y="978246"/>
                </a:lnTo>
                <a:lnTo>
                  <a:pt x="5799344" y="978246"/>
                </a:lnTo>
                <a:close/>
                <a:moveTo>
                  <a:pt x="5799344" y="522512"/>
                </a:moveTo>
                <a:lnTo>
                  <a:pt x="6704136" y="522512"/>
                </a:lnTo>
                <a:lnTo>
                  <a:pt x="6704136" y="629350"/>
                </a:lnTo>
                <a:lnTo>
                  <a:pt x="5799344" y="629350"/>
                </a:lnTo>
                <a:close/>
                <a:moveTo>
                  <a:pt x="7774691" y="6383"/>
                </a:moveTo>
                <a:lnTo>
                  <a:pt x="8148629" y="6383"/>
                </a:lnTo>
                <a:lnTo>
                  <a:pt x="8148629" y="101632"/>
                </a:lnTo>
                <a:lnTo>
                  <a:pt x="7889880" y="101632"/>
                </a:lnTo>
                <a:lnTo>
                  <a:pt x="7889880" y="1200182"/>
                </a:lnTo>
                <a:lnTo>
                  <a:pt x="8148629" y="1200182"/>
                </a:lnTo>
                <a:lnTo>
                  <a:pt x="8148629" y="1295432"/>
                </a:lnTo>
                <a:lnTo>
                  <a:pt x="7774691" y="1295432"/>
                </a:lnTo>
                <a:lnTo>
                  <a:pt x="7774691" y="1200182"/>
                </a:lnTo>
                <a:lnTo>
                  <a:pt x="7774691" y="101632"/>
                </a:lnTo>
                <a:close/>
                <a:moveTo>
                  <a:pt x="8243417" y="0"/>
                </a:moveTo>
                <a:lnTo>
                  <a:pt x="8296487" y="1877"/>
                </a:lnTo>
                <a:lnTo>
                  <a:pt x="8345608" y="7454"/>
                </a:lnTo>
                <a:lnTo>
                  <a:pt x="8390913" y="16649"/>
                </a:lnTo>
                <a:lnTo>
                  <a:pt x="8432534" y="29381"/>
                </a:lnTo>
                <a:lnTo>
                  <a:pt x="8470605" y="45569"/>
                </a:lnTo>
                <a:lnTo>
                  <a:pt x="8505258" y="65130"/>
                </a:lnTo>
                <a:lnTo>
                  <a:pt x="8536626" y="87984"/>
                </a:lnTo>
                <a:lnTo>
                  <a:pt x="8564841" y="114050"/>
                </a:lnTo>
                <a:lnTo>
                  <a:pt x="8590036" y="143246"/>
                </a:lnTo>
                <a:lnTo>
                  <a:pt x="8612344" y="175491"/>
                </a:lnTo>
                <a:lnTo>
                  <a:pt x="8631898" y="210703"/>
                </a:lnTo>
                <a:lnTo>
                  <a:pt x="8648830" y="248801"/>
                </a:lnTo>
                <a:lnTo>
                  <a:pt x="8663273" y="289703"/>
                </a:lnTo>
                <a:lnTo>
                  <a:pt x="8675359" y="333329"/>
                </a:lnTo>
                <a:lnTo>
                  <a:pt x="8685222" y="379596"/>
                </a:lnTo>
                <a:lnTo>
                  <a:pt x="8692995" y="428424"/>
                </a:lnTo>
                <a:lnTo>
                  <a:pt x="8698808" y="479730"/>
                </a:lnTo>
                <a:lnTo>
                  <a:pt x="8702797" y="533435"/>
                </a:lnTo>
                <a:lnTo>
                  <a:pt x="8705093" y="589455"/>
                </a:lnTo>
                <a:lnTo>
                  <a:pt x="8705829" y="647711"/>
                </a:lnTo>
                <a:lnTo>
                  <a:pt x="8705129" y="706216"/>
                </a:lnTo>
                <a:lnTo>
                  <a:pt x="8702932" y="762486"/>
                </a:lnTo>
                <a:lnTo>
                  <a:pt x="8699096" y="816436"/>
                </a:lnTo>
                <a:lnTo>
                  <a:pt x="8693475" y="867986"/>
                </a:lnTo>
                <a:lnTo>
                  <a:pt x="8685927" y="917051"/>
                </a:lnTo>
                <a:lnTo>
                  <a:pt x="8676306" y="963550"/>
                </a:lnTo>
                <a:lnTo>
                  <a:pt x="8664469" y="1007399"/>
                </a:lnTo>
                <a:lnTo>
                  <a:pt x="8650272" y="1048517"/>
                </a:lnTo>
                <a:lnTo>
                  <a:pt x="8633571" y="1086820"/>
                </a:lnTo>
                <a:lnTo>
                  <a:pt x="8614222" y="1122226"/>
                </a:lnTo>
                <a:lnTo>
                  <a:pt x="8592081" y="1154652"/>
                </a:lnTo>
                <a:lnTo>
                  <a:pt x="8567005" y="1184015"/>
                </a:lnTo>
                <a:lnTo>
                  <a:pt x="8538848" y="1210234"/>
                </a:lnTo>
                <a:lnTo>
                  <a:pt x="8507467" y="1233224"/>
                </a:lnTo>
                <a:lnTo>
                  <a:pt x="8472718" y="1252905"/>
                </a:lnTo>
                <a:lnTo>
                  <a:pt x="8434458" y="1269193"/>
                </a:lnTo>
                <a:lnTo>
                  <a:pt x="8392541" y="1282004"/>
                </a:lnTo>
                <a:lnTo>
                  <a:pt x="8346825" y="1291258"/>
                </a:lnTo>
                <a:lnTo>
                  <a:pt x="8297165" y="1296871"/>
                </a:lnTo>
                <a:lnTo>
                  <a:pt x="8243417" y="1298760"/>
                </a:lnTo>
                <a:lnTo>
                  <a:pt x="8243417" y="1201938"/>
                </a:lnTo>
                <a:lnTo>
                  <a:pt x="8293102" y="1199705"/>
                </a:lnTo>
                <a:lnTo>
                  <a:pt x="8338022" y="1193084"/>
                </a:lnTo>
                <a:lnTo>
                  <a:pt x="8378405" y="1182195"/>
                </a:lnTo>
                <a:lnTo>
                  <a:pt x="8414476" y="1167155"/>
                </a:lnTo>
                <a:lnTo>
                  <a:pt x="8474587" y="1125095"/>
                </a:lnTo>
                <a:lnTo>
                  <a:pt x="8520166" y="1067851"/>
                </a:lnTo>
                <a:lnTo>
                  <a:pt x="8538072" y="1033830"/>
                </a:lnTo>
                <a:lnTo>
                  <a:pt x="8553024" y="996369"/>
                </a:lnTo>
                <a:lnTo>
                  <a:pt x="8565248" y="955584"/>
                </a:lnTo>
                <a:lnTo>
                  <a:pt x="8574971" y="911594"/>
                </a:lnTo>
                <a:lnTo>
                  <a:pt x="8582418" y="864517"/>
                </a:lnTo>
                <a:lnTo>
                  <a:pt x="8587817" y="814473"/>
                </a:lnTo>
                <a:lnTo>
                  <a:pt x="8591393" y="761578"/>
                </a:lnTo>
                <a:lnTo>
                  <a:pt x="8593372" y="705951"/>
                </a:lnTo>
                <a:lnTo>
                  <a:pt x="8593982" y="647711"/>
                </a:lnTo>
                <a:lnTo>
                  <a:pt x="8593340" y="590042"/>
                </a:lnTo>
                <a:lnTo>
                  <a:pt x="8591270" y="534953"/>
                </a:lnTo>
                <a:lnTo>
                  <a:pt x="8587560" y="482561"/>
                </a:lnTo>
                <a:lnTo>
                  <a:pt x="8581994" y="432984"/>
                </a:lnTo>
                <a:lnTo>
                  <a:pt x="8574359" y="386340"/>
                </a:lnTo>
                <a:lnTo>
                  <a:pt x="8564441" y="342749"/>
                </a:lnTo>
                <a:lnTo>
                  <a:pt x="8552025" y="302328"/>
                </a:lnTo>
                <a:lnTo>
                  <a:pt x="8536898" y="265196"/>
                </a:lnTo>
                <a:lnTo>
                  <a:pt x="8518845" y="231470"/>
                </a:lnTo>
                <a:lnTo>
                  <a:pt x="8473107" y="174711"/>
                </a:lnTo>
                <a:lnTo>
                  <a:pt x="8413098" y="132998"/>
                </a:lnTo>
                <a:lnTo>
                  <a:pt x="8377206" y="118079"/>
                </a:lnTo>
                <a:lnTo>
                  <a:pt x="8337105" y="107277"/>
                </a:lnTo>
                <a:lnTo>
                  <a:pt x="8292580" y="100708"/>
                </a:lnTo>
                <a:lnTo>
                  <a:pt x="8243417" y="98492"/>
                </a:lnTo>
                <a:close/>
                <a:moveTo>
                  <a:pt x="3109502" y="0"/>
                </a:moveTo>
                <a:lnTo>
                  <a:pt x="3162572" y="1876"/>
                </a:lnTo>
                <a:lnTo>
                  <a:pt x="3211694" y="7453"/>
                </a:lnTo>
                <a:lnTo>
                  <a:pt x="3256998" y="16648"/>
                </a:lnTo>
                <a:lnTo>
                  <a:pt x="3298621" y="29380"/>
                </a:lnTo>
                <a:lnTo>
                  <a:pt x="3336692" y="45568"/>
                </a:lnTo>
                <a:lnTo>
                  <a:pt x="3371345" y="65129"/>
                </a:lnTo>
                <a:lnTo>
                  <a:pt x="3402713" y="87984"/>
                </a:lnTo>
                <a:lnTo>
                  <a:pt x="3430928" y="114050"/>
                </a:lnTo>
                <a:lnTo>
                  <a:pt x="3456123" y="143246"/>
                </a:lnTo>
                <a:lnTo>
                  <a:pt x="3478431" y="175491"/>
                </a:lnTo>
                <a:lnTo>
                  <a:pt x="3497985" y="210703"/>
                </a:lnTo>
                <a:lnTo>
                  <a:pt x="3514917" y="248801"/>
                </a:lnTo>
                <a:lnTo>
                  <a:pt x="3529360" y="289703"/>
                </a:lnTo>
                <a:lnTo>
                  <a:pt x="3541446" y="333329"/>
                </a:lnTo>
                <a:lnTo>
                  <a:pt x="3551309" y="379596"/>
                </a:lnTo>
                <a:lnTo>
                  <a:pt x="3559082" y="428424"/>
                </a:lnTo>
                <a:lnTo>
                  <a:pt x="3564896" y="479730"/>
                </a:lnTo>
                <a:lnTo>
                  <a:pt x="3568884" y="533435"/>
                </a:lnTo>
                <a:lnTo>
                  <a:pt x="3571180" y="589455"/>
                </a:lnTo>
                <a:lnTo>
                  <a:pt x="3571916" y="647711"/>
                </a:lnTo>
                <a:lnTo>
                  <a:pt x="3571216" y="706216"/>
                </a:lnTo>
                <a:lnTo>
                  <a:pt x="3569019" y="762486"/>
                </a:lnTo>
                <a:lnTo>
                  <a:pt x="3565183" y="816436"/>
                </a:lnTo>
                <a:lnTo>
                  <a:pt x="3559562" y="867986"/>
                </a:lnTo>
                <a:lnTo>
                  <a:pt x="3552014" y="917051"/>
                </a:lnTo>
                <a:lnTo>
                  <a:pt x="3542393" y="963550"/>
                </a:lnTo>
                <a:lnTo>
                  <a:pt x="3530556" y="1007399"/>
                </a:lnTo>
                <a:lnTo>
                  <a:pt x="3516359" y="1048517"/>
                </a:lnTo>
                <a:lnTo>
                  <a:pt x="3499658" y="1086820"/>
                </a:lnTo>
                <a:lnTo>
                  <a:pt x="3480309" y="1122226"/>
                </a:lnTo>
                <a:lnTo>
                  <a:pt x="3458168" y="1154652"/>
                </a:lnTo>
                <a:lnTo>
                  <a:pt x="3433091" y="1184015"/>
                </a:lnTo>
                <a:lnTo>
                  <a:pt x="3404934" y="1210234"/>
                </a:lnTo>
                <a:lnTo>
                  <a:pt x="3373554" y="1233224"/>
                </a:lnTo>
                <a:lnTo>
                  <a:pt x="3338805" y="1252905"/>
                </a:lnTo>
                <a:lnTo>
                  <a:pt x="3300544" y="1269192"/>
                </a:lnTo>
                <a:lnTo>
                  <a:pt x="3258627" y="1282004"/>
                </a:lnTo>
                <a:lnTo>
                  <a:pt x="3212910" y="1291258"/>
                </a:lnTo>
                <a:lnTo>
                  <a:pt x="3163250" y="1296871"/>
                </a:lnTo>
                <a:lnTo>
                  <a:pt x="3109502" y="1298760"/>
                </a:lnTo>
                <a:lnTo>
                  <a:pt x="3109502" y="1201938"/>
                </a:lnTo>
                <a:lnTo>
                  <a:pt x="3159187" y="1199705"/>
                </a:lnTo>
                <a:lnTo>
                  <a:pt x="3204108" y="1193084"/>
                </a:lnTo>
                <a:lnTo>
                  <a:pt x="3244491" y="1182195"/>
                </a:lnTo>
                <a:lnTo>
                  <a:pt x="3280562" y="1167155"/>
                </a:lnTo>
                <a:lnTo>
                  <a:pt x="3340673" y="1125095"/>
                </a:lnTo>
                <a:lnTo>
                  <a:pt x="3386253" y="1067851"/>
                </a:lnTo>
                <a:lnTo>
                  <a:pt x="3404158" y="1033830"/>
                </a:lnTo>
                <a:lnTo>
                  <a:pt x="3419110" y="996369"/>
                </a:lnTo>
                <a:lnTo>
                  <a:pt x="3431334" y="955584"/>
                </a:lnTo>
                <a:lnTo>
                  <a:pt x="3441057" y="911594"/>
                </a:lnTo>
                <a:lnTo>
                  <a:pt x="3448504" y="864517"/>
                </a:lnTo>
                <a:lnTo>
                  <a:pt x="3453903" y="814473"/>
                </a:lnTo>
                <a:lnTo>
                  <a:pt x="3457479" y="761578"/>
                </a:lnTo>
                <a:lnTo>
                  <a:pt x="3459458" y="705951"/>
                </a:lnTo>
                <a:lnTo>
                  <a:pt x="3460068" y="647711"/>
                </a:lnTo>
                <a:lnTo>
                  <a:pt x="3459426" y="590042"/>
                </a:lnTo>
                <a:lnTo>
                  <a:pt x="3457356" y="534953"/>
                </a:lnTo>
                <a:lnTo>
                  <a:pt x="3453646" y="482560"/>
                </a:lnTo>
                <a:lnTo>
                  <a:pt x="3448080" y="432984"/>
                </a:lnTo>
                <a:lnTo>
                  <a:pt x="3440445" y="386340"/>
                </a:lnTo>
                <a:lnTo>
                  <a:pt x="3430527" y="342749"/>
                </a:lnTo>
                <a:lnTo>
                  <a:pt x="3418111" y="302328"/>
                </a:lnTo>
                <a:lnTo>
                  <a:pt x="3402984" y="265196"/>
                </a:lnTo>
                <a:lnTo>
                  <a:pt x="3384931" y="231470"/>
                </a:lnTo>
                <a:lnTo>
                  <a:pt x="3339193" y="174711"/>
                </a:lnTo>
                <a:lnTo>
                  <a:pt x="3279183" y="132998"/>
                </a:lnTo>
                <a:lnTo>
                  <a:pt x="3243291" y="118079"/>
                </a:lnTo>
                <a:lnTo>
                  <a:pt x="3203191" y="107276"/>
                </a:lnTo>
                <a:lnTo>
                  <a:pt x="3158665" y="100708"/>
                </a:lnTo>
                <a:lnTo>
                  <a:pt x="3109502" y="98492"/>
                </a:lnTo>
                <a:close/>
                <a:moveTo>
                  <a:pt x="3017637" y="0"/>
                </a:moveTo>
                <a:lnTo>
                  <a:pt x="3017637" y="98492"/>
                </a:lnTo>
                <a:lnTo>
                  <a:pt x="2968752" y="100708"/>
                </a:lnTo>
                <a:lnTo>
                  <a:pt x="2924471" y="107277"/>
                </a:lnTo>
                <a:lnTo>
                  <a:pt x="2884585" y="118079"/>
                </a:lnTo>
                <a:lnTo>
                  <a:pt x="2848878" y="132998"/>
                </a:lnTo>
                <a:lnTo>
                  <a:pt x="2789164" y="174711"/>
                </a:lnTo>
                <a:lnTo>
                  <a:pt x="2743630" y="231470"/>
                </a:lnTo>
                <a:lnTo>
                  <a:pt x="2725650" y="265196"/>
                </a:lnTo>
                <a:lnTo>
                  <a:pt x="2710579" y="302328"/>
                </a:lnTo>
                <a:lnTo>
                  <a:pt x="2698207" y="342749"/>
                </a:lnTo>
                <a:lnTo>
                  <a:pt x="2688320" y="386340"/>
                </a:lnTo>
                <a:lnTo>
                  <a:pt x="2680706" y="432984"/>
                </a:lnTo>
                <a:lnTo>
                  <a:pt x="2675153" y="482561"/>
                </a:lnTo>
                <a:lnTo>
                  <a:pt x="2671448" y="534953"/>
                </a:lnTo>
                <a:lnTo>
                  <a:pt x="2669382" y="590042"/>
                </a:lnTo>
                <a:lnTo>
                  <a:pt x="2668740" y="647711"/>
                </a:lnTo>
                <a:lnTo>
                  <a:pt x="2669365" y="705951"/>
                </a:lnTo>
                <a:lnTo>
                  <a:pt x="2671388" y="761578"/>
                </a:lnTo>
                <a:lnTo>
                  <a:pt x="2675025" y="814473"/>
                </a:lnTo>
                <a:lnTo>
                  <a:pt x="2680494" y="864517"/>
                </a:lnTo>
                <a:lnTo>
                  <a:pt x="2688015" y="911594"/>
                </a:lnTo>
                <a:lnTo>
                  <a:pt x="2697803" y="955584"/>
                </a:lnTo>
                <a:lnTo>
                  <a:pt x="2710081" y="996369"/>
                </a:lnTo>
                <a:lnTo>
                  <a:pt x="2725063" y="1033830"/>
                </a:lnTo>
                <a:lnTo>
                  <a:pt x="2742969" y="1067851"/>
                </a:lnTo>
                <a:lnTo>
                  <a:pt x="2788423" y="1125095"/>
                </a:lnTo>
                <a:lnTo>
                  <a:pt x="2848189" y="1167155"/>
                </a:lnTo>
                <a:lnTo>
                  <a:pt x="2883984" y="1182195"/>
                </a:lnTo>
                <a:lnTo>
                  <a:pt x="2924012" y="1193084"/>
                </a:lnTo>
                <a:lnTo>
                  <a:pt x="2968491" y="1199705"/>
                </a:lnTo>
                <a:lnTo>
                  <a:pt x="3017637" y="1201938"/>
                </a:lnTo>
                <a:lnTo>
                  <a:pt x="3017637" y="1298760"/>
                </a:lnTo>
                <a:lnTo>
                  <a:pt x="2964115" y="1296871"/>
                </a:lnTo>
                <a:lnTo>
                  <a:pt x="2914634" y="1291258"/>
                </a:lnTo>
                <a:lnTo>
                  <a:pt x="2869056" y="1282004"/>
                </a:lnTo>
                <a:lnTo>
                  <a:pt x="2827236" y="1269193"/>
                </a:lnTo>
                <a:lnTo>
                  <a:pt x="2789039" y="1252905"/>
                </a:lnTo>
                <a:lnTo>
                  <a:pt x="2754322" y="1233224"/>
                </a:lnTo>
                <a:lnTo>
                  <a:pt x="2722946" y="1210234"/>
                </a:lnTo>
                <a:lnTo>
                  <a:pt x="2694770" y="1184015"/>
                </a:lnTo>
                <a:lnTo>
                  <a:pt x="2669653" y="1154652"/>
                </a:lnTo>
                <a:lnTo>
                  <a:pt x="2647457" y="1122226"/>
                </a:lnTo>
                <a:lnTo>
                  <a:pt x="2628039" y="1086820"/>
                </a:lnTo>
                <a:lnTo>
                  <a:pt x="2611262" y="1048517"/>
                </a:lnTo>
                <a:lnTo>
                  <a:pt x="2596982" y="1007399"/>
                </a:lnTo>
                <a:lnTo>
                  <a:pt x="2585062" y="963550"/>
                </a:lnTo>
                <a:lnTo>
                  <a:pt x="2575361" y="917051"/>
                </a:lnTo>
                <a:lnTo>
                  <a:pt x="2567737" y="867986"/>
                </a:lnTo>
                <a:lnTo>
                  <a:pt x="2562052" y="816436"/>
                </a:lnTo>
                <a:lnTo>
                  <a:pt x="2558166" y="762486"/>
                </a:lnTo>
                <a:lnTo>
                  <a:pt x="2555936" y="706216"/>
                </a:lnTo>
                <a:lnTo>
                  <a:pt x="2555225" y="647711"/>
                </a:lnTo>
                <a:lnTo>
                  <a:pt x="2555961" y="589455"/>
                </a:lnTo>
                <a:lnTo>
                  <a:pt x="2558256" y="533435"/>
                </a:lnTo>
                <a:lnTo>
                  <a:pt x="2562245" y="479730"/>
                </a:lnTo>
                <a:lnTo>
                  <a:pt x="2568057" y="428424"/>
                </a:lnTo>
                <a:lnTo>
                  <a:pt x="2575830" y="379596"/>
                </a:lnTo>
                <a:lnTo>
                  <a:pt x="2585694" y="333329"/>
                </a:lnTo>
                <a:lnTo>
                  <a:pt x="2597780" y="289703"/>
                </a:lnTo>
                <a:lnTo>
                  <a:pt x="2612222" y="248801"/>
                </a:lnTo>
                <a:lnTo>
                  <a:pt x="2629156" y="210703"/>
                </a:lnTo>
                <a:lnTo>
                  <a:pt x="2648708" y="175491"/>
                </a:lnTo>
                <a:lnTo>
                  <a:pt x="2671016" y="143246"/>
                </a:lnTo>
                <a:lnTo>
                  <a:pt x="2696212" y="114050"/>
                </a:lnTo>
                <a:lnTo>
                  <a:pt x="2724427" y="87984"/>
                </a:lnTo>
                <a:lnTo>
                  <a:pt x="2755794" y="65130"/>
                </a:lnTo>
                <a:lnTo>
                  <a:pt x="2790448" y="45569"/>
                </a:lnTo>
                <a:lnTo>
                  <a:pt x="2828518" y="29382"/>
                </a:lnTo>
                <a:lnTo>
                  <a:pt x="2870141" y="16649"/>
                </a:lnTo>
                <a:lnTo>
                  <a:pt x="2915445" y="7455"/>
                </a:lnTo>
                <a:lnTo>
                  <a:pt x="2964567" y="1877"/>
                </a:lnTo>
                <a:close/>
              </a:path>
            </a:pathLst>
          </a:custGeom>
          <a:solidFill>
            <a:srgbClr val="4D7836"/>
          </a:solidFill>
        </p:spPr>
        <p:txBody>
          <a:bodyPr wrap="square" lIns="0" tIns="0" rIns="0" bIns="0" rtlCol="0">
            <a:noAutofit/>
          </a:bodyPr>
          <a:lstStyle/>
          <a:p>
            <a:endParaRPr lang="da-DK" sz="1350"/>
          </a:p>
        </p:txBody>
      </p:sp>
    </p:spTree>
    <p:extLst>
      <p:ext uri="{BB962C8B-B14F-4D97-AF65-F5344CB8AC3E}">
        <p14:creationId xmlns:p14="http://schemas.microsoft.com/office/powerpoint/2010/main" val="29236730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reaker D">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3BB9AE99-772C-4228-AF46-BF964994F324}" type="datetime2">
              <a:rPr lang="da-DK" smtClean="0"/>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6" name="Mikro grafik 1">
            <a:extLst>
              <a:ext uri="{FF2B5EF4-FFF2-40B4-BE49-F238E27FC236}">
                <a16:creationId xmlns:a16="http://schemas.microsoft.com/office/drawing/2014/main" id="{CF298011-2AEF-EC84-54F2-B43A8661A425}"/>
              </a:ext>
            </a:extLst>
          </p:cNvPr>
          <p:cNvSpPr/>
          <p:nvPr userDrawn="1"/>
        </p:nvSpPr>
        <p:spPr>
          <a:xfrm>
            <a:off x="257176" y="930323"/>
            <a:ext cx="4065815" cy="3297127"/>
          </a:xfrm>
          <a:custGeom>
            <a:avLst/>
            <a:gdLst>
              <a:gd name="connsiteX0" fmla="*/ 6351898 w 9012328"/>
              <a:gd name="connsiteY0" fmla="*/ 7031333 h 7308446"/>
              <a:gd name="connsiteX1" fmla="*/ 6558899 w 9012328"/>
              <a:gd name="connsiteY1" fmla="*/ 7031333 h 7308446"/>
              <a:gd name="connsiteX2" fmla="*/ 6558899 w 9012328"/>
              <a:gd name="connsiteY2" fmla="*/ 7204946 h 7308446"/>
              <a:gd name="connsiteX3" fmla="*/ 6351898 w 9012328"/>
              <a:gd name="connsiteY3" fmla="*/ 7204946 h 7308446"/>
              <a:gd name="connsiteX4" fmla="*/ 3333905 w 9012328"/>
              <a:gd name="connsiteY4" fmla="*/ 6881094 h 7308446"/>
              <a:gd name="connsiteX5" fmla="*/ 4238693 w 9012328"/>
              <a:gd name="connsiteY5" fmla="*/ 6881094 h 7308446"/>
              <a:gd name="connsiteX6" fmla="*/ 4238693 w 9012328"/>
              <a:gd name="connsiteY6" fmla="*/ 6987931 h 7308446"/>
              <a:gd name="connsiteX7" fmla="*/ 3333905 w 9012328"/>
              <a:gd name="connsiteY7" fmla="*/ 6987931 h 7308446"/>
              <a:gd name="connsiteX8" fmla="*/ 3333905 w 9012328"/>
              <a:gd name="connsiteY8" fmla="*/ 6532197 h 7308446"/>
              <a:gd name="connsiteX9" fmla="*/ 4238693 w 9012328"/>
              <a:gd name="connsiteY9" fmla="*/ 6532197 h 7308446"/>
              <a:gd name="connsiteX10" fmla="*/ 4238693 w 9012328"/>
              <a:gd name="connsiteY10" fmla="*/ 6639034 h 7308446"/>
              <a:gd name="connsiteX11" fmla="*/ 3333905 w 9012328"/>
              <a:gd name="connsiteY11" fmla="*/ 6639034 h 7308446"/>
              <a:gd name="connsiteX12" fmla="*/ 5357969 w 9012328"/>
              <a:gd name="connsiteY12" fmla="*/ 6016022 h 7308446"/>
              <a:gd name="connsiteX13" fmla="*/ 5731908 w 9012328"/>
              <a:gd name="connsiteY13" fmla="*/ 6016022 h 7308446"/>
              <a:gd name="connsiteX14" fmla="*/ 5731908 w 9012328"/>
              <a:gd name="connsiteY14" fmla="*/ 6111272 h 7308446"/>
              <a:gd name="connsiteX15" fmla="*/ 5731908 w 9012328"/>
              <a:gd name="connsiteY15" fmla="*/ 7209822 h 7308446"/>
              <a:gd name="connsiteX16" fmla="*/ 5731908 w 9012328"/>
              <a:gd name="connsiteY16" fmla="*/ 7305072 h 7308446"/>
              <a:gd name="connsiteX17" fmla="*/ 5357969 w 9012328"/>
              <a:gd name="connsiteY17" fmla="*/ 7305072 h 7308446"/>
              <a:gd name="connsiteX18" fmla="*/ 5357969 w 9012328"/>
              <a:gd name="connsiteY18" fmla="*/ 7209822 h 7308446"/>
              <a:gd name="connsiteX19" fmla="*/ 5616719 w 9012328"/>
              <a:gd name="connsiteY19" fmla="*/ 7209822 h 7308446"/>
              <a:gd name="connsiteX20" fmla="*/ 5616719 w 9012328"/>
              <a:gd name="connsiteY20" fmla="*/ 6111272 h 7308446"/>
              <a:gd name="connsiteX21" fmla="*/ 5357969 w 9012328"/>
              <a:gd name="connsiteY21" fmla="*/ 6111272 h 7308446"/>
              <a:gd name="connsiteX22" fmla="*/ 4884222 w 9012328"/>
              <a:gd name="connsiteY22" fmla="*/ 6016022 h 7308446"/>
              <a:gd name="connsiteX23" fmla="*/ 5258161 w 9012328"/>
              <a:gd name="connsiteY23" fmla="*/ 6016022 h 7308446"/>
              <a:gd name="connsiteX24" fmla="*/ 5258161 w 9012328"/>
              <a:gd name="connsiteY24" fmla="*/ 6111272 h 7308446"/>
              <a:gd name="connsiteX25" fmla="*/ 4999412 w 9012328"/>
              <a:gd name="connsiteY25" fmla="*/ 6111272 h 7308446"/>
              <a:gd name="connsiteX26" fmla="*/ 4999412 w 9012328"/>
              <a:gd name="connsiteY26" fmla="*/ 7209822 h 7308446"/>
              <a:gd name="connsiteX27" fmla="*/ 5258161 w 9012328"/>
              <a:gd name="connsiteY27" fmla="*/ 7209822 h 7308446"/>
              <a:gd name="connsiteX28" fmla="*/ 5258161 w 9012328"/>
              <a:gd name="connsiteY28" fmla="*/ 7305072 h 7308446"/>
              <a:gd name="connsiteX29" fmla="*/ 4884222 w 9012328"/>
              <a:gd name="connsiteY29" fmla="*/ 7305072 h 7308446"/>
              <a:gd name="connsiteX30" fmla="*/ 4884222 w 9012328"/>
              <a:gd name="connsiteY30" fmla="*/ 7209822 h 7308446"/>
              <a:gd name="connsiteX31" fmla="*/ 4884222 w 9012328"/>
              <a:gd name="connsiteY31" fmla="*/ 6111272 h 7308446"/>
              <a:gd name="connsiteX32" fmla="*/ 8549915 w 9012328"/>
              <a:gd name="connsiteY32" fmla="*/ 6009685 h 7308446"/>
              <a:gd name="connsiteX33" fmla="*/ 8602985 w 9012328"/>
              <a:gd name="connsiteY33" fmla="*/ 6011561 h 7308446"/>
              <a:gd name="connsiteX34" fmla="*/ 8652106 w 9012328"/>
              <a:gd name="connsiteY34" fmla="*/ 6017138 h 7308446"/>
              <a:gd name="connsiteX35" fmla="*/ 8697411 w 9012328"/>
              <a:gd name="connsiteY35" fmla="*/ 6026333 h 7308446"/>
              <a:gd name="connsiteX36" fmla="*/ 8739033 w 9012328"/>
              <a:gd name="connsiteY36" fmla="*/ 6039065 h 7308446"/>
              <a:gd name="connsiteX37" fmla="*/ 8777104 w 9012328"/>
              <a:gd name="connsiteY37" fmla="*/ 6055253 h 7308446"/>
              <a:gd name="connsiteX38" fmla="*/ 8811757 w 9012328"/>
              <a:gd name="connsiteY38" fmla="*/ 6074814 h 7308446"/>
              <a:gd name="connsiteX39" fmla="*/ 8843125 w 9012328"/>
              <a:gd name="connsiteY39" fmla="*/ 6097669 h 7308446"/>
              <a:gd name="connsiteX40" fmla="*/ 8871340 w 9012328"/>
              <a:gd name="connsiteY40" fmla="*/ 6123735 h 7308446"/>
              <a:gd name="connsiteX41" fmla="*/ 8896535 w 9012328"/>
              <a:gd name="connsiteY41" fmla="*/ 6152931 h 7308446"/>
              <a:gd name="connsiteX42" fmla="*/ 8918843 w 9012328"/>
              <a:gd name="connsiteY42" fmla="*/ 6185176 h 7308446"/>
              <a:gd name="connsiteX43" fmla="*/ 8938397 w 9012328"/>
              <a:gd name="connsiteY43" fmla="*/ 6220388 h 7308446"/>
              <a:gd name="connsiteX44" fmla="*/ 8955329 w 9012328"/>
              <a:gd name="connsiteY44" fmla="*/ 6258486 h 7308446"/>
              <a:gd name="connsiteX45" fmla="*/ 8969772 w 9012328"/>
              <a:gd name="connsiteY45" fmla="*/ 6299388 h 7308446"/>
              <a:gd name="connsiteX46" fmla="*/ 8981858 w 9012328"/>
              <a:gd name="connsiteY46" fmla="*/ 6343014 h 7308446"/>
              <a:gd name="connsiteX47" fmla="*/ 8991721 w 9012328"/>
              <a:gd name="connsiteY47" fmla="*/ 6389281 h 7308446"/>
              <a:gd name="connsiteX48" fmla="*/ 8999494 w 9012328"/>
              <a:gd name="connsiteY48" fmla="*/ 6438109 h 7308446"/>
              <a:gd name="connsiteX49" fmla="*/ 9005308 w 9012328"/>
              <a:gd name="connsiteY49" fmla="*/ 6489415 h 7308446"/>
              <a:gd name="connsiteX50" fmla="*/ 9009296 w 9012328"/>
              <a:gd name="connsiteY50" fmla="*/ 6543120 h 7308446"/>
              <a:gd name="connsiteX51" fmla="*/ 9011592 w 9012328"/>
              <a:gd name="connsiteY51" fmla="*/ 6599140 h 7308446"/>
              <a:gd name="connsiteX52" fmla="*/ 9012328 w 9012328"/>
              <a:gd name="connsiteY52" fmla="*/ 6657396 h 7308446"/>
              <a:gd name="connsiteX53" fmla="*/ 9011628 w 9012328"/>
              <a:gd name="connsiteY53" fmla="*/ 6715902 h 7308446"/>
              <a:gd name="connsiteX54" fmla="*/ 9009431 w 9012328"/>
              <a:gd name="connsiteY54" fmla="*/ 6772172 h 7308446"/>
              <a:gd name="connsiteX55" fmla="*/ 9005595 w 9012328"/>
              <a:gd name="connsiteY55" fmla="*/ 6826122 h 7308446"/>
              <a:gd name="connsiteX56" fmla="*/ 8999974 w 9012328"/>
              <a:gd name="connsiteY56" fmla="*/ 6877672 h 7308446"/>
              <a:gd name="connsiteX57" fmla="*/ 8992426 w 9012328"/>
              <a:gd name="connsiteY57" fmla="*/ 6926737 h 7308446"/>
              <a:gd name="connsiteX58" fmla="*/ 8982805 w 9012328"/>
              <a:gd name="connsiteY58" fmla="*/ 6973236 h 7308446"/>
              <a:gd name="connsiteX59" fmla="*/ 8970968 w 9012328"/>
              <a:gd name="connsiteY59" fmla="*/ 7017085 h 7308446"/>
              <a:gd name="connsiteX60" fmla="*/ 8956771 w 9012328"/>
              <a:gd name="connsiteY60" fmla="*/ 7058203 h 7308446"/>
              <a:gd name="connsiteX61" fmla="*/ 8940070 w 9012328"/>
              <a:gd name="connsiteY61" fmla="*/ 7096506 h 7308446"/>
              <a:gd name="connsiteX62" fmla="*/ 8920721 w 9012328"/>
              <a:gd name="connsiteY62" fmla="*/ 7131912 h 7308446"/>
              <a:gd name="connsiteX63" fmla="*/ 8898580 w 9012328"/>
              <a:gd name="connsiteY63" fmla="*/ 7164338 h 7308446"/>
              <a:gd name="connsiteX64" fmla="*/ 8873503 w 9012328"/>
              <a:gd name="connsiteY64" fmla="*/ 7193701 h 7308446"/>
              <a:gd name="connsiteX65" fmla="*/ 8845346 w 9012328"/>
              <a:gd name="connsiteY65" fmla="*/ 7219920 h 7308446"/>
              <a:gd name="connsiteX66" fmla="*/ 8813966 w 9012328"/>
              <a:gd name="connsiteY66" fmla="*/ 7242910 h 7308446"/>
              <a:gd name="connsiteX67" fmla="*/ 8779217 w 9012328"/>
              <a:gd name="connsiteY67" fmla="*/ 7262591 h 7308446"/>
              <a:gd name="connsiteX68" fmla="*/ 8740956 w 9012328"/>
              <a:gd name="connsiteY68" fmla="*/ 7278878 h 7308446"/>
              <a:gd name="connsiteX69" fmla="*/ 8699039 w 9012328"/>
              <a:gd name="connsiteY69" fmla="*/ 7291690 h 7308446"/>
              <a:gd name="connsiteX70" fmla="*/ 8653323 w 9012328"/>
              <a:gd name="connsiteY70" fmla="*/ 7300944 h 7308446"/>
              <a:gd name="connsiteX71" fmla="*/ 8603663 w 9012328"/>
              <a:gd name="connsiteY71" fmla="*/ 7306557 h 7308446"/>
              <a:gd name="connsiteX72" fmla="*/ 8549915 w 9012328"/>
              <a:gd name="connsiteY72" fmla="*/ 7308446 h 7308446"/>
              <a:gd name="connsiteX73" fmla="*/ 8549915 w 9012328"/>
              <a:gd name="connsiteY73" fmla="*/ 7211624 h 7308446"/>
              <a:gd name="connsiteX74" fmla="*/ 8599600 w 9012328"/>
              <a:gd name="connsiteY74" fmla="*/ 7209391 h 7308446"/>
              <a:gd name="connsiteX75" fmla="*/ 8644521 w 9012328"/>
              <a:gd name="connsiteY75" fmla="*/ 7202770 h 7308446"/>
              <a:gd name="connsiteX76" fmla="*/ 8684903 w 9012328"/>
              <a:gd name="connsiteY76" fmla="*/ 7191881 h 7308446"/>
              <a:gd name="connsiteX77" fmla="*/ 8720974 w 9012328"/>
              <a:gd name="connsiteY77" fmla="*/ 7176841 h 7308446"/>
              <a:gd name="connsiteX78" fmla="*/ 8781085 w 9012328"/>
              <a:gd name="connsiteY78" fmla="*/ 7134781 h 7308446"/>
              <a:gd name="connsiteX79" fmla="*/ 8826665 w 9012328"/>
              <a:gd name="connsiteY79" fmla="*/ 7077537 h 7308446"/>
              <a:gd name="connsiteX80" fmla="*/ 8844570 w 9012328"/>
              <a:gd name="connsiteY80" fmla="*/ 7043516 h 7308446"/>
              <a:gd name="connsiteX81" fmla="*/ 8859522 w 9012328"/>
              <a:gd name="connsiteY81" fmla="*/ 7006054 h 7308446"/>
              <a:gd name="connsiteX82" fmla="*/ 8871746 w 9012328"/>
              <a:gd name="connsiteY82" fmla="*/ 6965269 h 7308446"/>
              <a:gd name="connsiteX83" fmla="*/ 8881469 w 9012328"/>
              <a:gd name="connsiteY83" fmla="*/ 6921279 h 7308446"/>
              <a:gd name="connsiteX84" fmla="*/ 8888916 w 9012328"/>
              <a:gd name="connsiteY84" fmla="*/ 6874203 h 7308446"/>
              <a:gd name="connsiteX85" fmla="*/ 8894315 w 9012328"/>
              <a:gd name="connsiteY85" fmla="*/ 6824158 h 7308446"/>
              <a:gd name="connsiteX86" fmla="*/ 8897891 w 9012328"/>
              <a:gd name="connsiteY86" fmla="*/ 6771263 h 7308446"/>
              <a:gd name="connsiteX87" fmla="*/ 8899870 w 9012328"/>
              <a:gd name="connsiteY87" fmla="*/ 6715637 h 7308446"/>
              <a:gd name="connsiteX88" fmla="*/ 8900480 w 9012328"/>
              <a:gd name="connsiteY88" fmla="*/ 6657396 h 7308446"/>
              <a:gd name="connsiteX89" fmla="*/ 8899838 w 9012328"/>
              <a:gd name="connsiteY89" fmla="*/ 6599727 h 7308446"/>
              <a:gd name="connsiteX90" fmla="*/ 8897768 w 9012328"/>
              <a:gd name="connsiteY90" fmla="*/ 6544638 h 7308446"/>
              <a:gd name="connsiteX91" fmla="*/ 8894058 w 9012328"/>
              <a:gd name="connsiteY91" fmla="*/ 6492245 h 7308446"/>
              <a:gd name="connsiteX92" fmla="*/ 8888492 w 9012328"/>
              <a:gd name="connsiteY92" fmla="*/ 6442669 h 7308446"/>
              <a:gd name="connsiteX93" fmla="*/ 8880857 w 9012328"/>
              <a:gd name="connsiteY93" fmla="*/ 6396025 h 7308446"/>
              <a:gd name="connsiteX94" fmla="*/ 8870939 w 9012328"/>
              <a:gd name="connsiteY94" fmla="*/ 6352434 h 7308446"/>
              <a:gd name="connsiteX95" fmla="*/ 8858523 w 9012328"/>
              <a:gd name="connsiteY95" fmla="*/ 6312013 h 7308446"/>
              <a:gd name="connsiteX96" fmla="*/ 8843396 w 9012328"/>
              <a:gd name="connsiteY96" fmla="*/ 6274881 h 7308446"/>
              <a:gd name="connsiteX97" fmla="*/ 8825343 w 9012328"/>
              <a:gd name="connsiteY97" fmla="*/ 6241155 h 7308446"/>
              <a:gd name="connsiteX98" fmla="*/ 8779605 w 9012328"/>
              <a:gd name="connsiteY98" fmla="*/ 6184396 h 7308446"/>
              <a:gd name="connsiteX99" fmla="*/ 8719596 w 9012328"/>
              <a:gd name="connsiteY99" fmla="*/ 6142683 h 7308446"/>
              <a:gd name="connsiteX100" fmla="*/ 8683704 w 9012328"/>
              <a:gd name="connsiteY100" fmla="*/ 6127764 h 7308446"/>
              <a:gd name="connsiteX101" fmla="*/ 8643603 w 9012328"/>
              <a:gd name="connsiteY101" fmla="*/ 6116961 h 7308446"/>
              <a:gd name="connsiteX102" fmla="*/ 8599078 w 9012328"/>
              <a:gd name="connsiteY102" fmla="*/ 6110393 h 7308446"/>
              <a:gd name="connsiteX103" fmla="*/ 8549915 w 9012328"/>
              <a:gd name="connsiteY103" fmla="*/ 6108177 h 7308446"/>
              <a:gd name="connsiteX104" fmla="*/ 8458035 w 9012328"/>
              <a:gd name="connsiteY104" fmla="*/ 6009685 h 7308446"/>
              <a:gd name="connsiteX105" fmla="*/ 8458035 w 9012328"/>
              <a:gd name="connsiteY105" fmla="*/ 6108177 h 7308446"/>
              <a:gd name="connsiteX106" fmla="*/ 8409149 w 9012328"/>
              <a:gd name="connsiteY106" fmla="*/ 6110393 h 7308446"/>
              <a:gd name="connsiteX107" fmla="*/ 8364868 w 9012328"/>
              <a:gd name="connsiteY107" fmla="*/ 6116961 h 7308446"/>
              <a:gd name="connsiteX108" fmla="*/ 8324982 w 9012328"/>
              <a:gd name="connsiteY108" fmla="*/ 6127764 h 7308446"/>
              <a:gd name="connsiteX109" fmla="*/ 8289276 w 9012328"/>
              <a:gd name="connsiteY109" fmla="*/ 6142683 h 7308446"/>
              <a:gd name="connsiteX110" fmla="*/ 8229561 w 9012328"/>
              <a:gd name="connsiteY110" fmla="*/ 6184396 h 7308446"/>
              <a:gd name="connsiteX111" fmla="*/ 8184027 w 9012328"/>
              <a:gd name="connsiteY111" fmla="*/ 6241155 h 7308446"/>
              <a:gd name="connsiteX112" fmla="*/ 8166048 w 9012328"/>
              <a:gd name="connsiteY112" fmla="*/ 6274881 h 7308446"/>
              <a:gd name="connsiteX113" fmla="*/ 8150978 w 9012328"/>
              <a:gd name="connsiteY113" fmla="*/ 6312013 h 7308446"/>
              <a:gd name="connsiteX114" fmla="*/ 8138606 w 9012328"/>
              <a:gd name="connsiteY114" fmla="*/ 6352434 h 7308446"/>
              <a:gd name="connsiteX115" fmla="*/ 8128718 w 9012328"/>
              <a:gd name="connsiteY115" fmla="*/ 6396025 h 7308446"/>
              <a:gd name="connsiteX116" fmla="*/ 8121104 w 9012328"/>
              <a:gd name="connsiteY116" fmla="*/ 6442669 h 7308446"/>
              <a:gd name="connsiteX117" fmla="*/ 8115551 w 9012328"/>
              <a:gd name="connsiteY117" fmla="*/ 6492245 h 7308446"/>
              <a:gd name="connsiteX118" fmla="*/ 8111847 w 9012328"/>
              <a:gd name="connsiteY118" fmla="*/ 6544638 h 7308446"/>
              <a:gd name="connsiteX119" fmla="*/ 8109780 w 9012328"/>
              <a:gd name="connsiteY119" fmla="*/ 6599727 h 7308446"/>
              <a:gd name="connsiteX120" fmla="*/ 8109138 w 9012328"/>
              <a:gd name="connsiteY120" fmla="*/ 6657396 h 7308446"/>
              <a:gd name="connsiteX121" fmla="*/ 8109764 w 9012328"/>
              <a:gd name="connsiteY121" fmla="*/ 6715637 h 7308446"/>
              <a:gd name="connsiteX122" fmla="*/ 8111786 w 9012328"/>
              <a:gd name="connsiteY122" fmla="*/ 6771263 h 7308446"/>
              <a:gd name="connsiteX123" fmla="*/ 8115423 w 9012328"/>
              <a:gd name="connsiteY123" fmla="*/ 6824158 h 7308446"/>
              <a:gd name="connsiteX124" fmla="*/ 8120892 w 9012328"/>
              <a:gd name="connsiteY124" fmla="*/ 6874203 h 7308446"/>
              <a:gd name="connsiteX125" fmla="*/ 8128413 w 9012328"/>
              <a:gd name="connsiteY125" fmla="*/ 6921279 h 7308446"/>
              <a:gd name="connsiteX126" fmla="*/ 8138202 w 9012328"/>
              <a:gd name="connsiteY126" fmla="*/ 6965269 h 7308446"/>
              <a:gd name="connsiteX127" fmla="*/ 8150479 w 9012328"/>
              <a:gd name="connsiteY127" fmla="*/ 7006054 h 7308446"/>
              <a:gd name="connsiteX128" fmla="*/ 8165461 w 9012328"/>
              <a:gd name="connsiteY128" fmla="*/ 7043516 h 7308446"/>
              <a:gd name="connsiteX129" fmla="*/ 8183367 w 9012328"/>
              <a:gd name="connsiteY129" fmla="*/ 7077537 h 7308446"/>
              <a:gd name="connsiteX130" fmla="*/ 8228821 w 9012328"/>
              <a:gd name="connsiteY130" fmla="*/ 7134781 h 7308446"/>
              <a:gd name="connsiteX131" fmla="*/ 8288587 w 9012328"/>
              <a:gd name="connsiteY131" fmla="*/ 7176841 h 7308446"/>
              <a:gd name="connsiteX132" fmla="*/ 8324382 w 9012328"/>
              <a:gd name="connsiteY132" fmla="*/ 7191881 h 7308446"/>
              <a:gd name="connsiteX133" fmla="*/ 8364410 w 9012328"/>
              <a:gd name="connsiteY133" fmla="*/ 7202770 h 7308446"/>
              <a:gd name="connsiteX134" fmla="*/ 8408888 w 9012328"/>
              <a:gd name="connsiteY134" fmla="*/ 7209391 h 7308446"/>
              <a:gd name="connsiteX135" fmla="*/ 8458035 w 9012328"/>
              <a:gd name="connsiteY135" fmla="*/ 7211624 h 7308446"/>
              <a:gd name="connsiteX136" fmla="*/ 8458035 w 9012328"/>
              <a:gd name="connsiteY136" fmla="*/ 7308446 h 7308446"/>
              <a:gd name="connsiteX137" fmla="*/ 8404513 w 9012328"/>
              <a:gd name="connsiteY137" fmla="*/ 7306557 h 7308446"/>
              <a:gd name="connsiteX138" fmla="*/ 8355032 w 9012328"/>
              <a:gd name="connsiteY138" fmla="*/ 7300944 h 7308446"/>
              <a:gd name="connsiteX139" fmla="*/ 8309453 w 9012328"/>
              <a:gd name="connsiteY139" fmla="*/ 7291690 h 7308446"/>
              <a:gd name="connsiteX140" fmla="*/ 8267634 w 9012328"/>
              <a:gd name="connsiteY140" fmla="*/ 7278878 h 7308446"/>
              <a:gd name="connsiteX141" fmla="*/ 8229437 w 9012328"/>
              <a:gd name="connsiteY141" fmla="*/ 7262591 h 7308446"/>
              <a:gd name="connsiteX142" fmla="*/ 8194720 w 9012328"/>
              <a:gd name="connsiteY142" fmla="*/ 7242910 h 7308446"/>
              <a:gd name="connsiteX143" fmla="*/ 8163344 w 9012328"/>
              <a:gd name="connsiteY143" fmla="*/ 7219920 h 7308446"/>
              <a:gd name="connsiteX144" fmla="*/ 8135168 w 9012328"/>
              <a:gd name="connsiteY144" fmla="*/ 7193701 h 7308446"/>
              <a:gd name="connsiteX145" fmla="*/ 8110051 w 9012328"/>
              <a:gd name="connsiteY145" fmla="*/ 7164338 h 7308446"/>
              <a:gd name="connsiteX146" fmla="*/ 8087855 w 9012328"/>
              <a:gd name="connsiteY146" fmla="*/ 7131912 h 7308446"/>
              <a:gd name="connsiteX147" fmla="*/ 8068437 w 9012328"/>
              <a:gd name="connsiteY147" fmla="*/ 7096506 h 7308446"/>
              <a:gd name="connsiteX148" fmla="*/ 8051660 w 9012328"/>
              <a:gd name="connsiteY148" fmla="*/ 7058203 h 7308446"/>
              <a:gd name="connsiteX149" fmla="*/ 8037381 w 9012328"/>
              <a:gd name="connsiteY149" fmla="*/ 7017085 h 7308446"/>
              <a:gd name="connsiteX150" fmla="*/ 8025461 w 9012328"/>
              <a:gd name="connsiteY150" fmla="*/ 6973236 h 7308446"/>
              <a:gd name="connsiteX151" fmla="*/ 8015759 w 9012328"/>
              <a:gd name="connsiteY151" fmla="*/ 6926737 h 7308446"/>
              <a:gd name="connsiteX152" fmla="*/ 8008136 w 9012328"/>
              <a:gd name="connsiteY152" fmla="*/ 6877672 h 7308446"/>
              <a:gd name="connsiteX153" fmla="*/ 8002451 w 9012328"/>
              <a:gd name="connsiteY153" fmla="*/ 6826122 h 7308446"/>
              <a:gd name="connsiteX154" fmla="*/ 7998564 w 9012328"/>
              <a:gd name="connsiteY154" fmla="*/ 6772172 h 7308446"/>
              <a:gd name="connsiteX155" fmla="*/ 7996334 w 9012328"/>
              <a:gd name="connsiteY155" fmla="*/ 6715902 h 7308446"/>
              <a:gd name="connsiteX156" fmla="*/ 7995623 w 9012328"/>
              <a:gd name="connsiteY156" fmla="*/ 6657396 h 7308446"/>
              <a:gd name="connsiteX157" fmla="*/ 7996358 w 9012328"/>
              <a:gd name="connsiteY157" fmla="*/ 6599140 h 7308446"/>
              <a:gd name="connsiteX158" fmla="*/ 7998654 w 9012328"/>
              <a:gd name="connsiteY158" fmla="*/ 6543120 h 7308446"/>
              <a:gd name="connsiteX159" fmla="*/ 8002643 w 9012328"/>
              <a:gd name="connsiteY159" fmla="*/ 6489415 h 7308446"/>
              <a:gd name="connsiteX160" fmla="*/ 8008456 w 9012328"/>
              <a:gd name="connsiteY160" fmla="*/ 6438109 h 7308446"/>
              <a:gd name="connsiteX161" fmla="*/ 8016229 w 9012328"/>
              <a:gd name="connsiteY161" fmla="*/ 6389281 h 7308446"/>
              <a:gd name="connsiteX162" fmla="*/ 8026092 w 9012328"/>
              <a:gd name="connsiteY162" fmla="*/ 6343014 h 7308446"/>
              <a:gd name="connsiteX163" fmla="*/ 8038178 w 9012328"/>
              <a:gd name="connsiteY163" fmla="*/ 6299388 h 7308446"/>
              <a:gd name="connsiteX164" fmla="*/ 8052621 w 9012328"/>
              <a:gd name="connsiteY164" fmla="*/ 6258486 h 7308446"/>
              <a:gd name="connsiteX165" fmla="*/ 8069553 w 9012328"/>
              <a:gd name="connsiteY165" fmla="*/ 6220388 h 7308446"/>
              <a:gd name="connsiteX166" fmla="*/ 8089106 w 9012328"/>
              <a:gd name="connsiteY166" fmla="*/ 6185176 h 7308446"/>
              <a:gd name="connsiteX167" fmla="*/ 8111414 w 9012328"/>
              <a:gd name="connsiteY167" fmla="*/ 6152931 h 7308446"/>
              <a:gd name="connsiteX168" fmla="*/ 8136610 w 9012328"/>
              <a:gd name="connsiteY168" fmla="*/ 6123735 h 7308446"/>
              <a:gd name="connsiteX169" fmla="*/ 8164825 w 9012328"/>
              <a:gd name="connsiteY169" fmla="*/ 6097669 h 7308446"/>
              <a:gd name="connsiteX170" fmla="*/ 8196192 w 9012328"/>
              <a:gd name="connsiteY170" fmla="*/ 6074814 h 7308446"/>
              <a:gd name="connsiteX171" fmla="*/ 8230845 w 9012328"/>
              <a:gd name="connsiteY171" fmla="*/ 6055253 h 7308446"/>
              <a:gd name="connsiteX172" fmla="*/ 8268916 w 9012328"/>
              <a:gd name="connsiteY172" fmla="*/ 6039065 h 7308446"/>
              <a:gd name="connsiteX173" fmla="*/ 8310538 w 9012328"/>
              <a:gd name="connsiteY173" fmla="*/ 6026333 h 7308446"/>
              <a:gd name="connsiteX174" fmla="*/ 8355843 w 9012328"/>
              <a:gd name="connsiteY174" fmla="*/ 6017138 h 7308446"/>
              <a:gd name="connsiteX175" fmla="*/ 8404964 w 9012328"/>
              <a:gd name="connsiteY175" fmla="*/ 6011561 h 7308446"/>
              <a:gd name="connsiteX176" fmla="*/ 1409388 w 9012328"/>
              <a:gd name="connsiteY176" fmla="*/ 6009685 h 7308446"/>
              <a:gd name="connsiteX177" fmla="*/ 1462459 w 9012328"/>
              <a:gd name="connsiteY177" fmla="*/ 6011561 h 7308446"/>
              <a:gd name="connsiteX178" fmla="*/ 1511579 w 9012328"/>
              <a:gd name="connsiteY178" fmla="*/ 6017138 h 7308446"/>
              <a:gd name="connsiteX179" fmla="*/ 1556884 w 9012328"/>
              <a:gd name="connsiteY179" fmla="*/ 6026333 h 7308446"/>
              <a:gd name="connsiteX180" fmla="*/ 1598508 w 9012328"/>
              <a:gd name="connsiteY180" fmla="*/ 6039065 h 7308446"/>
              <a:gd name="connsiteX181" fmla="*/ 1636578 w 9012328"/>
              <a:gd name="connsiteY181" fmla="*/ 6055253 h 7308446"/>
              <a:gd name="connsiteX182" fmla="*/ 1671231 w 9012328"/>
              <a:gd name="connsiteY182" fmla="*/ 6074814 h 7308446"/>
              <a:gd name="connsiteX183" fmla="*/ 1702600 w 9012328"/>
              <a:gd name="connsiteY183" fmla="*/ 6097669 h 7308446"/>
              <a:gd name="connsiteX184" fmla="*/ 1730815 w 9012328"/>
              <a:gd name="connsiteY184" fmla="*/ 6123735 h 7308446"/>
              <a:gd name="connsiteX185" fmla="*/ 1756009 w 9012328"/>
              <a:gd name="connsiteY185" fmla="*/ 6152931 h 7308446"/>
              <a:gd name="connsiteX186" fmla="*/ 1778317 w 9012328"/>
              <a:gd name="connsiteY186" fmla="*/ 6185176 h 7308446"/>
              <a:gd name="connsiteX187" fmla="*/ 1797871 w 9012328"/>
              <a:gd name="connsiteY187" fmla="*/ 6220388 h 7308446"/>
              <a:gd name="connsiteX188" fmla="*/ 1814804 w 9012328"/>
              <a:gd name="connsiteY188" fmla="*/ 6258486 h 7308446"/>
              <a:gd name="connsiteX189" fmla="*/ 1829247 w 9012328"/>
              <a:gd name="connsiteY189" fmla="*/ 6299388 h 7308446"/>
              <a:gd name="connsiteX190" fmla="*/ 1841333 w 9012328"/>
              <a:gd name="connsiteY190" fmla="*/ 6343014 h 7308446"/>
              <a:gd name="connsiteX191" fmla="*/ 1851196 w 9012328"/>
              <a:gd name="connsiteY191" fmla="*/ 6389281 h 7308446"/>
              <a:gd name="connsiteX192" fmla="*/ 1858969 w 9012328"/>
              <a:gd name="connsiteY192" fmla="*/ 6438109 h 7308446"/>
              <a:gd name="connsiteX193" fmla="*/ 1864782 w 9012328"/>
              <a:gd name="connsiteY193" fmla="*/ 6489415 h 7308446"/>
              <a:gd name="connsiteX194" fmla="*/ 1868770 w 9012328"/>
              <a:gd name="connsiteY194" fmla="*/ 6543120 h 7308446"/>
              <a:gd name="connsiteX195" fmla="*/ 1871067 w 9012328"/>
              <a:gd name="connsiteY195" fmla="*/ 6599140 h 7308446"/>
              <a:gd name="connsiteX196" fmla="*/ 1871802 w 9012328"/>
              <a:gd name="connsiteY196" fmla="*/ 6657396 h 7308446"/>
              <a:gd name="connsiteX197" fmla="*/ 1871103 w 9012328"/>
              <a:gd name="connsiteY197" fmla="*/ 6715902 h 7308446"/>
              <a:gd name="connsiteX198" fmla="*/ 1868906 w 9012328"/>
              <a:gd name="connsiteY198" fmla="*/ 6772172 h 7308446"/>
              <a:gd name="connsiteX199" fmla="*/ 1865069 w 9012328"/>
              <a:gd name="connsiteY199" fmla="*/ 6826122 h 7308446"/>
              <a:gd name="connsiteX200" fmla="*/ 1859448 w 9012328"/>
              <a:gd name="connsiteY200" fmla="*/ 6877672 h 7308446"/>
              <a:gd name="connsiteX201" fmla="*/ 1851900 w 9012328"/>
              <a:gd name="connsiteY201" fmla="*/ 6926737 h 7308446"/>
              <a:gd name="connsiteX202" fmla="*/ 1842280 w 9012328"/>
              <a:gd name="connsiteY202" fmla="*/ 6973236 h 7308446"/>
              <a:gd name="connsiteX203" fmla="*/ 1830443 w 9012328"/>
              <a:gd name="connsiteY203" fmla="*/ 7017085 h 7308446"/>
              <a:gd name="connsiteX204" fmla="*/ 1816246 w 9012328"/>
              <a:gd name="connsiteY204" fmla="*/ 7058203 h 7308446"/>
              <a:gd name="connsiteX205" fmla="*/ 1799544 w 9012328"/>
              <a:gd name="connsiteY205" fmla="*/ 7096506 h 7308446"/>
              <a:gd name="connsiteX206" fmla="*/ 1780195 w 9012328"/>
              <a:gd name="connsiteY206" fmla="*/ 7131912 h 7308446"/>
              <a:gd name="connsiteX207" fmla="*/ 1758055 w 9012328"/>
              <a:gd name="connsiteY207" fmla="*/ 7164338 h 7308446"/>
              <a:gd name="connsiteX208" fmla="*/ 1732977 w 9012328"/>
              <a:gd name="connsiteY208" fmla="*/ 7193701 h 7308446"/>
              <a:gd name="connsiteX209" fmla="*/ 1704820 w 9012328"/>
              <a:gd name="connsiteY209" fmla="*/ 7219920 h 7308446"/>
              <a:gd name="connsiteX210" fmla="*/ 1673440 w 9012328"/>
              <a:gd name="connsiteY210" fmla="*/ 7242910 h 7308446"/>
              <a:gd name="connsiteX211" fmla="*/ 1638691 w 9012328"/>
              <a:gd name="connsiteY211" fmla="*/ 7262591 h 7308446"/>
              <a:gd name="connsiteX212" fmla="*/ 1600431 w 9012328"/>
              <a:gd name="connsiteY212" fmla="*/ 7278878 h 7308446"/>
              <a:gd name="connsiteX213" fmla="*/ 1558512 w 9012328"/>
              <a:gd name="connsiteY213" fmla="*/ 7291690 h 7308446"/>
              <a:gd name="connsiteX214" fmla="*/ 1512797 w 9012328"/>
              <a:gd name="connsiteY214" fmla="*/ 7300944 h 7308446"/>
              <a:gd name="connsiteX215" fmla="*/ 1463136 w 9012328"/>
              <a:gd name="connsiteY215" fmla="*/ 7306557 h 7308446"/>
              <a:gd name="connsiteX216" fmla="*/ 1409388 w 9012328"/>
              <a:gd name="connsiteY216" fmla="*/ 7308446 h 7308446"/>
              <a:gd name="connsiteX217" fmla="*/ 1409388 w 9012328"/>
              <a:gd name="connsiteY217" fmla="*/ 7211624 h 7308446"/>
              <a:gd name="connsiteX218" fmla="*/ 1459074 w 9012328"/>
              <a:gd name="connsiteY218" fmla="*/ 7209391 h 7308446"/>
              <a:gd name="connsiteX219" fmla="*/ 1503995 w 9012328"/>
              <a:gd name="connsiteY219" fmla="*/ 7202770 h 7308446"/>
              <a:gd name="connsiteX220" fmla="*/ 1544377 w 9012328"/>
              <a:gd name="connsiteY220" fmla="*/ 7191881 h 7308446"/>
              <a:gd name="connsiteX221" fmla="*/ 1580448 w 9012328"/>
              <a:gd name="connsiteY221" fmla="*/ 7176841 h 7308446"/>
              <a:gd name="connsiteX222" fmla="*/ 1640559 w 9012328"/>
              <a:gd name="connsiteY222" fmla="*/ 7134781 h 7308446"/>
              <a:gd name="connsiteX223" fmla="*/ 1686139 w 9012328"/>
              <a:gd name="connsiteY223" fmla="*/ 7077537 h 7308446"/>
              <a:gd name="connsiteX224" fmla="*/ 1704044 w 9012328"/>
              <a:gd name="connsiteY224" fmla="*/ 7043516 h 7308446"/>
              <a:gd name="connsiteX225" fmla="*/ 1718997 w 9012328"/>
              <a:gd name="connsiteY225" fmla="*/ 7006054 h 7308446"/>
              <a:gd name="connsiteX226" fmla="*/ 1731220 w 9012328"/>
              <a:gd name="connsiteY226" fmla="*/ 6965269 h 7308446"/>
              <a:gd name="connsiteX227" fmla="*/ 1740944 w 9012328"/>
              <a:gd name="connsiteY227" fmla="*/ 6921279 h 7308446"/>
              <a:gd name="connsiteX228" fmla="*/ 1748390 w 9012328"/>
              <a:gd name="connsiteY228" fmla="*/ 6874203 h 7308446"/>
              <a:gd name="connsiteX229" fmla="*/ 1753790 w 9012328"/>
              <a:gd name="connsiteY229" fmla="*/ 6824158 h 7308446"/>
              <a:gd name="connsiteX230" fmla="*/ 1757366 w 9012328"/>
              <a:gd name="connsiteY230" fmla="*/ 6771263 h 7308446"/>
              <a:gd name="connsiteX231" fmla="*/ 1759345 w 9012328"/>
              <a:gd name="connsiteY231" fmla="*/ 6715637 h 7308446"/>
              <a:gd name="connsiteX232" fmla="*/ 1759955 w 9012328"/>
              <a:gd name="connsiteY232" fmla="*/ 6657396 h 7308446"/>
              <a:gd name="connsiteX233" fmla="*/ 1759313 w 9012328"/>
              <a:gd name="connsiteY233" fmla="*/ 6599727 h 7308446"/>
              <a:gd name="connsiteX234" fmla="*/ 1757242 w 9012328"/>
              <a:gd name="connsiteY234" fmla="*/ 6544638 h 7308446"/>
              <a:gd name="connsiteX235" fmla="*/ 1753533 w 9012328"/>
              <a:gd name="connsiteY235" fmla="*/ 6492245 h 7308446"/>
              <a:gd name="connsiteX236" fmla="*/ 1747967 w 9012328"/>
              <a:gd name="connsiteY236" fmla="*/ 6442669 h 7308446"/>
              <a:gd name="connsiteX237" fmla="*/ 1740332 w 9012328"/>
              <a:gd name="connsiteY237" fmla="*/ 6396025 h 7308446"/>
              <a:gd name="connsiteX238" fmla="*/ 1730413 w 9012328"/>
              <a:gd name="connsiteY238" fmla="*/ 6352434 h 7308446"/>
              <a:gd name="connsiteX239" fmla="*/ 1717998 w 9012328"/>
              <a:gd name="connsiteY239" fmla="*/ 6312013 h 7308446"/>
              <a:gd name="connsiteX240" fmla="*/ 1702871 w 9012328"/>
              <a:gd name="connsiteY240" fmla="*/ 6274881 h 7308446"/>
              <a:gd name="connsiteX241" fmla="*/ 1684817 w 9012328"/>
              <a:gd name="connsiteY241" fmla="*/ 6241155 h 7308446"/>
              <a:gd name="connsiteX242" fmla="*/ 1639079 w 9012328"/>
              <a:gd name="connsiteY242" fmla="*/ 6184396 h 7308446"/>
              <a:gd name="connsiteX243" fmla="*/ 1579070 w 9012328"/>
              <a:gd name="connsiteY243" fmla="*/ 6142683 h 7308446"/>
              <a:gd name="connsiteX244" fmla="*/ 1543178 w 9012328"/>
              <a:gd name="connsiteY244" fmla="*/ 6127764 h 7308446"/>
              <a:gd name="connsiteX245" fmla="*/ 1503076 w 9012328"/>
              <a:gd name="connsiteY245" fmla="*/ 6116961 h 7308446"/>
              <a:gd name="connsiteX246" fmla="*/ 1458551 w 9012328"/>
              <a:gd name="connsiteY246" fmla="*/ 6110393 h 7308446"/>
              <a:gd name="connsiteX247" fmla="*/ 1409388 w 9012328"/>
              <a:gd name="connsiteY247" fmla="*/ 6108177 h 7308446"/>
              <a:gd name="connsiteX248" fmla="*/ 1317509 w 9012328"/>
              <a:gd name="connsiteY248" fmla="*/ 6009685 h 7308446"/>
              <a:gd name="connsiteX249" fmla="*/ 1317509 w 9012328"/>
              <a:gd name="connsiteY249" fmla="*/ 6108177 h 7308446"/>
              <a:gd name="connsiteX250" fmla="*/ 1268623 w 9012328"/>
              <a:gd name="connsiteY250" fmla="*/ 6110393 h 7308446"/>
              <a:gd name="connsiteX251" fmla="*/ 1224343 w 9012328"/>
              <a:gd name="connsiteY251" fmla="*/ 6116961 h 7308446"/>
              <a:gd name="connsiteX252" fmla="*/ 1184456 w 9012328"/>
              <a:gd name="connsiteY252" fmla="*/ 6127764 h 7308446"/>
              <a:gd name="connsiteX253" fmla="*/ 1148750 w 9012328"/>
              <a:gd name="connsiteY253" fmla="*/ 6142683 h 7308446"/>
              <a:gd name="connsiteX254" fmla="*/ 1089035 w 9012328"/>
              <a:gd name="connsiteY254" fmla="*/ 6184396 h 7308446"/>
              <a:gd name="connsiteX255" fmla="*/ 1043502 w 9012328"/>
              <a:gd name="connsiteY255" fmla="*/ 6241155 h 7308446"/>
              <a:gd name="connsiteX256" fmla="*/ 1025523 w 9012328"/>
              <a:gd name="connsiteY256" fmla="*/ 6274881 h 7308446"/>
              <a:gd name="connsiteX257" fmla="*/ 1010453 w 9012328"/>
              <a:gd name="connsiteY257" fmla="*/ 6312013 h 7308446"/>
              <a:gd name="connsiteX258" fmla="*/ 998080 w 9012328"/>
              <a:gd name="connsiteY258" fmla="*/ 6352434 h 7308446"/>
              <a:gd name="connsiteX259" fmla="*/ 988193 w 9012328"/>
              <a:gd name="connsiteY259" fmla="*/ 6396025 h 7308446"/>
              <a:gd name="connsiteX260" fmla="*/ 980578 w 9012328"/>
              <a:gd name="connsiteY260" fmla="*/ 6442669 h 7308446"/>
              <a:gd name="connsiteX261" fmla="*/ 975024 w 9012328"/>
              <a:gd name="connsiteY261" fmla="*/ 6492245 h 7308446"/>
              <a:gd name="connsiteX262" fmla="*/ 971321 w 9012328"/>
              <a:gd name="connsiteY262" fmla="*/ 6544638 h 7308446"/>
              <a:gd name="connsiteX263" fmla="*/ 969254 w 9012328"/>
              <a:gd name="connsiteY263" fmla="*/ 6599727 h 7308446"/>
              <a:gd name="connsiteX264" fmla="*/ 968612 w 9012328"/>
              <a:gd name="connsiteY264" fmla="*/ 6657396 h 7308446"/>
              <a:gd name="connsiteX265" fmla="*/ 969237 w 9012328"/>
              <a:gd name="connsiteY265" fmla="*/ 6715637 h 7308446"/>
              <a:gd name="connsiteX266" fmla="*/ 971260 w 9012328"/>
              <a:gd name="connsiteY266" fmla="*/ 6771263 h 7308446"/>
              <a:gd name="connsiteX267" fmla="*/ 974897 w 9012328"/>
              <a:gd name="connsiteY267" fmla="*/ 6824158 h 7308446"/>
              <a:gd name="connsiteX268" fmla="*/ 980366 w 9012328"/>
              <a:gd name="connsiteY268" fmla="*/ 6874203 h 7308446"/>
              <a:gd name="connsiteX269" fmla="*/ 987887 w 9012328"/>
              <a:gd name="connsiteY269" fmla="*/ 6921279 h 7308446"/>
              <a:gd name="connsiteX270" fmla="*/ 997676 w 9012328"/>
              <a:gd name="connsiteY270" fmla="*/ 6965269 h 7308446"/>
              <a:gd name="connsiteX271" fmla="*/ 1009953 w 9012328"/>
              <a:gd name="connsiteY271" fmla="*/ 7006054 h 7308446"/>
              <a:gd name="connsiteX272" fmla="*/ 1024935 w 9012328"/>
              <a:gd name="connsiteY272" fmla="*/ 7043516 h 7308446"/>
              <a:gd name="connsiteX273" fmla="*/ 1042841 w 9012328"/>
              <a:gd name="connsiteY273" fmla="*/ 7077537 h 7308446"/>
              <a:gd name="connsiteX274" fmla="*/ 1088295 w 9012328"/>
              <a:gd name="connsiteY274" fmla="*/ 7134781 h 7308446"/>
              <a:gd name="connsiteX275" fmla="*/ 1148061 w 9012328"/>
              <a:gd name="connsiteY275" fmla="*/ 7176841 h 7308446"/>
              <a:gd name="connsiteX276" fmla="*/ 1183856 w 9012328"/>
              <a:gd name="connsiteY276" fmla="*/ 7191881 h 7308446"/>
              <a:gd name="connsiteX277" fmla="*/ 1223884 w 9012328"/>
              <a:gd name="connsiteY277" fmla="*/ 7202770 h 7308446"/>
              <a:gd name="connsiteX278" fmla="*/ 1268362 w 9012328"/>
              <a:gd name="connsiteY278" fmla="*/ 7209391 h 7308446"/>
              <a:gd name="connsiteX279" fmla="*/ 1317509 w 9012328"/>
              <a:gd name="connsiteY279" fmla="*/ 7211624 h 7308446"/>
              <a:gd name="connsiteX280" fmla="*/ 1317509 w 9012328"/>
              <a:gd name="connsiteY280" fmla="*/ 7308446 h 7308446"/>
              <a:gd name="connsiteX281" fmla="*/ 1263987 w 9012328"/>
              <a:gd name="connsiteY281" fmla="*/ 7306557 h 7308446"/>
              <a:gd name="connsiteX282" fmla="*/ 1214506 w 9012328"/>
              <a:gd name="connsiteY282" fmla="*/ 7300944 h 7308446"/>
              <a:gd name="connsiteX283" fmla="*/ 1168927 w 9012328"/>
              <a:gd name="connsiteY283" fmla="*/ 7291690 h 7308446"/>
              <a:gd name="connsiteX284" fmla="*/ 1127108 w 9012328"/>
              <a:gd name="connsiteY284" fmla="*/ 7278878 h 7308446"/>
              <a:gd name="connsiteX285" fmla="*/ 1088911 w 9012328"/>
              <a:gd name="connsiteY285" fmla="*/ 7262591 h 7308446"/>
              <a:gd name="connsiteX286" fmla="*/ 1054194 w 9012328"/>
              <a:gd name="connsiteY286" fmla="*/ 7242910 h 7308446"/>
              <a:gd name="connsiteX287" fmla="*/ 1022818 w 9012328"/>
              <a:gd name="connsiteY287" fmla="*/ 7219920 h 7308446"/>
              <a:gd name="connsiteX288" fmla="*/ 994641 w 9012328"/>
              <a:gd name="connsiteY288" fmla="*/ 7193701 h 7308446"/>
              <a:gd name="connsiteX289" fmla="*/ 969525 w 9012328"/>
              <a:gd name="connsiteY289" fmla="*/ 7164338 h 7308446"/>
              <a:gd name="connsiteX290" fmla="*/ 947329 w 9012328"/>
              <a:gd name="connsiteY290" fmla="*/ 7131912 h 7308446"/>
              <a:gd name="connsiteX291" fmla="*/ 927911 w 9012328"/>
              <a:gd name="connsiteY291" fmla="*/ 7096506 h 7308446"/>
              <a:gd name="connsiteX292" fmla="*/ 911133 w 9012328"/>
              <a:gd name="connsiteY292" fmla="*/ 7058203 h 7308446"/>
              <a:gd name="connsiteX293" fmla="*/ 896855 w 9012328"/>
              <a:gd name="connsiteY293" fmla="*/ 7017085 h 7308446"/>
              <a:gd name="connsiteX294" fmla="*/ 884935 w 9012328"/>
              <a:gd name="connsiteY294" fmla="*/ 6973236 h 7308446"/>
              <a:gd name="connsiteX295" fmla="*/ 875233 w 9012328"/>
              <a:gd name="connsiteY295" fmla="*/ 6926737 h 7308446"/>
              <a:gd name="connsiteX296" fmla="*/ 867610 w 9012328"/>
              <a:gd name="connsiteY296" fmla="*/ 6877672 h 7308446"/>
              <a:gd name="connsiteX297" fmla="*/ 861924 w 9012328"/>
              <a:gd name="connsiteY297" fmla="*/ 6826122 h 7308446"/>
              <a:gd name="connsiteX298" fmla="*/ 858037 w 9012328"/>
              <a:gd name="connsiteY298" fmla="*/ 6772172 h 7308446"/>
              <a:gd name="connsiteX299" fmla="*/ 855809 w 9012328"/>
              <a:gd name="connsiteY299" fmla="*/ 6715902 h 7308446"/>
              <a:gd name="connsiteX300" fmla="*/ 855097 w 9012328"/>
              <a:gd name="connsiteY300" fmla="*/ 6657396 h 7308446"/>
              <a:gd name="connsiteX301" fmla="*/ 855832 w 9012328"/>
              <a:gd name="connsiteY301" fmla="*/ 6599140 h 7308446"/>
              <a:gd name="connsiteX302" fmla="*/ 858128 w 9012328"/>
              <a:gd name="connsiteY302" fmla="*/ 6543120 h 7308446"/>
              <a:gd name="connsiteX303" fmla="*/ 862117 w 9012328"/>
              <a:gd name="connsiteY303" fmla="*/ 6489415 h 7308446"/>
              <a:gd name="connsiteX304" fmla="*/ 867930 w 9012328"/>
              <a:gd name="connsiteY304" fmla="*/ 6438109 h 7308446"/>
              <a:gd name="connsiteX305" fmla="*/ 875703 w 9012328"/>
              <a:gd name="connsiteY305" fmla="*/ 6389281 h 7308446"/>
              <a:gd name="connsiteX306" fmla="*/ 885565 w 9012328"/>
              <a:gd name="connsiteY306" fmla="*/ 6343014 h 7308446"/>
              <a:gd name="connsiteX307" fmla="*/ 897652 w 9012328"/>
              <a:gd name="connsiteY307" fmla="*/ 6299388 h 7308446"/>
              <a:gd name="connsiteX308" fmla="*/ 912095 w 9012328"/>
              <a:gd name="connsiteY308" fmla="*/ 6258486 h 7308446"/>
              <a:gd name="connsiteX309" fmla="*/ 929026 w 9012328"/>
              <a:gd name="connsiteY309" fmla="*/ 6220388 h 7308446"/>
              <a:gd name="connsiteX310" fmla="*/ 948580 w 9012328"/>
              <a:gd name="connsiteY310" fmla="*/ 6185176 h 7308446"/>
              <a:gd name="connsiteX311" fmla="*/ 970888 w 9012328"/>
              <a:gd name="connsiteY311" fmla="*/ 6152931 h 7308446"/>
              <a:gd name="connsiteX312" fmla="*/ 996084 w 9012328"/>
              <a:gd name="connsiteY312" fmla="*/ 6123735 h 7308446"/>
              <a:gd name="connsiteX313" fmla="*/ 1024299 w 9012328"/>
              <a:gd name="connsiteY313" fmla="*/ 6097669 h 7308446"/>
              <a:gd name="connsiteX314" fmla="*/ 1055666 w 9012328"/>
              <a:gd name="connsiteY314" fmla="*/ 6074814 h 7308446"/>
              <a:gd name="connsiteX315" fmla="*/ 1090319 w 9012328"/>
              <a:gd name="connsiteY315" fmla="*/ 6055253 h 7308446"/>
              <a:gd name="connsiteX316" fmla="*/ 1128390 w 9012328"/>
              <a:gd name="connsiteY316" fmla="*/ 6039065 h 7308446"/>
              <a:gd name="connsiteX317" fmla="*/ 1170012 w 9012328"/>
              <a:gd name="connsiteY317" fmla="*/ 6026333 h 7308446"/>
              <a:gd name="connsiteX318" fmla="*/ 1215317 w 9012328"/>
              <a:gd name="connsiteY318" fmla="*/ 6017138 h 7308446"/>
              <a:gd name="connsiteX319" fmla="*/ 1264438 w 9012328"/>
              <a:gd name="connsiteY319" fmla="*/ 6011561 h 7308446"/>
              <a:gd name="connsiteX320" fmla="*/ 505166 w 9012328"/>
              <a:gd name="connsiteY320" fmla="*/ 5528915 h 7308446"/>
              <a:gd name="connsiteX321" fmla="*/ 547395 w 9012328"/>
              <a:gd name="connsiteY321" fmla="*/ 5532593 h 7308446"/>
              <a:gd name="connsiteX322" fmla="*/ 580078 w 9012328"/>
              <a:gd name="connsiteY322" fmla="*/ 5545817 h 7308446"/>
              <a:gd name="connsiteX323" fmla="*/ 601179 w 9012328"/>
              <a:gd name="connsiteY323" fmla="*/ 5571874 h 7308446"/>
              <a:gd name="connsiteX324" fmla="*/ 608666 w 9012328"/>
              <a:gd name="connsiteY324" fmla="*/ 5614052 h 7308446"/>
              <a:gd name="connsiteX325" fmla="*/ 601179 w 9012328"/>
              <a:gd name="connsiteY325" fmla="*/ 5658159 h 7308446"/>
              <a:gd name="connsiteX326" fmla="*/ 580078 w 9012328"/>
              <a:gd name="connsiteY326" fmla="*/ 5685208 h 7308446"/>
              <a:gd name="connsiteX327" fmla="*/ 547395 w 9012328"/>
              <a:gd name="connsiteY327" fmla="*/ 5698798 h 7308446"/>
              <a:gd name="connsiteX328" fmla="*/ 505166 w 9012328"/>
              <a:gd name="connsiteY328" fmla="*/ 5702529 h 7308446"/>
              <a:gd name="connsiteX329" fmla="*/ 462936 w 9012328"/>
              <a:gd name="connsiteY329" fmla="*/ 5698798 h 7308446"/>
              <a:gd name="connsiteX330" fmla="*/ 430252 w 9012328"/>
              <a:gd name="connsiteY330" fmla="*/ 5685208 h 7308446"/>
              <a:gd name="connsiteX331" fmla="*/ 409151 w 9012328"/>
              <a:gd name="connsiteY331" fmla="*/ 5658159 h 7308446"/>
              <a:gd name="connsiteX332" fmla="*/ 401665 w 9012328"/>
              <a:gd name="connsiteY332" fmla="*/ 5614052 h 7308446"/>
              <a:gd name="connsiteX333" fmla="*/ 409385 w 9012328"/>
              <a:gd name="connsiteY333" fmla="*/ 5571874 h 7308446"/>
              <a:gd name="connsiteX334" fmla="*/ 430878 w 9012328"/>
              <a:gd name="connsiteY334" fmla="*/ 5545817 h 7308446"/>
              <a:gd name="connsiteX335" fmla="*/ 463640 w 9012328"/>
              <a:gd name="connsiteY335" fmla="*/ 5532593 h 7308446"/>
              <a:gd name="connsiteX336" fmla="*/ 2465444 w 9012328"/>
              <a:gd name="connsiteY336" fmla="*/ 5378664 h 7308446"/>
              <a:gd name="connsiteX337" fmla="*/ 3370236 w 9012328"/>
              <a:gd name="connsiteY337" fmla="*/ 5378664 h 7308446"/>
              <a:gd name="connsiteX338" fmla="*/ 3370236 w 9012328"/>
              <a:gd name="connsiteY338" fmla="*/ 5485502 h 7308446"/>
              <a:gd name="connsiteX339" fmla="*/ 2465444 w 9012328"/>
              <a:gd name="connsiteY339" fmla="*/ 5485502 h 7308446"/>
              <a:gd name="connsiteX340" fmla="*/ 2465444 w 9012328"/>
              <a:gd name="connsiteY340" fmla="*/ 5029768 h 7308446"/>
              <a:gd name="connsiteX341" fmla="*/ 3370236 w 9012328"/>
              <a:gd name="connsiteY341" fmla="*/ 5029768 h 7308446"/>
              <a:gd name="connsiteX342" fmla="*/ 3370236 w 9012328"/>
              <a:gd name="connsiteY342" fmla="*/ 5136606 h 7308446"/>
              <a:gd name="connsiteX343" fmla="*/ 2465444 w 9012328"/>
              <a:gd name="connsiteY343" fmla="*/ 5136606 h 7308446"/>
              <a:gd name="connsiteX344" fmla="*/ 505166 w 9012328"/>
              <a:gd name="connsiteY344" fmla="*/ 4827784 h 7308446"/>
              <a:gd name="connsiteX345" fmla="*/ 547395 w 9012328"/>
              <a:gd name="connsiteY345" fmla="*/ 4831253 h 7308446"/>
              <a:gd name="connsiteX346" fmla="*/ 580078 w 9012328"/>
              <a:gd name="connsiteY346" fmla="*/ 4844268 h 7308446"/>
              <a:gd name="connsiteX347" fmla="*/ 601179 w 9012328"/>
              <a:gd name="connsiteY347" fmla="*/ 4870743 h 7308446"/>
              <a:gd name="connsiteX348" fmla="*/ 608666 w 9012328"/>
              <a:gd name="connsiteY348" fmla="*/ 4914590 h 7308446"/>
              <a:gd name="connsiteX349" fmla="*/ 601179 w 9012328"/>
              <a:gd name="connsiteY349" fmla="*/ 4957028 h 7308446"/>
              <a:gd name="connsiteX350" fmla="*/ 580078 w 9012328"/>
              <a:gd name="connsiteY350" fmla="*/ 4983660 h 7308446"/>
              <a:gd name="connsiteX351" fmla="*/ 547395 w 9012328"/>
              <a:gd name="connsiteY351" fmla="*/ 4997458 h 7308446"/>
              <a:gd name="connsiteX352" fmla="*/ 505166 w 9012328"/>
              <a:gd name="connsiteY352" fmla="*/ 5001397 h 7308446"/>
              <a:gd name="connsiteX353" fmla="*/ 463901 w 9012328"/>
              <a:gd name="connsiteY353" fmla="*/ 4997458 h 7308446"/>
              <a:gd name="connsiteX354" fmla="*/ 431713 w 9012328"/>
              <a:gd name="connsiteY354" fmla="*/ 4983660 h 7308446"/>
              <a:gd name="connsiteX355" fmla="*/ 410794 w 9012328"/>
              <a:gd name="connsiteY355" fmla="*/ 4957028 h 7308446"/>
              <a:gd name="connsiteX356" fmla="*/ 403334 w 9012328"/>
              <a:gd name="connsiteY356" fmla="*/ 4914590 h 7308446"/>
              <a:gd name="connsiteX357" fmla="*/ 410794 w 9012328"/>
              <a:gd name="connsiteY357" fmla="*/ 4870743 h 7308446"/>
              <a:gd name="connsiteX358" fmla="*/ 431713 w 9012328"/>
              <a:gd name="connsiteY358" fmla="*/ 4844268 h 7308446"/>
              <a:gd name="connsiteX359" fmla="*/ 463901 w 9012328"/>
              <a:gd name="connsiteY359" fmla="*/ 4831253 h 7308446"/>
              <a:gd name="connsiteX360" fmla="*/ 4111651 w 9012328"/>
              <a:gd name="connsiteY360" fmla="*/ 4507266 h 7308446"/>
              <a:gd name="connsiteX361" fmla="*/ 4164721 w 9012328"/>
              <a:gd name="connsiteY361" fmla="*/ 4509142 h 7308446"/>
              <a:gd name="connsiteX362" fmla="*/ 4213842 w 9012328"/>
              <a:gd name="connsiteY362" fmla="*/ 4514719 h 7308446"/>
              <a:gd name="connsiteX363" fmla="*/ 4259148 w 9012328"/>
              <a:gd name="connsiteY363" fmla="*/ 4523914 h 7308446"/>
              <a:gd name="connsiteX364" fmla="*/ 4300769 w 9012328"/>
              <a:gd name="connsiteY364" fmla="*/ 4536646 h 7308446"/>
              <a:gd name="connsiteX365" fmla="*/ 4338840 w 9012328"/>
              <a:gd name="connsiteY365" fmla="*/ 4552834 h 7308446"/>
              <a:gd name="connsiteX366" fmla="*/ 4373493 w 9012328"/>
              <a:gd name="connsiteY366" fmla="*/ 4572395 h 7308446"/>
              <a:gd name="connsiteX367" fmla="*/ 4404861 w 9012328"/>
              <a:gd name="connsiteY367" fmla="*/ 4595250 h 7308446"/>
              <a:gd name="connsiteX368" fmla="*/ 4433076 w 9012328"/>
              <a:gd name="connsiteY368" fmla="*/ 4621316 h 7308446"/>
              <a:gd name="connsiteX369" fmla="*/ 4458271 w 9012328"/>
              <a:gd name="connsiteY369" fmla="*/ 4650512 h 7308446"/>
              <a:gd name="connsiteX370" fmla="*/ 4480579 w 9012328"/>
              <a:gd name="connsiteY370" fmla="*/ 4682757 h 7308446"/>
              <a:gd name="connsiteX371" fmla="*/ 4500133 w 9012328"/>
              <a:gd name="connsiteY371" fmla="*/ 4717969 h 7308446"/>
              <a:gd name="connsiteX372" fmla="*/ 4517065 w 9012328"/>
              <a:gd name="connsiteY372" fmla="*/ 4756067 h 7308446"/>
              <a:gd name="connsiteX373" fmla="*/ 4531508 w 9012328"/>
              <a:gd name="connsiteY373" fmla="*/ 4796969 h 7308446"/>
              <a:gd name="connsiteX374" fmla="*/ 4543594 w 9012328"/>
              <a:gd name="connsiteY374" fmla="*/ 4840595 h 7308446"/>
              <a:gd name="connsiteX375" fmla="*/ 4553457 w 9012328"/>
              <a:gd name="connsiteY375" fmla="*/ 4886863 h 7308446"/>
              <a:gd name="connsiteX376" fmla="*/ 4561230 w 9012328"/>
              <a:gd name="connsiteY376" fmla="*/ 4935691 h 7308446"/>
              <a:gd name="connsiteX377" fmla="*/ 4567043 w 9012328"/>
              <a:gd name="connsiteY377" fmla="*/ 4986997 h 7308446"/>
              <a:gd name="connsiteX378" fmla="*/ 4571032 w 9012328"/>
              <a:gd name="connsiteY378" fmla="*/ 5040702 h 7308446"/>
              <a:gd name="connsiteX379" fmla="*/ 4573328 w 9012328"/>
              <a:gd name="connsiteY379" fmla="*/ 5096722 h 7308446"/>
              <a:gd name="connsiteX380" fmla="*/ 4574064 w 9012328"/>
              <a:gd name="connsiteY380" fmla="*/ 5154978 h 7308446"/>
              <a:gd name="connsiteX381" fmla="*/ 4573364 w 9012328"/>
              <a:gd name="connsiteY381" fmla="*/ 5213483 h 7308446"/>
              <a:gd name="connsiteX382" fmla="*/ 4571167 w 9012328"/>
              <a:gd name="connsiteY382" fmla="*/ 5269753 h 7308446"/>
              <a:gd name="connsiteX383" fmla="*/ 4567331 w 9012328"/>
              <a:gd name="connsiteY383" fmla="*/ 5323704 h 7308446"/>
              <a:gd name="connsiteX384" fmla="*/ 4561710 w 9012328"/>
              <a:gd name="connsiteY384" fmla="*/ 5375253 h 7308446"/>
              <a:gd name="connsiteX385" fmla="*/ 4554162 w 9012328"/>
              <a:gd name="connsiteY385" fmla="*/ 5424318 h 7308446"/>
              <a:gd name="connsiteX386" fmla="*/ 4544541 w 9012328"/>
              <a:gd name="connsiteY386" fmla="*/ 5470817 h 7308446"/>
              <a:gd name="connsiteX387" fmla="*/ 4532704 w 9012328"/>
              <a:gd name="connsiteY387" fmla="*/ 5514667 h 7308446"/>
              <a:gd name="connsiteX388" fmla="*/ 4518507 w 9012328"/>
              <a:gd name="connsiteY388" fmla="*/ 5555784 h 7308446"/>
              <a:gd name="connsiteX389" fmla="*/ 4501806 w 9012328"/>
              <a:gd name="connsiteY389" fmla="*/ 5594087 h 7308446"/>
              <a:gd name="connsiteX390" fmla="*/ 4482457 w 9012328"/>
              <a:gd name="connsiteY390" fmla="*/ 5629493 h 7308446"/>
              <a:gd name="connsiteX391" fmla="*/ 4460316 w 9012328"/>
              <a:gd name="connsiteY391" fmla="*/ 5661919 h 7308446"/>
              <a:gd name="connsiteX392" fmla="*/ 4435240 w 9012328"/>
              <a:gd name="connsiteY392" fmla="*/ 5691283 h 7308446"/>
              <a:gd name="connsiteX393" fmla="*/ 4407083 w 9012328"/>
              <a:gd name="connsiteY393" fmla="*/ 5717501 h 7308446"/>
              <a:gd name="connsiteX394" fmla="*/ 4375702 w 9012328"/>
              <a:gd name="connsiteY394" fmla="*/ 5740492 h 7308446"/>
              <a:gd name="connsiteX395" fmla="*/ 4340953 w 9012328"/>
              <a:gd name="connsiteY395" fmla="*/ 5760173 h 7308446"/>
              <a:gd name="connsiteX396" fmla="*/ 4302693 w 9012328"/>
              <a:gd name="connsiteY396" fmla="*/ 5776460 h 7308446"/>
              <a:gd name="connsiteX397" fmla="*/ 4260776 w 9012328"/>
              <a:gd name="connsiteY397" fmla="*/ 5789272 h 7308446"/>
              <a:gd name="connsiteX398" fmla="*/ 4215059 w 9012328"/>
              <a:gd name="connsiteY398" fmla="*/ 5798526 h 7308446"/>
              <a:gd name="connsiteX399" fmla="*/ 4165399 w 9012328"/>
              <a:gd name="connsiteY399" fmla="*/ 5804139 h 7308446"/>
              <a:gd name="connsiteX400" fmla="*/ 4111651 w 9012328"/>
              <a:gd name="connsiteY400" fmla="*/ 5806028 h 7308446"/>
              <a:gd name="connsiteX401" fmla="*/ 4111651 w 9012328"/>
              <a:gd name="connsiteY401" fmla="*/ 5709205 h 7308446"/>
              <a:gd name="connsiteX402" fmla="*/ 4161336 w 9012328"/>
              <a:gd name="connsiteY402" fmla="*/ 5706972 h 7308446"/>
              <a:gd name="connsiteX403" fmla="*/ 4206256 w 9012328"/>
              <a:gd name="connsiteY403" fmla="*/ 5700351 h 7308446"/>
              <a:gd name="connsiteX404" fmla="*/ 4246640 w 9012328"/>
              <a:gd name="connsiteY404" fmla="*/ 5689462 h 7308446"/>
              <a:gd name="connsiteX405" fmla="*/ 4282711 w 9012328"/>
              <a:gd name="connsiteY405" fmla="*/ 5674422 h 7308446"/>
              <a:gd name="connsiteX406" fmla="*/ 4342822 w 9012328"/>
              <a:gd name="connsiteY406" fmla="*/ 5632362 h 7308446"/>
              <a:gd name="connsiteX407" fmla="*/ 4388401 w 9012328"/>
              <a:gd name="connsiteY407" fmla="*/ 5575118 h 7308446"/>
              <a:gd name="connsiteX408" fmla="*/ 4406307 w 9012328"/>
              <a:gd name="connsiteY408" fmla="*/ 5541097 h 7308446"/>
              <a:gd name="connsiteX409" fmla="*/ 4421259 w 9012328"/>
              <a:gd name="connsiteY409" fmla="*/ 5503636 h 7308446"/>
              <a:gd name="connsiteX410" fmla="*/ 4433483 w 9012328"/>
              <a:gd name="connsiteY410" fmla="*/ 5462851 h 7308446"/>
              <a:gd name="connsiteX411" fmla="*/ 4443206 w 9012328"/>
              <a:gd name="connsiteY411" fmla="*/ 5418861 h 7308446"/>
              <a:gd name="connsiteX412" fmla="*/ 4450653 w 9012328"/>
              <a:gd name="connsiteY412" fmla="*/ 5371784 h 7308446"/>
              <a:gd name="connsiteX413" fmla="*/ 4456052 w 9012328"/>
              <a:gd name="connsiteY413" fmla="*/ 5321740 h 7308446"/>
              <a:gd name="connsiteX414" fmla="*/ 4459628 w 9012328"/>
              <a:gd name="connsiteY414" fmla="*/ 5268845 h 7308446"/>
              <a:gd name="connsiteX415" fmla="*/ 4461607 w 9012328"/>
              <a:gd name="connsiteY415" fmla="*/ 5213218 h 7308446"/>
              <a:gd name="connsiteX416" fmla="*/ 4462217 w 9012328"/>
              <a:gd name="connsiteY416" fmla="*/ 5154978 h 7308446"/>
              <a:gd name="connsiteX417" fmla="*/ 4461575 w 9012328"/>
              <a:gd name="connsiteY417" fmla="*/ 5097309 h 7308446"/>
              <a:gd name="connsiteX418" fmla="*/ 4459505 w 9012328"/>
              <a:gd name="connsiteY418" fmla="*/ 5042220 h 7308446"/>
              <a:gd name="connsiteX419" fmla="*/ 4455795 w 9012328"/>
              <a:gd name="connsiteY419" fmla="*/ 4989827 h 7308446"/>
              <a:gd name="connsiteX420" fmla="*/ 4450229 w 9012328"/>
              <a:gd name="connsiteY420" fmla="*/ 4940251 h 7308446"/>
              <a:gd name="connsiteX421" fmla="*/ 4442594 w 9012328"/>
              <a:gd name="connsiteY421" fmla="*/ 4893607 h 7308446"/>
              <a:gd name="connsiteX422" fmla="*/ 4432676 w 9012328"/>
              <a:gd name="connsiteY422" fmla="*/ 4850015 h 7308446"/>
              <a:gd name="connsiteX423" fmla="*/ 4420260 w 9012328"/>
              <a:gd name="connsiteY423" fmla="*/ 4809594 h 7308446"/>
              <a:gd name="connsiteX424" fmla="*/ 4405133 w 9012328"/>
              <a:gd name="connsiteY424" fmla="*/ 4772462 h 7308446"/>
              <a:gd name="connsiteX425" fmla="*/ 4387080 w 9012328"/>
              <a:gd name="connsiteY425" fmla="*/ 4738736 h 7308446"/>
              <a:gd name="connsiteX426" fmla="*/ 4341342 w 9012328"/>
              <a:gd name="connsiteY426" fmla="*/ 4681977 h 7308446"/>
              <a:gd name="connsiteX427" fmla="*/ 4281333 w 9012328"/>
              <a:gd name="connsiteY427" fmla="*/ 4640264 h 7308446"/>
              <a:gd name="connsiteX428" fmla="*/ 4245441 w 9012328"/>
              <a:gd name="connsiteY428" fmla="*/ 4625345 h 7308446"/>
              <a:gd name="connsiteX429" fmla="*/ 4205339 w 9012328"/>
              <a:gd name="connsiteY429" fmla="*/ 4614542 h 7308446"/>
              <a:gd name="connsiteX430" fmla="*/ 4160814 w 9012328"/>
              <a:gd name="connsiteY430" fmla="*/ 4607974 h 7308446"/>
              <a:gd name="connsiteX431" fmla="*/ 4111651 w 9012328"/>
              <a:gd name="connsiteY431" fmla="*/ 4605758 h 7308446"/>
              <a:gd name="connsiteX432" fmla="*/ 4019781 w 9012328"/>
              <a:gd name="connsiteY432" fmla="*/ 4507266 h 7308446"/>
              <a:gd name="connsiteX433" fmla="*/ 4019781 w 9012328"/>
              <a:gd name="connsiteY433" fmla="*/ 4605758 h 7308446"/>
              <a:gd name="connsiteX434" fmla="*/ 3970895 w 9012328"/>
              <a:gd name="connsiteY434" fmla="*/ 4607974 h 7308446"/>
              <a:gd name="connsiteX435" fmla="*/ 3926615 w 9012328"/>
              <a:gd name="connsiteY435" fmla="*/ 4614542 h 7308446"/>
              <a:gd name="connsiteX436" fmla="*/ 3886728 w 9012328"/>
              <a:gd name="connsiteY436" fmla="*/ 4625345 h 7308446"/>
              <a:gd name="connsiteX437" fmla="*/ 3851022 w 9012328"/>
              <a:gd name="connsiteY437" fmla="*/ 4640264 h 7308446"/>
              <a:gd name="connsiteX438" fmla="*/ 3791307 w 9012328"/>
              <a:gd name="connsiteY438" fmla="*/ 4681977 h 7308446"/>
              <a:gd name="connsiteX439" fmla="*/ 3745774 w 9012328"/>
              <a:gd name="connsiteY439" fmla="*/ 4738736 h 7308446"/>
              <a:gd name="connsiteX440" fmla="*/ 3727795 w 9012328"/>
              <a:gd name="connsiteY440" fmla="*/ 4772462 h 7308446"/>
              <a:gd name="connsiteX441" fmla="*/ 3712725 w 9012328"/>
              <a:gd name="connsiteY441" fmla="*/ 4809594 h 7308446"/>
              <a:gd name="connsiteX442" fmla="*/ 3700353 w 9012328"/>
              <a:gd name="connsiteY442" fmla="*/ 4850015 h 7308446"/>
              <a:gd name="connsiteX443" fmla="*/ 3690465 w 9012328"/>
              <a:gd name="connsiteY443" fmla="*/ 4893607 h 7308446"/>
              <a:gd name="connsiteX444" fmla="*/ 3682853 w 9012328"/>
              <a:gd name="connsiteY444" fmla="*/ 4940251 h 7308446"/>
              <a:gd name="connsiteX445" fmla="*/ 3677301 w 9012328"/>
              <a:gd name="connsiteY445" fmla="*/ 4989827 h 7308446"/>
              <a:gd name="connsiteX446" fmla="*/ 3673597 w 9012328"/>
              <a:gd name="connsiteY446" fmla="*/ 5042220 h 7308446"/>
              <a:gd name="connsiteX447" fmla="*/ 3671530 w 9012328"/>
              <a:gd name="connsiteY447" fmla="*/ 5097309 h 7308446"/>
              <a:gd name="connsiteX448" fmla="*/ 3670887 w 9012328"/>
              <a:gd name="connsiteY448" fmla="*/ 5154978 h 7308446"/>
              <a:gd name="connsiteX449" fmla="*/ 3671513 w 9012328"/>
              <a:gd name="connsiteY449" fmla="*/ 5213218 h 7308446"/>
              <a:gd name="connsiteX450" fmla="*/ 3673535 w 9012328"/>
              <a:gd name="connsiteY450" fmla="*/ 5268845 h 7308446"/>
              <a:gd name="connsiteX451" fmla="*/ 3677173 w 9012328"/>
              <a:gd name="connsiteY451" fmla="*/ 5321740 h 7308446"/>
              <a:gd name="connsiteX452" fmla="*/ 3682642 w 9012328"/>
              <a:gd name="connsiteY452" fmla="*/ 5371784 h 7308446"/>
              <a:gd name="connsiteX453" fmla="*/ 3690160 w 9012328"/>
              <a:gd name="connsiteY453" fmla="*/ 5418861 h 7308446"/>
              <a:gd name="connsiteX454" fmla="*/ 3699949 w 9012328"/>
              <a:gd name="connsiteY454" fmla="*/ 5462851 h 7308446"/>
              <a:gd name="connsiteX455" fmla="*/ 3712226 w 9012328"/>
              <a:gd name="connsiteY455" fmla="*/ 5503636 h 7308446"/>
              <a:gd name="connsiteX456" fmla="*/ 3727208 w 9012328"/>
              <a:gd name="connsiteY456" fmla="*/ 5541097 h 7308446"/>
              <a:gd name="connsiteX457" fmla="*/ 3745113 w 9012328"/>
              <a:gd name="connsiteY457" fmla="*/ 5575118 h 7308446"/>
              <a:gd name="connsiteX458" fmla="*/ 3790567 w 9012328"/>
              <a:gd name="connsiteY458" fmla="*/ 5632362 h 7308446"/>
              <a:gd name="connsiteX459" fmla="*/ 3850333 w 9012328"/>
              <a:gd name="connsiteY459" fmla="*/ 5674422 h 7308446"/>
              <a:gd name="connsiteX460" fmla="*/ 3886128 w 9012328"/>
              <a:gd name="connsiteY460" fmla="*/ 5689462 h 7308446"/>
              <a:gd name="connsiteX461" fmla="*/ 3926156 w 9012328"/>
              <a:gd name="connsiteY461" fmla="*/ 5700351 h 7308446"/>
              <a:gd name="connsiteX462" fmla="*/ 3970634 w 9012328"/>
              <a:gd name="connsiteY462" fmla="*/ 5706972 h 7308446"/>
              <a:gd name="connsiteX463" fmla="*/ 4019781 w 9012328"/>
              <a:gd name="connsiteY463" fmla="*/ 5709205 h 7308446"/>
              <a:gd name="connsiteX464" fmla="*/ 4019781 w 9012328"/>
              <a:gd name="connsiteY464" fmla="*/ 5806028 h 7308446"/>
              <a:gd name="connsiteX465" fmla="*/ 3966259 w 9012328"/>
              <a:gd name="connsiteY465" fmla="*/ 5804139 h 7308446"/>
              <a:gd name="connsiteX466" fmla="*/ 3916778 w 9012328"/>
              <a:gd name="connsiteY466" fmla="*/ 5798526 h 7308446"/>
              <a:gd name="connsiteX467" fmla="*/ 3871199 w 9012328"/>
              <a:gd name="connsiteY467" fmla="*/ 5789272 h 7308446"/>
              <a:gd name="connsiteX468" fmla="*/ 3829380 w 9012328"/>
              <a:gd name="connsiteY468" fmla="*/ 5776460 h 7308446"/>
              <a:gd name="connsiteX469" fmla="*/ 3791183 w 9012328"/>
              <a:gd name="connsiteY469" fmla="*/ 5760173 h 7308446"/>
              <a:gd name="connsiteX470" fmla="*/ 3756466 w 9012328"/>
              <a:gd name="connsiteY470" fmla="*/ 5740492 h 7308446"/>
              <a:gd name="connsiteX471" fmla="*/ 3725090 w 9012328"/>
              <a:gd name="connsiteY471" fmla="*/ 5717501 h 7308446"/>
              <a:gd name="connsiteX472" fmla="*/ 3696914 w 9012328"/>
              <a:gd name="connsiteY472" fmla="*/ 5691283 h 7308446"/>
              <a:gd name="connsiteX473" fmla="*/ 3671799 w 9012328"/>
              <a:gd name="connsiteY473" fmla="*/ 5661919 h 7308446"/>
              <a:gd name="connsiteX474" fmla="*/ 3649604 w 9012328"/>
              <a:gd name="connsiteY474" fmla="*/ 5629493 h 7308446"/>
              <a:gd name="connsiteX475" fmla="*/ 3630186 w 9012328"/>
              <a:gd name="connsiteY475" fmla="*/ 5594087 h 7308446"/>
              <a:gd name="connsiteX476" fmla="*/ 3613408 w 9012328"/>
              <a:gd name="connsiteY476" fmla="*/ 5555784 h 7308446"/>
              <a:gd name="connsiteX477" fmla="*/ 3599129 w 9012328"/>
              <a:gd name="connsiteY477" fmla="*/ 5514667 h 7308446"/>
              <a:gd name="connsiteX478" fmla="*/ 3587210 w 9012328"/>
              <a:gd name="connsiteY478" fmla="*/ 5470817 h 7308446"/>
              <a:gd name="connsiteX479" fmla="*/ 3577507 w 9012328"/>
              <a:gd name="connsiteY479" fmla="*/ 5424318 h 7308446"/>
              <a:gd name="connsiteX480" fmla="*/ 3569884 w 9012328"/>
              <a:gd name="connsiteY480" fmla="*/ 5375253 h 7308446"/>
              <a:gd name="connsiteX481" fmla="*/ 3564199 w 9012328"/>
              <a:gd name="connsiteY481" fmla="*/ 5323704 h 7308446"/>
              <a:gd name="connsiteX482" fmla="*/ 3560312 w 9012328"/>
              <a:gd name="connsiteY482" fmla="*/ 5269753 h 7308446"/>
              <a:gd name="connsiteX483" fmla="*/ 3558082 w 9012328"/>
              <a:gd name="connsiteY483" fmla="*/ 5213483 h 7308446"/>
              <a:gd name="connsiteX484" fmla="*/ 3557372 w 9012328"/>
              <a:gd name="connsiteY484" fmla="*/ 5154978 h 7308446"/>
              <a:gd name="connsiteX485" fmla="*/ 3558107 w 9012328"/>
              <a:gd name="connsiteY485" fmla="*/ 5096722 h 7308446"/>
              <a:gd name="connsiteX486" fmla="*/ 3560402 w 9012328"/>
              <a:gd name="connsiteY486" fmla="*/ 5040702 h 7308446"/>
              <a:gd name="connsiteX487" fmla="*/ 3564391 w 9012328"/>
              <a:gd name="connsiteY487" fmla="*/ 4986997 h 7308446"/>
              <a:gd name="connsiteX488" fmla="*/ 3570205 w 9012328"/>
              <a:gd name="connsiteY488" fmla="*/ 4935691 h 7308446"/>
              <a:gd name="connsiteX489" fmla="*/ 3577977 w 9012328"/>
              <a:gd name="connsiteY489" fmla="*/ 4886863 h 7308446"/>
              <a:gd name="connsiteX490" fmla="*/ 3587840 w 9012328"/>
              <a:gd name="connsiteY490" fmla="*/ 4840595 h 7308446"/>
              <a:gd name="connsiteX491" fmla="*/ 3599926 w 9012328"/>
              <a:gd name="connsiteY491" fmla="*/ 4796969 h 7308446"/>
              <a:gd name="connsiteX492" fmla="*/ 3614369 w 9012328"/>
              <a:gd name="connsiteY492" fmla="*/ 4756067 h 7308446"/>
              <a:gd name="connsiteX493" fmla="*/ 3631302 w 9012328"/>
              <a:gd name="connsiteY493" fmla="*/ 4717969 h 7308446"/>
              <a:gd name="connsiteX494" fmla="*/ 3650855 w 9012328"/>
              <a:gd name="connsiteY494" fmla="*/ 4682757 h 7308446"/>
              <a:gd name="connsiteX495" fmla="*/ 3673163 w 9012328"/>
              <a:gd name="connsiteY495" fmla="*/ 4650512 h 7308446"/>
              <a:gd name="connsiteX496" fmla="*/ 3698356 w 9012328"/>
              <a:gd name="connsiteY496" fmla="*/ 4621316 h 7308446"/>
              <a:gd name="connsiteX497" fmla="*/ 3726571 w 9012328"/>
              <a:gd name="connsiteY497" fmla="*/ 4595250 h 7308446"/>
              <a:gd name="connsiteX498" fmla="*/ 3757938 w 9012328"/>
              <a:gd name="connsiteY498" fmla="*/ 4572395 h 7308446"/>
              <a:gd name="connsiteX499" fmla="*/ 3792591 w 9012328"/>
              <a:gd name="connsiteY499" fmla="*/ 4552834 h 7308446"/>
              <a:gd name="connsiteX500" fmla="*/ 3830662 w 9012328"/>
              <a:gd name="connsiteY500" fmla="*/ 4536646 h 7308446"/>
              <a:gd name="connsiteX501" fmla="*/ 3872284 w 9012328"/>
              <a:gd name="connsiteY501" fmla="*/ 4523914 h 7308446"/>
              <a:gd name="connsiteX502" fmla="*/ 3917589 w 9012328"/>
              <a:gd name="connsiteY502" fmla="*/ 4514719 h 7308446"/>
              <a:gd name="connsiteX503" fmla="*/ 3966710 w 9012328"/>
              <a:gd name="connsiteY503" fmla="*/ 4509142 h 7308446"/>
              <a:gd name="connsiteX504" fmla="*/ 0 w 9012328"/>
              <a:gd name="connsiteY504" fmla="*/ 3876244 h 7308446"/>
              <a:gd name="connsiteX505" fmla="*/ 904792 w 9012328"/>
              <a:gd name="connsiteY505" fmla="*/ 3876244 h 7308446"/>
              <a:gd name="connsiteX506" fmla="*/ 904792 w 9012328"/>
              <a:gd name="connsiteY506" fmla="*/ 3983083 h 7308446"/>
              <a:gd name="connsiteX507" fmla="*/ 0 w 9012328"/>
              <a:gd name="connsiteY507" fmla="*/ 3983083 h 7308446"/>
              <a:gd name="connsiteX508" fmla="*/ 0 w 9012328"/>
              <a:gd name="connsiteY508" fmla="*/ 3527349 h 7308446"/>
              <a:gd name="connsiteX509" fmla="*/ 904792 w 9012328"/>
              <a:gd name="connsiteY509" fmla="*/ 3527349 h 7308446"/>
              <a:gd name="connsiteX510" fmla="*/ 904792 w 9012328"/>
              <a:gd name="connsiteY510" fmla="*/ 3634187 h 7308446"/>
              <a:gd name="connsiteX511" fmla="*/ 0 w 9012328"/>
              <a:gd name="connsiteY511" fmla="*/ 3634187 h 7308446"/>
              <a:gd name="connsiteX512" fmla="*/ 1599039 w 9012328"/>
              <a:gd name="connsiteY512" fmla="*/ 3011203 h 7308446"/>
              <a:gd name="connsiteX513" fmla="*/ 1972978 w 9012328"/>
              <a:gd name="connsiteY513" fmla="*/ 3011203 h 7308446"/>
              <a:gd name="connsiteX514" fmla="*/ 1972978 w 9012328"/>
              <a:gd name="connsiteY514" fmla="*/ 3106453 h 7308446"/>
              <a:gd name="connsiteX515" fmla="*/ 1972978 w 9012328"/>
              <a:gd name="connsiteY515" fmla="*/ 4205003 h 7308446"/>
              <a:gd name="connsiteX516" fmla="*/ 1972978 w 9012328"/>
              <a:gd name="connsiteY516" fmla="*/ 4300253 h 7308446"/>
              <a:gd name="connsiteX517" fmla="*/ 1599039 w 9012328"/>
              <a:gd name="connsiteY517" fmla="*/ 4300253 h 7308446"/>
              <a:gd name="connsiteX518" fmla="*/ 1599039 w 9012328"/>
              <a:gd name="connsiteY518" fmla="*/ 4205003 h 7308446"/>
              <a:gd name="connsiteX519" fmla="*/ 1857788 w 9012328"/>
              <a:gd name="connsiteY519" fmla="*/ 4205003 h 7308446"/>
              <a:gd name="connsiteX520" fmla="*/ 1857788 w 9012328"/>
              <a:gd name="connsiteY520" fmla="*/ 3106453 h 7308446"/>
              <a:gd name="connsiteX521" fmla="*/ 1599039 w 9012328"/>
              <a:gd name="connsiteY521" fmla="*/ 3106453 h 7308446"/>
              <a:gd name="connsiteX522" fmla="*/ 1125303 w 9012328"/>
              <a:gd name="connsiteY522" fmla="*/ 3011203 h 7308446"/>
              <a:gd name="connsiteX523" fmla="*/ 1499242 w 9012328"/>
              <a:gd name="connsiteY523" fmla="*/ 3011203 h 7308446"/>
              <a:gd name="connsiteX524" fmla="*/ 1499242 w 9012328"/>
              <a:gd name="connsiteY524" fmla="*/ 3106453 h 7308446"/>
              <a:gd name="connsiteX525" fmla="*/ 1240492 w 9012328"/>
              <a:gd name="connsiteY525" fmla="*/ 3106453 h 7308446"/>
              <a:gd name="connsiteX526" fmla="*/ 1240492 w 9012328"/>
              <a:gd name="connsiteY526" fmla="*/ 4205003 h 7308446"/>
              <a:gd name="connsiteX527" fmla="*/ 1499242 w 9012328"/>
              <a:gd name="connsiteY527" fmla="*/ 4205003 h 7308446"/>
              <a:gd name="connsiteX528" fmla="*/ 1499242 w 9012328"/>
              <a:gd name="connsiteY528" fmla="*/ 4300253 h 7308446"/>
              <a:gd name="connsiteX529" fmla="*/ 1125303 w 9012328"/>
              <a:gd name="connsiteY529" fmla="*/ 4300253 h 7308446"/>
              <a:gd name="connsiteX530" fmla="*/ 1125303 w 9012328"/>
              <a:gd name="connsiteY530" fmla="*/ 4205003 h 7308446"/>
              <a:gd name="connsiteX531" fmla="*/ 1125303 w 9012328"/>
              <a:gd name="connsiteY531" fmla="*/ 3106453 h 7308446"/>
              <a:gd name="connsiteX532" fmla="*/ 3600665 w 9012328"/>
              <a:gd name="connsiteY532" fmla="*/ 3004837 h 7308446"/>
              <a:gd name="connsiteX533" fmla="*/ 3653736 w 9012328"/>
              <a:gd name="connsiteY533" fmla="*/ 3006713 h 7308446"/>
              <a:gd name="connsiteX534" fmla="*/ 3702854 w 9012328"/>
              <a:gd name="connsiteY534" fmla="*/ 3012290 h 7308446"/>
              <a:gd name="connsiteX535" fmla="*/ 3748160 w 9012328"/>
              <a:gd name="connsiteY535" fmla="*/ 3021485 h 7308446"/>
              <a:gd name="connsiteX536" fmla="*/ 3789782 w 9012328"/>
              <a:gd name="connsiteY536" fmla="*/ 3034217 h 7308446"/>
              <a:gd name="connsiteX537" fmla="*/ 3827853 w 9012328"/>
              <a:gd name="connsiteY537" fmla="*/ 3050405 h 7308446"/>
              <a:gd name="connsiteX538" fmla="*/ 3862506 w 9012328"/>
              <a:gd name="connsiteY538" fmla="*/ 3069966 h 7308446"/>
              <a:gd name="connsiteX539" fmla="*/ 3893873 w 9012328"/>
              <a:gd name="connsiteY539" fmla="*/ 3092821 h 7308446"/>
              <a:gd name="connsiteX540" fmla="*/ 3922088 w 9012328"/>
              <a:gd name="connsiteY540" fmla="*/ 3118887 h 7308446"/>
              <a:gd name="connsiteX541" fmla="*/ 3947284 w 9012328"/>
              <a:gd name="connsiteY541" fmla="*/ 3148083 h 7308446"/>
              <a:gd name="connsiteX542" fmla="*/ 3969592 w 9012328"/>
              <a:gd name="connsiteY542" fmla="*/ 3180328 h 7308446"/>
              <a:gd name="connsiteX543" fmla="*/ 3989145 w 9012328"/>
              <a:gd name="connsiteY543" fmla="*/ 3215540 h 7308446"/>
              <a:gd name="connsiteX544" fmla="*/ 4006077 w 9012328"/>
              <a:gd name="connsiteY544" fmla="*/ 3253638 h 7308446"/>
              <a:gd name="connsiteX545" fmla="*/ 4020520 w 9012328"/>
              <a:gd name="connsiteY545" fmla="*/ 3294540 h 7308446"/>
              <a:gd name="connsiteX546" fmla="*/ 4032607 w 9012328"/>
              <a:gd name="connsiteY546" fmla="*/ 3338166 h 7308446"/>
              <a:gd name="connsiteX547" fmla="*/ 4042470 w 9012328"/>
              <a:gd name="connsiteY547" fmla="*/ 3384433 h 7308446"/>
              <a:gd name="connsiteX548" fmla="*/ 4050242 w 9012328"/>
              <a:gd name="connsiteY548" fmla="*/ 3433261 h 7308446"/>
              <a:gd name="connsiteX549" fmla="*/ 4056056 w 9012328"/>
              <a:gd name="connsiteY549" fmla="*/ 3484567 h 7308446"/>
              <a:gd name="connsiteX550" fmla="*/ 4060044 w 9012328"/>
              <a:gd name="connsiteY550" fmla="*/ 3538272 h 7308446"/>
              <a:gd name="connsiteX551" fmla="*/ 4062340 w 9012328"/>
              <a:gd name="connsiteY551" fmla="*/ 3594292 h 7308446"/>
              <a:gd name="connsiteX552" fmla="*/ 4063076 w 9012328"/>
              <a:gd name="connsiteY552" fmla="*/ 3652548 h 7308446"/>
              <a:gd name="connsiteX553" fmla="*/ 4062376 w 9012328"/>
              <a:gd name="connsiteY553" fmla="*/ 3711053 h 7308446"/>
              <a:gd name="connsiteX554" fmla="*/ 4060179 w 9012328"/>
              <a:gd name="connsiteY554" fmla="*/ 3767323 h 7308446"/>
              <a:gd name="connsiteX555" fmla="*/ 4056343 w 9012328"/>
              <a:gd name="connsiteY555" fmla="*/ 3821273 h 7308446"/>
              <a:gd name="connsiteX556" fmla="*/ 4050722 w 9012328"/>
              <a:gd name="connsiteY556" fmla="*/ 3872823 h 7308446"/>
              <a:gd name="connsiteX557" fmla="*/ 4043174 w 9012328"/>
              <a:gd name="connsiteY557" fmla="*/ 3921888 h 7308446"/>
              <a:gd name="connsiteX558" fmla="*/ 4033553 w 9012328"/>
              <a:gd name="connsiteY558" fmla="*/ 3968387 h 7308446"/>
              <a:gd name="connsiteX559" fmla="*/ 4021716 w 9012328"/>
              <a:gd name="connsiteY559" fmla="*/ 4012236 h 7308446"/>
              <a:gd name="connsiteX560" fmla="*/ 4007519 w 9012328"/>
              <a:gd name="connsiteY560" fmla="*/ 4053354 h 7308446"/>
              <a:gd name="connsiteX561" fmla="*/ 3990818 w 9012328"/>
              <a:gd name="connsiteY561" fmla="*/ 4091657 h 7308446"/>
              <a:gd name="connsiteX562" fmla="*/ 3971469 w 9012328"/>
              <a:gd name="connsiteY562" fmla="*/ 4127063 h 7308446"/>
              <a:gd name="connsiteX563" fmla="*/ 3949328 w 9012328"/>
              <a:gd name="connsiteY563" fmla="*/ 4159489 h 7308446"/>
              <a:gd name="connsiteX564" fmla="*/ 3924252 w 9012328"/>
              <a:gd name="connsiteY564" fmla="*/ 4188852 h 7308446"/>
              <a:gd name="connsiteX565" fmla="*/ 3896095 w 9012328"/>
              <a:gd name="connsiteY565" fmla="*/ 4215071 h 7308446"/>
              <a:gd name="connsiteX566" fmla="*/ 3864714 w 9012328"/>
              <a:gd name="connsiteY566" fmla="*/ 4238061 h 7308446"/>
              <a:gd name="connsiteX567" fmla="*/ 3829965 w 9012328"/>
              <a:gd name="connsiteY567" fmla="*/ 4257742 h 7308446"/>
              <a:gd name="connsiteX568" fmla="*/ 3791705 w 9012328"/>
              <a:gd name="connsiteY568" fmla="*/ 4274029 h 7308446"/>
              <a:gd name="connsiteX569" fmla="*/ 3749788 w 9012328"/>
              <a:gd name="connsiteY569" fmla="*/ 4286841 h 7308446"/>
              <a:gd name="connsiteX570" fmla="*/ 3704071 w 9012328"/>
              <a:gd name="connsiteY570" fmla="*/ 4296095 h 7308446"/>
              <a:gd name="connsiteX571" fmla="*/ 3654414 w 9012328"/>
              <a:gd name="connsiteY571" fmla="*/ 4301708 h 7308446"/>
              <a:gd name="connsiteX572" fmla="*/ 3600665 w 9012328"/>
              <a:gd name="connsiteY572" fmla="*/ 4303597 h 7308446"/>
              <a:gd name="connsiteX573" fmla="*/ 3600665 w 9012328"/>
              <a:gd name="connsiteY573" fmla="*/ 4206775 h 7308446"/>
              <a:gd name="connsiteX574" fmla="*/ 3650351 w 9012328"/>
              <a:gd name="connsiteY574" fmla="*/ 4204542 h 7308446"/>
              <a:gd name="connsiteX575" fmla="*/ 3695268 w 9012328"/>
              <a:gd name="connsiteY575" fmla="*/ 4197921 h 7308446"/>
              <a:gd name="connsiteX576" fmla="*/ 3735652 w 9012328"/>
              <a:gd name="connsiteY576" fmla="*/ 4187032 h 7308446"/>
              <a:gd name="connsiteX577" fmla="*/ 3771723 w 9012328"/>
              <a:gd name="connsiteY577" fmla="*/ 4171992 h 7308446"/>
              <a:gd name="connsiteX578" fmla="*/ 3831834 w 9012328"/>
              <a:gd name="connsiteY578" fmla="*/ 4129932 h 7308446"/>
              <a:gd name="connsiteX579" fmla="*/ 3877413 w 9012328"/>
              <a:gd name="connsiteY579" fmla="*/ 4072688 h 7308446"/>
              <a:gd name="connsiteX580" fmla="*/ 3895319 w 9012328"/>
              <a:gd name="connsiteY580" fmla="*/ 4038667 h 7308446"/>
              <a:gd name="connsiteX581" fmla="*/ 3910271 w 9012328"/>
              <a:gd name="connsiteY581" fmla="*/ 4001206 h 7308446"/>
              <a:gd name="connsiteX582" fmla="*/ 3922495 w 9012328"/>
              <a:gd name="connsiteY582" fmla="*/ 3960421 h 7308446"/>
              <a:gd name="connsiteX583" fmla="*/ 3932218 w 9012328"/>
              <a:gd name="connsiteY583" fmla="*/ 3916431 h 7308446"/>
              <a:gd name="connsiteX584" fmla="*/ 3939665 w 9012328"/>
              <a:gd name="connsiteY584" fmla="*/ 3869354 h 7308446"/>
              <a:gd name="connsiteX585" fmla="*/ 3945064 w 9012328"/>
              <a:gd name="connsiteY585" fmla="*/ 3819310 h 7308446"/>
              <a:gd name="connsiteX586" fmla="*/ 3948640 w 9012328"/>
              <a:gd name="connsiteY586" fmla="*/ 3766415 h 7308446"/>
              <a:gd name="connsiteX587" fmla="*/ 3950619 w 9012328"/>
              <a:gd name="connsiteY587" fmla="*/ 3710788 h 7308446"/>
              <a:gd name="connsiteX588" fmla="*/ 3951229 w 9012328"/>
              <a:gd name="connsiteY588" fmla="*/ 3652548 h 7308446"/>
              <a:gd name="connsiteX589" fmla="*/ 3950587 w 9012328"/>
              <a:gd name="connsiteY589" fmla="*/ 3594879 h 7308446"/>
              <a:gd name="connsiteX590" fmla="*/ 3948517 w 9012328"/>
              <a:gd name="connsiteY590" fmla="*/ 3539790 h 7308446"/>
              <a:gd name="connsiteX591" fmla="*/ 3944807 w 9012328"/>
              <a:gd name="connsiteY591" fmla="*/ 3487397 h 7308446"/>
              <a:gd name="connsiteX592" fmla="*/ 3939241 w 9012328"/>
              <a:gd name="connsiteY592" fmla="*/ 3437821 h 7308446"/>
              <a:gd name="connsiteX593" fmla="*/ 3931606 w 9012328"/>
              <a:gd name="connsiteY593" fmla="*/ 3391177 h 7308446"/>
              <a:gd name="connsiteX594" fmla="*/ 3921688 w 9012328"/>
              <a:gd name="connsiteY594" fmla="*/ 3347586 h 7308446"/>
              <a:gd name="connsiteX595" fmla="*/ 3909272 w 9012328"/>
              <a:gd name="connsiteY595" fmla="*/ 3307165 h 7308446"/>
              <a:gd name="connsiteX596" fmla="*/ 3894145 w 9012328"/>
              <a:gd name="connsiteY596" fmla="*/ 3270033 h 7308446"/>
              <a:gd name="connsiteX597" fmla="*/ 3876092 w 9012328"/>
              <a:gd name="connsiteY597" fmla="*/ 3236307 h 7308446"/>
              <a:gd name="connsiteX598" fmla="*/ 3830354 w 9012328"/>
              <a:gd name="connsiteY598" fmla="*/ 3179548 h 7308446"/>
              <a:gd name="connsiteX599" fmla="*/ 3770345 w 9012328"/>
              <a:gd name="connsiteY599" fmla="*/ 3137835 h 7308446"/>
              <a:gd name="connsiteX600" fmla="*/ 3734453 w 9012328"/>
              <a:gd name="connsiteY600" fmla="*/ 3122916 h 7308446"/>
              <a:gd name="connsiteX601" fmla="*/ 3694351 w 9012328"/>
              <a:gd name="connsiteY601" fmla="*/ 3112113 h 7308446"/>
              <a:gd name="connsiteX602" fmla="*/ 3649829 w 9012328"/>
              <a:gd name="connsiteY602" fmla="*/ 3105545 h 7308446"/>
              <a:gd name="connsiteX603" fmla="*/ 3600665 w 9012328"/>
              <a:gd name="connsiteY603" fmla="*/ 3103329 h 7308446"/>
              <a:gd name="connsiteX604" fmla="*/ 3508797 w 9012328"/>
              <a:gd name="connsiteY604" fmla="*/ 3004837 h 7308446"/>
              <a:gd name="connsiteX605" fmla="*/ 3508797 w 9012328"/>
              <a:gd name="connsiteY605" fmla="*/ 3103329 h 7308446"/>
              <a:gd name="connsiteX606" fmla="*/ 3459910 w 9012328"/>
              <a:gd name="connsiteY606" fmla="*/ 3105545 h 7308446"/>
              <a:gd name="connsiteX607" fmla="*/ 3415630 w 9012328"/>
              <a:gd name="connsiteY607" fmla="*/ 3112113 h 7308446"/>
              <a:gd name="connsiteX608" fmla="*/ 3375743 w 9012328"/>
              <a:gd name="connsiteY608" fmla="*/ 3122916 h 7308446"/>
              <a:gd name="connsiteX609" fmla="*/ 3340039 w 9012328"/>
              <a:gd name="connsiteY609" fmla="*/ 3137835 h 7308446"/>
              <a:gd name="connsiteX610" fmla="*/ 3280323 w 9012328"/>
              <a:gd name="connsiteY610" fmla="*/ 3179548 h 7308446"/>
              <a:gd name="connsiteX611" fmla="*/ 3234789 w 9012328"/>
              <a:gd name="connsiteY611" fmla="*/ 3236307 h 7308446"/>
              <a:gd name="connsiteX612" fmla="*/ 3216810 w 9012328"/>
              <a:gd name="connsiteY612" fmla="*/ 3270033 h 7308446"/>
              <a:gd name="connsiteX613" fmla="*/ 3201740 w 9012328"/>
              <a:gd name="connsiteY613" fmla="*/ 3307165 h 7308446"/>
              <a:gd name="connsiteX614" fmla="*/ 3189368 w 9012328"/>
              <a:gd name="connsiteY614" fmla="*/ 3347586 h 7308446"/>
              <a:gd name="connsiteX615" fmla="*/ 3179480 w 9012328"/>
              <a:gd name="connsiteY615" fmla="*/ 3391177 h 7308446"/>
              <a:gd name="connsiteX616" fmla="*/ 3171865 w 9012328"/>
              <a:gd name="connsiteY616" fmla="*/ 3437821 h 7308446"/>
              <a:gd name="connsiteX617" fmla="*/ 3166313 w 9012328"/>
              <a:gd name="connsiteY617" fmla="*/ 3487397 h 7308446"/>
              <a:gd name="connsiteX618" fmla="*/ 3162609 w 9012328"/>
              <a:gd name="connsiteY618" fmla="*/ 3539790 h 7308446"/>
              <a:gd name="connsiteX619" fmla="*/ 3160541 w 9012328"/>
              <a:gd name="connsiteY619" fmla="*/ 3594879 h 7308446"/>
              <a:gd name="connsiteX620" fmla="*/ 3159899 w 9012328"/>
              <a:gd name="connsiteY620" fmla="*/ 3652548 h 7308446"/>
              <a:gd name="connsiteX621" fmla="*/ 3160527 w 9012328"/>
              <a:gd name="connsiteY621" fmla="*/ 3710788 h 7308446"/>
              <a:gd name="connsiteX622" fmla="*/ 3162547 w 9012328"/>
              <a:gd name="connsiteY622" fmla="*/ 3766415 h 7308446"/>
              <a:gd name="connsiteX623" fmla="*/ 3166185 w 9012328"/>
              <a:gd name="connsiteY623" fmla="*/ 3819310 h 7308446"/>
              <a:gd name="connsiteX624" fmla="*/ 3171653 w 9012328"/>
              <a:gd name="connsiteY624" fmla="*/ 3869354 h 7308446"/>
              <a:gd name="connsiteX625" fmla="*/ 3179175 w 9012328"/>
              <a:gd name="connsiteY625" fmla="*/ 3916431 h 7308446"/>
              <a:gd name="connsiteX626" fmla="*/ 3188965 w 9012328"/>
              <a:gd name="connsiteY626" fmla="*/ 3960421 h 7308446"/>
              <a:gd name="connsiteX627" fmla="*/ 3201241 w 9012328"/>
              <a:gd name="connsiteY627" fmla="*/ 4001206 h 7308446"/>
              <a:gd name="connsiteX628" fmla="*/ 3216223 w 9012328"/>
              <a:gd name="connsiteY628" fmla="*/ 4038667 h 7308446"/>
              <a:gd name="connsiteX629" fmla="*/ 3234129 w 9012328"/>
              <a:gd name="connsiteY629" fmla="*/ 4072688 h 7308446"/>
              <a:gd name="connsiteX630" fmla="*/ 3279582 w 9012328"/>
              <a:gd name="connsiteY630" fmla="*/ 4129932 h 7308446"/>
              <a:gd name="connsiteX631" fmla="*/ 3339348 w 9012328"/>
              <a:gd name="connsiteY631" fmla="*/ 4171992 h 7308446"/>
              <a:gd name="connsiteX632" fmla="*/ 3375143 w 9012328"/>
              <a:gd name="connsiteY632" fmla="*/ 4187032 h 7308446"/>
              <a:gd name="connsiteX633" fmla="*/ 3415171 w 9012328"/>
              <a:gd name="connsiteY633" fmla="*/ 4197921 h 7308446"/>
              <a:gd name="connsiteX634" fmla="*/ 3459650 w 9012328"/>
              <a:gd name="connsiteY634" fmla="*/ 4204542 h 7308446"/>
              <a:gd name="connsiteX635" fmla="*/ 3508797 w 9012328"/>
              <a:gd name="connsiteY635" fmla="*/ 4206775 h 7308446"/>
              <a:gd name="connsiteX636" fmla="*/ 3508797 w 9012328"/>
              <a:gd name="connsiteY636" fmla="*/ 4303597 h 7308446"/>
              <a:gd name="connsiteX637" fmla="*/ 3455275 w 9012328"/>
              <a:gd name="connsiteY637" fmla="*/ 4301708 h 7308446"/>
              <a:gd name="connsiteX638" fmla="*/ 3405793 w 9012328"/>
              <a:gd name="connsiteY638" fmla="*/ 4296095 h 7308446"/>
              <a:gd name="connsiteX639" fmla="*/ 3360214 w 9012328"/>
              <a:gd name="connsiteY639" fmla="*/ 4286841 h 7308446"/>
              <a:gd name="connsiteX640" fmla="*/ 3318395 w 9012328"/>
              <a:gd name="connsiteY640" fmla="*/ 4274029 h 7308446"/>
              <a:gd name="connsiteX641" fmla="*/ 3280198 w 9012328"/>
              <a:gd name="connsiteY641" fmla="*/ 4257742 h 7308446"/>
              <a:gd name="connsiteX642" fmla="*/ 3245481 w 9012328"/>
              <a:gd name="connsiteY642" fmla="*/ 4238061 h 7308446"/>
              <a:gd name="connsiteX643" fmla="*/ 3214105 w 9012328"/>
              <a:gd name="connsiteY643" fmla="*/ 4215071 h 7308446"/>
              <a:gd name="connsiteX644" fmla="*/ 3185929 w 9012328"/>
              <a:gd name="connsiteY644" fmla="*/ 4188852 h 7308446"/>
              <a:gd name="connsiteX645" fmla="*/ 3160812 w 9012328"/>
              <a:gd name="connsiteY645" fmla="*/ 4159489 h 7308446"/>
              <a:gd name="connsiteX646" fmla="*/ 3138616 w 9012328"/>
              <a:gd name="connsiteY646" fmla="*/ 4127063 h 7308446"/>
              <a:gd name="connsiteX647" fmla="*/ 3119198 w 9012328"/>
              <a:gd name="connsiteY647" fmla="*/ 4091657 h 7308446"/>
              <a:gd name="connsiteX648" fmla="*/ 3102421 w 9012328"/>
              <a:gd name="connsiteY648" fmla="*/ 4053354 h 7308446"/>
              <a:gd name="connsiteX649" fmla="*/ 3088141 w 9012328"/>
              <a:gd name="connsiteY649" fmla="*/ 4012236 h 7308446"/>
              <a:gd name="connsiteX650" fmla="*/ 3076222 w 9012328"/>
              <a:gd name="connsiteY650" fmla="*/ 3968387 h 7308446"/>
              <a:gd name="connsiteX651" fmla="*/ 3066519 w 9012328"/>
              <a:gd name="connsiteY651" fmla="*/ 3921888 h 7308446"/>
              <a:gd name="connsiteX652" fmla="*/ 3058896 w 9012328"/>
              <a:gd name="connsiteY652" fmla="*/ 3872823 h 7308446"/>
              <a:gd name="connsiteX653" fmla="*/ 3053212 w 9012328"/>
              <a:gd name="connsiteY653" fmla="*/ 3821273 h 7308446"/>
              <a:gd name="connsiteX654" fmla="*/ 3049324 w 9012328"/>
              <a:gd name="connsiteY654" fmla="*/ 3767323 h 7308446"/>
              <a:gd name="connsiteX655" fmla="*/ 3047094 w 9012328"/>
              <a:gd name="connsiteY655" fmla="*/ 3711053 h 7308446"/>
              <a:gd name="connsiteX656" fmla="*/ 3046384 w 9012328"/>
              <a:gd name="connsiteY656" fmla="*/ 3652548 h 7308446"/>
              <a:gd name="connsiteX657" fmla="*/ 3047118 w 9012328"/>
              <a:gd name="connsiteY657" fmla="*/ 3594292 h 7308446"/>
              <a:gd name="connsiteX658" fmla="*/ 3049414 w 9012328"/>
              <a:gd name="connsiteY658" fmla="*/ 3538272 h 7308446"/>
              <a:gd name="connsiteX659" fmla="*/ 3053403 w 9012328"/>
              <a:gd name="connsiteY659" fmla="*/ 3484567 h 7308446"/>
              <a:gd name="connsiteX660" fmla="*/ 3059217 w 9012328"/>
              <a:gd name="connsiteY660" fmla="*/ 3433261 h 7308446"/>
              <a:gd name="connsiteX661" fmla="*/ 3066990 w 9012328"/>
              <a:gd name="connsiteY661" fmla="*/ 3384433 h 7308446"/>
              <a:gd name="connsiteX662" fmla="*/ 3076852 w 9012328"/>
              <a:gd name="connsiteY662" fmla="*/ 3338166 h 7308446"/>
              <a:gd name="connsiteX663" fmla="*/ 3088939 w 9012328"/>
              <a:gd name="connsiteY663" fmla="*/ 3294540 h 7308446"/>
              <a:gd name="connsiteX664" fmla="*/ 3103381 w 9012328"/>
              <a:gd name="connsiteY664" fmla="*/ 3253638 h 7308446"/>
              <a:gd name="connsiteX665" fmla="*/ 3120314 w 9012328"/>
              <a:gd name="connsiteY665" fmla="*/ 3215540 h 7308446"/>
              <a:gd name="connsiteX666" fmla="*/ 3139867 w 9012328"/>
              <a:gd name="connsiteY666" fmla="*/ 3180328 h 7308446"/>
              <a:gd name="connsiteX667" fmla="*/ 3162174 w 9012328"/>
              <a:gd name="connsiteY667" fmla="*/ 3148083 h 7308446"/>
              <a:gd name="connsiteX668" fmla="*/ 3187372 w 9012328"/>
              <a:gd name="connsiteY668" fmla="*/ 3118887 h 7308446"/>
              <a:gd name="connsiteX669" fmla="*/ 3215586 w 9012328"/>
              <a:gd name="connsiteY669" fmla="*/ 3092821 h 7308446"/>
              <a:gd name="connsiteX670" fmla="*/ 3246953 w 9012328"/>
              <a:gd name="connsiteY670" fmla="*/ 3069966 h 7308446"/>
              <a:gd name="connsiteX671" fmla="*/ 3281606 w 9012328"/>
              <a:gd name="connsiteY671" fmla="*/ 3050405 h 7308446"/>
              <a:gd name="connsiteX672" fmla="*/ 3319678 w 9012328"/>
              <a:gd name="connsiteY672" fmla="*/ 3034217 h 7308446"/>
              <a:gd name="connsiteX673" fmla="*/ 3361299 w 9012328"/>
              <a:gd name="connsiteY673" fmla="*/ 3021485 h 7308446"/>
              <a:gd name="connsiteX674" fmla="*/ 3406605 w 9012328"/>
              <a:gd name="connsiteY674" fmla="*/ 3012290 h 7308446"/>
              <a:gd name="connsiteX675" fmla="*/ 3455726 w 9012328"/>
              <a:gd name="connsiteY675" fmla="*/ 3006713 h 7308446"/>
              <a:gd name="connsiteX676" fmla="*/ 3637118 w 9012328"/>
              <a:gd name="connsiteY676" fmla="*/ 2373826 h 7308446"/>
              <a:gd name="connsiteX677" fmla="*/ 4541909 w 9012328"/>
              <a:gd name="connsiteY677" fmla="*/ 2373826 h 7308446"/>
              <a:gd name="connsiteX678" fmla="*/ 4541909 w 9012328"/>
              <a:gd name="connsiteY678" fmla="*/ 2480664 h 7308446"/>
              <a:gd name="connsiteX679" fmla="*/ 3637118 w 9012328"/>
              <a:gd name="connsiteY679" fmla="*/ 2480664 h 7308446"/>
              <a:gd name="connsiteX680" fmla="*/ 2550201 w 9012328"/>
              <a:gd name="connsiteY680" fmla="*/ 2373826 h 7308446"/>
              <a:gd name="connsiteX681" fmla="*/ 3454993 w 9012328"/>
              <a:gd name="connsiteY681" fmla="*/ 2373826 h 7308446"/>
              <a:gd name="connsiteX682" fmla="*/ 3454993 w 9012328"/>
              <a:gd name="connsiteY682" fmla="*/ 2480664 h 7308446"/>
              <a:gd name="connsiteX683" fmla="*/ 2550201 w 9012328"/>
              <a:gd name="connsiteY683" fmla="*/ 2480664 h 7308446"/>
              <a:gd name="connsiteX684" fmla="*/ 3637119 w 9012328"/>
              <a:gd name="connsiteY684" fmla="*/ 2024930 h 7308446"/>
              <a:gd name="connsiteX685" fmla="*/ 4541909 w 9012328"/>
              <a:gd name="connsiteY685" fmla="*/ 2024930 h 7308446"/>
              <a:gd name="connsiteX686" fmla="*/ 4541909 w 9012328"/>
              <a:gd name="connsiteY686" fmla="*/ 2131769 h 7308446"/>
              <a:gd name="connsiteX687" fmla="*/ 3637119 w 9012328"/>
              <a:gd name="connsiteY687" fmla="*/ 2131769 h 7308446"/>
              <a:gd name="connsiteX688" fmla="*/ 2550201 w 9012328"/>
              <a:gd name="connsiteY688" fmla="*/ 2024930 h 7308446"/>
              <a:gd name="connsiteX689" fmla="*/ 3454993 w 9012328"/>
              <a:gd name="connsiteY689" fmla="*/ 2024930 h 7308446"/>
              <a:gd name="connsiteX690" fmla="*/ 3454993 w 9012328"/>
              <a:gd name="connsiteY690" fmla="*/ 2131769 h 7308446"/>
              <a:gd name="connsiteX691" fmla="*/ 2550201 w 9012328"/>
              <a:gd name="connsiteY691" fmla="*/ 2131769 h 7308446"/>
              <a:gd name="connsiteX692" fmla="*/ 6133380 w 9012328"/>
              <a:gd name="connsiteY692" fmla="*/ 1502419 h 7308446"/>
              <a:gd name="connsiteX693" fmla="*/ 6186450 w 9012328"/>
              <a:gd name="connsiteY693" fmla="*/ 1504296 h 7308446"/>
              <a:gd name="connsiteX694" fmla="*/ 6235571 w 9012328"/>
              <a:gd name="connsiteY694" fmla="*/ 1509872 h 7308446"/>
              <a:gd name="connsiteX695" fmla="*/ 6280876 w 9012328"/>
              <a:gd name="connsiteY695" fmla="*/ 1519068 h 7308446"/>
              <a:gd name="connsiteX696" fmla="*/ 6322498 w 9012328"/>
              <a:gd name="connsiteY696" fmla="*/ 1531799 h 7308446"/>
              <a:gd name="connsiteX697" fmla="*/ 6360569 w 9012328"/>
              <a:gd name="connsiteY697" fmla="*/ 1547987 h 7308446"/>
              <a:gd name="connsiteX698" fmla="*/ 6395222 w 9012328"/>
              <a:gd name="connsiteY698" fmla="*/ 1567548 h 7308446"/>
              <a:gd name="connsiteX699" fmla="*/ 6426589 w 9012328"/>
              <a:gd name="connsiteY699" fmla="*/ 1590403 h 7308446"/>
              <a:gd name="connsiteX700" fmla="*/ 6454804 w 9012328"/>
              <a:gd name="connsiteY700" fmla="*/ 1616469 h 7308446"/>
              <a:gd name="connsiteX701" fmla="*/ 6480000 w 9012328"/>
              <a:gd name="connsiteY701" fmla="*/ 1645665 h 7308446"/>
              <a:gd name="connsiteX702" fmla="*/ 6502308 w 9012328"/>
              <a:gd name="connsiteY702" fmla="*/ 1677910 h 7308446"/>
              <a:gd name="connsiteX703" fmla="*/ 6521861 w 9012328"/>
              <a:gd name="connsiteY703" fmla="*/ 1713122 h 7308446"/>
              <a:gd name="connsiteX704" fmla="*/ 6538793 w 9012328"/>
              <a:gd name="connsiteY704" fmla="*/ 1751221 h 7308446"/>
              <a:gd name="connsiteX705" fmla="*/ 6553236 w 9012328"/>
              <a:gd name="connsiteY705" fmla="*/ 1792122 h 7308446"/>
              <a:gd name="connsiteX706" fmla="*/ 6565323 w 9012328"/>
              <a:gd name="connsiteY706" fmla="*/ 1835748 h 7308446"/>
              <a:gd name="connsiteX707" fmla="*/ 6575186 w 9012328"/>
              <a:gd name="connsiteY707" fmla="*/ 1882015 h 7308446"/>
              <a:gd name="connsiteX708" fmla="*/ 6582958 w 9012328"/>
              <a:gd name="connsiteY708" fmla="*/ 1930843 h 7308446"/>
              <a:gd name="connsiteX709" fmla="*/ 6588772 w 9012328"/>
              <a:gd name="connsiteY709" fmla="*/ 1982149 h 7308446"/>
              <a:gd name="connsiteX710" fmla="*/ 6592760 w 9012328"/>
              <a:gd name="connsiteY710" fmla="*/ 2035854 h 7308446"/>
              <a:gd name="connsiteX711" fmla="*/ 6595056 w 9012328"/>
              <a:gd name="connsiteY711" fmla="*/ 2091874 h 7308446"/>
              <a:gd name="connsiteX712" fmla="*/ 6595792 w 9012328"/>
              <a:gd name="connsiteY712" fmla="*/ 2150130 h 7308446"/>
              <a:gd name="connsiteX713" fmla="*/ 6595092 w 9012328"/>
              <a:gd name="connsiteY713" fmla="*/ 2208635 h 7308446"/>
              <a:gd name="connsiteX714" fmla="*/ 6592895 w 9012328"/>
              <a:gd name="connsiteY714" fmla="*/ 2264905 h 7308446"/>
              <a:gd name="connsiteX715" fmla="*/ 6589059 w 9012328"/>
              <a:gd name="connsiteY715" fmla="*/ 2318855 h 7308446"/>
              <a:gd name="connsiteX716" fmla="*/ 6583438 w 9012328"/>
              <a:gd name="connsiteY716" fmla="*/ 2370405 h 7308446"/>
              <a:gd name="connsiteX717" fmla="*/ 6575890 w 9012328"/>
              <a:gd name="connsiteY717" fmla="*/ 2419470 h 7308446"/>
              <a:gd name="connsiteX718" fmla="*/ 6566269 w 9012328"/>
              <a:gd name="connsiteY718" fmla="*/ 2465969 h 7308446"/>
              <a:gd name="connsiteX719" fmla="*/ 6554432 w 9012328"/>
              <a:gd name="connsiteY719" fmla="*/ 2509818 h 7308446"/>
              <a:gd name="connsiteX720" fmla="*/ 6540235 w 9012328"/>
              <a:gd name="connsiteY720" fmla="*/ 2550936 h 7308446"/>
              <a:gd name="connsiteX721" fmla="*/ 6523535 w 9012328"/>
              <a:gd name="connsiteY721" fmla="*/ 2589239 h 7308446"/>
              <a:gd name="connsiteX722" fmla="*/ 6504186 w 9012328"/>
              <a:gd name="connsiteY722" fmla="*/ 2624645 h 7308446"/>
              <a:gd name="connsiteX723" fmla="*/ 6482045 w 9012328"/>
              <a:gd name="connsiteY723" fmla="*/ 2657071 h 7308446"/>
              <a:gd name="connsiteX724" fmla="*/ 6456968 w 9012328"/>
              <a:gd name="connsiteY724" fmla="*/ 2686434 h 7308446"/>
              <a:gd name="connsiteX725" fmla="*/ 6428811 w 9012328"/>
              <a:gd name="connsiteY725" fmla="*/ 2712653 h 7308446"/>
              <a:gd name="connsiteX726" fmla="*/ 6397430 w 9012328"/>
              <a:gd name="connsiteY726" fmla="*/ 2735643 h 7308446"/>
              <a:gd name="connsiteX727" fmla="*/ 6362682 w 9012328"/>
              <a:gd name="connsiteY727" fmla="*/ 2755324 h 7308446"/>
              <a:gd name="connsiteX728" fmla="*/ 6324421 w 9012328"/>
              <a:gd name="connsiteY728" fmla="*/ 2771611 h 7308446"/>
              <a:gd name="connsiteX729" fmla="*/ 6282504 w 9012328"/>
              <a:gd name="connsiteY729" fmla="*/ 2784423 h 7308446"/>
              <a:gd name="connsiteX730" fmla="*/ 6236788 w 9012328"/>
              <a:gd name="connsiteY730" fmla="*/ 2793677 h 7308446"/>
              <a:gd name="connsiteX731" fmla="*/ 6187128 w 9012328"/>
              <a:gd name="connsiteY731" fmla="*/ 2799290 h 7308446"/>
              <a:gd name="connsiteX732" fmla="*/ 6133380 w 9012328"/>
              <a:gd name="connsiteY732" fmla="*/ 2801179 h 7308446"/>
              <a:gd name="connsiteX733" fmla="*/ 6133380 w 9012328"/>
              <a:gd name="connsiteY733" fmla="*/ 2704356 h 7308446"/>
              <a:gd name="connsiteX734" fmla="*/ 6183065 w 9012328"/>
              <a:gd name="connsiteY734" fmla="*/ 2702123 h 7308446"/>
              <a:gd name="connsiteX735" fmla="*/ 6227986 w 9012328"/>
              <a:gd name="connsiteY735" fmla="*/ 2695502 h 7308446"/>
              <a:gd name="connsiteX736" fmla="*/ 6268368 w 9012328"/>
              <a:gd name="connsiteY736" fmla="*/ 2684613 h 7308446"/>
              <a:gd name="connsiteX737" fmla="*/ 6304439 w 9012328"/>
              <a:gd name="connsiteY737" fmla="*/ 2669573 h 7308446"/>
              <a:gd name="connsiteX738" fmla="*/ 6364550 w 9012328"/>
              <a:gd name="connsiteY738" fmla="*/ 2627513 h 7308446"/>
              <a:gd name="connsiteX739" fmla="*/ 6410130 w 9012328"/>
              <a:gd name="connsiteY739" fmla="*/ 2570269 h 7308446"/>
              <a:gd name="connsiteX740" fmla="*/ 6428035 w 9012328"/>
              <a:gd name="connsiteY740" fmla="*/ 2536249 h 7308446"/>
              <a:gd name="connsiteX741" fmla="*/ 6442987 w 9012328"/>
              <a:gd name="connsiteY741" fmla="*/ 2498787 h 7308446"/>
              <a:gd name="connsiteX742" fmla="*/ 6455211 w 9012328"/>
              <a:gd name="connsiteY742" fmla="*/ 2458002 h 7308446"/>
              <a:gd name="connsiteX743" fmla="*/ 6464934 w 9012328"/>
              <a:gd name="connsiteY743" fmla="*/ 2414012 h 7308446"/>
              <a:gd name="connsiteX744" fmla="*/ 6472381 w 9012328"/>
              <a:gd name="connsiteY744" fmla="*/ 2366936 h 7308446"/>
              <a:gd name="connsiteX745" fmla="*/ 6477780 w 9012328"/>
              <a:gd name="connsiteY745" fmla="*/ 2316891 h 7308446"/>
              <a:gd name="connsiteX746" fmla="*/ 6481356 w 9012328"/>
              <a:gd name="connsiteY746" fmla="*/ 2263996 h 7308446"/>
              <a:gd name="connsiteX747" fmla="*/ 6483335 w 9012328"/>
              <a:gd name="connsiteY747" fmla="*/ 2208370 h 7308446"/>
              <a:gd name="connsiteX748" fmla="*/ 6483945 w 9012328"/>
              <a:gd name="connsiteY748" fmla="*/ 2150130 h 7308446"/>
              <a:gd name="connsiteX749" fmla="*/ 6483303 w 9012328"/>
              <a:gd name="connsiteY749" fmla="*/ 2092461 h 7308446"/>
              <a:gd name="connsiteX750" fmla="*/ 6481233 w 9012328"/>
              <a:gd name="connsiteY750" fmla="*/ 2037371 h 7308446"/>
              <a:gd name="connsiteX751" fmla="*/ 6477523 w 9012328"/>
              <a:gd name="connsiteY751" fmla="*/ 1984979 h 7308446"/>
              <a:gd name="connsiteX752" fmla="*/ 6471957 w 9012328"/>
              <a:gd name="connsiteY752" fmla="*/ 1935402 h 7308446"/>
              <a:gd name="connsiteX753" fmla="*/ 6464322 w 9012328"/>
              <a:gd name="connsiteY753" fmla="*/ 1888759 h 7308446"/>
              <a:gd name="connsiteX754" fmla="*/ 6454404 w 9012328"/>
              <a:gd name="connsiteY754" fmla="*/ 1845167 h 7308446"/>
              <a:gd name="connsiteX755" fmla="*/ 6441988 w 9012328"/>
              <a:gd name="connsiteY755" fmla="*/ 1804746 h 7308446"/>
              <a:gd name="connsiteX756" fmla="*/ 6426861 w 9012328"/>
              <a:gd name="connsiteY756" fmla="*/ 1767614 h 7308446"/>
              <a:gd name="connsiteX757" fmla="*/ 6408808 w 9012328"/>
              <a:gd name="connsiteY757" fmla="*/ 1733888 h 7308446"/>
              <a:gd name="connsiteX758" fmla="*/ 6363070 w 9012328"/>
              <a:gd name="connsiteY758" fmla="*/ 1677129 h 7308446"/>
              <a:gd name="connsiteX759" fmla="*/ 6303061 w 9012328"/>
              <a:gd name="connsiteY759" fmla="*/ 1635416 h 7308446"/>
              <a:gd name="connsiteX760" fmla="*/ 6267169 w 9012328"/>
              <a:gd name="connsiteY760" fmla="*/ 1620497 h 7308446"/>
              <a:gd name="connsiteX761" fmla="*/ 6227068 w 9012328"/>
              <a:gd name="connsiteY761" fmla="*/ 1609694 h 7308446"/>
              <a:gd name="connsiteX762" fmla="*/ 6182543 w 9012328"/>
              <a:gd name="connsiteY762" fmla="*/ 1603125 h 7308446"/>
              <a:gd name="connsiteX763" fmla="*/ 6133380 w 9012328"/>
              <a:gd name="connsiteY763" fmla="*/ 1600910 h 7308446"/>
              <a:gd name="connsiteX764" fmla="*/ 6041530 w 9012328"/>
              <a:gd name="connsiteY764" fmla="*/ 1502419 h 7308446"/>
              <a:gd name="connsiteX765" fmla="*/ 6041530 w 9012328"/>
              <a:gd name="connsiteY765" fmla="*/ 1600910 h 7308446"/>
              <a:gd name="connsiteX766" fmla="*/ 5992644 w 9012328"/>
              <a:gd name="connsiteY766" fmla="*/ 1603125 h 7308446"/>
              <a:gd name="connsiteX767" fmla="*/ 5948363 w 9012328"/>
              <a:gd name="connsiteY767" fmla="*/ 1609694 h 7308446"/>
              <a:gd name="connsiteX768" fmla="*/ 5908477 w 9012328"/>
              <a:gd name="connsiteY768" fmla="*/ 1620497 h 7308446"/>
              <a:gd name="connsiteX769" fmla="*/ 5872771 w 9012328"/>
              <a:gd name="connsiteY769" fmla="*/ 1635416 h 7308446"/>
              <a:gd name="connsiteX770" fmla="*/ 5813056 w 9012328"/>
              <a:gd name="connsiteY770" fmla="*/ 1677129 h 7308446"/>
              <a:gd name="connsiteX771" fmla="*/ 5767522 w 9012328"/>
              <a:gd name="connsiteY771" fmla="*/ 1733888 h 7308446"/>
              <a:gd name="connsiteX772" fmla="*/ 5749543 w 9012328"/>
              <a:gd name="connsiteY772" fmla="*/ 1767614 h 7308446"/>
              <a:gd name="connsiteX773" fmla="*/ 5734473 w 9012328"/>
              <a:gd name="connsiteY773" fmla="*/ 1804746 h 7308446"/>
              <a:gd name="connsiteX774" fmla="*/ 5722101 w 9012328"/>
              <a:gd name="connsiteY774" fmla="*/ 1845167 h 7308446"/>
              <a:gd name="connsiteX775" fmla="*/ 5712213 w 9012328"/>
              <a:gd name="connsiteY775" fmla="*/ 1888759 h 7308446"/>
              <a:gd name="connsiteX776" fmla="*/ 5704599 w 9012328"/>
              <a:gd name="connsiteY776" fmla="*/ 1935402 h 7308446"/>
              <a:gd name="connsiteX777" fmla="*/ 5699046 w 9012328"/>
              <a:gd name="connsiteY777" fmla="*/ 1984979 h 7308446"/>
              <a:gd name="connsiteX778" fmla="*/ 5695342 w 9012328"/>
              <a:gd name="connsiteY778" fmla="*/ 2037371 h 7308446"/>
              <a:gd name="connsiteX779" fmla="*/ 5693275 w 9012328"/>
              <a:gd name="connsiteY779" fmla="*/ 2092461 h 7308446"/>
              <a:gd name="connsiteX780" fmla="*/ 5692633 w 9012328"/>
              <a:gd name="connsiteY780" fmla="*/ 2150130 h 7308446"/>
              <a:gd name="connsiteX781" fmla="*/ 5693259 w 9012328"/>
              <a:gd name="connsiteY781" fmla="*/ 2208370 h 7308446"/>
              <a:gd name="connsiteX782" fmla="*/ 5695281 w 9012328"/>
              <a:gd name="connsiteY782" fmla="*/ 2263996 h 7308446"/>
              <a:gd name="connsiteX783" fmla="*/ 5698918 w 9012328"/>
              <a:gd name="connsiteY783" fmla="*/ 2316891 h 7308446"/>
              <a:gd name="connsiteX784" fmla="*/ 5704387 w 9012328"/>
              <a:gd name="connsiteY784" fmla="*/ 2366936 h 7308446"/>
              <a:gd name="connsiteX785" fmla="*/ 5711908 w 9012328"/>
              <a:gd name="connsiteY785" fmla="*/ 2414012 h 7308446"/>
              <a:gd name="connsiteX786" fmla="*/ 5721697 w 9012328"/>
              <a:gd name="connsiteY786" fmla="*/ 2458002 h 7308446"/>
              <a:gd name="connsiteX787" fmla="*/ 5733974 w 9012328"/>
              <a:gd name="connsiteY787" fmla="*/ 2498787 h 7308446"/>
              <a:gd name="connsiteX788" fmla="*/ 5748956 w 9012328"/>
              <a:gd name="connsiteY788" fmla="*/ 2536249 h 7308446"/>
              <a:gd name="connsiteX789" fmla="*/ 5766862 w 9012328"/>
              <a:gd name="connsiteY789" fmla="*/ 2570269 h 7308446"/>
              <a:gd name="connsiteX790" fmla="*/ 5812316 w 9012328"/>
              <a:gd name="connsiteY790" fmla="*/ 2627513 h 7308446"/>
              <a:gd name="connsiteX791" fmla="*/ 5872082 w 9012328"/>
              <a:gd name="connsiteY791" fmla="*/ 2669573 h 7308446"/>
              <a:gd name="connsiteX792" fmla="*/ 5907877 w 9012328"/>
              <a:gd name="connsiteY792" fmla="*/ 2684613 h 7308446"/>
              <a:gd name="connsiteX793" fmla="*/ 5947905 w 9012328"/>
              <a:gd name="connsiteY793" fmla="*/ 2695502 h 7308446"/>
              <a:gd name="connsiteX794" fmla="*/ 5992383 w 9012328"/>
              <a:gd name="connsiteY794" fmla="*/ 2702123 h 7308446"/>
              <a:gd name="connsiteX795" fmla="*/ 6041530 w 9012328"/>
              <a:gd name="connsiteY795" fmla="*/ 2704356 h 7308446"/>
              <a:gd name="connsiteX796" fmla="*/ 6041530 w 9012328"/>
              <a:gd name="connsiteY796" fmla="*/ 2801179 h 7308446"/>
              <a:gd name="connsiteX797" fmla="*/ 5988008 w 9012328"/>
              <a:gd name="connsiteY797" fmla="*/ 2799290 h 7308446"/>
              <a:gd name="connsiteX798" fmla="*/ 5938527 w 9012328"/>
              <a:gd name="connsiteY798" fmla="*/ 2793677 h 7308446"/>
              <a:gd name="connsiteX799" fmla="*/ 5892948 w 9012328"/>
              <a:gd name="connsiteY799" fmla="*/ 2784423 h 7308446"/>
              <a:gd name="connsiteX800" fmla="*/ 5851129 w 9012328"/>
              <a:gd name="connsiteY800" fmla="*/ 2771611 h 7308446"/>
              <a:gd name="connsiteX801" fmla="*/ 5812932 w 9012328"/>
              <a:gd name="connsiteY801" fmla="*/ 2755324 h 7308446"/>
              <a:gd name="connsiteX802" fmla="*/ 5778215 w 9012328"/>
              <a:gd name="connsiteY802" fmla="*/ 2735643 h 7308446"/>
              <a:gd name="connsiteX803" fmla="*/ 5746839 w 9012328"/>
              <a:gd name="connsiteY803" fmla="*/ 2712653 h 7308446"/>
              <a:gd name="connsiteX804" fmla="*/ 5718663 w 9012328"/>
              <a:gd name="connsiteY804" fmla="*/ 2686434 h 7308446"/>
              <a:gd name="connsiteX805" fmla="*/ 5693546 w 9012328"/>
              <a:gd name="connsiteY805" fmla="*/ 2657071 h 7308446"/>
              <a:gd name="connsiteX806" fmla="*/ 5671350 w 9012328"/>
              <a:gd name="connsiteY806" fmla="*/ 2624645 h 7308446"/>
              <a:gd name="connsiteX807" fmla="*/ 5651932 w 9012328"/>
              <a:gd name="connsiteY807" fmla="*/ 2589239 h 7308446"/>
              <a:gd name="connsiteX808" fmla="*/ 5635155 w 9012328"/>
              <a:gd name="connsiteY808" fmla="*/ 2550936 h 7308446"/>
              <a:gd name="connsiteX809" fmla="*/ 5620876 w 9012328"/>
              <a:gd name="connsiteY809" fmla="*/ 2509818 h 7308446"/>
              <a:gd name="connsiteX810" fmla="*/ 5608956 w 9012328"/>
              <a:gd name="connsiteY810" fmla="*/ 2465969 h 7308446"/>
              <a:gd name="connsiteX811" fmla="*/ 5599254 w 9012328"/>
              <a:gd name="connsiteY811" fmla="*/ 2419470 h 7308446"/>
              <a:gd name="connsiteX812" fmla="*/ 5591631 w 9012328"/>
              <a:gd name="connsiteY812" fmla="*/ 2370405 h 7308446"/>
              <a:gd name="connsiteX813" fmla="*/ 5585946 w 9012328"/>
              <a:gd name="connsiteY813" fmla="*/ 2318855 h 7308446"/>
              <a:gd name="connsiteX814" fmla="*/ 5582059 w 9012328"/>
              <a:gd name="connsiteY814" fmla="*/ 2264905 h 7308446"/>
              <a:gd name="connsiteX815" fmla="*/ 5579829 w 9012328"/>
              <a:gd name="connsiteY815" fmla="*/ 2208635 h 7308446"/>
              <a:gd name="connsiteX816" fmla="*/ 5579118 w 9012328"/>
              <a:gd name="connsiteY816" fmla="*/ 2150130 h 7308446"/>
              <a:gd name="connsiteX817" fmla="*/ 5579853 w 9012328"/>
              <a:gd name="connsiteY817" fmla="*/ 2091874 h 7308446"/>
              <a:gd name="connsiteX818" fmla="*/ 5582149 w 9012328"/>
              <a:gd name="connsiteY818" fmla="*/ 2035854 h 7308446"/>
              <a:gd name="connsiteX819" fmla="*/ 5586138 w 9012328"/>
              <a:gd name="connsiteY819" fmla="*/ 1982149 h 7308446"/>
              <a:gd name="connsiteX820" fmla="*/ 5591951 w 9012328"/>
              <a:gd name="connsiteY820" fmla="*/ 1930843 h 7308446"/>
              <a:gd name="connsiteX821" fmla="*/ 5599724 w 9012328"/>
              <a:gd name="connsiteY821" fmla="*/ 1882015 h 7308446"/>
              <a:gd name="connsiteX822" fmla="*/ 5609587 w 9012328"/>
              <a:gd name="connsiteY822" fmla="*/ 1835748 h 7308446"/>
              <a:gd name="connsiteX823" fmla="*/ 5621673 w 9012328"/>
              <a:gd name="connsiteY823" fmla="*/ 1792122 h 7308446"/>
              <a:gd name="connsiteX824" fmla="*/ 5636116 w 9012328"/>
              <a:gd name="connsiteY824" fmla="*/ 1751221 h 7308446"/>
              <a:gd name="connsiteX825" fmla="*/ 5653048 w 9012328"/>
              <a:gd name="connsiteY825" fmla="*/ 1713122 h 7308446"/>
              <a:gd name="connsiteX826" fmla="*/ 5672601 w 9012328"/>
              <a:gd name="connsiteY826" fmla="*/ 1677910 h 7308446"/>
              <a:gd name="connsiteX827" fmla="*/ 5694909 w 9012328"/>
              <a:gd name="connsiteY827" fmla="*/ 1645665 h 7308446"/>
              <a:gd name="connsiteX828" fmla="*/ 5720105 w 9012328"/>
              <a:gd name="connsiteY828" fmla="*/ 1616469 h 7308446"/>
              <a:gd name="connsiteX829" fmla="*/ 5748320 w 9012328"/>
              <a:gd name="connsiteY829" fmla="*/ 1590403 h 7308446"/>
              <a:gd name="connsiteX830" fmla="*/ 5779687 w 9012328"/>
              <a:gd name="connsiteY830" fmla="*/ 1567548 h 7308446"/>
              <a:gd name="connsiteX831" fmla="*/ 5814340 w 9012328"/>
              <a:gd name="connsiteY831" fmla="*/ 1547987 h 7308446"/>
              <a:gd name="connsiteX832" fmla="*/ 5852411 w 9012328"/>
              <a:gd name="connsiteY832" fmla="*/ 1531799 h 7308446"/>
              <a:gd name="connsiteX833" fmla="*/ 5894033 w 9012328"/>
              <a:gd name="connsiteY833" fmla="*/ 1519068 h 7308446"/>
              <a:gd name="connsiteX834" fmla="*/ 5939338 w 9012328"/>
              <a:gd name="connsiteY834" fmla="*/ 1509872 h 7308446"/>
              <a:gd name="connsiteX835" fmla="*/ 5988459 w 9012328"/>
              <a:gd name="connsiteY835" fmla="*/ 1504296 h 7308446"/>
              <a:gd name="connsiteX836" fmla="*/ 4160590 w 9012328"/>
              <a:gd name="connsiteY836" fmla="*/ 1021648 h 7308446"/>
              <a:gd name="connsiteX837" fmla="*/ 4367589 w 9012328"/>
              <a:gd name="connsiteY837" fmla="*/ 1021648 h 7308446"/>
              <a:gd name="connsiteX838" fmla="*/ 4367589 w 9012328"/>
              <a:gd name="connsiteY838" fmla="*/ 1195261 h 7308446"/>
              <a:gd name="connsiteX839" fmla="*/ 4160590 w 9012328"/>
              <a:gd name="connsiteY839" fmla="*/ 1195261 h 7308446"/>
              <a:gd name="connsiteX840" fmla="*/ 5799344 w 9012328"/>
              <a:gd name="connsiteY840" fmla="*/ 871408 h 7308446"/>
              <a:gd name="connsiteX841" fmla="*/ 6704136 w 9012328"/>
              <a:gd name="connsiteY841" fmla="*/ 871408 h 7308446"/>
              <a:gd name="connsiteX842" fmla="*/ 6704136 w 9012328"/>
              <a:gd name="connsiteY842" fmla="*/ 978246 h 7308446"/>
              <a:gd name="connsiteX843" fmla="*/ 5799344 w 9012328"/>
              <a:gd name="connsiteY843" fmla="*/ 978246 h 7308446"/>
              <a:gd name="connsiteX844" fmla="*/ 5799344 w 9012328"/>
              <a:gd name="connsiteY844" fmla="*/ 522512 h 7308446"/>
              <a:gd name="connsiteX845" fmla="*/ 6704136 w 9012328"/>
              <a:gd name="connsiteY845" fmla="*/ 522512 h 7308446"/>
              <a:gd name="connsiteX846" fmla="*/ 6704136 w 9012328"/>
              <a:gd name="connsiteY846" fmla="*/ 629350 h 7308446"/>
              <a:gd name="connsiteX847" fmla="*/ 5799344 w 9012328"/>
              <a:gd name="connsiteY847" fmla="*/ 629350 h 7308446"/>
              <a:gd name="connsiteX848" fmla="*/ 7774691 w 9012328"/>
              <a:gd name="connsiteY848" fmla="*/ 6383 h 7308446"/>
              <a:gd name="connsiteX849" fmla="*/ 8148629 w 9012328"/>
              <a:gd name="connsiteY849" fmla="*/ 6383 h 7308446"/>
              <a:gd name="connsiteX850" fmla="*/ 8148629 w 9012328"/>
              <a:gd name="connsiteY850" fmla="*/ 101632 h 7308446"/>
              <a:gd name="connsiteX851" fmla="*/ 7889880 w 9012328"/>
              <a:gd name="connsiteY851" fmla="*/ 101632 h 7308446"/>
              <a:gd name="connsiteX852" fmla="*/ 7889880 w 9012328"/>
              <a:gd name="connsiteY852" fmla="*/ 1200182 h 7308446"/>
              <a:gd name="connsiteX853" fmla="*/ 8148629 w 9012328"/>
              <a:gd name="connsiteY853" fmla="*/ 1200182 h 7308446"/>
              <a:gd name="connsiteX854" fmla="*/ 8148629 w 9012328"/>
              <a:gd name="connsiteY854" fmla="*/ 1295432 h 7308446"/>
              <a:gd name="connsiteX855" fmla="*/ 7774691 w 9012328"/>
              <a:gd name="connsiteY855" fmla="*/ 1295432 h 7308446"/>
              <a:gd name="connsiteX856" fmla="*/ 7774691 w 9012328"/>
              <a:gd name="connsiteY856" fmla="*/ 1200182 h 7308446"/>
              <a:gd name="connsiteX857" fmla="*/ 7774691 w 9012328"/>
              <a:gd name="connsiteY857" fmla="*/ 101632 h 7308446"/>
              <a:gd name="connsiteX858" fmla="*/ 8243417 w 9012328"/>
              <a:gd name="connsiteY858" fmla="*/ 0 h 7308446"/>
              <a:gd name="connsiteX859" fmla="*/ 8296487 w 9012328"/>
              <a:gd name="connsiteY859" fmla="*/ 1877 h 7308446"/>
              <a:gd name="connsiteX860" fmla="*/ 8345608 w 9012328"/>
              <a:gd name="connsiteY860" fmla="*/ 7454 h 7308446"/>
              <a:gd name="connsiteX861" fmla="*/ 8390913 w 9012328"/>
              <a:gd name="connsiteY861" fmla="*/ 16649 h 7308446"/>
              <a:gd name="connsiteX862" fmla="*/ 8432534 w 9012328"/>
              <a:gd name="connsiteY862" fmla="*/ 29381 h 7308446"/>
              <a:gd name="connsiteX863" fmla="*/ 8470605 w 9012328"/>
              <a:gd name="connsiteY863" fmla="*/ 45569 h 7308446"/>
              <a:gd name="connsiteX864" fmla="*/ 8505258 w 9012328"/>
              <a:gd name="connsiteY864" fmla="*/ 65130 h 7308446"/>
              <a:gd name="connsiteX865" fmla="*/ 8536626 w 9012328"/>
              <a:gd name="connsiteY865" fmla="*/ 87984 h 7308446"/>
              <a:gd name="connsiteX866" fmla="*/ 8564841 w 9012328"/>
              <a:gd name="connsiteY866" fmla="*/ 114050 h 7308446"/>
              <a:gd name="connsiteX867" fmla="*/ 8590036 w 9012328"/>
              <a:gd name="connsiteY867" fmla="*/ 143246 h 7308446"/>
              <a:gd name="connsiteX868" fmla="*/ 8612344 w 9012328"/>
              <a:gd name="connsiteY868" fmla="*/ 175491 h 7308446"/>
              <a:gd name="connsiteX869" fmla="*/ 8631898 w 9012328"/>
              <a:gd name="connsiteY869" fmla="*/ 210703 h 7308446"/>
              <a:gd name="connsiteX870" fmla="*/ 8648830 w 9012328"/>
              <a:gd name="connsiteY870" fmla="*/ 248801 h 7308446"/>
              <a:gd name="connsiteX871" fmla="*/ 8663273 w 9012328"/>
              <a:gd name="connsiteY871" fmla="*/ 289703 h 7308446"/>
              <a:gd name="connsiteX872" fmla="*/ 8675359 w 9012328"/>
              <a:gd name="connsiteY872" fmla="*/ 333329 h 7308446"/>
              <a:gd name="connsiteX873" fmla="*/ 8685222 w 9012328"/>
              <a:gd name="connsiteY873" fmla="*/ 379596 h 7308446"/>
              <a:gd name="connsiteX874" fmla="*/ 8692995 w 9012328"/>
              <a:gd name="connsiteY874" fmla="*/ 428424 h 7308446"/>
              <a:gd name="connsiteX875" fmla="*/ 8698808 w 9012328"/>
              <a:gd name="connsiteY875" fmla="*/ 479730 h 7308446"/>
              <a:gd name="connsiteX876" fmla="*/ 8702797 w 9012328"/>
              <a:gd name="connsiteY876" fmla="*/ 533435 h 7308446"/>
              <a:gd name="connsiteX877" fmla="*/ 8705093 w 9012328"/>
              <a:gd name="connsiteY877" fmla="*/ 589455 h 7308446"/>
              <a:gd name="connsiteX878" fmla="*/ 8705829 w 9012328"/>
              <a:gd name="connsiteY878" fmla="*/ 647711 h 7308446"/>
              <a:gd name="connsiteX879" fmla="*/ 8705129 w 9012328"/>
              <a:gd name="connsiteY879" fmla="*/ 706216 h 7308446"/>
              <a:gd name="connsiteX880" fmla="*/ 8702932 w 9012328"/>
              <a:gd name="connsiteY880" fmla="*/ 762486 h 7308446"/>
              <a:gd name="connsiteX881" fmla="*/ 8699096 w 9012328"/>
              <a:gd name="connsiteY881" fmla="*/ 816436 h 7308446"/>
              <a:gd name="connsiteX882" fmla="*/ 8693475 w 9012328"/>
              <a:gd name="connsiteY882" fmla="*/ 867986 h 7308446"/>
              <a:gd name="connsiteX883" fmla="*/ 8685927 w 9012328"/>
              <a:gd name="connsiteY883" fmla="*/ 917051 h 7308446"/>
              <a:gd name="connsiteX884" fmla="*/ 8676306 w 9012328"/>
              <a:gd name="connsiteY884" fmla="*/ 963550 h 7308446"/>
              <a:gd name="connsiteX885" fmla="*/ 8664469 w 9012328"/>
              <a:gd name="connsiteY885" fmla="*/ 1007399 h 7308446"/>
              <a:gd name="connsiteX886" fmla="*/ 8650272 w 9012328"/>
              <a:gd name="connsiteY886" fmla="*/ 1048517 h 7308446"/>
              <a:gd name="connsiteX887" fmla="*/ 8633571 w 9012328"/>
              <a:gd name="connsiteY887" fmla="*/ 1086820 h 7308446"/>
              <a:gd name="connsiteX888" fmla="*/ 8614222 w 9012328"/>
              <a:gd name="connsiteY888" fmla="*/ 1122226 h 7308446"/>
              <a:gd name="connsiteX889" fmla="*/ 8592081 w 9012328"/>
              <a:gd name="connsiteY889" fmla="*/ 1154652 h 7308446"/>
              <a:gd name="connsiteX890" fmla="*/ 8567005 w 9012328"/>
              <a:gd name="connsiteY890" fmla="*/ 1184015 h 7308446"/>
              <a:gd name="connsiteX891" fmla="*/ 8538848 w 9012328"/>
              <a:gd name="connsiteY891" fmla="*/ 1210234 h 7308446"/>
              <a:gd name="connsiteX892" fmla="*/ 8507467 w 9012328"/>
              <a:gd name="connsiteY892" fmla="*/ 1233224 h 7308446"/>
              <a:gd name="connsiteX893" fmla="*/ 8472718 w 9012328"/>
              <a:gd name="connsiteY893" fmla="*/ 1252905 h 7308446"/>
              <a:gd name="connsiteX894" fmla="*/ 8434458 w 9012328"/>
              <a:gd name="connsiteY894" fmla="*/ 1269193 h 7308446"/>
              <a:gd name="connsiteX895" fmla="*/ 8392541 w 9012328"/>
              <a:gd name="connsiteY895" fmla="*/ 1282004 h 7308446"/>
              <a:gd name="connsiteX896" fmla="*/ 8346825 w 9012328"/>
              <a:gd name="connsiteY896" fmla="*/ 1291258 h 7308446"/>
              <a:gd name="connsiteX897" fmla="*/ 8297165 w 9012328"/>
              <a:gd name="connsiteY897" fmla="*/ 1296871 h 7308446"/>
              <a:gd name="connsiteX898" fmla="*/ 8243417 w 9012328"/>
              <a:gd name="connsiteY898" fmla="*/ 1298760 h 7308446"/>
              <a:gd name="connsiteX899" fmla="*/ 8243417 w 9012328"/>
              <a:gd name="connsiteY899" fmla="*/ 1201938 h 7308446"/>
              <a:gd name="connsiteX900" fmla="*/ 8293102 w 9012328"/>
              <a:gd name="connsiteY900" fmla="*/ 1199705 h 7308446"/>
              <a:gd name="connsiteX901" fmla="*/ 8338022 w 9012328"/>
              <a:gd name="connsiteY901" fmla="*/ 1193084 h 7308446"/>
              <a:gd name="connsiteX902" fmla="*/ 8378405 w 9012328"/>
              <a:gd name="connsiteY902" fmla="*/ 1182195 h 7308446"/>
              <a:gd name="connsiteX903" fmla="*/ 8414476 w 9012328"/>
              <a:gd name="connsiteY903" fmla="*/ 1167155 h 7308446"/>
              <a:gd name="connsiteX904" fmla="*/ 8474587 w 9012328"/>
              <a:gd name="connsiteY904" fmla="*/ 1125095 h 7308446"/>
              <a:gd name="connsiteX905" fmla="*/ 8520166 w 9012328"/>
              <a:gd name="connsiteY905" fmla="*/ 1067851 h 7308446"/>
              <a:gd name="connsiteX906" fmla="*/ 8538072 w 9012328"/>
              <a:gd name="connsiteY906" fmla="*/ 1033830 h 7308446"/>
              <a:gd name="connsiteX907" fmla="*/ 8553024 w 9012328"/>
              <a:gd name="connsiteY907" fmla="*/ 996369 h 7308446"/>
              <a:gd name="connsiteX908" fmla="*/ 8565248 w 9012328"/>
              <a:gd name="connsiteY908" fmla="*/ 955584 h 7308446"/>
              <a:gd name="connsiteX909" fmla="*/ 8574971 w 9012328"/>
              <a:gd name="connsiteY909" fmla="*/ 911594 h 7308446"/>
              <a:gd name="connsiteX910" fmla="*/ 8582418 w 9012328"/>
              <a:gd name="connsiteY910" fmla="*/ 864517 h 7308446"/>
              <a:gd name="connsiteX911" fmla="*/ 8587817 w 9012328"/>
              <a:gd name="connsiteY911" fmla="*/ 814473 h 7308446"/>
              <a:gd name="connsiteX912" fmla="*/ 8591393 w 9012328"/>
              <a:gd name="connsiteY912" fmla="*/ 761578 h 7308446"/>
              <a:gd name="connsiteX913" fmla="*/ 8593372 w 9012328"/>
              <a:gd name="connsiteY913" fmla="*/ 705951 h 7308446"/>
              <a:gd name="connsiteX914" fmla="*/ 8593982 w 9012328"/>
              <a:gd name="connsiteY914" fmla="*/ 647711 h 7308446"/>
              <a:gd name="connsiteX915" fmla="*/ 8593340 w 9012328"/>
              <a:gd name="connsiteY915" fmla="*/ 590042 h 7308446"/>
              <a:gd name="connsiteX916" fmla="*/ 8591270 w 9012328"/>
              <a:gd name="connsiteY916" fmla="*/ 534953 h 7308446"/>
              <a:gd name="connsiteX917" fmla="*/ 8587560 w 9012328"/>
              <a:gd name="connsiteY917" fmla="*/ 482561 h 7308446"/>
              <a:gd name="connsiteX918" fmla="*/ 8581994 w 9012328"/>
              <a:gd name="connsiteY918" fmla="*/ 432984 h 7308446"/>
              <a:gd name="connsiteX919" fmla="*/ 8574359 w 9012328"/>
              <a:gd name="connsiteY919" fmla="*/ 386340 h 7308446"/>
              <a:gd name="connsiteX920" fmla="*/ 8564441 w 9012328"/>
              <a:gd name="connsiteY920" fmla="*/ 342749 h 7308446"/>
              <a:gd name="connsiteX921" fmla="*/ 8552025 w 9012328"/>
              <a:gd name="connsiteY921" fmla="*/ 302328 h 7308446"/>
              <a:gd name="connsiteX922" fmla="*/ 8536898 w 9012328"/>
              <a:gd name="connsiteY922" fmla="*/ 265196 h 7308446"/>
              <a:gd name="connsiteX923" fmla="*/ 8518845 w 9012328"/>
              <a:gd name="connsiteY923" fmla="*/ 231470 h 7308446"/>
              <a:gd name="connsiteX924" fmla="*/ 8473107 w 9012328"/>
              <a:gd name="connsiteY924" fmla="*/ 174711 h 7308446"/>
              <a:gd name="connsiteX925" fmla="*/ 8413098 w 9012328"/>
              <a:gd name="connsiteY925" fmla="*/ 132998 h 7308446"/>
              <a:gd name="connsiteX926" fmla="*/ 8377206 w 9012328"/>
              <a:gd name="connsiteY926" fmla="*/ 118079 h 7308446"/>
              <a:gd name="connsiteX927" fmla="*/ 8337105 w 9012328"/>
              <a:gd name="connsiteY927" fmla="*/ 107277 h 7308446"/>
              <a:gd name="connsiteX928" fmla="*/ 8292580 w 9012328"/>
              <a:gd name="connsiteY928" fmla="*/ 100708 h 7308446"/>
              <a:gd name="connsiteX929" fmla="*/ 8243417 w 9012328"/>
              <a:gd name="connsiteY929" fmla="*/ 98492 h 7308446"/>
              <a:gd name="connsiteX930" fmla="*/ 3109502 w 9012328"/>
              <a:gd name="connsiteY930" fmla="*/ 0 h 7308446"/>
              <a:gd name="connsiteX931" fmla="*/ 3162572 w 9012328"/>
              <a:gd name="connsiteY931" fmla="*/ 1876 h 7308446"/>
              <a:gd name="connsiteX932" fmla="*/ 3211694 w 9012328"/>
              <a:gd name="connsiteY932" fmla="*/ 7453 h 7308446"/>
              <a:gd name="connsiteX933" fmla="*/ 3256998 w 9012328"/>
              <a:gd name="connsiteY933" fmla="*/ 16648 h 7308446"/>
              <a:gd name="connsiteX934" fmla="*/ 3298621 w 9012328"/>
              <a:gd name="connsiteY934" fmla="*/ 29380 h 7308446"/>
              <a:gd name="connsiteX935" fmla="*/ 3336692 w 9012328"/>
              <a:gd name="connsiteY935" fmla="*/ 45568 h 7308446"/>
              <a:gd name="connsiteX936" fmla="*/ 3371345 w 9012328"/>
              <a:gd name="connsiteY936" fmla="*/ 65129 h 7308446"/>
              <a:gd name="connsiteX937" fmla="*/ 3402713 w 9012328"/>
              <a:gd name="connsiteY937" fmla="*/ 87984 h 7308446"/>
              <a:gd name="connsiteX938" fmla="*/ 3430928 w 9012328"/>
              <a:gd name="connsiteY938" fmla="*/ 114050 h 7308446"/>
              <a:gd name="connsiteX939" fmla="*/ 3456123 w 9012328"/>
              <a:gd name="connsiteY939" fmla="*/ 143246 h 7308446"/>
              <a:gd name="connsiteX940" fmla="*/ 3478431 w 9012328"/>
              <a:gd name="connsiteY940" fmla="*/ 175491 h 7308446"/>
              <a:gd name="connsiteX941" fmla="*/ 3497985 w 9012328"/>
              <a:gd name="connsiteY941" fmla="*/ 210703 h 7308446"/>
              <a:gd name="connsiteX942" fmla="*/ 3514917 w 9012328"/>
              <a:gd name="connsiteY942" fmla="*/ 248801 h 7308446"/>
              <a:gd name="connsiteX943" fmla="*/ 3529360 w 9012328"/>
              <a:gd name="connsiteY943" fmla="*/ 289703 h 7308446"/>
              <a:gd name="connsiteX944" fmla="*/ 3541446 w 9012328"/>
              <a:gd name="connsiteY944" fmla="*/ 333329 h 7308446"/>
              <a:gd name="connsiteX945" fmla="*/ 3551309 w 9012328"/>
              <a:gd name="connsiteY945" fmla="*/ 379596 h 7308446"/>
              <a:gd name="connsiteX946" fmla="*/ 3559082 w 9012328"/>
              <a:gd name="connsiteY946" fmla="*/ 428424 h 7308446"/>
              <a:gd name="connsiteX947" fmla="*/ 3564896 w 9012328"/>
              <a:gd name="connsiteY947" fmla="*/ 479730 h 7308446"/>
              <a:gd name="connsiteX948" fmla="*/ 3568884 w 9012328"/>
              <a:gd name="connsiteY948" fmla="*/ 533435 h 7308446"/>
              <a:gd name="connsiteX949" fmla="*/ 3571180 w 9012328"/>
              <a:gd name="connsiteY949" fmla="*/ 589455 h 7308446"/>
              <a:gd name="connsiteX950" fmla="*/ 3571916 w 9012328"/>
              <a:gd name="connsiteY950" fmla="*/ 647711 h 7308446"/>
              <a:gd name="connsiteX951" fmla="*/ 3571216 w 9012328"/>
              <a:gd name="connsiteY951" fmla="*/ 706216 h 7308446"/>
              <a:gd name="connsiteX952" fmla="*/ 3569019 w 9012328"/>
              <a:gd name="connsiteY952" fmla="*/ 762486 h 7308446"/>
              <a:gd name="connsiteX953" fmla="*/ 3565183 w 9012328"/>
              <a:gd name="connsiteY953" fmla="*/ 816436 h 7308446"/>
              <a:gd name="connsiteX954" fmla="*/ 3559562 w 9012328"/>
              <a:gd name="connsiteY954" fmla="*/ 867986 h 7308446"/>
              <a:gd name="connsiteX955" fmla="*/ 3552014 w 9012328"/>
              <a:gd name="connsiteY955" fmla="*/ 917051 h 7308446"/>
              <a:gd name="connsiteX956" fmla="*/ 3542393 w 9012328"/>
              <a:gd name="connsiteY956" fmla="*/ 963550 h 7308446"/>
              <a:gd name="connsiteX957" fmla="*/ 3530556 w 9012328"/>
              <a:gd name="connsiteY957" fmla="*/ 1007399 h 7308446"/>
              <a:gd name="connsiteX958" fmla="*/ 3516359 w 9012328"/>
              <a:gd name="connsiteY958" fmla="*/ 1048517 h 7308446"/>
              <a:gd name="connsiteX959" fmla="*/ 3499658 w 9012328"/>
              <a:gd name="connsiteY959" fmla="*/ 1086820 h 7308446"/>
              <a:gd name="connsiteX960" fmla="*/ 3480309 w 9012328"/>
              <a:gd name="connsiteY960" fmla="*/ 1122226 h 7308446"/>
              <a:gd name="connsiteX961" fmla="*/ 3458168 w 9012328"/>
              <a:gd name="connsiteY961" fmla="*/ 1154652 h 7308446"/>
              <a:gd name="connsiteX962" fmla="*/ 3433091 w 9012328"/>
              <a:gd name="connsiteY962" fmla="*/ 1184015 h 7308446"/>
              <a:gd name="connsiteX963" fmla="*/ 3404934 w 9012328"/>
              <a:gd name="connsiteY963" fmla="*/ 1210234 h 7308446"/>
              <a:gd name="connsiteX964" fmla="*/ 3373554 w 9012328"/>
              <a:gd name="connsiteY964" fmla="*/ 1233224 h 7308446"/>
              <a:gd name="connsiteX965" fmla="*/ 3338805 w 9012328"/>
              <a:gd name="connsiteY965" fmla="*/ 1252905 h 7308446"/>
              <a:gd name="connsiteX966" fmla="*/ 3300544 w 9012328"/>
              <a:gd name="connsiteY966" fmla="*/ 1269192 h 7308446"/>
              <a:gd name="connsiteX967" fmla="*/ 3258627 w 9012328"/>
              <a:gd name="connsiteY967" fmla="*/ 1282004 h 7308446"/>
              <a:gd name="connsiteX968" fmla="*/ 3212910 w 9012328"/>
              <a:gd name="connsiteY968" fmla="*/ 1291258 h 7308446"/>
              <a:gd name="connsiteX969" fmla="*/ 3163250 w 9012328"/>
              <a:gd name="connsiteY969" fmla="*/ 1296871 h 7308446"/>
              <a:gd name="connsiteX970" fmla="*/ 3109502 w 9012328"/>
              <a:gd name="connsiteY970" fmla="*/ 1298760 h 7308446"/>
              <a:gd name="connsiteX971" fmla="*/ 3109502 w 9012328"/>
              <a:gd name="connsiteY971" fmla="*/ 1201938 h 7308446"/>
              <a:gd name="connsiteX972" fmla="*/ 3159187 w 9012328"/>
              <a:gd name="connsiteY972" fmla="*/ 1199705 h 7308446"/>
              <a:gd name="connsiteX973" fmla="*/ 3204108 w 9012328"/>
              <a:gd name="connsiteY973" fmla="*/ 1193084 h 7308446"/>
              <a:gd name="connsiteX974" fmla="*/ 3244491 w 9012328"/>
              <a:gd name="connsiteY974" fmla="*/ 1182195 h 7308446"/>
              <a:gd name="connsiteX975" fmla="*/ 3280562 w 9012328"/>
              <a:gd name="connsiteY975" fmla="*/ 1167155 h 7308446"/>
              <a:gd name="connsiteX976" fmla="*/ 3340673 w 9012328"/>
              <a:gd name="connsiteY976" fmla="*/ 1125095 h 7308446"/>
              <a:gd name="connsiteX977" fmla="*/ 3386253 w 9012328"/>
              <a:gd name="connsiteY977" fmla="*/ 1067851 h 7308446"/>
              <a:gd name="connsiteX978" fmla="*/ 3404158 w 9012328"/>
              <a:gd name="connsiteY978" fmla="*/ 1033830 h 7308446"/>
              <a:gd name="connsiteX979" fmla="*/ 3419110 w 9012328"/>
              <a:gd name="connsiteY979" fmla="*/ 996369 h 7308446"/>
              <a:gd name="connsiteX980" fmla="*/ 3431334 w 9012328"/>
              <a:gd name="connsiteY980" fmla="*/ 955584 h 7308446"/>
              <a:gd name="connsiteX981" fmla="*/ 3441057 w 9012328"/>
              <a:gd name="connsiteY981" fmla="*/ 911594 h 7308446"/>
              <a:gd name="connsiteX982" fmla="*/ 3448504 w 9012328"/>
              <a:gd name="connsiteY982" fmla="*/ 864517 h 7308446"/>
              <a:gd name="connsiteX983" fmla="*/ 3453903 w 9012328"/>
              <a:gd name="connsiteY983" fmla="*/ 814473 h 7308446"/>
              <a:gd name="connsiteX984" fmla="*/ 3457479 w 9012328"/>
              <a:gd name="connsiteY984" fmla="*/ 761578 h 7308446"/>
              <a:gd name="connsiteX985" fmla="*/ 3459458 w 9012328"/>
              <a:gd name="connsiteY985" fmla="*/ 705951 h 7308446"/>
              <a:gd name="connsiteX986" fmla="*/ 3460068 w 9012328"/>
              <a:gd name="connsiteY986" fmla="*/ 647711 h 7308446"/>
              <a:gd name="connsiteX987" fmla="*/ 3459426 w 9012328"/>
              <a:gd name="connsiteY987" fmla="*/ 590042 h 7308446"/>
              <a:gd name="connsiteX988" fmla="*/ 3457356 w 9012328"/>
              <a:gd name="connsiteY988" fmla="*/ 534953 h 7308446"/>
              <a:gd name="connsiteX989" fmla="*/ 3453646 w 9012328"/>
              <a:gd name="connsiteY989" fmla="*/ 482560 h 7308446"/>
              <a:gd name="connsiteX990" fmla="*/ 3448080 w 9012328"/>
              <a:gd name="connsiteY990" fmla="*/ 432984 h 7308446"/>
              <a:gd name="connsiteX991" fmla="*/ 3440445 w 9012328"/>
              <a:gd name="connsiteY991" fmla="*/ 386340 h 7308446"/>
              <a:gd name="connsiteX992" fmla="*/ 3430527 w 9012328"/>
              <a:gd name="connsiteY992" fmla="*/ 342749 h 7308446"/>
              <a:gd name="connsiteX993" fmla="*/ 3418111 w 9012328"/>
              <a:gd name="connsiteY993" fmla="*/ 302328 h 7308446"/>
              <a:gd name="connsiteX994" fmla="*/ 3402984 w 9012328"/>
              <a:gd name="connsiteY994" fmla="*/ 265196 h 7308446"/>
              <a:gd name="connsiteX995" fmla="*/ 3384931 w 9012328"/>
              <a:gd name="connsiteY995" fmla="*/ 231470 h 7308446"/>
              <a:gd name="connsiteX996" fmla="*/ 3339193 w 9012328"/>
              <a:gd name="connsiteY996" fmla="*/ 174711 h 7308446"/>
              <a:gd name="connsiteX997" fmla="*/ 3279183 w 9012328"/>
              <a:gd name="connsiteY997" fmla="*/ 132998 h 7308446"/>
              <a:gd name="connsiteX998" fmla="*/ 3243291 w 9012328"/>
              <a:gd name="connsiteY998" fmla="*/ 118079 h 7308446"/>
              <a:gd name="connsiteX999" fmla="*/ 3203191 w 9012328"/>
              <a:gd name="connsiteY999" fmla="*/ 107276 h 7308446"/>
              <a:gd name="connsiteX1000" fmla="*/ 3158665 w 9012328"/>
              <a:gd name="connsiteY1000" fmla="*/ 100708 h 7308446"/>
              <a:gd name="connsiteX1001" fmla="*/ 3109502 w 9012328"/>
              <a:gd name="connsiteY1001" fmla="*/ 98492 h 7308446"/>
              <a:gd name="connsiteX1002" fmla="*/ 3017637 w 9012328"/>
              <a:gd name="connsiteY1002" fmla="*/ 0 h 7308446"/>
              <a:gd name="connsiteX1003" fmla="*/ 3017637 w 9012328"/>
              <a:gd name="connsiteY1003" fmla="*/ 98492 h 7308446"/>
              <a:gd name="connsiteX1004" fmla="*/ 2968752 w 9012328"/>
              <a:gd name="connsiteY1004" fmla="*/ 100708 h 7308446"/>
              <a:gd name="connsiteX1005" fmla="*/ 2924471 w 9012328"/>
              <a:gd name="connsiteY1005" fmla="*/ 107277 h 7308446"/>
              <a:gd name="connsiteX1006" fmla="*/ 2884585 w 9012328"/>
              <a:gd name="connsiteY1006" fmla="*/ 118079 h 7308446"/>
              <a:gd name="connsiteX1007" fmla="*/ 2848878 w 9012328"/>
              <a:gd name="connsiteY1007" fmla="*/ 132998 h 7308446"/>
              <a:gd name="connsiteX1008" fmla="*/ 2789164 w 9012328"/>
              <a:gd name="connsiteY1008" fmla="*/ 174711 h 7308446"/>
              <a:gd name="connsiteX1009" fmla="*/ 2743630 w 9012328"/>
              <a:gd name="connsiteY1009" fmla="*/ 231470 h 7308446"/>
              <a:gd name="connsiteX1010" fmla="*/ 2725650 w 9012328"/>
              <a:gd name="connsiteY1010" fmla="*/ 265196 h 7308446"/>
              <a:gd name="connsiteX1011" fmla="*/ 2710579 w 9012328"/>
              <a:gd name="connsiteY1011" fmla="*/ 302328 h 7308446"/>
              <a:gd name="connsiteX1012" fmla="*/ 2698207 w 9012328"/>
              <a:gd name="connsiteY1012" fmla="*/ 342749 h 7308446"/>
              <a:gd name="connsiteX1013" fmla="*/ 2688320 w 9012328"/>
              <a:gd name="connsiteY1013" fmla="*/ 386340 h 7308446"/>
              <a:gd name="connsiteX1014" fmla="*/ 2680706 w 9012328"/>
              <a:gd name="connsiteY1014" fmla="*/ 432984 h 7308446"/>
              <a:gd name="connsiteX1015" fmla="*/ 2675153 w 9012328"/>
              <a:gd name="connsiteY1015" fmla="*/ 482561 h 7308446"/>
              <a:gd name="connsiteX1016" fmla="*/ 2671448 w 9012328"/>
              <a:gd name="connsiteY1016" fmla="*/ 534953 h 7308446"/>
              <a:gd name="connsiteX1017" fmla="*/ 2669382 w 9012328"/>
              <a:gd name="connsiteY1017" fmla="*/ 590042 h 7308446"/>
              <a:gd name="connsiteX1018" fmla="*/ 2668740 w 9012328"/>
              <a:gd name="connsiteY1018" fmla="*/ 647711 h 7308446"/>
              <a:gd name="connsiteX1019" fmla="*/ 2669365 w 9012328"/>
              <a:gd name="connsiteY1019" fmla="*/ 705951 h 7308446"/>
              <a:gd name="connsiteX1020" fmla="*/ 2671388 w 9012328"/>
              <a:gd name="connsiteY1020" fmla="*/ 761578 h 7308446"/>
              <a:gd name="connsiteX1021" fmla="*/ 2675025 w 9012328"/>
              <a:gd name="connsiteY1021" fmla="*/ 814473 h 7308446"/>
              <a:gd name="connsiteX1022" fmla="*/ 2680494 w 9012328"/>
              <a:gd name="connsiteY1022" fmla="*/ 864517 h 7308446"/>
              <a:gd name="connsiteX1023" fmla="*/ 2688015 w 9012328"/>
              <a:gd name="connsiteY1023" fmla="*/ 911594 h 7308446"/>
              <a:gd name="connsiteX1024" fmla="*/ 2697803 w 9012328"/>
              <a:gd name="connsiteY1024" fmla="*/ 955584 h 7308446"/>
              <a:gd name="connsiteX1025" fmla="*/ 2710081 w 9012328"/>
              <a:gd name="connsiteY1025" fmla="*/ 996369 h 7308446"/>
              <a:gd name="connsiteX1026" fmla="*/ 2725063 w 9012328"/>
              <a:gd name="connsiteY1026" fmla="*/ 1033830 h 7308446"/>
              <a:gd name="connsiteX1027" fmla="*/ 2742969 w 9012328"/>
              <a:gd name="connsiteY1027" fmla="*/ 1067851 h 7308446"/>
              <a:gd name="connsiteX1028" fmla="*/ 2788423 w 9012328"/>
              <a:gd name="connsiteY1028" fmla="*/ 1125095 h 7308446"/>
              <a:gd name="connsiteX1029" fmla="*/ 2848189 w 9012328"/>
              <a:gd name="connsiteY1029" fmla="*/ 1167155 h 7308446"/>
              <a:gd name="connsiteX1030" fmla="*/ 2883984 w 9012328"/>
              <a:gd name="connsiteY1030" fmla="*/ 1182195 h 7308446"/>
              <a:gd name="connsiteX1031" fmla="*/ 2924012 w 9012328"/>
              <a:gd name="connsiteY1031" fmla="*/ 1193084 h 7308446"/>
              <a:gd name="connsiteX1032" fmla="*/ 2968491 w 9012328"/>
              <a:gd name="connsiteY1032" fmla="*/ 1199705 h 7308446"/>
              <a:gd name="connsiteX1033" fmla="*/ 3017637 w 9012328"/>
              <a:gd name="connsiteY1033" fmla="*/ 1201938 h 7308446"/>
              <a:gd name="connsiteX1034" fmla="*/ 3017637 w 9012328"/>
              <a:gd name="connsiteY1034" fmla="*/ 1298760 h 7308446"/>
              <a:gd name="connsiteX1035" fmla="*/ 2964115 w 9012328"/>
              <a:gd name="connsiteY1035" fmla="*/ 1296871 h 7308446"/>
              <a:gd name="connsiteX1036" fmla="*/ 2914634 w 9012328"/>
              <a:gd name="connsiteY1036" fmla="*/ 1291258 h 7308446"/>
              <a:gd name="connsiteX1037" fmla="*/ 2869056 w 9012328"/>
              <a:gd name="connsiteY1037" fmla="*/ 1282004 h 7308446"/>
              <a:gd name="connsiteX1038" fmla="*/ 2827236 w 9012328"/>
              <a:gd name="connsiteY1038" fmla="*/ 1269193 h 7308446"/>
              <a:gd name="connsiteX1039" fmla="*/ 2789039 w 9012328"/>
              <a:gd name="connsiteY1039" fmla="*/ 1252905 h 7308446"/>
              <a:gd name="connsiteX1040" fmla="*/ 2754322 w 9012328"/>
              <a:gd name="connsiteY1040" fmla="*/ 1233224 h 7308446"/>
              <a:gd name="connsiteX1041" fmla="*/ 2722946 w 9012328"/>
              <a:gd name="connsiteY1041" fmla="*/ 1210234 h 7308446"/>
              <a:gd name="connsiteX1042" fmla="*/ 2694770 w 9012328"/>
              <a:gd name="connsiteY1042" fmla="*/ 1184015 h 7308446"/>
              <a:gd name="connsiteX1043" fmla="*/ 2669653 w 9012328"/>
              <a:gd name="connsiteY1043" fmla="*/ 1154652 h 7308446"/>
              <a:gd name="connsiteX1044" fmla="*/ 2647457 w 9012328"/>
              <a:gd name="connsiteY1044" fmla="*/ 1122226 h 7308446"/>
              <a:gd name="connsiteX1045" fmla="*/ 2628039 w 9012328"/>
              <a:gd name="connsiteY1045" fmla="*/ 1086820 h 7308446"/>
              <a:gd name="connsiteX1046" fmla="*/ 2611262 w 9012328"/>
              <a:gd name="connsiteY1046" fmla="*/ 1048517 h 7308446"/>
              <a:gd name="connsiteX1047" fmla="*/ 2596982 w 9012328"/>
              <a:gd name="connsiteY1047" fmla="*/ 1007399 h 7308446"/>
              <a:gd name="connsiteX1048" fmla="*/ 2585062 w 9012328"/>
              <a:gd name="connsiteY1048" fmla="*/ 963550 h 7308446"/>
              <a:gd name="connsiteX1049" fmla="*/ 2575361 w 9012328"/>
              <a:gd name="connsiteY1049" fmla="*/ 917051 h 7308446"/>
              <a:gd name="connsiteX1050" fmla="*/ 2567737 w 9012328"/>
              <a:gd name="connsiteY1050" fmla="*/ 867986 h 7308446"/>
              <a:gd name="connsiteX1051" fmla="*/ 2562052 w 9012328"/>
              <a:gd name="connsiteY1051" fmla="*/ 816436 h 7308446"/>
              <a:gd name="connsiteX1052" fmla="*/ 2558166 w 9012328"/>
              <a:gd name="connsiteY1052" fmla="*/ 762486 h 7308446"/>
              <a:gd name="connsiteX1053" fmla="*/ 2555936 w 9012328"/>
              <a:gd name="connsiteY1053" fmla="*/ 706216 h 7308446"/>
              <a:gd name="connsiteX1054" fmla="*/ 2555225 w 9012328"/>
              <a:gd name="connsiteY1054" fmla="*/ 647711 h 7308446"/>
              <a:gd name="connsiteX1055" fmla="*/ 2555961 w 9012328"/>
              <a:gd name="connsiteY1055" fmla="*/ 589455 h 7308446"/>
              <a:gd name="connsiteX1056" fmla="*/ 2558256 w 9012328"/>
              <a:gd name="connsiteY1056" fmla="*/ 533435 h 7308446"/>
              <a:gd name="connsiteX1057" fmla="*/ 2562245 w 9012328"/>
              <a:gd name="connsiteY1057" fmla="*/ 479730 h 7308446"/>
              <a:gd name="connsiteX1058" fmla="*/ 2568057 w 9012328"/>
              <a:gd name="connsiteY1058" fmla="*/ 428424 h 7308446"/>
              <a:gd name="connsiteX1059" fmla="*/ 2575830 w 9012328"/>
              <a:gd name="connsiteY1059" fmla="*/ 379596 h 7308446"/>
              <a:gd name="connsiteX1060" fmla="*/ 2585694 w 9012328"/>
              <a:gd name="connsiteY1060" fmla="*/ 333329 h 7308446"/>
              <a:gd name="connsiteX1061" fmla="*/ 2597780 w 9012328"/>
              <a:gd name="connsiteY1061" fmla="*/ 289703 h 7308446"/>
              <a:gd name="connsiteX1062" fmla="*/ 2612222 w 9012328"/>
              <a:gd name="connsiteY1062" fmla="*/ 248801 h 7308446"/>
              <a:gd name="connsiteX1063" fmla="*/ 2629156 w 9012328"/>
              <a:gd name="connsiteY1063" fmla="*/ 210703 h 7308446"/>
              <a:gd name="connsiteX1064" fmla="*/ 2648708 w 9012328"/>
              <a:gd name="connsiteY1064" fmla="*/ 175491 h 7308446"/>
              <a:gd name="connsiteX1065" fmla="*/ 2671016 w 9012328"/>
              <a:gd name="connsiteY1065" fmla="*/ 143246 h 7308446"/>
              <a:gd name="connsiteX1066" fmla="*/ 2696212 w 9012328"/>
              <a:gd name="connsiteY1066" fmla="*/ 114050 h 7308446"/>
              <a:gd name="connsiteX1067" fmla="*/ 2724427 w 9012328"/>
              <a:gd name="connsiteY1067" fmla="*/ 87984 h 7308446"/>
              <a:gd name="connsiteX1068" fmla="*/ 2755794 w 9012328"/>
              <a:gd name="connsiteY1068" fmla="*/ 65130 h 7308446"/>
              <a:gd name="connsiteX1069" fmla="*/ 2790448 w 9012328"/>
              <a:gd name="connsiteY1069" fmla="*/ 45569 h 7308446"/>
              <a:gd name="connsiteX1070" fmla="*/ 2828518 w 9012328"/>
              <a:gd name="connsiteY1070" fmla="*/ 29382 h 7308446"/>
              <a:gd name="connsiteX1071" fmla="*/ 2870141 w 9012328"/>
              <a:gd name="connsiteY1071" fmla="*/ 16649 h 7308446"/>
              <a:gd name="connsiteX1072" fmla="*/ 2915445 w 9012328"/>
              <a:gd name="connsiteY1072" fmla="*/ 7455 h 7308446"/>
              <a:gd name="connsiteX1073" fmla="*/ 2964567 w 9012328"/>
              <a:gd name="connsiteY1073" fmla="*/ 1877 h 730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Lst>
            <a:rect l="l" t="t" r="r" b="b"/>
            <a:pathLst>
              <a:path w="9012328" h="7308446">
                <a:moveTo>
                  <a:pt x="6351898" y="7031333"/>
                </a:moveTo>
                <a:lnTo>
                  <a:pt x="6558899" y="7031333"/>
                </a:lnTo>
                <a:lnTo>
                  <a:pt x="6558899" y="7204946"/>
                </a:lnTo>
                <a:lnTo>
                  <a:pt x="6351898" y="7204946"/>
                </a:lnTo>
                <a:close/>
                <a:moveTo>
                  <a:pt x="3333905" y="6881094"/>
                </a:moveTo>
                <a:lnTo>
                  <a:pt x="4238693" y="6881094"/>
                </a:lnTo>
                <a:lnTo>
                  <a:pt x="4238693" y="6987931"/>
                </a:lnTo>
                <a:lnTo>
                  <a:pt x="3333905" y="6987931"/>
                </a:lnTo>
                <a:close/>
                <a:moveTo>
                  <a:pt x="3333905" y="6532197"/>
                </a:moveTo>
                <a:lnTo>
                  <a:pt x="4238693" y="6532197"/>
                </a:lnTo>
                <a:lnTo>
                  <a:pt x="4238693" y="6639034"/>
                </a:lnTo>
                <a:lnTo>
                  <a:pt x="3333905" y="6639034"/>
                </a:lnTo>
                <a:close/>
                <a:moveTo>
                  <a:pt x="5357969" y="6016022"/>
                </a:moveTo>
                <a:lnTo>
                  <a:pt x="5731908" y="6016022"/>
                </a:lnTo>
                <a:lnTo>
                  <a:pt x="5731908" y="6111272"/>
                </a:lnTo>
                <a:lnTo>
                  <a:pt x="5731908" y="7209822"/>
                </a:lnTo>
                <a:lnTo>
                  <a:pt x="5731908" y="7305072"/>
                </a:lnTo>
                <a:lnTo>
                  <a:pt x="5357969" y="7305072"/>
                </a:lnTo>
                <a:lnTo>
                  <a:pt x="5357969" y="7209822"/>
                </a:lnTo>
                <a:lnTo>
                  <a:pt x="5616719" y="7209822"/>
                </a:lnTo>
                <a:lnTo>
                  <a:pt x="5616719" y="6111272"/>
                </a:lnTo>
                <a:lnTo>
                  <a:pt x="5357969" y="6111272"/>
                </a:lnTo>
                <a:close/>
                <a:moveTo>
                  <a:pt x="4884222" y="6016022"/>
                </a:moveTo>
                <a:lnTo>
                  <a:pt x="5258161" y="6016022"/>
                </a:lnTo>
                <a:lnTo>
                  <a:pt x="5258161" y="6111272"/>
                </a:lnTo>
                <a:lnTo>
                  <a:pt x="4999412" y="6111272"/>
                </a:lnTo>
                <a:lnTo>
                  <a:pt x="4999412" y="7209822"/>
                </a:lnTo>
                <a:lnTo>
                  <a:pt x="5258161" y="7209822"/>
                </a:lnTo>
                <a:lnTo>
                  <a:pt x="5258161" y="7305072"/>
                </a:lnTo>
                <a:lnTo>
                  <a:pt x="4884222" y="7305072"/>
                </a:lnTo>
                <a:lnTo>
                  <a:pt x="4884222" y="7209822"/>
                </a:lnTo>
                <a:lnTo>
                  <a:pt x="4884222" y="6111272"/>
                </a:lnTo>
                <a:close/>
                <a:moveTo>
                  <a:pt x="8549915" y="6009685"/>
                </a:moveTo>
                <a:lnTo>
                  <a:pt x="8602985" y="6011561"/>
                </a:lnTo>
                <a:lnTo>
                  <a:pt x="8652106" y="6017138"/>
                </a:lnTo>
                <a:lnTo>
                  <a:pt x="8697411" y="6026333"/>
                </a:lnTo>
                <a:lnTo>
                  <a:pt x="8739033" y="6039065"/>
                </a:lnTo>
                <a:lnTo>
                  <a:pt x="8777104" y="6055253"/>
                </a:lnTo>
                <a:lnTo>
                  <a:pt x="8811757" y="6074814"/>
                </a:lnTo>
                <a:lnTo>
                  <a:pt x="8843125" y="6097669"/>
                </a:lnTo>
                <a:lnTo>
                  <a:pt x="8871340" y="6123735"/>
                </a:lnTo>
                <a:lnTo>
                  <a:pt x="8896535" y="6152931"/>
                </a:lnTo>
                <a:lnTo>
                  <a:pt x="8918843" y="6185176"/>
                </a:lnTo>
                <a:lnTo>
                  <a:pt x="8938397" y="6220388"/>
                </a:lnTo>
                <a:lnTo>
                  <a:pt x="8955329" y="6258486"/>
                </a:lnTo>
                <a:lnTo>
                  <a:pt x="8969772" y="6299388"/>
                </a:lnTo>
                <a:lnTo>
                  <a:pt x="8981858" y="6343014"/>
                </a:lnTo>
                <a:lnTo>
                  <a:pt x="8991721" y="6389281"/>
                </a:lnTo>
                <a:lnTo>
                  <a:pt x="8999494" y="6438109"/>
                </a:lnTo>
                <a:lnTo>
                  <a:pt x="9005308" y="6489415"/>
                </a:lnTo>
                <a:lnTo>
                  <a:pt x="9009296" y="6543120"/>
                </a:lnTo>
                <a:lnTo>
                  <a:pt x="9011592" y="6599140"/>
                </a:lnTo>
                <a:lnTo>
                  <a:pt x="9012328" y="6657396"/>
                </a:lnTo>
                <a:lnTo>
                  <a:pt x="9011628" y="6715902"/>
                </a:lnTo>
                <a:lnTo>
                  <a:pt x="9009431" y="6772172"/>
                </a:lnTo>
                <a:lnTo>
                  <a:pt x="9005595" y="6826122"/>
                </a:lnTo>
                <a:lnTo>
                  <a:pt x="8999974" y="6877672"/>
                </a:lnTo>
                <a:lnTo>
                  <a:pt x="8992426" y="6926737"/>
                </a:lnTo>
                <a:lnTo>
                  <a:pt x="8982805" y="6973236"/>
                </a:lnTo>
                <a:lnTo>
                  <a:pt x="8970968" y="7017085"/>
                </a:lnTo>
                <a:lnTo>
                  <a:pt x="8956771" y="7058203"/>
                </a:lnTo>
                <a:lnTo>
                  <a:pt x="8940070" y="7096506"/>
                </a:lnTo>
                <a:lnTo>
                  <a:pt x="8920721" y="7131912"/>
                </a:lnTo>
                <a:lnTo>
                  <a:pt x="8898580" y="7164338"/>
                </a:lnTo>
                <a:lnTo>
                  <a:pt x="8873503" y="7193701"/>
                </a:lnTo>
                <a:lnTo>
                  <a:pt x="8845346" y="7219920"/>
                </a:lnTo>
                <a:lnTo>
                  <a:pt x="8813966" y="7242910"/>
                </a:lnTo>
                <a:lnTo>
                  <a:pt x="8779217" y="7262591"/>
                </a:lnTo>
                <a:lnTo>
                  <a:pt x="8740956" y="7278878"/>
                </a:lnTo>
                <a:lnTo>
                  <a:pt x="8699039" y="7291690"/>
                </a:lnTo>
                <a:lnTo>
                  <a:pt x="8653323" y="7300944"/>
                </a:lnTo>
                <a:lnTo>
                  <a:pt x="8603663" y="7306557"/>
                </a:lnTo>
                <a:lnTo>
                  <a:pt x="8549915" y="7308446"/>
                </a:lnTo>
                <a:lnTo>
                  <a:pt x="8549915" y="7211624"/>
                </a:lnTo>
                <a:lnTo>
                  <a:pt x="8599600" y="7209391"/>
                </a:lnTo>
                <a:lnTo>
                  <a:pt x="8644521" y="7202770"/>
                </a:lnTo>
                <a:lnTo>
                  <a:pt x="8684903" y="7191881"/>
                </a:lnTo>
                <a:lnTo>
                  <a:pt x="8720974" y="7176841"/>
                </a:lnTo>
                <a:lnTo>
                  <a:pt x="8781085" y="7134781"/>
                </a:lnTo>
                <a:lnTo>
                  <a:pt x="8826665" y="7077537"/>
                </a:lnTo>
                <a:lnTo>
                  <a:pt x="8844570" y="7043516"/>
                </a:lnTo>
                <a:lnTo>
                  <a:pt x="8859522" y="7006054"/>
                </a:lnTo>
                <a:lnTo>
                  <a:pt x="8871746" y="6965269"/>
                </a:lnTo>
                <a:lnTo>
                  <a:pt x="8881469" y="6921279"/>
                </a:lnTo>
                <a:lnTo>
                  <a:pt x="8888916" y="6874203"/>
                </a:lnTo>
                <a:lnTo>
                  <a:pt x="8894315" y="6824158"/>
                </a:lnTo>
                <a:lnTo>
                  <a:pt x="8897891" y="6771263"/>
                </a:lnTo>
                <a:lnTo>
                  <a:pt x="8899870" y="6715637"/>
                </a:lnTo>
                <a:lnTo>
                  <a:pt x="8900480" y="6657396"/>
                </a:lnTo>
                <a:lnTo>
                  <a:pt x="8899838" y="6599727"/>
                </a:lnTo>
                <a:lnTo>
                  <a:pt x="8897768" y="6544638"/>
                </a:lnTo>
                <a:lnTo>
                  <a:pt x="8894058" y="6492245"/>
                </a:lnTo>
                <a:lnTo>
                  <a:pt x="8888492" y="6442669"/>
                </a:lnTo>
                <a:lnTo>
                  <a:pt x="8880857" y="6396025"/>
                </a:lnTo>
                <a:lnTo>
                  <a:pt x="8870939" y="6352434"/>
                </a:lnTo>
                <a:lnTo>
                  <a:pt x="8858523" y="6312013"/>
                </a:lnTo>
                <a:lnTo>
                  <a:pt x="8843396" y="6274881"/>
                </a:lnTo>
                <a:lnTo>
                  <a:pt x="8825343" y="6241155"/>
                </a:lnTo>
                <a:lnTo>
                  <a:pt x="8779605" y="6184396"/>
                </a:lnTo>
                <a:lnTo>
                  <a:pt x="8719596" y="6142683"/>
                </a:lnTo>
                <a:lnTo>
                  <a:pt x="8683704" y="6127764"/>
                </a:lnTo>
                <a:lnTo>
                  <a:pt x="8643603" y="6116961"/>
                </a:lnTo>
                <a:lnTo>
                  <a:pt x="8599078" y="6110393"/>
                </a:lnTo>
                <a:lnTo>
                  <a:pt x="8549915" y="6108177"/>
                </a:lnTo>
                <a:close/>
                <a:moveTo>
                  <a:pt x="8458035" y="6009685"/>
                </a:moveTo>
                <a:lnTo>
                  <a:pt x="8458035" y="6108177"/>
                </a:lnTo>
                <a:lnTo>
                  <a:pt x="8409149" y="6110393"/>
                </a:lnTo>
                <a:lnTo>
                  <a:pt x="8364868" y="6116961"/>
                </a:lnTo>
                <a:lnTo>
                  <a:pt x="8324982" y="6127764"/>
                </a:lnTo>
                <a:lnTo>
                  <a:pt x="8289276" y="6142683"/>
                </a:lnTo>
                <a:lnTo>
                  <a:pt x="8229561" y="6184396"/>
                </a:lnTo>
                <a:lnTo>
                  <a:pt x="8184027" y="6241155"/>
                </a:lnTo>
                <a:lnTo>
                  <a:pt x="8166048" y="6274881"/>
                </a:lnTo>
                <a:lnTo>
                  <a:pt x="8150978" y="6312013"/>
                </a:lnTo>
                <a:lnTo>
                  <a:pt x="8138606" y="6352434"/>
                </a:lnTo>
                <a:lnTo>
                  <a:pt x="8128718" y="6396025"/>
                </a:lnTo>
                <a:lnTo>
                  <a:pt x="8121104" y="6442669"/>
                </a:lnTo>
                <a:lnTo>
                  <a:pt x="8115551" y="6492245"/>
                </a:lnTo>
                <a:lnTo>
                  <a:pt x="8111847" y="6544638"/>
                </a:lnTo>
                <a:lnTo>
                  <a:pt x="8109780" y="6599727"/>
                </a:lnTo>
                <a:lnTo>
                  <a:pt x="8109138" y="6657396"/>
                </a:lnTo>
                <a:lnTo>
                  <a:pt x="8109764" y="6715637"/>
                </a:lnTo>
                <a:lnTo>
                  <a:pt x="8111786" y="6771263"/>
                </a:lnTo>
                <a:lnTo>
                  <a:pt x="8115423" y="6824158"/>
                </a:lnTo>
                <a:lnTo>
                  <a:pt x="8120892" y="6874203"/>
                </a:lnTo>
                <a:lnTo>
                  <a:pt x="8128413" y="6921279"/>
                </a:lnTo>
                <a:lnTo>
                  <a:pt x="8138202" y="6965269"/>
                </a:lnTo>
                <a:lnTo>
                  <a:pt x="8150479" y="7006054"/>
                </a:lnTo>
                <a:lnTo>
                  <a:pt x="8165461" y="7043516"/>
                </a:lnTo>
                <a:lnTo>
                  <a:pt x="8183367" y="7077537"/>
                </a:lnTo>
                <a:lnTo>
                  <a:pt x="8228821" y="7134781"/>
                </a:lnTo>
                <a:lnTo>
                  <a:pt x="8288587" y="7176841"/>
                </a:lnTo>
                <a:lnTo>
                  <a:pt x="8324382" y="7191881"/>
                </a:lnTo>
                <a:lnTo>
                  <a:pt x="8364410" y="7202770"/>
                </a:lnTo>
                <a:lnTo>
                  <a:pt x="8408888" y="7209391"/>
                </a:lnTo>
                <a:lnTo>
                  <a:pt x="8458035" y="7211624"/>
                </a:lnTo>
                <a:lnTo>
                  <a:pt x="8458035" y="7308446"/>
                </a:lnTo>
                <a:lnTo>
                  <a:pt x="8404513" y="7306557"/>
                </a:lnTo>
                <a:lnTo>
                  <a:pt x="8355032" y="7300944"/>
                </a:lnTo>
                <a:lnTo>
                  <a:pt x="8309453" y="7291690"/>
                </a:lnTo>
                <a:lnTo>
                  <a:pt x="8267634" y="7278878"/>
                </a:lnTo>
                <a:lnTo>
                  <a:pt x="8229437" y="7262591"/>
                </a:lnTo>
                <a:lnTo>
                  <a:pt x="8194720" y="7242910"/>
                </a:lnTo>
                <a:lnTo>
                  <a:pt x="8163344" y="7219920"/>
                </a:lnTo>
                <a:lnTo>
                  <a:pt x="8135168" y="7193701"/>
                </a:lnTo>
                <a:lnTo>
                  <a:pt x="8110051" y="7164338"/>
                </a:lnTo>
                <a:lnTo>
                  <a:pt x="8087855" y="7131912"/>
                </a:lnTo>
                <a:lnTo>
                  <a:pt x="8068437" y="7096506"/>
                </a:lnTo>
                <a:lnTo>
                  <a:pt x="8051660" y="7058203"/>
                </a:lnTo>
                <a:lnTo>
                  <a:pt x="8037381" y="7017085"/>
                </a:lnTo>
                <a:lnTo>
                  <a:pt x="8025461" y="6973236"/>
                </a:lnTo>
                <a:lnTo>
                  <a:pt x="8015759" y="6926737"/>
                </a:lnTo>
                <a:lnTo>
                  <a:pt x="8008136" y="6877672"/>
                </a:lnTo>
                <a:lnTo>
                  <a:pt x="8002451" y="6826122"/>
                </a:lnTo>
                <a:lnTo>
                  <a:pt x="7998564" y="6772172"/>
                </a:lnTo>
                <a:lnTo>
                  <a:pt x="7996334" y="6715902"/>
                </a:lnTo>
                <a:lnTo>
                  <a:pt x="7995623" y="6657396"/>
                </a:lnTo>
                <a:lnTo>
                  <a:pt x="7996358" y="6599140"/>
                </a:lnTo>
                <a:lnTo>
                  <a:pt x="7998654" y="6543120"/>
                </a:lnTo>
                <a:lnTo>
                  <a:pt x="8002643" y="6489415"/>
                </a:lnTo>
                <a:lnTo>
                  <a:pt x="8008456" y="6438109"/>
                </a:lnTo>
                <a:lnTo>
                  <a:pt x="8016229" y="6389281"/>
                </a:lnTo>
                <a:lnTo>
                  <a:pt x="8026092" y="6343014"/>
                </a:lnTo>
                <a:lnTo>
                  <a:pt x="8038178" y="6299388"/>
                </a:lnTo>
                <a:lnTo>
                  <a:pt x="8052621" y="6258486"/>
                </a:lnTo>
                <a:lnTo>
                  <a:pt x="8069553" y="6220388"/>
                </a:lnTo>
                <a:lnTo>
                  <a:pt x="8089106" y="6185176"/>
                </a:lnTo>
                <a:lnTo>
                  <a:pt x="8111414" y="6152931"/>
                </a:lnTo>
                <a:lnTo>
                  <a:pt x="8136610" y="6123735"/>
                </a:lnTo>
                <a:lnTo>
                  <a:pt x="8164825" y="6097669"/>
                </a:lnTo>
                <a:lnTo>
                  <a:pt x="8196192" y="6074814"/>
                </a:lnTo>
                <a:lnTo>
                  <a:pt x="8230845" y="6055253"/>
                </a:lnTo>
                <a:lnTo>
                  <a:pt x="8268916" y="6039065"/>
                </a:lnTo>
                <a:lnTo>
                  <a:pt x="8310538" y="6026333"/>
                </a:lnTo>
                <a:lnTo>
                  <a:pt x="8355843" y="6017138"/>
                </a:lnTo>
                <a:lnTo>
                  <a:pt x="8404964" y="6011561"/>
                </a:lnTo>
                <a:close/>
                <a:moveTo>
                  <a:pt x="1409388" y="6009685"/>
                </a:moveTo>
                <a:lnTo>
                  <a:pt x="1462459" y="6011561"/>
                </a:lnTo>
                <a:lnTo>
                  <a:pt x="1511579" y="6017138"/>
                </a:lnTo>
                <a:lnTo>
                  <a:pt x="1556884" y="6026333"/>
                </a:lnTo>
                <a:lnTo>
                  <a:pt x="1598508" y="6039065"/>
                </a:lnTo>
                <a:lnTo>
                  <a:pt x="1636578" y="6055253"/>
                </a:lnTo>
                <a:lnTo>
                  <a:pt x="1671231" y="6074814"/>
                </a:lnTo>
                <a:lnTo>
                  <a:pt x="1702600" y="6097669"/>
                </a:lnTo>
                <a:lnTo>
                  <a:pt x="1730815" y="6123735"/>
                </a:lnTo>
                <a:lnTo>
                  <a:pt x="1756009" y="6152931"/>
                </a:lnTo>
                <a:lnTo>
                  <a:pt x="1778317" y="6185176"/>
                </a:lnTo>
                <a:lnTo>
                  <a:pt x="1797871" y="6220388"/>
                </a:lnTo>
                <a:lnTo>
                  <a:pt x="1814804" y="6258486"/>
                </a:lnTo>
                <a:lnTo>
                  <a:pt x="1829247" y="6299388"/>
                </a:lnTo>
                <a:lnTo>
                  <a:pt x="1841333" y="6343014"/>
                </a:lnTo>
                <a:lnTo>
                  <a:pt x="1851196" y="6389281"/>
                </a:lnTo>
                <a:lnTo>
                  <a:pt x="1858969" y="6438109"/>
                </a:lnTo>
                <a:lnTo>
                  <a:pt x="1864782" y="6489415"/>
                </a:lnTo>
                <a:lnTo>
                  <a:pt x="1868770" y="6543120"/>
                </a:lnTo>
                <a:lnTo>
                  <a:pt x="1871067" y="6599140"/>
                </a:lnTo>
                <a:lnTo>
                  <a:pt x="1871802" y="6657396"/>
                </a:lnTo>
                <a:lnTo>
                  <a:pt x="1871103" y="6715902"/>
                </a:lnTo>
                <a:lnTo>
                  <a:pt x="1868906" y="6772172"/>
                </a:lnTo>
                <a:lnTo>
                  <a:pt x="1865069" y="6826122"/>
                </a:lnTo>
                <a:lnTo>
                  <a:pt x="1859448" y="6877672"/>
                </a:lnTo>
                <a:lnTo>
                  <a:pt x="1851900" y="6926737"/>
                </a:lnTo>
                <a:lnTo>
                  <a:pt x="1842280" y="6973236"/>
                </a:lnTo>
                <a:lnTo>
                  <a:pt x="1830443" y="7017085"/>
                </a:lnTo>
                <a:lnTo>
                  <a:pt x="1816246" y="7058203"/>
                </a:lnTo>
                <a:lnTo>
                  <a:pt x="1799544" y="7096506"/>
                </a:lnTo>
                <a:lnTo>
                  <a:pt x="1780195" y="7131912"/>
                </a:lnTo>
                <a:lnTo>
                  <a:pt x="1758055" y="7164338"/>
                </a:lnTo>
                <a:lnTo>
                  <a:pt x="1732977" y="7193701"/>
                </a:lnTo>
                <a:lnTo>
                  <a:pt x="1704820" y="7219920"/>
                </a:lnTo>
                <a:lnTo>
                  <a:pt x="1673440" y="7242910"/>
                </a:lnTo>
                <a:lnTo>
                  <a:pt x="1638691" y="7262591"/>
                </a:lnTo>
                <a:lnTo>
                  <a:pt x="1600431" y="7278878"/>
                </a:lnTo>
                <a:lnTo>
                  <a:pt x="1558512" y="7291690"/>
                </a:lnTo>
                <a:lnTo>
                  <a:pt x="1512797" y="7300944"/>
                </a:lnTo>
                <a:lnTo>
                  <a:pt x="1463136" y="7306557"/>
                </a:lnTo>
                <a:lnTo>
                  <a:pt x="1409388" y="7308446"/>
                </a:lnTo>
                <a:lnTo>
                  <a:pt x="1409388" y="7211624"/>
                </a:lnTo>
                <a:lnTo>
                  <a:pt x="1459074" y="7209391"/>
                </a:lnTo>
                <a:lnTo>
                  <a:pt x="1503995" y="7202770"/>
                </a:lnTo>
                <a:lnTo>
                  <a:pt x="1544377" y="7191881"/>
                </a:lnTo>
                <a:lnTo>
                  <a:pt x="1580448" y="7176841"/>
                </a:lnTo>
                <a:lnTo>
                  <a:pt x="1640559" y="7134781"/>
                </a:lnTo>
                <a:lnTo>
                  <a:pt x="1686139" y="7077537"/>
                </a:lnTo>
                <a:lnTo>
                  <a:pt x="1704044" y="7043516"/>
                </a:lnTo>
                <a:lnTo>
                  <a:pt x="1718997" y="7006054"/>
                </a:lnTo>
                <a:lnTo>
                  <a:pt x="1731220" y="6965269"/>
                </a:lnTo>
                <a:lnTo>
                  <a:pt x="1740944" y="6921279"/>
                </a:lnTo>
                <a:lnTo>
                  <a:pt x="1748390" y="6874203"/>
                </a:lnTo>
                <a:lnTo>
                  <a:pt x="1753790" y="6824158"/>
                </a:lnTo>
                <a:lnTo>
                  <a:pt x="1757366" y="6771263"/>
                </a:lnTo>
                <a:lnTo>
                  <a:pt x="1759345" y="6715637"/>
                </a:lnTo>
                <a:lnTo>
                  <a:pt x="1759955" y="6657396"/>
                </a:lnTo>
                <a:lnTo>
                  <a:pt x="1759313" y="6599727"/>
                </a:lnTo>
                <a:lnTo>
                  <a:pt x="1757242" y="6544638"/>
                </a:lnTo>
                <a:lnTo>
                  <a:pt x="1753533" y="6492245"/>
                </a:lnTo>
                <a:lnTo>
                  <a:pt x="1747967" y="6442669"/>
                </a:lnTo>
                <a:lnTo>
                  <a:pt x="1740332" y="6396025"/>
                </a:lnTo>
                <a:lnTo>
                  <a:pt x="1730413" y="6352434"/>
                </a:lnTo>
                <a:lnTo>
                  <a:pt x="1717998" y="6312013"/>
                </a:lnTo>
                <a:lnTo>
                  <a:pt x="1702871" y="6274881"/>
                </a:lnTo>
                <a:lnTo>
                  <a:pt x="1684817" y="6241155"/>
                </a:lnTo>
                <a:lnTo>
                  <a:pt x="1639079" y="6184396"/>
                </a:lnTo>
                <a:lnTo>
                  <a:pt x="1579070" y="6142683"/>
                </a:lnTo>
                <a:lnTo>
                  <a:pt x="1543178" y="6127764"/>
                </a:lnTo>
                <a:lnTo>
                  <a:pt x="1503076" y="6116961"/>
                </a:lnTo>
                <a:lnTo>
                  <a:pt x="1458551" y="6110393"/>
                </a:lnTo>
                <a:lnTo>
                  <a:pt x="1409388" y="6108177"/>
                </a:lnTo>
                <a:close/>
                <a:moveTo>
                  <a:pt x="1317509" y="6009685"/>
                </a:moveTo>
                <a:lnTo>
                  <a:pt x="1317509" y="6108177"/>
                </a:lnTo>
                <a:lnTo>
                  <a:pt x="1268623" y="6110393"/>
                </a:lnTo>
                <a:lnTo>
                  <a:pt x="1224343" y="6116961"/>
                </a:lnTo>
                <a:lnTo>
                  <a:pt x="1184456" y="6127764"/>
                </a:lnTo>
                <a:lnTo>
                  <a:pt x="1148750" y="6142683"/>
                </a:lnTo>
                <a:lnTo>
                  <a:pt x="1089035" y="6184396"/>
                </a:lnTo>
                <a:lnTo>
                  <a:pt x="1043502" y="6241155"/>
                </a:lnTo>
                <a:lnTo>
                  <a:pt x="1025523" y="6274881"/>
                </a:lnTo>
                <a:lnTo>
                  <a:pt x="1010453" y="6312013"/>
                </a:lnTo>
                <a:lnTo>
                  <a:pt x="998080" y="6352434"/>
                </a:lnTo>
                <a:lnTo>
                  <a:pt x="988193" y="6396025"/>
                </a:lnTo>
                <a:lnTo>
                  <a:pt x="980578" y="6442669"/>
                </a:lnTo>
                <a:lnTo>
                  <a:pt x="975024" y="6492245"/>
                </a:lnTo>
                <a:lnTo>
                  <a:pt x="971321" y="6544638"/>
                </a:lnTo>
                <a:lnTo>
                  <a:pt x="969254" y="6599727"/>
                </a:lnTo>
                <a:lnTo>
                  <a:pt x="968612" y="6657396"/>
                </a:lnTo>
                <a:lnTo>
                  <a:pt x="969237" y="6715637"/>
                </a:lnTo>
                <a:lnTo>
                  <a:pt x="971260" y="6771263"/>
                </a:lnTo>
                <a:lnTo>
                  <a:pt x="974897" y="6824158"/>
                </a:lnTo>
                <a:lnTo>
                  <a:pt x="980366" y="6874203"/>
                </a:lnTo>
                <a:lnTo>
                  <a:pt x="987887" y="6921279"/>
                </a:lnTo>
                <a:lnTo>
                  <a:pt x="997676" y="6965269"/>
                </a:lnTo>
                <a:lnTo>
                  <a:pt x="1009953" y="7006054"/>
                </a:lnTo>
                <a:lnTo>
                  <a:pt x="1024935" y="7043516"/>
                </a:lnTo>
                <a:lnTo>
                  <a:pt x="1042841" y="7077537"/>
                </a:lnTo>
                <a:lnTo>
                  <a:pt x="1088295" y="7134781"/>
                </a:lnTo>
                <a:lnTo>
                  <a:pt x="1148061" y="7176841"/>
                </a:lnTo>
                <a:lnTo>
                  <a:pt x="1183856" y="7191881"/>
                </a:lnTo>
                <a:lnTo>
                  <a:pt x="1223884" y="7202770"/>
                </a:lnTo>
                <a:lnTo>
                  <a:pt x="1268362" y="7209391"/>
                </a:lnTo>
                <a:lnTo>
                  <a:pt x="1317509" y="7211624"/>
                </a:lnTo>
                <a:lnTo>
                  <a:pt x="1317509" y="7308446"/>
                </a:lnTo>
                <a:lnTo>
                  <a:pt x="1263987" y="7306557"/>
                </a:lnTo>
                <a:lnTo>
                  <a:pt x="1214506" y="7300944"/>
                </a:lnTo>
                <a:lnTo>
                  <a:pt x="1168927" y="7291690"/>
                </a:lnTo>
                <a:lnTo>
                  <a:pt x="1127108" y="7278878"/>
                </a:lnTo>
                <a:lnTo>
                  <a:pt x="1088911" y="7262591"/>
                </a:lnTo>
                <a:lnTo>
                  <a:pt x="1054194" y="7242910"/>
                </a:lnTo>
                <a:lnTo>
                  <a:pt x="1022818" y="7219920"/>
                </a:lnTo>
                <a:lnTo>
                  <a:pt x="994641" y="7193701"/>
                </a:lnTo>
                <a:lnTo>
                  <a:pt x="969525" y="7164338"/>
                </a:lnTo>
                <a:lnTo>
                  <a:pt x="947329" y="7131912"/>
                </a:lnTo>
                <a:lnTo>
                  <a:pt x="927911" y="7096506"/>
                </a:lnTo>
                <a:lnTo>
                  <a:pt x="911133" y="7058203"/>
                </a:lnTo>
                <a:lnTo>
                  <a:pt x="896855" y="7017085"/>
                </a:lnTo>
                <a:lnTo>
                  <a:pt x="884935" y="6973236"/>
                </a:lnTo>
                <a:lnTo>
                  <a:pt x="875233" y="6926737"/>
                </a:lnTo>
                <a:lnTo>
                  <a:pt x="867610" y="6877672"/>
                </a:lnTo>
                <a:lnTo>
                  <a:pt x="861924" y="6826122"/>
                </a:lnTo>
                <a:lnTo>
                  <a:pt x="858037" y="6772172"/>
                </a:lnTo>
                <a:lnTo>
                  <a:pt x="855809" y="6715902"/>
                </a:lnTo>
                <a:lnTo>
                  <a:pt x="855097" y="6657396"/>
                </a:lnTo>
                <a:lnTo>
                  <a:pt x="855832" y="6599140"/>
                </a:lnTo>
                <a:lnTo>
                  <a:pt x="858128" y="6543120"/>
                </a:lnTo>
                <a:lnTo>
                  <a:pt x="862117" y="6489415"/>
                </a:lnTo>
                <a:lnTo>
                  <a:pt x="867930" y="6438109"/>
                </a:lnTo>
                <a:lnTo>
                  <a:pt x="875703" y="6389281"/>
                </a:lnTo>
                <a:lnTo>
                  <a:pt x="885565" y="6343014"/>
                </a:lnTo>
                <a:lnTo>
                  <a:pt x="897652" y="6299388"/>
                </a:lnTo>
                <a:lnTo>
                  <a:pt x="912095" y="6258486"/>
                </a:lnTo>
                <a:lnTo>
                  <a:pt x="929026" y="6220388"/>
                </a:lnTo>
                <a:lnTo>
                  <a:pt x="948580" y="6185176"/>
                </a:lnTo>
                <a:lnTo>
                  <a:pt x="970888" y="6152931"/>
                </a:lnTo>
                <a:lnTo>
                  <a:pt x="996084" y="6123735"/>
                </a:lnTo>
                <a:lnTo>
                  <a:pt x="1024299" y="6097669"/>
                </a:lnTo>
                <a:lnTo>
                  <a:pt x="1055666" y="6074814"/>
                </a:lnTo>
                <a:lnTo>
                  <a:pt x="1090319" y="6055253"/>
                </a:lnTo>
                <a:lnTo>
                  <a:pt x="1128390" y="6039065"/>
                </a:lnTo>
                <a:lnTo>
                  <a:pt x="1170012" y="6026333"/>
                </a:lnTo>
                <a:lnTo>
                  <a:pt x="1215317" y="6017138"/>
                </a:lnTo>
                <a:lnTo>
                  <a:pt x="1264438" y="6011561"/>
                </a:lnTo>
                <a:close/>
                <a:moveTo>
                  <a:pt x="505166" y="5528915"/>
                </a:moveTo>
                <a:lnTo>
                  <a:pt x="547395" y="5532593"/>
                </a:lnTo>
                <a:lnTo>
                  <a:pt x="580078" y="5545817"/>
                </a:lnTo>
                <a:lnTo>
                  <a:pt x="601179" y="5571874"/>
                </a:lnTo>
                <a:lnTo>
                  <a:pt x="608666" y="5614052"/>
                </a:lnTo>
                <a:lnTo>
                  <a:pt x="601179" y="5658159"/>
                </a:lnTo>
                <a:lnTo>
                  <a:pt x="580078" y="5685208"/>
                </a:lnTo>
                <a:lnTo>
                  <a:pt x="547395" y="5698798"/>
                </a:lnTo>
                <a:lnTo>
                  <a:pt x="505166" y="5702529"/>
                </a:lnTo>
                <a:lnTo>
                  <a:pt x="462936" y="5698798"/>
                </a:lnTo>
                <a:lnTo>
                  <a:pt x="430252" y="5685208"/>
                </a:lnTo>
                <a:lnTo>
                  <a:pt x="409151" y="5658159"/>
                </a:lnTo>
                <a:lnTo>
                  <a:pt x="401665" y="5614052"/>
                </a:lnTo>
                <a:lnTo>
                  <a:pt x="409385" y="5571874"/>
                </a:lnTo>
                <a:lnTo>
                  <a:pt x="430878" y="5545817"/>
                </a:lnTo>
                <a:lnTo>
                  <a:pt x="463640" y="5532593"/>
                </a:lnTo>
                <a:close/>
                <a:moveTo>
                  <a:pt x="2465444" y="5378664"/>
                </a:moveTo>
                <a:lnTo>
                  <a:pt x="3370236" y="5378664"/>
                </a:lnTo>
                <a:lnTo>
                  <a:pt x="3370236" y="5485502"/>
                </a:lnTo>
                <a:lnTo>
                  <a:pt x="2465444" y="5485502"/>
                </a:lnTo>
                <a:close/>
                <a:moveTo>
                  <a:pt x="2465444" y="5029768"/>
                </a:moveTo>
                <a:lnTo>
                  <a:pt x="3370236" y="5029768"/>
                </a:lnTo>
                <a:lnTo>
                  <a:pt x="3370236" y="5136606"/>
                </a:lnTo>
                <a:lnTo>
                  <a:pt x="2465444" y="5136606"/>
                </a:lnTo>
                <a:close/>
                <a:moveTo>
                  <a:pt x="505166" y="4827784"/>
                </a:moveTo>
                <a:lnTo>
                  <a:pt x="547395" y="4831253"/>
                </a:lnTo>
                <a:lnTo>
                  <a:pt x="580078" y="4844268"/>
                </a:lnTo>
                <a:lnTo>
                  <a:pt x="601179" y="4870743"/>
                </a:lnTo>
                <a:lnTo>
                  <a:pt x="608666" y="4914590"/>
                </a:lnTo>
                <a:lnTo>
                  <a:pt x="601179" y="4957028"/>
                </a:lnTo>
                <a:lnTo>
                  <a:pt x="580078" y="4983660"/>
                </a:lnTo>
                <a:lnTo>
                  <a:pt x="547395" y="4997458"/>
                </a:lnTo>
                <a:lnTo>
                  <a:pt x="505166" y="5001397"/>
                </a:lnTo>
                <a:lnTo>
                  <a:pt x="463901" y="4997458"/>
                </a:lnTo>
                <a:lnTo>
                  <a:pt x="431713" y="4983660"/>
                </a:lnTo>
                <a:lnTo>
                  <a:pt x="410794" y="4957028"/>
                </a:lnTo>
                <a:lnTo>
                  <a:pt x="403334" y="4914590"/>
                </a:lnTo>
                <a:lnTo>
                  <a:pt x="410794" y="4870743"/>
                </a:lnTo>
                <a:lnTo>
                  <a:pt x="431713" y="4844268"/>
                </a:lnTo>
                <a:lnTo>
                  <a:pt x="463901" y="4831253"/>
                </a:lnTo>
                <a:close/>
                <a:moveTo>
                  <a:pt x="4111651" y="4507266"/>
                </a:moveTo>
                <a:lnTo>
                  <a:pt x="4164721" y="4509142"/>
                </a:lnTo>
                <a:lnTo>
                  <a:pt x="4213842" y="4514719"/>
                </a:lnTo>
                <a:lnTo>
                  <a:pt x="4259148" y="4523914"/>
                </a:lnTo>
                <a:lnTo>
                  <a:pt x="4300769" y="4536646"/>
                </a:lnTo>
                <a:lnTo>
                  <a:pt x="4338840" y="4552834"/>
                </a:lnTo>
                <a:lnTo>
                  <a:pt x="4373493" y="4572395"/>
                </a:lnTo>
                <a:lnTo>
                  <a:pt x="4404861" y="4595250"/>
                </a:lnTo>
                <a:lnTo>
                  <a:pt x="4433076" y="4621316"/>
                </a:lnTo>
                <a:lnTo>
                  <a:pt x="4458271" y="4650512"/>
                </a:lnTo>
                <a:lnTo>
                  <a:pt x="4480579" y="4682757"/>
                </a:lnTo>
                <a:lnTo>
                  <a:pt x="4500133" y="4717969"/>
                </a:lnTo>
                <a:lnTo>
                  <a:pt x="4517065" y="4756067"/>
                </a:lnTo>
                <a:lnTo>
                  <a:pt x="4531508" y="4796969"/>
                </a:lnTo>
                <a:lnTo>
                  <a:pt x="4543594" y="4840595"/>
                </a:lnTo>
                <a:lnTo>
                  <a:pt x="4553457" y="4886863"/>
                </a:lnTo>
                <a:lnTo>
                  <a:pt x="4561230" y="4935691"/>
                </a:lnTo>
                <a:lnTo>
                  <a:pt x="4567043" y="4986997"/>
                </a:lnTo>
                <a:lnTo>
                  <a:pt x="4571032" y="5040702"/>
                </a:lnTo>
                <a:lnTo>
                  <a:pt x="4573328" y="5096722"/>
                </a:lnTo>
                <a:lnTo>
                  <a:pt x="4574064" y="5154978"/>
                </a:lnTo>
                <a:lnTo>
                  <a:pt x="4573364" y="5213483"/>
                </a:lnTo>
                <a:lnTo>
                  <a:pt x="4571167" y="5269753"/>
                </a:lnTo>
                <a:lnTo>
                  <a:pt x="4567331" y="5323704"/>
                </a:lnTo>
                <a:lnTo>
                  <a:pt x="4561710" y="5375253"/>
                </a:lnTo>
                <a:lnTo>
                  <a:pt x="4554162" y="5424318"/>
                </a:lnTo>
                <a:lnTo>
                  <a:pt x="4544541" y="5470817"/>
                </a:lnTo>
                <a:lnTo>
                  <a:pt x="4532704" y="5514667"/>
                </a:lnTo>
                <a:lnTo>
                  <a:pt x="4518507" y="5555784"/>
                </a:lnTo>
                <a:lnTo>
                  <a:pt x="4501806" y="5594087"/>
                </a:lnTo>
                <a:lnTo>
                  <a:pt x="4482457" y="5629493"/>
                </a:lnTo>
                <a:lnTo>
                  <a:pt x="4460316" y="5661919"/>
                </a:lnTo>
                <a:lnTo>
                  <a:pt x="4435240" y="5691283"/>
                </a:lnTo>
                <a:lnTo>
                  <a:pt x="4407083" y="5717501"/>
                </a:lnTo>
                <a:lnTo>
                  <a:pt x="4375702" y="5740492"/>
                </a:lnTo>
                <a:lnTo>
                  <a:pt x="4340953" y="5760173"/>
                </a:lnTo>
                <a:lnTo>
                  <a:pt x="4302693" y="5776460"/>
                </a:lnTo>
                <a:lnTo>
                  <a:pt x="4260776" y="5789272"/>
                </a:lnTo>
                <a:lnTo>
                  <a:pt x="4215059" y="5798526"/>
                </a:lnTo>
                <a:lnTo>
                  <a:pt x="4165399" y="5804139"/>
                </a:lnTo>
                <a:lnTo>
                  <a:pt x="4111651" y="5806028"/>
                </a:lnTo>
                <a:lnTo>
                  <a:pt x="4111651" y="5709205"/>
                </a:lnTo>
                <a:lnTo>
                  <a:pt x="4161336" y="5706972"/>
                </a:lnTo>
                <a:lnTo>
                  <a:pt x="4206256" y="5700351"/>
                </a:lnTo>
                <a:lnTo>
                  <a:pt x="4246640" y="5689462"/>
                </a:lnTo>
                <a:lnTo>
                  <a:pt x="4282711" y="5674422"/>
                </a:lnTo>
                <a:lnTo>
                  <a:pt x="4342822" y="5632362"/>
                </a:lnTo>
                <a:lnTo>
                  <a:pt x="4388401" y="5575118"/>
                </a:lnTo>
                <a:lnTo>
                  <a:pt x="4406307" y="5541097"/>
                </a:lnTo>
                <a:lnTo>
                  <a:pt x="4421259" y="5503636"/>
                </a:lnTo>
                <a:lnTo>
                  <a:pt x="4433483" y="5462851"/>
                </a:lnTo>
                <a:lnTo>
                  <a:pt x="4443206" y="5418861"/>
                </a:lnTo>
                <a:lnTo>
                  <a:pt x="4450653" y="5371784"/>
                </a:lnTo>
                <a:lnTo>
                  <a:pt x="4456052" y="5321740"/>
                </a:lnTo>
                <a:lnTo>
                  <a:pt x="4459628" y="5268845"/>
                </a:lnTo>
                <a:lnTo>
                  <a:pt x="4461607" y="5213218"/>
                </a:lnTo>
                <a:lnTo>
                  <a:pt x="4462217" y="5154978"/>
                </a:lnTo>
                <a:lnTo>
                  <a:pt x="4461575" y="5097309"/>
                </a:lnTo>
                <a:lnTo>
                  <a:pt x="4459505" y="5042220"/>
                </a:lnTo>
                <a:lnTo>
                  <a:pt x="4455795" y="4989827"/>
                </a:lnTo>
                <a:lnTo>
                  <a:pt x="4450229" y="4940251"/>
                </a:lnTo>
                <a:lnTo>
                  <a:pt x="4442594" y="4893607"/>
                </a:lnTo>
                <a:lnTo>
                  <a:pt x="4432676" y="4850015"/>
                </a:lnTo>
                <a:lnTo>
                  <a:pt x="4420260" y="4809594"/>
                </a:lnTo>
                <a:lnTo>
                  <a:pt x="4405133" y="4772462"/>
                </a:lnTo>
                <a:lnTo>
                  <a:pt x="4387080" y="4738736"/>
                </a:lnTo>
                <a:lnTo>
                  <a:pt x="4341342" y="4681977"/>
                </a:lnTo>
                <a:lnTo>
                  <a:pt x="4281333" y="4640264"/>
                </a:lnTo>
                <a:lnTo>
                  <a:pt x="4245441" y="4625345"/>
                </a:lnTo>
                <a:lnTo>
                  <a:pt x="4205339" y="4614542"/>
                </a:lnTo>
                <a:lnTo>
                  <a:pt x="4160814" y="4607974"/>
                </a:lnTo>
                <a:lnTo>
                  <a:pt x="4111651" y="4605758"/>
                </a:lnTo>
                <a:close/>
                <a:moveTo>
                  <a:pt x="4019781" y="4507266"/>
                </a:moveTo>
                <a:lnTo>
                  <a:pt x="4019781" y="4605758"/>
                </a:lnTo>
                <a:lnTo>
                  <a:pt x="3970895" y="4607974"/>
                </a:lnTo>
                <a:lnTo>
                  <a:pt x="3926615" y="4614542"/>
                </a:lnTo>
                <a:lnTo>
                  <a:pt x="3886728" y="4625345"/>
                </a:lnTo>
                <a:lnTo>
                  <a:pt x="3851022" y="4640264"/>
                </a:lnTo>
                <a:lnTo>
                  <a:pt x="3791307" y="4681977"/>
                </a:lnTo>
                <a:lnTo>
                  <a:pt x="3745774" y="4738736"/>
                </a:lnTo>
                <a:lnTo>
                  <a:pt x="3727795" y="4772462"/>
                </a:lnTo>
                <a:lnTo>
                  <a:pt x="3712725" y="4809594"/>
                </a:lnTo>
                <a:lnTo>
                  <a:pt x="3700353" y="4850015"/>
                </a:lnTo>
                <a:lnTo>
                  <a:pt x="3690465" y="4893607"/>
                </a:lnTo>
                <a:lnTo>
                  <a:pt x="3682853" y="4940251"/>
                </a:lnTo>
                <a:lnTo>
                  <a:pt x="3677301" y="4989827"/>
                </a:lnTo>
                <a:lnTo>
                  <a:pt x="3673597" y="5042220"/>
                </a:lnTo>
                <a:lnTo>
                  <a:pt x="3671530" y="5097309"/>
                </a:lnTo>
                <a:lnTo>
                  <a:pt x="3670887" y="5154978"/>
                </a:lnTo>
                <a:lnTo>
                  <a:pt x="3671513" y="5213218"/>
                </a:lnTo>
                <a:lnTo>
                  <a:pt x="3673535" y="5268845"/>
                </a:lnTo>
                <a:lnTo>
                  <a:pt x="3677173" y="5321740"/>
                </a:lnTo>
                <a:lnTo>
                  <a:pt x="3682642" y="5371784"/>
                </a:lnTo>
                <a:lnTo>
                  <a:pt x="3690160" y="5418861"/>
                </a:lnTo>
                <a:lnTo>
                  <a:pt x="3699949" y="5462851"/>
                </a:lnTo>
                <a:lnTo>
                  <a:pt x="3712226" y="5503636"/>
                </a:lnTo>
                <a:lnTo>
                  <a:pt x="3727208" y="5541097"/>
                </a:lnTo>
                <a:lnTo>
                  <a:pt x="3745113" y="5575118"/>
                </a:lnTo>
                <a:lnTo>
                  <a:pt x="3790567" y="5632362"/>
                </a:lnTo>
                <a:lnTo>
                  <a:pt x="3850333" y="5674422"/>
                </a:lnTo>
                <a:lnTo>
                  <a:pt x="3886128" y="5689462"/>
                </a:lnTo>
                <a:lnTo>
                  <a:pt x="3926156" y="5700351"/>
                </a:lnTo>
                <a:lnTo>
                  <a:pt x="3970634" y="5706972"/>
                </a:lnTo>
                <a:lnTo>
                  <a:pt x="4019781" y="5709205"/>
                </a:lnTo>
                <a:lnTo>
                  <a:pt x="4019781" y="5806028"/>
                </a:lnTo>
                <a:lnTo>
                  <a:pt x="3966259" y="5804139"/>
                </a:lnTo>
                <a:lnTo>
                  <a:pt x="3916778" y="5798526"/>
                </a:lnTo>
                <a:lnTo>
                  <a:pt x="3871199" y="5789272"/>
                </a:lnTo>
                <a:lnTo>
                  <a:pt x="3829380" y="5776460"/>
                </a:lnTo>
                <a:lnTo>
                  <a:pt x="3791183" y="5760173"/>
                </a:lnTo>
                <a:lnTo>
                  <a:pt x="3756466" y="5740492"/>
                </a:lnTo>
                <a:lnTo>
                  <a:pt x="3725090" y="5717501"/>
                </a:lnTo>
                <a:lnTo>
                  <a:pt x="3696914" y="5691283"/>
                </a:lnTo>
                <a:lnTo>
                  <a:pt x="3671799" y="5661919"/>
                </a:lnTo>
                <a:lnTo>
                  <a:pt x="3649604" y="5629493"/>
                </a:lnTo>
                <a:lnTo>
                  <a:pt x="3630186" y="5594087"/>
                </a:lnTo>
                <a:lnTo>
                  <a:pt x="3613408" y="5555784"/>
                </a:lnTo>
                <a:lnTo>
                  <a:pt x="3599129" y="5514667"/>
                </a:lnTo>
                <a:lnTo>
                  <a:pt x="3587210" y="5470817"/>
                </a:lnTo>
                <a:lnTo>
                  <a:pt x="3577507" y="5424318"/>
                </a:lnTo>
                <a:lnTo>
                  <a:pt x="3569884" y="5375253"/>
                </a:lnTo>
                <a:lnTo>
                  <a:pt x="3564199" y="5323704"/>
                </a:lnTo>
                <a:lnTo>
                  <a:pt x="3560312" y="5269753"/>
                </a:lnTo>
                <a:lnTo>
                  <a:pt x="3558082" y="5213483"/>
                </a:lnTo>
                <a:lnTo>
                  <a:pt x="3557372" y="5154978"/>
                </a:lnTo>
                <a:lnTo>
                  <a:pt x="3558107" y="5096722"/>
                </a:lnTo>
                <a:lnTo>
                  <a:pt x="3560402" y="5040702"/>
                </a:lnTo>
                <a:lnTo>
                  <a:pt x="3564391" y="4986997"/>
                </a:lnTo>
                <a:lnTo>
                  <a:pt x="3570205" y="4935691"/>
                </a:lnTo>
                <a:lnTo>
                  <a:pt x="3577977" y="4886863"/>
                </a:lnTo>
                <a:lnTo>
                  <a:pt x="3587840" y="4840595"/>
                </a:lnTo>
                <a:lnTo>
                  <a:pt x="3599926" y="4796969"/>
                </a:lnTo>
                <a:lnTo>
                  <a:pt x="3614369" y="4756067"/>
                </a:lnTo>
                <a:lnTo>
                  <a:pt x="3631302" y="4717969"/>
                </a:lnTo>
                <a:lnTo>
                  <a:pt x="3650855" y="4682757"/>
                </a:lnTo>
                <a:lnTo>
                  <a:pt x="3673163" y="4650512"/>
                </a:lnTo>
                <a:lnTo>
                  <a:pt x="3698356" y="4621316"/>
                </a:lnTo>
                <a:lnTo>
                  <a:pt x="3726571" y="4595250"/>
                </a:lnTo>
                <a:lnTo>
                  <a:pt x="3757938" y="4572395"/>
                </a:lnTo>
                <a:lnTo>
                  <a:pt x="3792591" y="4552834"/>
                </a:lnTo>
                <a:lnTo>
                  <a:pt x="3830662" y="4536646"/>
                </a:lnTo>
                <a:lnTo>
                  <a:pt x="3872284" y="4523914"/>
                </a:lnTo>
                <a:lnTo>
                  <a:pt x="3917589" y="4514719"/>
                </a:lnTo>
                <a:lnTo>
                  <a:pt x="3966710" y="4509142"/>
                </a:lnTo>
                <a:close/>
                <a:moveTo>
                  <a:pt x="0" y="3876244"/>
                </a:moveTo>
                <a:lnTo>
                  <a:pt x="904792" y="3876244"/>
                </a:lnTo>
                <a:lnTo>
                  <a:pt x="904792" y="3983083"/>
                </a:lnTo>
                <a:lnTo>
                  <a:pt x="0" y="3983083"/>
                </a:lnTo>
                <a:close/>
                <a:moveTo>
                  <a:pt x="0" y="3527349"/>
                </a:moveTo>
                <a:lnTo>
                  <a:pt x="904792" y="3527349"/>
                </a:lnTo>
                <a:lnTo>
                  <a:pt x="904792" y="3634187"/>
                </a:lnTo>
                <a:lnTo>
                  <a:pt x="0" y="3634187"/>
                </a:lnTo>
                <a:close/>
                <a:moveTo>
                  <a:pt x="1599039" y="3011203"/>
                </a:moveTo>
                <a:lnTo>
                  <a:pt x="1972978" y="3011203"/>
                </a:lnTo>
                <a:lnTo>
                  <a:pt x="1972978" y="3106453"/>
                </a:lnTo>
                <a:lnTo>
                  <a:pt x="1972978" y="4205003"/>
                </a:lnTo>
                <a:lnTo>
                  <a:pt x="1972978" y="4300253"/>
                </a:lnTo>
                <a:lnTo>
                  <a:pt x="1599039" y="4300253"/>
                </a:lnTo>
                <a:lnTo>
                  <a:pt x="1599039" y="4205003"/>
                </a:lnTo>
                <a:lnTo>
                  <a:pt x="1857788" y="4205003"/>
                </a:lnTo>
                <a:lnTo>
                  <a:pt x="1857788" y="3106453"/>
                </a:lnTo>
                <a:lnTo>
                  <a:pt x="1599039" y="3106453"/>
                </a:lnTo>
                <a:close/>
                <a:moveTo>
                  <a:pt x="1125303" y="3011203"/>
                </a:moveTo>
                <a:lnTo>
                  <a:pt x="1499242" y="3011203"/>
                </a:lnTo>
                <a:lnTo>
                  <a:pt x="1499242" y="3106453"/>
                </a:lnTo>
                <a:lnTo>
                  <a:pt x="1240492" y="3106453"/>
                </a:lnTo>
                <a:lnTo>
                  <a:pt x="1240492" y="4205003"/>
                </a:lnTo>
                <a:lnTo>
                  <a:pt x="1499242" y="4205003"/>
                </a:lnTo>
                <a:lnTo>
                  <a:pt x="1499242" y="4300253"/>
                </a:lnTo>
                <a:lnTo>
                  <a:pt x="1125303" y="4300253"/>
                </a:lnTo>
                <a:lnTo>
                  <a:pt x="1125303" y="4205003"/>
                </a:lnTo>
                <a:lnTo>
                  <a:pt x="1125303" y="3106453"/>
                </a:lnTo>
                <a:close/>
                <a:moveTo>
                  <a:pt x="3600665" y="3004837"/>
                </a:moveTo>
                <a:lnTo>
                  <a:pt x="3653736" y="3006713"/>
                </a:lnTo>
                <a:lnTo>
                  <a:pt x="3702854" y="3012290"/>
                </a:lnTo>
                <a:lnTo>
                  <a:pt x="3748160" y="3021485"/>
                </a:lnTo>
                <a:lnTo>
                  <a:pt x="3789782" y="3034217"/>
                </a:lnTo>
                <a:lnTo>
                  <a:pt x="3827853" y="3050405"/>
                </a:lnTo>
                <a:lnTo>
                  <a:pt x="3862506" y="3069966"/>
                </a:lnTo>
                <a:lnTo>
                  <a:pt x="3893873" y="3092821"/>
                </a:lnTo>
                <a:lnTo>
                  <a:pt x="3922088" y="3118887"/>
                </a:lnTo>
                <a:lnTo>
                  <a:pt x="3947284" y="3148083"/>
                </a:lnTo>
                <a:lnTo>
                  <a:pt x="3969592" y="3180328"/>
                </a:lnTo>
                <a:lnTo>
                  <a:pt x="3989145" y="3215540"/>
                </a:lnTo>
                <a:lnTo>
                  <a:pt x="4006077" y="3253638"/>
                </a:lnTo>
                <a:lnTo>
                  <a:pt x="4020520" y="3294540"/>
                </a:lnTo>
                <a:lnTo>
                  <a:pt x="4032607" y="3338166"/>
                </a:lnTo>
                <a:lnTo>
                  <a:pt x="4042470" y="3384433"/>
                </a:lnTo>
                <a:lnTo>
                  <a:pt x="4050242" y="3433261"/>
                </a:lnTo>
                <a:lnTo>
                  <a:pt x="4056056" y="3484567"/>
                </a:lnTo>
                <a:lnTo>
                  <a:pt x="4060044" y="3538272"/>
                </a:lnTo>
                <a:lnTo>
                  <a:pt x="4062340" y="3594292"/>
                </a:lnTo>
                <a:lnTo>
                  <a:pt x="4063076" y="3652548"/>
                </a:lnTo>
                <a:lnTo>
                  <a:pt x="4062376" y="3711053"/>
                </a:lnTo>
                <a:lnTo>
                  <a:pt x="4060179" y="3767323"/>
                </a:lnTo>
                <a:lnTo>
                  <a:pt x="4056343" y="3821273"/>
                </a:lnTo>
                <a:lnTo>
                  <a:pt x="4050722" y="3872823"/>
                </a:lnTo>
                <a:lnTo>
                  <a:pt x="4043174" y="3921888"/>
                </a:lnTo>
                <a:lnTo>
                  <a:pt x="4033553" y="3968387"/>
                </a:lnTo>
                <a:lnTo>
                  <a:pt x="4021716" y="4012236"/>
                </a:lnTo>
                <a:lnTo>
                  <a:pt x="4007519" y="4053354"/>
                </a:lnTo>
                <a:lnTo>
                  <a:pt x="3990818" y="4091657"/>
                </a:lnTo>
                <a:lnTo>
                  <a:pt x="3971469" y="4127063"/>
                </a:lnTo>
                <a:lnTo>
                  <a:pt x="3949328" y="4159489"/>
                </a:lnTo>
                <a:lnTo>
                  <a:pt x="3924252" y="4188852"/>
                </a:lnTo>
                <a:lnTo>
                  <a:pt x="3896095" y="4215071"/>
                </a:lnTo>
                <a:lnTo>
                  <a:pt x="3864714" y="4238061"/>
                </a:lnTo>
                <a:lnTo>
                  <a:pt x="3829965" y="4257742"/>
                </a:lnTo>
                <a:lnTo>
                  <a:pt x="3791705" y="4274029"/>
                </a:lnTo>
                <a:lnTo>
                  <a:pt x="3749788" y="4286841"/>
                </a:lnTo>
                <a:lnTo>
                  <a:pt x="3704071" y="4296095"/>
                </a:lnTo>
                <a:lnTo>
                  <a:pt x="3654414" y="4301708"/>
                </a:lnTo>
                <a:lnTo>
                  <a:pt x="3600665" y="4303597"/>
                </a:lnTo>
                <a:lnTo>
                  <a:pt x="3600665" y="4206775"/>
                </a:lnTo>
                <a:lnTo>
                  <a:pt x="3650351" y="4204542"/>
                </a:lnTo>
                <a:lnTo>
                  <a:pt x="3695268" y="4197921"/>
                </a:lnTo>
                <a:lnTo>
                  <a:pt x="3735652" y="4187032"/>
                </a:lnTo>
                <a:lnTo>
                  <a:pt x="3771723" y="4171992"/>
                </a:lnTo>
                <a:lnTo>
                  <a:pt x="3831834" y="4129932"/>
                </a:lnTo>
                <a:lnTo>
                  <a:pt x="3877413" y="4072688"/>
                </a:lnTo>
                <a:lnTo>
                  <a:pt x="3895319" y="4038667"/>
                </a:lnTo>
                <a:lnTo>
                  <a:pt x="3910271" y="4001206"/>
                </a:lnTo>
                <a:lnTo>
                  <a:pt x="3922495" y="3960421"/>
                </a:lnTo>
                <a:lnTo>
                  <a:pt x="3932218" y="3916431"/>
                </a:lnTo>
                <a:lnTo>
                  <a:pt x="3939665" y="3869354"/>
                </a:lnTo>
                <a:lnTo>
                  <a:pt x="3945064" y="3819310"/>
                </a:lnTo>
                <a:lnTo>
                  <a:pt x="3948640" y="3766415"/>
                </a:lnTo>
                <a:lnTo>
                  <a:pt x="3950619" y="3710788"/>
                </a:lnTo>
                <a:lnTo>
                  <a:pt x="3951229" y="3652548"/>
                </a:lnTo>
                <a:lnTo>
                  <a:pt x="3950587" y="3594879"/>
                </a:lnTo>
                <a:lnTo>
                  <a:pt x="3948517" y="3539790"/>
                </a:lnTo>
                <a:lnTo>
                  <a:pt x="3944807" y="3487397"/>
                </a:lnTo>
                <a:lnTo>
                  <a:pt x="3939241" y="3437821"/>
                </a:lnTo>
                <a:lnTo>
                  <a:pt x="3931606" y="3391177"/>
                </a:lnTo>
                <a:lnTo>
                  <a:pt x="3921688" y="3347586"/>
                </a:lnTo>
                <a:lnTo>
                  <a:pt x="3909272" y="3307165"/>
                </a:lnTo>
                <a:lnTo>
                  <a:pt x="3894145" y="3270033"/>
                </a:lnTo>
                <a:lnTo>
                  <a:pt x="3876092" y="3236307"/>
                </a:lnTo>
                <a:lnTo>
                  <a:pt x="3830354" y="3179548"/>
                </a:lnTo>
                <a:lnTo>
                  <a:pt x="3770345" y="3137835"/>
                </a:lnTo>
                <a:lnTo>
                  <a:pt x="3734453" y="3122916"/>
                </a:lnTo>
                <a:lnTo>
                  <a:pt x="3694351" y="3112113"/>
                </a:lnTo>
                <a:lnTo>
                  <a:pt x="3649829" y="3105545"/>
                </a:lnTo>
                <a:lnTo>
                  <a:pt x="3600665" y="3103329"/>
                </a:lnTo>
                <a:close/>
                <a:moveTo>
                  <a:pt x="3508797" y="3004837"/>
                </a:moveTo>
                <a:lnTo>
                  <a:pt x="3508797" y="3103329"/>
                </a:lnTo>
                <a:lnTo>
                  <a:pt x="3459910" y="3105545"/>
                </a:lnTo>
                <a:lnTo>
                  <a:pt x="3415630" y="3112113"/>
                </a:lnTo>
                <a:lnTo>
                  <a:pt x="3375743" y="3122916"/>
                </a:lnTo>
                <a:lnTo>
                  <a:pt x="3340039" y="3137835"/>
                </a:lnTo>
                <a:lnTo>
                  <a:pt x="3280323" y="3179548"/>
                </a:lnTo>
                <a:lnTo>
                  <a:pt x="3234789" y="3236307"/>
                </a:lnTo>
                <a:lnTo>
                  <a:pt x="3216810" y="3270033"/>
                </a:lnTo>
                <a:lnTo>
                  <a:pt x="3201740" y="3307165"/>
                </a:lnTo>
                <a:lnTo>
                  <a:pt x="3189368" y="3347586"/>
                </a:lnTo>
                <a:lnTo>
                  <a:pt x="3179480" y="3391177"/>
                </a:lnTo>
                <a:lnTo>
                  <a:pt x="3171865" y="3437821"/>
                </a:lnTo>
                <a:lnTo>
                  <a:pt x="3166313" y="3487397"/>
                </a:lnTo>
                <a:lnTo>
                  <a:pt x="3162609" y="3539790"/>
                </a:lnTo>
                <a:lnTo>
                  <a:pt x="3160541" y="3594879"/>
                </a:lnTo>
                <a:lnTo>
                  <a:pt x="3159899" y="3652548"/>
                </a:lnTo>
                <a:lnTo>
                  <a:pt x="3160527" y="3710788"/>
                </a:lnTo>
                <a:lnTo>
                  <a:pt x="3162547" y="3766415"/>
                </a:lnTo>
                <a:lnTo>
                  <a:pt x="3166185" y="3819310"/>
                </a:lnTo>
                <a:lnTo>
                  <a:pt x="3171653" y="3869354"/>
                </a:lnTo>
                <a:lnTo>
                  <a:pt x="3179175" y="3916431"/>
                </a:lnTo>
                <a:lnTo>
                  <a:pt x="3188965" y="3960421"/>
                </a:lnTo>
                <a:lnTo>
                  <a:pt x="3201241" y="4001206"/>
                </a:lnTo>
                <a:lnTo>
                  <a:pt x="3216223" y="4038667"/>
                </a:lnTo>
                <a:lnTo>
                  <a:pt x="3234129" y="4072688"/>
                </a:lnTo>
                <a:lnTo>
                  <a:pt x="3279582" y="4129932"/>
                </a:lnTo>
                <a:lnTo>
                  <a:pt x="3339348" y="4171992"/>
                </a:lnTo>
                <a:lnTo>
                  <a:pt x="3375143" y="4187032"/>
                </a:lnTo>
                <a:lnTo>
                  <a:pt x="3415171" y="4197921"/>
                </a:lnTo>
                <a:lnTo>
                  <a:pt x="3459650" y="4204542"/>
                </a:lnTo>
                <a:lnTo>
                  <a:pt x="3508797" y="4206775"/>
                </a:lnTo>
                <a:lnTo>
                  <a:pt x="3508797" y="4303597"/>
                </a:lnTo>
                <a:lnTo>
                  <a:pt x="3455275" y="4301708"/>
                </a:lnTo>
                <a:lnTo>
                  <a:pt x="3405793" y="4296095"/>
                </a:lnTo>
                <a:lnTo>
                  <a:pt x="3360214" y="4286841"/>
                </a:lnTo>
                <a:lnTo>
                  <a:pt x="3318395" y="4274029"/>
                </a:lnTo>
                <a:lnTo>
                  <a:pt x="3280198" y="4257742"/>
                </a:lnTo>
                <a:lnTo>
                  <a:pt x="3245481" y="4238061"/>
                </a:lnTo>
                <a:lnTo>
                  <a:pt x="3214105" y="4215071"/>
                </a:lnTo>
                <a:lnTo>
                  <a:pt x="3185929" y="4188852"/>
                </a:lnTo>
                <a:lnTo>
                  <a:pt x="3160812" y="4159489"/>
                </a:lnTo>
                <a:lnTo>
                  <a:pt x="3138616" y="4127063"/>
                </a:lnTo>
                <a:lnTo>
                  <a:pt x="3119198" y="4091657"/>
                </a:lnTo>
                <a:lnTo>
                  <a:pt x="3102421" y="4053354"/>
                </a:lnTo>
                <a:lnTo>
                  <a:pt x="3088141" y="4012236"/>
                </a:lnTo>
                <a:lnTo>
                  <a:pt x="3076222" y="3968387"/>
                </a:lnTo>
                <a:lnTo>
                  <a:pt x="3066519" y="3921888"/>
                </a:lnTo>
                <a:lnTo>
                  <a:pt x="3058896" y="3872823"/>
                </a:lnTo>
                <a:lnTo>
                  <a:pt x="3053212" y="3821273"/>
                </a:lnTo>
                <a:lnTo>
                  <a:pt x="3049324" y="3767323"/>
                </a:lnTo>
                <a:lnTo>
                  <a:pt x="3047094" y="3711053"/>
                </a:lnTo>
                <a:lnTo>
                  <a:pt x="3046384" y="3652548"/>
                </a:lnTo>
                <a:lnTo>
                  <a:pt x="3047118" y="3594292"/>
                </a:lnTo>
                <a:lnTo>
                  <a:pt x="3049414" y="3538272"/>
                </a:lnTo>
                <a:lnTo>
                  <a:pt x="3053403" y="3484567"/>
                </a:lnTo>
                <a:lnTo>
                  <a:pt x="3059217" y="3433261"/>
                </a:lnTo>
                <a:lnTo>
                  <a:pt x="3066990" y="3384433"/>
                </a:lnTo>
                <a:lnTo>
                  <a:pt x="3076852" y="3338166"/>
                </a:lnTo>
                <a:lnTo>
                  <a:pt x="3088939" y="3294540"/>
                </a:lnTo>
                <a:lnTo>
                  <a:pt x="3103381" y="3253638"/>
                </a:lnTo>
                <a:lnTo>
                  <a:pt x="3120314" y="3215540"/>
                </a:lnTo>
                <a:lnTo>
                  <a:pt x="3139867" y="3180328"/>
                </a:lnTo>
                <a:lnTo>
                  <a:pt x="3162174" y="3148083"/>
                </a:lnTo>
                <a:lnTo>
                  <a:pt x="3187372" y="3118887"/>
                </a:lnTo>
                <a:lnTo>
                  <a:pt x="3215586" y="3092821"/>
                </a:lnTo>
                <a:lnTo>
                  <a:pt x="3246953" y="3069966"/>
                </a:lnTo>
                <a:lnTo>
                  <a:pt x="3281606" y="3050405"/>
                </a:lnTo>
                <a:lnTo>
                  <a:pt x="3319678" y="3034217"/>
                </a:lnTo>
                <a:lnTo>
                  <a:pt x="3361299" y="3021485"/>
                </a:lnTo>
                <a:lnTo>
                  <a:pt x="3406605" y="3012290"/>
                </a:lnTo>
                <a:lnTo>
                  <a:pt x="3455726" y="3006713"/>
                </a:lnTo>
                <a:close/>
                <a:moveTo>
                  <a:pt x="3637118" y="2373826"/>
                </a:moveTo>
                <a:lnTo>
                  <a:pt x="4541909" y="2373826"/>
                </a:lnTo>
                <a:lnTo>
                  <a:pt x="4541909" y="2480664"/>
                </a:lnTo>
                <a:lnTo>
                  <a:pt x="3637118" y="2480664"/>
                </a:lnTo>
                <a:close/>
                <a:moveTo>
                  <a:pt x="2550201" y="2373826"/>
                </a:moveTo>
                <a:lnTo>
                  <a:pt x="3454993" y="2373826"/>
                </a:lnTo>
                <a:lnTo>
                  <a:pt x="3454993" y="2480664"/>
                </a:lnTo>
                <a:lnTo>
                  <a:pt x="2550201" y="2480664"/>
                </a:lnTo>
                <a:close/>
                <a:moveTo>
                  <a:pt x="3637119" y="2024930"/>
                </a:moveTo>
                <a:lnTo>
                  <a:pt x="4541909" y="2024930"/>
                </a:lnTo>
                <a:lnTo>
                  <a:pt x="4541909" y="2131769"/>
                </a:lnTo>
                <a:lnTo>
                  <a:pt x="3637119" y="2131769"/>
                </a:lnTo>
                <a:close/>
                <a:moveTo>
                  <a:pt x="2550201" y="2024930"/>
                </a:moveTo>
                <a:lnTo>
                  <a:pt x="3454993" y="2024930"/>
                </a:lnTo>
                <a:lnTo>
                  <a:pt x="3454993" y="2131769"/>
                </a:lnTo>
                <a:lnTo>
                  <a:pt x="2550201" y="2131769"/>
                </a:lnTo>
                <a:close/>
                <a:moveTo>
                  <a:pt x="6133380" y="1502419"/>
                </a:moveTo>
                <a:lnTo>
                  <a:pt x="6186450" y="1504296"/>
                </a:lnTo>
                <a:lnTo>
                  <a:pt x="6235571" y="1509872"/>
                </a:lnTo>
                <a:lnTo>
                  <a:pt x="6280876" y="1519068"/>
                </a:lnTo>
                <a:lnTo>
                  <a:pt x="6322498" y="1531799"/>
                </a:lnTo>
                <a:lnTo>
                  <a:pt x="6360569" y="1547987"/>
                </a:lnTo>
                <a:lnTo>
                  <a:pt x="6395222" y="1567548"/>
                </a:lnTo>
                <a:lnTo>
                  <a:pt x="6426589" y="1590403"/>
                </a:lnTo>
                <a:lnTo>
                  <a:pt x="6454804" y="1616469"/>
                </a:lnTo>
                <a:lnTo>
                  <a:pt x="6480000" y="1645665"/>
                </a:lnTo>
                <a:lnTo>
                  <a:pt x="6502308" y="1677910"/>
                </a:lnTo>
                <a:lnTo>
                  <a:pt x="6521861" y="1713122"/>
                </a:lnTo>
                <a:lnTo>
                  <a:pt x="6538793" y="1751221"/>
                </a:lnTo>
                <a:lnTo>
                  <a:pt x="6553236" y="1792122"/>
                </a:lnTo>
                <a:lnTo>
                  <a:pt x="6565323" y="1835748"/>
                </a:lnTo>
                <a:lnTo>
                  <a:pt x="6575186" y="1882015"/>
                </a:lnTo>
                <a:lnTo>
                  <a:pt x="6582958" y="1930843"/>
                </a:lnTo>
                <a:lnTo>
                  <a:pt x="6588772" y="1982149"/>
                </a:lnTo>
                <a:lnTo>
                  <a:pt x="6592760" y="2035854"/>
                </a:lnTo>
                <a:lnTo>
                  <a:pt x="6595056" y="2091874"/>
                </a:lnTo>
                <a:lnTo>
                  <a:pt x="6595792" y="2150130"/>
                </a:lnTo>
                <a:lnTo>
                  <a:pt x="6595092" y="2208635"/>
                </a:lnTo>
                <a:lnTo>
                  <a:pt x="6592895" y="2264905"/>
                </a:lnTo>
                <a:lnTo>
                  <a:pt x="6589059" y="2318855"/>
                </a:lnTo>
                <a:lnTo>
                  <a:pt x="6583438" y="2370405"/>
                </a:lnTo>
                <a:lnTo>
                  <a:pt x="6575890" y="2419470"/>
                </a:lnTo>
                <a:lnTo>
                  <a:pt x="6566269" y="2465969"/>
                </a:lnTo>
                <a:lnTo>
                  <a:pt x="6554432" y="2509818"/>
                </a:lnTo>
                <a:lnTo>
                  <a:pt x="6540235" y="2550936"/>
                </a:lnTo>
                <a:lnTo>
                  <a:pt x="6523535" y="2589239"/>
                </a:lnTo>
                <a:lnTo>
                  <a:pt x="6504186" y="2624645"/>
                </a:lnTo>
                <a:lnTo>
                  <a:pt x="6482045" y="2657071"/>
                </a:lnTo>
                <a:lnTo>
                  <a:pt x="6456968" y="2686434"/>
                </a:lnTo>
                <a:lnTo>
                  <a:pt x="6428811" y="2712653"/>
                </a:lnTo>
                <a:lnTo>
                  <a:pt x="6397430" y="2735643"/>
                </a:lnTo>
                <a:lnTo>
                  <a:pt x="6362682" y="2755324"/>
                </a:lnTo>
                <a:lnTo>
                  <a:pt x="6324421" y="2771611"/>
                </a:lnTo>
                <a:lnTo>
                  <a:pt x="6282504" y="2784423"/>
                </a:lnTo>
                <a:lnTo>
                  <a:pt x="6236788" y="2793677"/>
                </a:lnTo>
                <a:lnTo>
                  <a:pt x="6187128" y="2799290"/>
                </a:lnTo>
                <a:lnTo>
                  <a:pt x="6133380" y="2801179"/>
                </a:lnTo>
                <a:lnTo>
                  <a:pt x="6133380" y="2704356"/>
                </a:lnTo>
                <a:lnTo>
                  <a:pt x="6183065" y="2702123"/>
                </a:lnTo>
                <a:lnTo>
                  <a:pt x="6227986" y="2695502"/>
                </a:lnTo>
                <a:lnTo>
                  <a:pt x="6268368" y="2684613"/>
                </a:lnTo>
                <a:lnTo>
                  <a:pt x="6304439" y="2669573"/>
                </a:lnTo>
                <a:lnTo>
                  <a:pt x="6364550" y="2627513"/>
                </a:lnTo>
                <a:lnTo>
                  <a:pt x="6410130" y="2570269"/>
                </a:lnTo>
                <a:lnTo>
                  <a:pt x="6428035" y="2536249"/>
                </a:lnTo>
                <a:lnTo>
                  <a:pt x="6442987" y="2498787"/>
                </a:lnTo>
                <a:lnTo>
                  <a:pt x="6455211" y="2458002"/>
                </a:lnTo>
                <a:lnTo>
                  <a:pt x="6464934" y="2414012"/>
                </a:lnTo>
                <a:lnTo>
                  <a:pt x="6472381" y="2366936"/>
                </a:lnTo>
                <a:lnTo>
                  <a:pt x="6477780" y="2316891"/>
                </a:lnTo>
                <a:lnTo>
                  <a:pt x="6481356" y="2263996"/>
                </a:lnTo>
                <a:lnTo>
                  <a:pt x="6483335" y="2208370"/>
                </a:lnTo>
                <a:lnTo>
                  <a:pt x="6483945" y="2150130"/>
                </a:lnTo>
                <a:lnTo>
                  <a:pt x="6483303" y="2092461"/>
                </a:lnTo>
                <a:lnTo>
                  <a:pt x="6481233" y="2037371"/>
                </a:lnTo>
                <a:lnTo>
                  <a:pt x="6477523" y="1984979"/>
                </a:lnTo>
                <a:lnTo>
                  <a:pt x="6471957" y="1935402"/>
                </a:lnTo>
                <a:lnTo>
                  <a:pt x="6464322" y="1888759"/>
                </a:lnTo>
                <a:lnTo>
                  <a:pt x="6454404" y="1845167"/>
                </a:lnTo>
                <a:lnTo>
                  <a:pt x="6441988" y="1804746"/>
                </a:lnTo>
                <a:lnTo>
                  <a:pt x="6426861" y="1767614"/>
                </a:lnTo>
                <a:lnTo>
                  <a:pt x="6408808" y="1733888"/>
                </a:lnTo>
                <a:lnTo>
                  <a:pt x="6363070" y="1677129"/>
                </a:lnTo>
                <a:lnTo>
                  <a:pt x="6303061" y="1635416"/>
                </a:lnTo>
                <a:lnTo>
                  <a:pt x="6267169" y="1620497"/>
                </a:lnTo>
                <a:lnTo>
                  <a:pt x="6227068" y="1609694"/>
                </a:lnTo>
                <a:lnTo>
                  <a:pt x="6182543" y="1603125"/>
                </a:lnTo>
                <a:lnTo>
                  <a:pt x="6133380" y="1600910"/>
                </a:lnTo>
                <a:close/>
                <a:moveTo>
                  <a:pt x="6041530" y="1502419"/>
                </a:moveTo>
                <a:lnTo>
                  <a:pt x="6041530" y="1600910"/>
                </a:lnTo>
                <a:lnTo>
                  <a:pt x="5992644" y="1603125"/>
                </a:lnTo>
                <a:lnTo>
                  <a:pt x="5948363" y="1609694"/>
                </a:lnTo>
                <a:lnTo>
                  <a:pt x="5908477" y="1620497"/>
                </a:lnTo>
                <a:lnTo>
                  <a:pt x="5872771" y="1635416"/>
                </a:lnTo>
                <a:lnTo>
                  <a:pt x="5813056" y="1677129"/>
                </a:lnTo>
                <a:lnTo>
                  <a:pt x="5767522" y="1733888"/>
                </a:lnTo>
                <a:lnTo>
                  <a:pt x="5749543" y="1767614"/>
                </a:lnTo>
                <a:lnTo>
                  <a:pt x="5734473" y="1804746"/>
                </a:lnTo>
                <a:lnTo>
                  <a:pt x="5722101" y="1845167"/>
                </a:lnTo>
                <a:lnTo>
                  <a:pt x="5712213" y="1888759"/>
                </a:lnTo>
                <a:lnTo>
                  <a:pt x="5704599" y="1935402"/>
                </a:lnTo>
                <a:lnTo>
                  <a:pt x="5699046" y="1984979"/>
                </a:lnTo>
                <a:lnTo>
                  <a:pt x="5695342" y="2037371"/>
                </a:lnTo>
                <a:lnTo>
                  <a:pt x="5693275" y="2092461"/>
                </a:lnTo>
                <a:lnTo>
                  <a:pt x="5692633" y="2150130"/>
                </a:lnTo>
                <a:lnTo>
                  <a:pt x="5693259" y="2208370"/>
                </a:lnTo>
                <a:lnTo>
                  <a:pt x="5695281" y="2263996"/>
                </a:lnTo>
                <a:lnTo>
                  <a:pt x="5698918" y="2316891"/>
                </a:lnTo>
                <a:lnTo>
                  <a:pt x="5704387" y="2366936"/>
                </a:lnTo>
                <a:lnTo>
                  <a:pt x="5711908" y="2414012"/>
                </a:lnTo>
                <a:lnTo>
                  <a:pt x="5721697" y="2458002"/>
                </a:lnTo>
                <a:lnTo>
                  <a:pt x="5733974" y="2498787"/>
                </a:lnTo>
                <a:lnTo>
                  <a:pt x="5748956" y="2536249"/>
                </a:lnTo>
                <a:lnTo>
                  <a:pt x="5766862" y="2570269"/>
                </a:lnTo>
                <a:lnTo>
                  <a:pt x="5812316" y="2627513"/>
                </a:lnTo>
                <a:lnTo>
                  <a:pt x="5872082" y="2669573"/>
                </a:lnTo>
                <a:lnTo>
                  <a:pt x="5907877" y="2684613"/>
                </a:lnTo>
                <a:lnTo>
                  <a:pt x="5947905" y="2695502"/>
                </a:lnTo>
                <a:lnTo>
                  <a:pt x="5992383" y="2702123"/>
                </a:lnTo>
                <a:lnTo>
                  <a:pt x="6041530" y="2704356"/>
                </a:lnTo>
                <a:lnTo>
                  <a:pt x="6041530" y="2801179"/>
                </a:lnTo>
                <a:lnTo>
                  <a:pt x="5988008" y="2799290"/>
                </a:lnTo>
                <a:lnTo>
                  <a:pt x="5938527" y="2793677"/>
                </a:lnTo>
                <a:lnTo>
                  <a:pt x="5892948" y="2784423"/>
                </a:lnTo>
                <a:lnTo>
                  <a:pt x="5851129" y="2771611"/>
                </a:lnTo>
                <a:lnTo>
                  <a:pt x="5812932" y="2755324"/>
                </a:lnTo>
                <a:lnTo>
                  <a:pt x="5778215" y="2735643"/>
                </a:lnTo>
                <a:lnTo>
                  <a:pt x="5746839" y="2712653"/>
                </a:lnTo>
                <a:lnTo>
                  <a:pt x="5718663" y="2686434"/>
                </a:lnTo>
                <a:lnTo>
                  <a:pt x="5693546" y="2657071"/>
                </a:lnTo>
                <a:lnTo>
                  <a:pt x="5671350" y="2624645"/>
                </a:lnTo>
                <a:lnTo>
                  <a:pt x="5651932" y="2589239"/>
                </a:lnTo>
                <a:lnTo>
                  <a:pt x="5635155" y="2550936"/>
                </a:lnTo>
                <a:lnTo>
                  <a:pt x="5620876" y="2509818"/>
                </a:lnTo>
                <a:lnTo>
                  <a:pt x="5608956" y="2465969"/>
                </a:lnTo>
                <a:lnTo>
                  <a:pt x="5599254" y="2419470"/>
                </a:lnTo>
                <a:lnTo>
                  <a:pt x="5591631" y="2370405"/>
                </a:lnTo>
                <a:lnTo>
                  <a:pt x="5585946" y="2318855"/>
                </a:lnTo>
                <a:lnTo>
                  <a:pt x="5582059" y="2264905"/>
                </a:lnTo>
                <a:lnTo>
                  <a:pt x="5579829" y="2208635"/>
                </a:lnTo>
                <a:lnTo>
                  <a:pt x="5579118" y="2150130"/>
                </a:lnTo>
                <a:lnTo>
                  <a:pt x="5579853" y="2091874"/>
                </a:lnTo>
                <a:lnTo>
                  <a:pt x="5582149" y="2035854"/>
                </a:lnTo>
                <a:lnTo>
                  <a:pt x="5586138" y="1982149"/>
                </a:lnTo>
                <a:lnTo>
                  <a:pt x="5591951" y="1930843"/>
                </a:lnTo>
                <a:lnTo>
                  <a:pt x="5599724" y="1882015"/>
                </a:lnTo>
                <a:lnTo>
                  <a:pt x="5609587" y="1835748"/>
                </a:lnTo>
                <a:lnTo>
                  <a:pt x="5621673" y="1792122"/>
                </a:lnTo>
                <a:lnTo>
                  <a:pt x="5636116" y="1751221"/>
                </a:lnTo>
                <a:lnTo>
                  <a:pt x="5653048" y="1713122"/>
                </a:lnTo>
                <a:lnTo>
                  <a:pt x="5672601" y="1677910"/>
                </a:lnTo>
                <a:lnTo>
                  <a:pt x="5694909" y="1645665"/>
                </a:lnTo>
                <a:lnTo>
                  <a:pt x="5720105" y="1616469"/>
                </a:lnTo>
                <a:lnTo>
                  <a:pt x="5748320" y="1590403"/>
                </a:lnTo>
                <a:lnTo>
                  <a:pt x="5779687" y="1567548"/>
                </a:lnTo>
                <a:lnTo>
                  <a:pt x="5814340" y="1547987"/>
                </a:lnTo>
                <a:lnTo>
                  <a:pt x="5852411" y="1531799"/>
                </a:lnTo>
                <a:lnTo>
                  <a:pt x="5894033" y="1519068"/>
                </a:lnTo>
                <a:lnTo>
                  <a:pt x="5939338" y="1509872"/>
                </a:lnTo>
                <a:lnTo>
                  <a:pt x="5988459" y="1504296"/>
                </a:lnTo>
                <a:close/>
                <a:moveTo>
                  <a:pt x="4160590" y="1021648"/>
                </a:moveTo>
                <a:lnTo>
                  <a:pt x="4367589" y="1021648"/>
                </a:lnTo>
                <a:lnTo>
                  <a:pt x="4367589" y="1195261"/>
                </a:lnTo>
                <a:lnTo>
                  <a:pt x="4160590" y="1195261"/>
                </a:lnTo>
                <a:close/>
                <a:moveTo>
                  <a:pt x="5799344" y="871408"/>
                </a:moveTo>
                <a:lnTo>
                  <a:pt x="6704136" y="871408"/>
                </a:lnTo>
                <a:lnTo>
                  <a:pt x="6704136" y="978246"/>
                </a:lnTo>
                <a:lnTo>
                  <a:pt x="5799344" y="978246"/>
                </a:lnTo>
                <a:close/>
                <a:moveTo>
                  <a:pt x="5799344" y="522512"/>
                </a:moveTo>
                <a:lnTo>
                  <a:pt x="6704136" y="522512"/>
                </a:lnTo>
                <a:lnTo>
                  <a:pt x="6704136" y="629350"/>
                </a:lnTo>
                <a:lnTo>
                  <a:pt x="5799344" y="629350"/>
                </a:lnTo>
                <a:close/>
                <a:moveTo>
                  <a:pt x="7774691" y="6383"/>
                </a:moveTo>
                <a:lnTo>
                  <a:pt x="8148629" y="6383"/>
                </a:lnTo>
                <a:lnTo>
                  <a:pt x="8148629" y="101632"/>
                </a:lnTo>
                <a:lnTo>
                  <a:pt x="7889880" y="101632"/>
                </a:lnTo>
                <a:lnTo>
                  <a:pt x="7889880" y="1200182"/>
                </a:lnTo>
                <a:lnTo>
                  <a:pt x="8148629" y="1200182"/>
                </a:lnTo>
                <a:lnTo>
                  <a:pt x="8148629" y="1295432"/>
                </a:lnTo>
                <a:lnTo>
                  <a:pt x="7774691" y="1295432"/>
                </a:lnTo>
                <a:lnTo>
                  <a:pt x="7774691" y="1200182"/>
                </a:lnTo>
                <a:lnTo>
                  <a:pt x="7774691" y="101632"/>
                </a:lnTo>
                <a:close/>
                <a:moveTo>
                  <a:pt x="8243417" y="0"/>
                </a:moveTo>
                <a:lnTo>
                  <a:pt x="8296487" y="1877"/>
                </a:lnTo>
                <a:lnTo>
                  <a:pt x="8345608" y="7454"/>
                </a:lnTo>
                <a:lnTo>
                  <a:pt x="8390913" y="16649"/>
                </a:lnTo>
                <a:lnTo>
                  <a:pt x="8432534" y="29381"/>
                </a:lnTo>
                <a:lnTo>
                  <a:pt x="8470605" y="45569"/>
                </a:lnTo>
                <a:lnTo>
                  <a:pt x="8505258" y="65130"/>
                </a:lnTo>
                <a:lnTo>
                  <a:pt x="8536626" y="87984"/>
                </a:lnTo>
                <a:lnTo>
                  <a:pt x="8564841" y="114050"/>
                </a:lnTo>
                <a:lnTo>
                  <a:pt x="8590036" y="143246"/>
                </a:lnTo>
                <a:lnTo>
                  <a:pt x="8612344" y="175491"/>
                </a:lnTo>
                <a:lnTo>
                  <a:pt x="8631898" y="210703"/>
                </a:lnTo>
                <a:lnTo>
                  <a:pt x="8648830" y="248801"/>
                </a:lnTo>
                <a:lnTo>
                  <a:pt x="8663273" y="289703"/>
                </a:lnTo>
                <a:lnTo>
                  <a:pt x="8675359" y="333329"/>
                </a:lnTo>
                <a:lnTo>
                  <a:pt x="8685222" y="379596"/>
                </a:lnTo>
                <a:lnTo>
                  <a:pt x="8692995" y="428424"/>
                </a:lnTo>
                <a:lnTo>
                  <a:pt x="8698808" y="479730"/>
                </a:lnTo>
                <a:lnTo>
                  <a:pt x="8702797" y="533435"/>
                </a:lnTo>
                <a:lnTo>
                  <a:pt x="8705093" y="589455"/>
                </a:lnTo>
                <a:lnTo>
                  <a:pt x="8705829" y="647711"/>
                </a:lnTo>
                <a:lnTo>
                  <a:pt x="8705129" y="706216"/>
                </a:lnTo>
                <a:lnTo>
                  <a:pt x="8702932" y="762486"/>
                </a:lnTo>
                <a:lnTo>
                  <a:pt x="8699096" y="816436"/>
                </a:lnTo>
                <a:lnTo>
                  <a:pt x="8693475" y="867986"/>
                </a:lnTo>
                <a:lnTo>
                  <a:pt x="8685927" y="917051"/>
                </a:lnTo>
                <a:lnTo>
                  <a:pt x="8676306" y="963550"/>
                </a:lnTo>
                <a:lnTo>
                  <a:pt x="8664469" y="1007399"/>
                </a:lnTo>
                <a:lnTo>
                  <a:pt x="8650272" y="1048517"/>
                </a:lnTo>
                <a:lnTo>
                  <a:pt x="8633571" y="1086820"/>
                </a:lnTo>
                <a:lnTo>
                  <a:pt x="8614222" y="1122226"/>
                </a:lnTo>
                <a:lnTo>
                  <a:pt x="8592081" y="1154652"/>
                </a:lnTo>
                <a:lnTo>
                  <a:pt x="8567005" y="1184015"/>
                </a:lnTo>
                <a:lnTo>
                  <a:pt x="8538848" y="1210234"/>
                </a:lnTo>
                <a:lnTo>
                  <a:pt x="8507467" y="1233224"/>
                </a:lnTo>
                <a:lnTo>
                  <a:pt x="8472718" y="1252905"/>
                </a:lnTo>
                <a:lnTo>
                  <a:pt x="8434458" y="1269193"/>
                </a:lnTo>
                <a:lnTo>
                  <a:pt x="8392541" y="1282004"/>
                </a:lnTo>
                <a:lnTo>
                  <a:pt x="8346825" y="1291258"/>
                </a:lnTo>
                <a:lnTo>
                  <a:pt x="8297165" y="1296871"/>
                </a:lnTo>
                <a:lnTo>
                  <a:pt x="8243417" y="1298760"/>
                </a:lnTo>
                <a:lnTo>
                  <a:pt x="8243417" y="1201938"/>
                </a:lnTo>
                <a:lnTo>
                  <a:pt x="8293102" y="1199705"/>
                </a:lnTo>
                <a:lnTo>
                  <a:pt x="8338022" y="1193084"/>
                </a:lnTo>
                <a:lnTo>
                  <a:pt x="8378405" y="1182195"/>
                </a:lnTo>
                <a:lnTo>
                  <a:pt x="8414476" y="1167155"/>
                </a:lnTo>
                <a:lnTo>
                  <a:pt x="8474587" y="1125095"/>
                </a:lnTo>
                <a:lnTo>
                  <a:pt x="8520166" y="1067851"/>
                </a:lnTo>
                <a:lnTo>
                  <a:pt x="8538072" y="1033830"/>
                </a:lnTo>
                <a:lnTo>
                  <a:pt x="8553024" y="996369"/>
                </a:lnTo>
                <a:lnTo>
                  <a:pt x="8565248" y="955584"/>
                </a:lnTo>
                <a:lnTo>
                  <a:pt x="8574971" y="911594"/>
                </a:lnTo>
                <a:lnTo>
                  <a:pt x="8582418" y="864517"/>
                </a:lnTo>
                <a:lnTo>
                  <a:pt x="8587817" y="814473"/>
                </a:lnTo>
                <a:lnTo>
                  <a:pt x="8591393" y="761578"/>
                </a:lnTo>
                <a:lnTo>
                  <a:pt x="8593372" y="705951"/>
                </a:lnTo>
                <a:lnTo>
                  <a:pt x="8593982" y="647711"/>
                </a:lnTo>
                <a:lnTo>
                  <a:pt x="8593340" y="590042"/>
                </a:lnTo>
                <a:lnTo>
                  <a:pt x="8591270" y="534953"/>
                </a:lnTo>
                <a:lnTo>
                  <a:pt x="8587560" y="482561"/>
                </a:lnTo>
                <a:lnTo>
                  <a:pt x="8581994" y="432984"/>
                </a:lnTo>
                <a:lnTo>
                  <a:pt x="8574359" y="386340"/>
                </a:lnTo>
                <a:lnTo>
                  <a:pt x="8564441" y="342749"/>
                </a:lnTo>
                <a:lnTo>
                  <a:pt x="8552025" y="302328"/>
                </a:lnTo>
                <a:lnTo>
                  <a:pt x="8536898" y="265196"/>
                </a:lnTo>
                <a:lnTo>
                  <a:pt x="8518845" y="231470"/>
                </a:lnTo>
                <a:lnTo>
                  <a:pt x="8473107" y="174711"/>
                </a:lnTo>
                <a:lnTo>
                  <a:pt x="8413098" y="132998"/>
                </a:lnTo>
                <a:lnTo>
                  <a:pt x="8377206" y="118079"/>
                </a:lnTo>
                <a:lnTo>
                  <a:pt x="8337105" y="107277"/>
                </a:lnTo>
                <a:lnTo>
                  <a:pt x="8292580" y="100708"/>
                </a:lnTo>
                <a:lnTo>
                  <a:pt x="8243417" y="98492"/>
                </a:lnTo>
                <a:close/>
                <a:moveTo>
                  <a:pt x="3109502" y="0"/>
                </a:moveTo>
                <a:lnTo>
                  <a:pt x="3162572" y="1876"/>
                </a:lnTo>
                <a:lnTo>
                  <a:pt x="3211694" y="7453"/>
                </a:lnTo>
                <a:lnTo>
                  <a:pt x="3256998" y="16648"/>
                </a:lnTo>
                <a:lnTo>
                  <a:pt x="3298621" y="29380"/>
                </a:lnTo>
                <a:lnTo>
                  <a:pt x="3336692" y="45568"/>
                </a:lnTo>
                <a:lnTo>
                  <a:pt x="3371345" y="65129"/>
                </a:lnTo>
                <a:lnTo>
                  <a:pt x="3402713" y="87984"/>
                </a:lnTo>
                <a:lnTo>
                  <a:pt x="3430928" y="114050"/>
                </a:lnTo>
                <a:lnTo>
                  <a:pt x="3456123" y="143246"/>
                </a:lnTo>
                <a:lnTo>
                  <a:pt x="3478431" y="175491"/>
                </a:lnTo>
                <a:lnTo>
                  <a:pt x="3497985" y="210703"/>
                </a:lnTo>
                <a:lnTo>
                  <a:pt x="3514917" y="248801"/>
                </a:lnTo>
                <a:lnTo>
                  <a:pt x="3529360" y="289703"/>
                </a:lnTo>
                <a:lnTo>
                  <a:pt x="3541446" y="333329"/>
                </a:lnTo>
                <a:lnTo>
                  <a:pt x="3551309" y="379596"/>
                </a:lnTo>
                <a:lnTo>
                  <a:pt x="3559082" y="428424"/>
                </a:lnTo>
                <a:lnTo>
                  <a:pt x="3564896" y="479730"/>
                </a:lnTo>
                <a:lnTo>
                  <a:pt x="3568884" y="533435"/>
                </a:lnTo>
                <a:lnTo>
                  <a:pt x="3571180" y="589455"/>
                </a:lnTo>
                <a:lnTo>
                  <a:pt x="3571916" y="647711"/>
                </a:lnTo>
                <a:lnTo>
                  <a:pt x="3571216" y="706216"/>
                </a:lnTo>
                <a:lnTo>
                  <a:pt x="3569019" y="762486"/>
                </a:lnTo>
                <a:lnTo>
                  <a:pt x="3565183" y="816436"/>
                </a:lnTo>
                <a:lnTo>
                  <a:pt x="3559562" y="867986"/>
                </a:lnTo>
                <a:lnTo>
                  <a:pt x="3552014" y="917051"/>
                </a:lnTo>
                <a:lnTo>
                  <a:pt x="3542393" y="963550"/>
                </a:lnTo>
                <a:lnTo>
                  <a:pt x="3530556" y="1007399"/>
                </a:lnTo>
                <a:lnTo>
                  <a:pt x="3516359" y="1048517"/>
                </a:lnTo>
                <a:lnTo>
                  <a:pt x="3499658" y="1086820"/>
                </a:lnTo>
                <a:lnTo>
                  <a:pt x="3480309" y="1122226"/>
                </a:lnTo>
                <a:lnTo>
                  <a:pt x="3458168" y="1154652"/>
                </a:lnTo>
                <a:lnTo>
                  <a:pt x="3433091" y="1184015"/>
                </a:lnTo>
                <a:lnTo>
                  <a:pt x="3404934" y="1210234"/>
                </a:lnTo>
                <a:lnTo>
                  <a:pt x="3373554" y="1233224"/>
                </a:lnTo>
                <a:lnTo>
                  <a:pt x="3338805" y="1252905"/>
                </a:lnTo>
                <a:lnTo>
                  <a:pt x="3300544" y="1269192"/>
                </a:lnTo>
                <a:lnTo>
                  <a:pt x="3258627" y="1282004"/>
                </a:lnTo>
                <a:lnTo>
                  <a:pt x="3212910" y="1291258"/>
                </a:lnTo>
                <a:lnTo>
                  <a:pt x="3163250" y="1296871"/>
                </a:lnTo>
                <a:lnTo>
                  <a:pt x="3109502" y="1298760"/>
                </a:lnTo>
                <a:lnTo>
                  <a:pt x="3109502" y="1201938"/>
                </a:lnTo>
                <a:lnTo>
                  <a:pt x="3159187" y="1199705"/>
                </a:lnTo>
                <a:lnTo>
                  <a:pt x="3204108" y="1193084"/>
                </a:lnTo>
                <a:lnTo>
                  <a:pt x="3244491" y="1182195"/>
                </a:lnTo>
                <a:lnTo>
                  <a:pt x="3280562" y="1167155"/>
                </a:lnTo>
                <a:lnTo>
                  <a:pt x="3340673" y="1125095"/>
                </a:lnTo>
                <a:lnTo>
                  <a:pt x="3386253" y="1067851"/>
                </a:lnTo>
                <a:lnTo>
                  <a:pt x="3404158" y="1033830"/>
                </a:lnTo>
                <a:lnTo>
                  <a:pt x="3419110" y="996369"/>
                </a:lnTo>
                <a:lnTo>
                  <a:pt x="3431334" y="955584"/>
                </a:lnTo>
                <a:lnTo>
                  <a:pt x="3441057" y="911594"/>
                </a:lnTo>
                <a:lnTo>
                  <a:pt x="3448504" y="864517"/>
                </a:lnTo>
                <a:lnTo>
                  <a:pt x="3453903" y="814473"/>
                </a:lnTo>
                <a:lnTo>
                  <a:pt x="3457479" y="761578"/>
                </a:lnTo>
                <a:lnTo>
                  <a:pt x="3459458" y="705951"/>
                </a:lnTo>
                <a:lnTo>
                  <a:pt x="3460068" y="647711"/>
                </a:lnTo>
                <a:lnTo>
                  <a:pt x="3459426" y="590042"/>
                </a:lnTo>
                <a:lnTo>
                  <a:pt x="3457356" y="534953"/>
                </a:lnTo>
                <a:lnTo>
                  <a:pt x="3453646" y="482560"/>
                </a:lnTo>
                <a:lnTo>
                  <a:pt x="3448080" y="432984"/>
                </a:lnTo>
                <a:lnTo>
                  <a:pt x="3440445" y="386340"/>
                </a:lnTo>
                <a:lnTo>
                  <a:pt x="3430527" y="342749"/>
                </a:lnTo>
                <a:lnTo>
                  <a:pt x="3418111" y="302328"/>
                </a:lnTo>
                <a:lnTo>
                  <a:pt x="3402984" y="265196"/>
                </a:lnTo>
                <a:lnTo>
                  <a:pt x="3384931" y="231470"/>
                </a:lnTo>
                <a:lnTo>
                  <a:pt x="3339193" y="174711"/>
                </a:lnTo>
                <a:lnTo>
                  <a:pt x="3279183" y="132998"/>
                </a:lnTo>
                <a:lnTo>
                  <a:pt x="3243291" y="118079"/>
                </a:lnTo>
                <a:lnTo>
                  <a:pt x="3203191" y="107276"/>
                </a:lnTo>
                <a:lnTo>
                  <a:pt x="3158665" y="100708"/>
                </a:lnTo>
                <a:lnTo>
                  <a:pt x="3109502" y="98492"/>
                </a:lnTo>
                <a:close/>
                <a:moveTo>
                  <a:pt x="3017637" y="0"/>
                </a:moveTo>
                <a:lnTo>
                  <a:pt x="3017637" y="98492"/>
                </a:lnTo>
                <a:lnTo>
                  <a:pt x="2968752" y="100708"/>
                </a:lnTo>
                <a:lnTo>
                  <a:pt x="2924471" y="107277"/>
                </a:lnTo>
                <a:lnTo>
                  <a:pt x="2884585" y="118079"/>
                </a:lnTo>
                <a:lnTo>
                  <a:pt x="2848878" y="132998"/>
                </a:lnTo>
                <a:lnTo>
                  <a:pt x="2789164" y="174711"/>
                </a:lnTo>
                <a:lnTo>
                  <a:pt x="2743630" y="231470"/>
                </a:lnTo>
                <a:lnTo>
                  <a:pt x="2725650" y="265196"/>
                </a:lnTo>
                <a:lnTo>
                  <a:pt x="2710579" y="302328"/>
                </a:lnTo>
                <a:lnTo>
                  <a:pt x="2698207" y="342749"/>
                </a:lnTo>
                <a:lnTo>
                  <a:pt x="2688320" y="386340"/>
                </a:lnTo>
                <a:lnTo>
                  <a:pt x="2680706" y="432984"/>
                </a:lnTo>
                <a:lnTo>
                  <a:pt x="2675153" y="482561"/>
                </a:lnTo>
                <a:lnTo>
                  <a:pt x="2671448" y="534953"/>
                </a:lnTo>
                <a:lnTo>
                  <a:pt x="2669382" y="590042"/>
                </a:lnTo>
                <a:lnTo>
                  <a:pt x="2668740" y="647711"/>
                </a:lnTo>
                <a:lnTo>
                  <a:pt x="2669365" y="705951"/>
                </a:lnTo>
                <a:lnTo>
                  <a:pt x="2671388" y="761578"/>
                </a:lnTo>
                <a:lnTo>
                  <a:pt x="2675025" y="814473"/>
                </a:lnTo>
                <a:lnTo>
                  <a:pt x="2680494" y="864517"/>
                </a:lnTo>
                <a:lnTo>
                  <a:pt x="2688015" y="911594"/>
                </a:lnTo>
                <a:lnTo>
                  <a:pt x="2697803" y="955584"/>
                </a:lnTo>
                <a:lnTo>
                  <a:pt x="2710081" y="996369"/>
                </a:lnTo>
                <a:lnTo>
                  <a:pt x="2725063" y="1033830"/>
                </a:lnTo>
                <a:lnTo>
                  <a:pt x="2742969" y="1067851"/>
                </a:lnTo>
                <a:lnTo>
                  <a:pt x="2788423" y="1125095"/>
                </a:lnTo>
                <a:lnTo>
                  <a:pt x="2848189" y="1167155"/>
                </a:lnTo>
                <a:lnTo>
                  <a:pt x="2883984" y="1182195"/>
                </a:lnTo>
                <a:lnTo>
                  <a:pt x="2924012" y="1193084"/>
                </a:lnTo>
                <a:lnTo>
                  <a:pt x="2968491" y="1199705"/>
                </a:lnTo>
                <a:lnTo>
                  <a:pt x="3017637" y="1201938"/>
                </a:lnTo>
                <a:lnTo>
                  <a:pt x="3017637" y="1298760"/>
                </a:lnTo>
                <a:lnTo>
                  <a:pt x="2964115" y="1296871"/>
                </a:lnTo>
                <a:lnTo>
                  <a:pt x="2914634" y="1291258"/>
                </a:lnTo>
                <a:lnTo>
                  <a:pt x="2869056" y="1282004"/>
                </a:lnTo>
                <a:lnTo>
                  <a:pt x="2827236" y="1269193"/>
                </a:lnTo>
                <a:lnTo>
                  <a:pt x="2789039" y="1252905"/>
                </a:lnTo>
                <a:lnTo>
                  <a:pt x="2754322" y="1233224"/>
                </a:lnTo>
                <a:lnTo>
                  <a:pt x="2722946" y="1210234"/>
                </a:lnTo>
                <a:lnTo>
                  <a:pt x="2694770" y="1184015"/>
                </a:lnTo>
                <a:lnTo>
                  <a:pt x="2669653" y="1154652"/>
                </a:lnTo>
                <a:lnTo>
                  <a:pt x="2647457" y="1122226"/>
                </a:lnTo>
                <a:lnTo>
                  <a:pt x="2628039" y="1086820"/>
                </a:lnTo>
                <a:lnTo>
                  <a:pt x="2611262" y="1048517"/>
                </a:lnTo>
                <a:lnTo>
                  <a:pt x="2596982" y="1007399"/>
                </a:lnTo>
                <a:lnTo>
                  <a:pt x="2585062" y="963550"/>
                </a:lnTo>
                <a:lnTo>
                  <a:pt x="2575361" y="917051"/>
                </a:lnTo>
                <a:lnTo>
                  <a:pt x="2567737" y="867986"/>
                </a:lnTo>
                <a:lnTo>
                  <a:pt x="2562052" y="816436"/>
                </a:lnTo>
                <a:lnTo>
                  <a:pt x="2558166" y="762486"/>
                </a:lnTo>
                <a:lnTo>
                  <a:pt x="2555936" y="706216"/>
                </a:lnTo>
                <a:lnTo>
                  <a:pt x="2555225" y="647711"/>
                </a:lnTo>
                <a:lnTo>
                  <a:pt x="2555961" y="589455"/>
                </a:lnTo>
                <a:lnTo>
                  <a:pt x="2558256" y="533435"/>
                </a:lnTo>
                <a:lnTo>
                  <a:pt x="2562245" y="479730"/>
                </a:lnTo>
                <a:lnTo>
                  <a:pt x="2568057" y="428424"/>
                </a:lnTo>
                <a:lnTo>
                  <a:pt x="2575830" y="379596"/>
                </a:lnTo>
                <a:lnTo>
                  <a:pt x="2585694" y="333329"/>
                </a:lnTo>
                <a:lnTo>
                  <a:pt x="2597780" y="289703"/>
                </a:lnTo>
                <a:lnTo>
                  <a:pt x="2612222" y="248801"/>
                </a:lnTo>
                <a:lnTo>
                  <a:pt x="2629156" y="210703"/>
                </a:lnTo>
                <a:lnTo>
                  <a:pt x="2648708" y="175491"/>
                </a:lnTo>
                <a:lnTo>
                  <a:pt x="2671016" y="143246"/>
                </a:lnTo>
                <a:lnTo>
                  <a:pt x="2696212" y="114050"/>
                </a:lnTo>
                <a:lnTo>
                  <a:pt x="2724427" y="87984"/>
                </a:lnTo>
                <a:lnTo>
                  <a:pt x="2755794" y="65130"/>
                </a:lnTo>
                <a:lnTo>
                  <a:pt x="2790448" y="45569"/>
                </a:lnTo>
                <a:lnTo>
                  <a:pt x="2828518" y="29382"/>
                </a:lnTo>
                <a:lnTo>
                  <a:pt x="2870141" y="16649"/>
                </a:lnTo>
                <a:lnTo>
                  <a:pt x="2915445" y="7455"/>
                </a:lnTo>
                <a:lnTo>
                  <a:pt x="2964567" y="1877"/>
                </a:lnTo>
                <a:close/>
              </a:path>
            </a:pathLst>
          </a:custGeom>
          <a:solidFill>
            <a:srgbClr val="88C66D"/>
          </a:solidFill>
        </p:spPr>
        <p:txBody>
          <a:bodyPr wrap="square" lIns="0" tIns="0" rIns="0" bIns="0" rtlCol="0">
            <a:noAutofit/>
          </a:bodyPr>
          <a:lstStyle/>
          <a:p>
            <a:endParaRPr lang="da-DK" sz="1350"/>
          </a:p>
        </p:txBody>
      </p:sp>
    </p:spTree>
    <p:extLst>
      <p:ext uri="{BB962C8B-B14F-4D97-AF65-F5344CB8AC3E}">
        <p14:creationId xmlns:p14="http://schemas.microsoft.com/office/powerpoint/2010/main" val="359908693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reaker 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accent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accent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accent1"/>
                </a:solidFill>
              </a:defRPr>
            </a:lvl1pPr>
          </a:lstStyle>
          <a:p>
            <a:fld id="{87C710D9-C93F-423E-B535-622B5249ACB1}" type="datetime2">
              <a:rPr lang="da-DK" smtClean="0"/>
              <a:pPr/>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accent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accent1"/>
                </a:solidFill>
              </a:defRPr>
            </a:lvl1pPr>
          </a:lstStyle>
          <a:p>
            <a:fld id="{24C8C45C-947F-4981-8B3F-4F32E973C901}" type="slidenum">
              <a:rPr lang="da-DK" smtClean="0"/>
              <a:pPr/>
              <a:t>‹nr.›</a:t>
            </a:fld>
            <a:endParaRPr lang="da-DK"/>
          </a:p>
        </p:txBody>
      </p:sp>
      <p:sp>
        <p:nvSpPr>
          <p:cNvPr id="29" name="Mikro grafik 1">
            <a:extLst>
              <a:ext uri="{FF2B5EF4-FFF2-40B4-BE49-F238E27FC236}">
                <a16:creationId xmlns:a16="http://schemas.microsoft.com/office/drawing/2014/main" id="{64436394-C531-6AC2-FF2F-12CAAB37CDDC}"/>
              </a:ext>
            </a:extLst>
          </p:cNvPr>
          <p:cNvSpPr/>
          <p:nvPr/>
        </p:nvSpPr>
        <p:spPr>
          <a:xfrm>
            <a:off x="367396" y="1045688"/>
            <a:ext cx="3833093" cy="3051877"/>
          </a:xfrm>
          <a:custGeom>
            <a:avLst/>
            <a:gdLst>
              <a:gd name="connsiteX0" fmla="*/ 1358848 w 5110790"/>
              <a:gd name="connsiteY0" fmla="*/ 3644032 h 4069169"/>
              <a:gd name="connsiteX1" fmla="*/ 1439827 w 5110790"/>
              <a:gd name="connsiteY1" fmla="*/ 3644032 h 4069169"/>
              <a:gd name="connsiteX2" fmla="*/ 1554208 w 5110790"/>
              <a:gd name="connsiteY2" fmla="*/ 3853564 h 4069169"/>
              <a:gd name="connsiteX3" fmla="*/ 1437802 w 5110790"/>
              <a:gd name="connsiteY3" fmla="*/ 4069169 h 4069169"/>
              <a:gd name="connsiteX4" fmla="*/ 1358848 w 5110790"/>
              <a:gd name="connsiteY4" fmla="*/ 4069169 h 4069169"/>
              <a:gd name="connsiteX5" fmla="*/ 1458046 w 5110790"/>
              <a:gd name="connsiteY5" fmla="*/ 3883931 h 4069169"/>
              <a:gd name="connsiteX6" fmla="*/ 1068338 w 5110790"/>
              <a:gd name="connsiteY6" fmla="*/ 3883931 h 4069169"/>
              <a:gd name="connsiteX7" fmla="*/ 1068338 w 5110790"/>
              <a:gd name="connsiteY7" fmla="*/ 3819148 h 4069169"/>
              <a:gd name="connsiteX8" fmla="*/ 1456022 w 5110790"/>
              <a:gd name="connsiteY8" fmla="*/ 3819148 h 4069169"/>
              <a:gd name="connsiteX9" fmla="*/ 3579243 w 5110790"/>
              <a:gd name="connsiteY9" fmla="*/ 3101476 h 4069169"/>
              <a:gd name="connsiteX10" fmla="*/ 3604850 w 5110790"/>
              <a:gd name="connsiteY10" fmla="*/ 3103707 h 4069169"/>
              <a:gd name="connsiteX11" fmla="*/ 3624668 w 5110790"/>
              <a:gd name="connsiteY11" fmla="*/ 3111725 h 4069169"/>
              <a:gd name="connsiteX12" fmla="*/ 3637463 w 5110790"/>
              <a:gd name="connsiteY12" fmla="*/ 3127526 h 4069169"/>
              <a:gd name="connsiteX13" fmla="*/ 3642002 w 5110790"/>
              <a:gd name="connsiteY13" fmla="*/ 3153100 h 4069169"/>
              <a:gd name="connsiteX14" fmla="*/ 3637463 w 5110790"/>
              <a:gd name="connsiteY14" fmla="*/ 3179845 h 4069169"/>
              <a:gd name="connsiteX15" fmla="*/ 3624668 w 5110790"/>
              <a:gd name="connsiteY15" fmla="*/ 3196247 h 4069169"/>
              <a:gd name="connsiteX16" fmla="*/ 3604850 w 5110790"/>
              <a:gd name="connsiteY16" fmla="*/ 3204487 h 4069169"/>
              <a:gd name="connsiteX17" fmla="*/ 3579243 w 5110790"/>
              <a:gd name="connsiteY17" fmla="*/ 3206749 h 4069169"/>
              <a:gd name="connsiteX18" fmla="*/ 3553637 w 5110790"/>
              <a:gd name="connsiteY18" fmla="*/ 3204487 h 4069169"/>
              <a:gd name="connsiteX19" fmla="*/ 3533820 w 5110790"/>
              <a:gd name="connsiteY19" fmla="*/ 3196247 h 4069169"/>
              <a:gd name="connsiteX20" fmla="*/ 3521024 w 5110790"/>
              <a:gd name="connsiteY20" fmla="*/ 3179845 h 4069169"/>
              <a:gd name="connsiteX21" fmla="*/ 3516485 w 5110790"/>
              <a:gd name="connsiteY21" fmla="*/ 3153100 h 4069169"/>
              <a:gd name="connsiteX22" fmla="*/ 3521166 w 5110790"/>
              <a:gd name="connsiteY22" fmla="*/ 3127526 h 4069169"/>
              <a:gd name="connsiteX23" fmla="*/ 3534199 w 5110790"/>
              <a:gd name="connsiteY23" fmla="*/ 3111725 h 4069169"/>
              <a:gd name="connsiteX24" fmla="*/ 3554064 w 5110790"/>
              <a:gd name="connsiteY24" fmla="*/ 3103707 h 4069169"/>
              <a:gd name="connsiteX25" fmla="*/ 1609095 w 5110790"/>
              <a:gd name="connsiteY25" fmla="*/ 3101476 h 4069169"/>
              <a:gd name="connsiteX26" fmla="*/ 1634701 w 5110790"/>
              <a:gd name="connsiteY26" fmla="*/ 3103707 h 4069169"/>
              <a:gd name="connsiteX27" fmla="*/ 1654519 w 5110790"/>
              <a:gd name="connsiteY27" fmla="*/ 3111725 h 4069169"/>
              <a:gd name="connsiteX28" fmla="*/ 1667313 w 5110790"/>
              <a:gd name="connsiteY28" fmla="*/ 3127526 h 4069169"/>
              <a:gd name="connsiteX29" fmla="*/ 1671852 w 5110790"/>
              <a:gd name="connsiteY29" fmla="*/ 3153100 h 4069169"/>
              <a:gd name="connsiteX30" fmla="*/ 1667313 w 5110790"/>
              <a:gd name="connsiteY30" fmla="*/ 3179845 h 4069169"/>
              <a:gd name="connsiteX31" fmla="*/ 1654519 w 5110790"/>
              <a:gd name="connsiteY31" fmla="*/ 3196247 h 4069169"/>
              <a:gd name="connsiteX32" fmla="*/ 1634701 w 5110790"/>
              <a:gd name="connsiteY32" fmla="*/ 3204487 h 4069169"/>
              <a:gd name="connsiteX33" fmla="*/ 1609095 w 5110790"/>
              <a:gd name="connsiteY33" fmla="*/ 3206749 h 4069169"/>
              <a:gd name="connsiteX34" fmla="*/ 1583490 w 5110790"/>
              <a:gd name="connsiteY34" fmla="*/ 3204487 h 4069169"/>
              <a:gd name="connsiteX35" fmla="*/ 1563672 w 5110790"/>
              <a:gd name="connsiteY35" fmla="*/ 3196247 h 4069169"/>
              <a:gd name="connsiteX36" fmla="*/ 1550877 w 5110790"/>
              <a:gd name="connsiteY36" fmla="*/ 3179845 h 4069169"/>
              <a:gd name="connsiteX37" fmla="*/ 1546338 w 5110790"/>
              <a:gd name="connsiteY37" fmla="*/ 3153100 h 4069169"/>
              <a:gd name="connsiteX38" fmla="*/ 1551019 w 5110790"/>
              <a:gd name="connsiteY38" fmla="*/ 3127526 h 4069169"/>
              <a:gd name="connsiteX39" fmla="*/ 1564051 w 5110790"/>
              <a:gd name="connsiteY39" fmla="*/ 3111725 h 4069169"/>
              <a:gd name="connsiteX40" fmla="*/ 1583917 w 5110790"/>
              <a:gd name="connsiteY40" fmla="*/ 3103707 h 4069169"/>
              <a:gd name="connsiteX41" fmla="*/ 3579243 w 5110790"/>
              <a:gd name="connsiteY41" fmla="*/ 2676340 h 4069169"/>
              <a:gd name="connsiteX42" fmla="*/ 3604850 w 5110790"/>
              <a:gd name="connsiteY42" fmla="*/ 2678443 h 4069169"/>
              <a:gd name="connsiteX43" fmla="*/ 3624668 w 5110790"/>
              <a:gd name="connsiteY43" fmla="*/ 2686335 h 4069169"/>
              <a:gd name="connsiteX44" fmla="*/ 3637463 w 5110790"/>
              <a:gd name="connsiteY44" fmla="*/ 2702388 h 4069169"/>
              <a:gd name="connsiteX45" fmla="*/ 3642002 w 5110790"/>
              <a:gd name="connsiteY45" fmla="*/ 2728976 h 4069169"/>
              <a:gd name="connsiteX46" fmla="*/ 3637463 w 5110790"/>
              <a:gd name="connsiteY46" fmla="*/ 2754708 h 4069169"/>
              <a:gd name="connsiteX47" fmla="*/ 3624668 w 5110790"/>
              <a:gd name="connsiteY47" fmla="*/ 2770857 h 4069169"/>
              <a:gd name="connsiteX48" fmla="*/ 3604850 w 5110790"/>
              <a:gd name="connsiteY48" fmla="*/ 2779223 h 4069169"/>
              <a:gd name="connsiteX49" fmla="*/ 3579243 w 5110790"/>
              <a:gd name="connsiteY49" fmla="*/ 2781612 h 4069169"/>
              <a:gd name="connsiteX50" fmla="*/ 3554223 w 5110790"/>
              <a:gd name="connsiteY50" fmla="*/ 2779223 h 4069169"/>
              <a:gd name="connsiteX51" fmla="*/ 3534706 w 5110790"/>
              <a:gd name="connsiteY51" fmla="*/ 2770857 h 4069169"/>
              <a:gd name="connsiteX52" fmla="*/ 3522021 w 5110790"/>
              <a:gd name="connsiteY52" fmla="*/ 2754708 h 4069169"/>
              <a:gd name="connsiteX53" fmla="*/ 3517498 w 5110790"/>
              <a:gd name="connsiteY53" fmla="*/ 2728976 h 4069169"/>
              <a:gd name="connsiteX54" fmla="*/ 3522021 w 5110790"/>
              <a:gd name="connsiteY54" fmla="*/ 2702388 h 4069169"/>
              <a:gd name="connsiteX55" fmla="*/ 3534706 w 5110790"/>
              <a:gd name="connsiteY55" fmla="*/ 2686335 h 4069169"/>
              <a:gd name="connsiteX56" fmla="*/ 3554223 w 5110790"/>
              <a:gd name="connsiteY56" fmla="*/ 2678443 h 4069169"/>
              <a:gd name="connsiteX57" fmla="*/ 1609095 w 5110790"/>
              <a:gd name="connsiteY57" fmla="*/ 2676340 h 4069169"/>
              <a:gd name="connsiteX58" fmla="*/ 1634701 w 5110790"/>
              <a:gd name="connsiteY58" fmla="*/ 2678443 h 4069169"/>
              <a:gd name="connsiteX59" fmla="*/ 1654519 w 5110790"/>
              <a:gd name="connsiteY59" fmla="*/ 2686335 h 4069169"/>
              <a:gd name="connsiteX60" fmla="*/ 1667313 w 5110790"/>
              <a:gd name="connsiteY60" fmla="*/ 2702388 h 4069169"/>
              <a:gd name="connsiteX61" fmla="*/ 1671852 w 5110790"/>
              <a:gd name="connsiteY61" fmla="*/ 2728976 h 4069169"/>
              <a:gd name="connsiteX62" fmla="*/ 1667313 w 5110790"/>
              <a:gd name="connsiteY62" fmla="*/ 2754708 h 4069169"/>
              <a:gd name="connsiteX63" fmla="*/ 1654519 w 5110790"/>
              <a:gd name="connsiteY63" fmla="*/ 2770857 h 4069169"/>
              <a:gd name="connsiteX64" fmla="*/ 1634701 w 5110790"/>
              <a:gd name="connsiteY64" fmla="*/ 2779223 h 4069169"/>
              <a:gd name="connsiteX65" fmla="*/ 1609095 w 5110790"/>
              <a:gd name="connsiteY65" fmla="*/ 2781612 h 4069169"/>
              <a:gd name="connsiteX66" fmla="*/ 1584075 w 5110790"/>
              <a:gd name="connsiteY66" fmla="*/ 2779223 h 4069169"/>
              <a:gd name="connsiteX67" fmla="*/ 1564558 w 5110790"/>
              <a:gd name="connsiteY67" fmla="*/ 2770857 h 4069169"/>
              <a:gd name="connsiteX68" fmla="*/ 1551873 w 5110790"/>
              <a:gd name="connsiteY68" fmla="*/ 2754708 h 4069169"/>
              <a:gd name="connsiteX69" fmla="*/ 1547350 w 5110790"/>
              <a:gd name="connsiteY69" fmla="*/ 2728976 h 4069169"/>
              <a:gd name="connsiteX70" fmla="*/ 1551873 w 5110790"/>
              <a:gd name="connsiteY70" fmla="*/ 2702388 h 4069169"/>
              <a:gd name="connsiteX71" fmla="*/ 1564558 w 5110790"/>
              <a:gd name="connsiteY71" fmla="*/ 2686335 h 4069169"/>
              <a:gd name="connsiteX72" fmla="*/ 1584075 w 5110790"/>
              <a:gd name="connsiteY72" fmla="*/ 2678443 h 4069169"/>
              <a:gd name="connsiteX73" fmla="*/ 2879125 w 5110790"/>
              <a:gd name="connsiteY73" fmla="*/ 2481992 h 4069169"/>
              <a:gd name="connsiteX74" fmla="*/ 2911305 w 5110790"/>
              <a:gd name="connsiteY74" fmla="*/ 2483129 h 4069169"/>
              <a:gd name="connsiteX75" fmla="*/ 2941090 w 5110790"/>
              <a:gd name="connsiteY75" fmla="*/ 2486511 h 4069169"/>
              <a:gd name="connsiteX76" fmla="*/ 2968561 w 5110790"/>
              <a:gd name="connsiteY76" fmla="*/ 2492087 h 4069169"/>
              <a:gd name="connsiteX77" fmla="*/ 2993799 w 5110790"/>
              <a:gd name="connsiteY77" fmla="*/ 2499807 h 4069169"/>
              <a:gd name="connsiteX78" fmla="*/ 3016884 w 5110790"/>
              <a:gd name="connsiteY78" fmla="*/ 2509622 h 4069169"/>
              <a:gd name="connsiteX79" fmla="*/ 3037896 w 5110790"/>
              <a:gd name="connsiteY79" fmla="*/ 2521483 h 4069169"/>
              <a:gd name="connsiteX80" fmla="*/ 3056916 w 5110790"/>
              <a:gd name="connsiteY80" fmla="*/ 2535342 h 4069169"/>
              <a:gd name="connsiteX81" fmla="*/ 3074024 w 5110790"/>
              <a:gd name="connsiteY81" fmla="*/ 2551147 h 4069169"/>
              <a:gd name="connsiteX82" fmla="*/ 3089302 w 5110790"/>
              <a:gd name="connsiteY82" fmla="*/ 2568850 h 4069169"/>
              <a:gd name="connsiteX83" fmla="*/ 3102829 w 5110790"/>
              <a:gd name="connsiteY83" fmla="*/ 2588403 h 4069169"/>
              <a:gd name="connsiteX84" fmla="*/ 3114685 w 5110790"/>
              <a:gd name="connsiteY84" fmla="*/ 2609754 h 4069169"/>
              <a:gd name="connsiteX85" fmla="*/ 3124952 w 5110790"/>
              <a:gd name="connsiteY85" fmla="*/ 2632854 h 4069169"/>
              <a:gd name="connsiteX86" fmla="*/ 3133709 w 5110790"/>
              <a:gd name="connsiteY86" fmla="*/ 2657656 h 4069169"/>
              <a:gd name="connsiteX87" fmla="*/ 3141039 w 5110790"/>
              <a:gd name="connsiteY87" fmla="*/ 2684109 h 4069169"/>
              <a:gd name="connsiteX88" fmla="*/ 3147019 w 5110790"/>
              <a:gd name="connsiteY88" fmla="*/ 2712163 h 4069169"/>
              <a:gd name="connsiteX89" fmla="*/ 3151732 w 5110790"/>
              <a:gd name="connsiteY89" fmla="*/ 2741770 h 4069169"/>
              <a:gd name="connsiteX90" fmla="*/ 3155257 w 5110790"/>
              <a:gd name="connsiteY90" fmla="*/ 2772881 h 4069169"/>
              <a:gd name="connsiteX91" fmla="*/ 3157675 w 5110790"/>
              <a:gd name="connsiteY91" fmla="*/ 2805445 h 4069169"/>
              <a:gd name="connsiteX92" fmla="*/ 3159067 w 5110790"/>
              <a:gd name="connsiteY92" fmla="*/ 2839413 h 4069169"/>
              <a:gd name="connsiteX93" fmla="*/ 3159514 w 5110790"/>
              <a:gd name="connsiteY93" fmla="*/ 2874737 h 4069169"/>
              <a:gd name="connsiteX94" fmla="*/ 3159089 w 5110790"/>
              <a:gd name="connsiteY94" fmla="*/ 2910212 h 4069169"/>
              <a:gd name="connsiteX95" fmla="*/ 3157757 w 5110790"/>
              <a:gd name="connsiteY95" fmla="*/ 2944332 h 4069169"/>
              <a:gd name="connsiteX96" fmla="*/ 3155431 w 5110790"/>
              <a:gd name="connsiteY96" fmla="*/ 2977045 h 4069169"/>
              <a:gd name="connsiteX97" fmla="*/ 3152023 w 5110790"/>
              <a:gd name="connsiteY97" fmla="*/ 3008303 h 4069169"/>
              <a:gd name="connsiteX98" fmla="*/ 3147446 w 5110790"/>
              <a:gd name="connsiteY98" fmla="*/ 3038054 h 4069169"/>
              <a:gd name="connsiteX99" fmla="*/ 3141612 w 5110790"/>
              <a:gd name="connsiteY99" fmla="*/ 3066249 h 4069169"/>
              <a:gd name="connsiteX100" fmla="*/ 3134435 w 5110790"/>
              <a:gd name="connsiteY100" fmla="*/ 3092837 h 4069169"/>
              <a:gd name="connsiteX101" fmla="*/ 3125826 w 5110790"/>
              <a:gd name="connsiteY101" fmla="*/ 3117770 h 4069169"/>
              <a:gd name="connsiteX102" fmla="*/ 3115700 w 5110790"/>
              <a:gd name="connsiteY102" fmla="*/ 3140995 h 4069169"/>
              <a:gd name="connsiteX103" fmla="*/ 3103967 w 5110790"/>
              <a:gd name="connsiteY103" fmla="*/ 3162464 h 4069169"/>
              <a:gd name="connsiteX104" fmla="*/ 3090542 w 5110790"/>
              <a:gd name="connsiteY104" fmla="*/ 3182126 h 4069169"/>
              <a:gd name="connsiteX105" fmla="*/ 3075336 w 5110790"/>
              <a:gd name="connsiteY105" fmla="*/ 3199931 h 4069169"/>
              <a:gd name="connsiteX106" fmla="*/ 3058263 w 5110790"/>
              <a:gd name="connsiteY106" fmla="*/ 3215828 h 4069169"/>
              <a:gd name="connsiteX107" fmla="*/ 3039235 w 5110790"/>
              <a:gd name="connsiteY107" fmla="*/ 3229769 h 4069169"/>
              <a:gd name="connsiteX108" fmla="*/ 3018165 w 5110790"/>
              <a:gd name="connsiteY108" fmla="*/ 3241703 h 4069169"/>
              <a:gd name="connsiteX109" fmla="*/ 2994965 w 5110790"/>
              <a:gd name="connsiteY109" fmla="*/ 3251579 h 4069169"/>
              <a:gd name="connsiteX110" fmla="*/ 2969548 w 5110790"/>
              <a:gd name="connsiteY110" fmla="*/ 3259347 h 4069169"/>
              <a:gd name="connsiteX111" fmla="*/ 2941828 w 5110790"/>
              <a:gd name="connsiteY111" fmla="*/ 3264959 h 4069169"/>
              <a:gd name="connsiteX112" fmla="*/ 2911716 w 5110790"/>
              <a:gd name="connsiteY112" fmla="*/ 3268362 h 4069169"/>
              <a:gd name="connsiteX113" fmla="*/ 2879125 w 5110790"/>
              <a:gd name="connsiteY113" fmla="*/ 3269508 h 4069169"/>
              <a:gd name="connsiteX114" fmla="*/ 2879125 w 5110790"/>
              <a:gd name="connsiteY114" fmla="*/ 3210798 h 4069169"/>
              <a:gd name="connsiteX115" fmla="*/ 2909252 w 5110790"/>
              <a:gd name="connsiteY115" fmla="*/ 3209444 h 4069169"/>
              <a:gd name="connsiteX116" fmla="*/ 2936490 w 5110790"/>
              <a:gd name="connsiteY116" fmla="*/ 3205429 h 4069169"/>
              <a:gd name="connsiteX117" fmla="*/ 2960977 w 5110790"/>
              <a:gd name="connsiteY117" fmla="*/ 3198827 h 4069169"/>
              <a:gd name="connsiteX118" fmla="*/ 2982849 w 5110790"/>
              <a:gd name="connsiteY118" fmla="*/ 3189707 h 4069169"/>
              <a:gd name="connsiteX119" fmla="*/ 3019298 w 5110790"/>
              <a:gd name="connsiteY119" fmla="*/ 3164203 h 4069169"/>
              <a:gd name="connsiteX120" fmla="*/ 3046935 w 5110790"/>
              <a:gd name="connsiteY120" fmla="*/ 3129493 h 4069169"/>
              <a:gd name="connsiteX121" fmla="*/ 3057792 w 5110790"/>
              <a:gd name="connsiteY121" fmla="*/ 3108864 h 4069169"/>
              <a:gd name="connsiteX122" fmla="*/ 3066859 w 5110790"/>
              <a:gd name="connsiteY122" fmla="*/ 3086149 h 4069169"/>
              <a:gd name="connsiteX123" fmla="*/ 3074271 w 5110790"/>
              <a:gd name="connsiteY123" fmla="*/ 3061419 h 4069169"/>
              <a:gd name="connsiteX124" fmla="*/ 3080167 w 5110790"/>
              <a:gd name="connsiteY124" fmla="*/ 3034745 h 4069169"/>
              <a:gd name="connsiteX125" fmla="*/ 3084682 w 5110790"/>
              <a:gd name="connsiteY125" fmla="*/ 3006199 h 4069169"/>
              <a:gd name="connsiteX126" fmla="*/ 3087956 w 5110790"/>
              <a:gd name="connsiteY126" fmla="*/ 2975855 h 4069169"/>
              <a:gd name="connsiteX127" fmla="*/ 3090124 w 5110790"/>
              <a:gd name="connsiteY127" fmla="*/ 2943781 h 4069169"/>
              <a:gd name="connsiteX128" fmla="*/ 3091324 w 5110790"/>
              <a:gd name="connsiteY128" fmla="*/ 2910051 h 4069169"/>
              <a:gd name="connsiteX129" fmla="*/ 3091694 w 5110790"/>
              <a:gd name="connsiteY129" fmla="*/ 2874737 h 4069169"/>
              <a:gd name="connsiteX130" fmla="*/ 3091305 w 5110790"/>
              <a:gd name="connsiteY130" fmla="*/ 2839769 h 4069169"/>
              <a:gd name="connsiteX131" fmla="*/ 3090050 w 5110790"/>
              <a:gd name="connsiteY131" fmla="*/ 2806365 h 4069169"/>
              <a:gd name="connsiteX132" fmla="*/ 3087800 w 5110790"/>
              <a:gd name="connsiteY132" fmla="*/ 2774596 h 4069169"/>
              <a:gd name="connsiteX133" fmla="*/ 3084425 w 5110790"/>
              <a:gd name="connsiteY133" fmla="*/ 2744535 h 4069169"/>
              <a:gd name="connsiteX134" fmla="*/ 3079795 w 5110790"/>
              <a:gd name="connsiteY134" fmla="*/ 2716252 h 4069169"/>
              <a:gd name="connsiteX135" fmla="*/ 3073782 w 5110790"/>
              <a:gd name="connsiteY135" fmla="*/ 2689820 h 4069169"/>
              <a:gd name="connsiteX136" fmla="*/ 3066253 w 5110790"/>
              <a:gd name="connsiteY136" fmla="*/ 2665311 h 4069169"/>
              <a:gd name="connsiteX137" fmla="*/ 3057081 w 5110790"/>
              <a:gd name="connsiteY137" fmla="*/ 2642795 h 4069169"/>
              <a:gd name="connsiteX138" fmla="*/ 3046134 w 5110790"/>
              <a:gd name="connsiteY138" fmla="*/ 2622345 h 4069169"/>
              <a:gd name="connsiteX139" fmla="*/ 3018400 w 5110790"/>
              <a:gd name="connsiteY139" fmla="*/ 2587929 h 4069169"/>
              <a:gd name="connsiteX140" fmla="*/ 2982013 w 5110790"/>
              <a:gd name="connsiteY140" fmla="*/ 2562635 h 4069169"/>
              <a:gd name="connsiteX141" fmla="*/ 2960250 w 5110790"/>
              <a:gd name="connsiteY141" fmla="*/ 2553590 h 4069169"/>
              <a:gd name="connsiteX142" fmla="*/ 2935934 w 5110790"/>
              <a:gd name="connsiteY142" fmla="*/ 2547039 h 4069169"/>
              <a:gd name="connsiteX143" fmla="*/ 2908936 w 5110790"/>
              <a:gd name="connsiteY143" fmla="*/ 2543056 h 4069169"/>
              <a:gd name="connsiteX144" fmla="*/ 2879125 w 5110790"/>
              <a:gd name="connsiteY144" fmla="*/ 2541713 h 4069169"/>
              <a:gd name="connsiteX145" fmla="*/ 2565698 w 5110790"/>
              <a:gd name="connsiteY145" fmla="*/ 2481992 h 4069169"/>
              <a:gd name="connsiteX146" fmla="*/ 2565698 w 5110790"/>
              <a:gd name="connsiteY146" fmla="*/ 2541713 h 4069169"/>
              <a:gd name="connsiteX147" fmla="*/ 2536056 w 5110790"/>
              <a:gd name="connsiteY147" fmla="*/ 2543056 h 4069169"/>
              <a:gd name="connsiteX148" fmla="*/ 2509206 w 5110790"/>
              <a:gd name="connsiteY148" fmla="*/ 2547039 h 4069169"/>
              <a:gd name="connsiteX149" fmla="*/ 2485020 w 5110790"/>
              <a:gd name="connsiteY149" fmla="*/ 2553590 h 4069169"/>
              <a:gd name="connsiteX150" fmla="*/ 2463369 w 5110790"/>
              <a:gd name="connsiteY150" fmla="*/ 2562635 h 4069169"/>
              <a:gd name="connsiteX151" fmla="*/ 2427161 w 5110790"/>
              <a:gd name="connsiteY151" fmla="*/ 2587929 h 4069169"/>
              <a:gd name="connsiteX152" fmla="*/ 2399551 w 5110790"/>
              <a:gd name="connsiteY152" fmla="*/ 2622345 h 4069169"/>
              <a:gd name="connsiteX153" fmla="*/ 2388649 w 5110790"/>
              <a:gd name="connsiteY153" fmla="*/ 2642795 h 4069169"/>
              <a:gd name="connsiteX154" fmla="*/ 2379511 w 5110790"/>
              <a:gd name="connsiteY154" fmla="*/ 2665311 h 4069169"/>
              <a:gd name="connsiteX155" fmla="*/ 2372009 w 5110790"/>
              <a:gd name="connsiteY155" fmla="*/ 2689820 h 4069169"/>
              <a:gd name="connsiteX156" fmla="*/ 2366014 w 5110790"/>
              <a:gd name="connsiteY156" fmla="*/ 2716252 h 4069169"/>
              <a:gd name="connsiteX157" fmla="*/ 2361397 w 5110790"/>
              <a:gd name="connsiteY157" fmla="*/ 2744535 h 4069169"/>
              <a:gd name="connsiteX158" fmla="*/ 2358029 w 5110790"/>
              <a:gd name="connsiteY158" fmla="*/ 2774596 h 4069169"/>
              <a:gd name="connsiteX159" fmla="*/ 2355783 w 5110790"/>
              <a:gd name="connsiteY159" fmla="*/ 2806365 h 4069169"/>
              <a:gd name="connsiteX160" fmla="*/ 2354530 w 5110790"/>
              <a:gd name="connsiteY160" fmla="*/ 2839769 h 4069169"/>
              <a:gd name="connsiteX161" fmla="*/ 2354141 w 5110790"/>
              <a:gd name="connsiteY161" fmla="*/ 2874737 h 4069169"/>
              <a:gd name="connsiteX162" fmla="*/ 2354520 w 5110790"/>
              <a:gd name="connsiteY162" fmla="*/ 2910051 h 4069169"/>
              <a:gd name="connsiteX163" fmla="*/ 2355746 w 5110790"/>
              <a:gd name="connsiteY163" fmla="*/ 2943781 h 4069169"/>
              <a:gd name="connsiteX164" fmla="*/ 2357952 w 5110790"/>
              <a:gd name="connsiteY164" fmla="*/ 2975855 h 4069169"/>
              <a:gd name="connsiteX165" fmla="*/ 2361268 w 5110790"/>
              <a:gd name="connsiteY165" fmla="*/ 3006199 h 4069169"/>
              <a:gd name="connsiteX166" fmla="*/ 2365828 w 5110790"/>
              <a:gd name="connsiteY166" fmla="*/ 3034745 h 4069169"/>
              <a:gd name="connsiteX167" fmla="*/ 2371764 w 5110790"/>
              <a:gd name="connsiteY167" fmla="*/ 3061419 h 4069169"/>
              <a:gd name="connsiteX168" fmla="*/ 2379208 w 5110790"/>
              <a:gd name="connsiteY168" fmla="*/ 3086149 h 4069169"/>
              <a:gd name="connsiteX169" fmla="*/ 2388293 w 5110790"/>
              <a:gd name="connsiteY169" fmla="*/ 3108864 h 4069169"/>
              <a:gd name="connsiteX170" fmla="*/ 2399150 w 5110790"/>
              <a:gd name="connsiteY170" fmla="*/ 3129493 h 4069169"/>
              <a:gd name="connsiteX171" fmla="*/ 2426712 w 5110790"/>
              <a:gd name="connsiteY171" fmla="*/ 3164203 h 4069169"/>
              <a:gd name="connsiteX172" fmla="*/ 2462952 w 5110790"/>
              <a:gd name="connsiteY172" fmla="*/ 3189707 h 4069169"/>
              <a:gd name="connsiteX173" fmla="*/ 2484656 w 5110790"/>
              <a:gd name="connsiteY173" fmla="*/ 3198827 h 4069169"/>
              <a:gd name="connsiteX174" fmla="*/ 2508928 w 5110790"/>
              <a:gd name="connsiteY174" fmla="*/ 3205429 h 4069169"/>
              <a:gd name="connsiteX175" fmla="*/ 2535898 w 5110790"/>
              <a:gd name="connsiteY175" fmla="*/ 3209444 h 4069169"/>
              <a:gd name="connsiteX176" fmla="*/ 2565698 w 5110790"/>
              <a:gd name="connsiteY176" fmla="*/ 3210798 h 4069169"/>
              <a:gd name="connsiteX177" fmla="*/ 2565698 w 5110790"/>
              <a:gd name="connsiteY177" fmla="*/ 3269508 h 4069169"/>
              <a:gd name="connsiteX178" fmla="*/ 2533244 w 5110790"/>
              <a:gd name="connsiteY178" fmla="*/ 3268362 h 4069169"/>
              <a:gd name="connsiteX179" fmla="*/ 2503241 w 5110790"/>
              <a:gd name="connsiteY179" fmla="*/ 3264959 h 4069169"/>
              <a:gd name="connsiteX180" fmla="*/ 2475603 w 5110790"/>
              <a:gd name="connsiteY180" fmla="*/ 3259347 h 4069169"/>
              <a:gd name="connsiteX181" fmla="*/ 2450247 w 5110790"/>
              <a:gd name="connsiteY181" fmla="*/ 3251579 h 4069169"/>
              <a:gd name="connsiteX182" fmla="*/ 2427085 w 5110790"/>
              <a:gd name="connsiteY182" fmla="*/ 3241703 h 4069169"/>
              <a:gd name="connsiteX183" fmla="*/ 2406034 w 5110790"/>
              <a:gd name="connsiteY183" fmla="*/ 3229769 h 4069169"/>
              <a:gd name="connsiteX184" fmla="*/ 2387009 w 5110790"/>
              <a:gd name="connsiteY184" fmla="*/ 3215828 h 4069169"/>
              <a:gd name="connsiteX185" fmla="*/ 2369924 w 5110790"/>
              <a:gd name="connsiteY185" fmla="*/ 3199931 h 4069169"/>
              <a:gd name="connsiteX186" fmla="*/ 2354694 w 5110790"/>
              <a:gd name="connsiteY186" fmla="*/ 3182126 h 4069169"/>
              <a:gd name="connsiteX187" fmla="*/ 2341235 w 5110790"/>
              <a:gd name="connsiteY187" fmla="*/ 3162464 h 4069169"/>
              <a:gd name="connsiteX188" fmla="*/ 2329461 w 5110790"/>
              <a:gd name="connsiteY188" fmla="*/ 3140995 h 4069169"/>
              <a:gd name="connsiteX189" fmla="*/ 2319288 w 5110790"/>
              <a:gd name="connsiteY189" fmla="*/ 3117770 h 4069169"/>
              <a:gd name="connsiteX190" fmla="*/ 2310630 w 5110790"/>
              <a:gd name="connsiteY190" fmla="*/ 3092837 h 4069169"/>
              <a:gd name="connsiteX191" fmla="*/ 2303402 w 5110790"/>
              <a:gd name="connsiteY191" fmla="*/ 3066249 h 4069169"/>
              <a:gd name="connsiteX192" fmla="*/ 2297519 w 5110790"/>
              <a:gd name="connsiteY192" fmla="*/ 3038054 h 4069169"/>
              <a:gd name="connsiteX193" fmla="*/ 2292897 w 5110790"/>
              <a:gd name="connsiteY193" fmla="*/ 3008303 h 4069169"/>
              <a:gd name="connsiteX194" fmla="*/ 2289449 w 5110790"/>
              <a:gd name="connsiteY194" fmla="*/ 2977045 h 4069169"/>
              <a:gd name="connsiteX195" fmla="*/ 2287092 w 5110790"/>
              <a:gd name="connsiteY195" fmla="*/ 2944332 h 4069169"/>
              <a:gd name="connsiteX196" fmla="*/ 2285740 w 5110790"/>
              <a:gd name="connsiteY196" fmla="*/ 2910212 h 4069169"/>
              <a:gd name="connsiteX197" fmla="*/ 2285309 w 5110790"/>
              <a:gd name="connsiteY197" fmla="*/ 2874737 h 4069169"/>
              <a:gd name="connsiteX198" fmla="*/ 2285755 w 5110790"/>
              <a:gd name="connsiteY198" fmla="*/ 2839413 h 4069169"/>
              <a:gd name="connsiteX199" fmla="*/ 2287147 w 5110790"/>
              <a:gd name="connsiteY199" fmla="*/ 2805445 h 4069169"/>
              <a:gd name="connsiteX200" fmla="*/ 2289566 w 5110790"/>
              <a:gd name="connsiteY200" fmla="*/ 2772881 h 4069169"/>
              <a:gd name="connsiteX201" fmla="*/ 2293091 w 5110790"/>
              <a:gd name="connsiteY201" fmla="*/ 2741770 h 4069169"/>
              <a:gd name="connsiteX202" fmla="*/ 2297804 w 5110790"/>
              <a:gd name="connsiteY202" fmla="*/ 2712163 h 4069169"/>
              <a:gd name="connsiteX203" fmla="*/ 2303784 w 5110790"/>
              <a:gd name="connsiteY203" fmla="*/ 2684109 h 4069169"/>
              <a:gd name="connsiteX204" fmla="*/ 2311113 w 5110790"/>
              <a:gd name="connsiteY204" fmla="*/ 2657656 h 4069169"/>
              <a:gd name="connsiteX205" fmla="*/ 2319870 w 5110790"/>
              <a:gd name="connsiteY205" fmla="*/ 2632854 h 4069169"/>
              <a:gd name="connsiteX206" fmla="*/ 2330137 w 5110790"/>
              <a:gd name="connsiteY206" fmla="*/ 2609754 h 4069169"/>
              <a:gd name="connsiteX207" fmla="*/ 2341994 w 5110790"/>
              <a:gd name="connsiteY207" fmla="*/ 2588403 h 4069169"/>
              <a:gd name="connsiteX208" fmla="*/ 2355521 w 5110790"/>
              <a:gd name="connsiteY208" fmla="*/ 2568850 h 4069169"/>
              <a:gd name="connsiteX209" fmla="*/ 2370798 w 5110790"/>
              <a:gd name="connsiteY209" fmla="*/ 2551147 h 4069169"/>
              <a:gd name="connsiteX210" fmla="*/ 2387907 w 5110790"/>
              <a:gd name="connsiteY210" fmla="*/ 2535342 h 4069169"/>
              <a:gd name="connsiteX211" fmla="*/ 2406927 w 5110790"/>
              <a:gd name="connsiteY211" fmla="*/ 2521483 h 4069169"/>
              <a:gd name="connsiteX212" fmla="*/ 2427939 w 5110790"/>
              <a:gd name="connsiteY212" fmla="*/ 2509622 h 4069169"/>
              <a:gd name="connsiteX213" fmla="*/ 2451024 w 5110790"/>
              <a:gd name="connsiteY213" fmla="*/ 2499807 h 4069169"/>
              <a:gd name="connsiteX214" fmla="*/ 2476262 w 5110790"/>
              <a:gd name="connsiteY214" fmla="*/ 2492087 h 4069169"/>
              <a:gd name="connsiteX215" fmla="*/ 2503733 w 5110790"/>
              <a:gd name="connsiteY215" fmla="*/ 2486511 h 4069169"/>
              <a:gd name="connsiteX216" fmla="*/ 2533518 w 5110790"/>
              <a:gd name="connsiteY216" fmla="*/ 2483129 h 4069169"/>
              <a:gd name="connsiteX217" fmla="*/ 4308476 w 5110790"/>
              <a:gd name="connsiteY217" fmla="*/ 2413668 h 4069169"/>
              <a:gd name="connsiteX218" fmla="*/ 4389455 w 5110790"/>
              <a:gd name="connsiteY218" fmla="*/ 2413668 h 4069169"/>
              <a:gd name="connsiteX219" fmla="*/ 4503836 w 5110790"/>
              <a:gd name="connsiteY219" fmla="*/ 2623200 h 4069169"/>
              <a:gd name="connsiteX220" fmla="*/ 4387430 w 5110790"/>
              <a:gd name="connsiteY220" fmla="*/ 2838804 h 4069169"/>
              <a:gd name="connsiteX221" fmla="*/ 4308476 w 5110790"/>
              <a:gd name="connsiteY221" fmla="*/ 2838804 h 4069169"/>
              <a:gd name="connsiteX222" fmla="*/ 4407674 w 5110790"/>
              <a:gd name="connsiteY222" fmla="*/ 2653567 h 4069169"/>
              <a:gd name="connsiteX223" fmla="*/ 4017966 w 5110790"/>
              <a:gd name="connsiteY223" fmla="*/ 2653567 h 4069169"/>
              <a:gd name="connsiteX224" fmla="*/ 4017966 w 5110790"/>
              <a:gd name="connsiteY224" fmla="*/ 2588784 h 4069169"/>
              <a:gd name="connsiteX225" fmla="*/ 4405650 w 5110790"/>
              <a:gd name="connsiteY225" fmla="*/ 2588784 h 4069169"/>
              <a:gd name="connsiteX226" fmla="*/ 2147951 w 5110790"/>
              <a:gd name="connsiteY226" fmla="*/ 2190467 h 4069169"/>
              <a:gd name="connsiteX227" fmla="*/ 2173557 w 5110790"/>
              <a:gd name="connsiteY227" fmla="*/ 2192697 h 4069169"/>
              <a:gd name="connsiteX228" fmla="*/ 2193375 w 5110790"/>
              <a:gd name="connsiteY228" fmla="*/ 2200715 h 4069169"/>
              <a:gd name="connsiteX229" fmla="*/ 2206169 w 5110790"/>
              <a:gd name="connsiteY229" fmla="*/ 2216516 h 4069169"/>
              <a:gd name="connsiteX230" fmla="*/ 2210708 w 5110790"/>
              <a:gd name="connsiteY230" fmla="*/ 2242090 h 4069169"/>
              <a:gd name="connsiteX231" fmla="*/ 2206169 w 5110790"/>
              <a:gd name="connsiteY231" fmla="*/ 2268835 h 4069169"/>
              <a:gd name="connsiteX232" fmla="*/ 2193375 w 5110790"/>
              <a:gd name="connsiteY232" fmla="*/ 2285237 h 4069169"/>
              <a:gd name="connsiteX233" fmla="*/ 2173557 w 5110790"/>
              <a:gd name="connsiteY233" fmla="*/ 2293477 h 4069169"/>
              <a:gd name="connsiteX234" fmla="*/ 2147951 w 5110790"/>
              <a:gd name="connsiteY234" fmla="*/ 2295739 h 4069169"/>
              <a:gd name="connsiteX235" fmla="*/ 2122345 w 5110790"/>
              <a:gd name="connsiteY235" fmla="*/ 2293477 h 4069169"/>
              <a:gd name="connsiteX236" fmla="*/ 2102527 w 5110790"/>
              <a:gd name="connsiteY236" fmla="*/ 2285237 h 4069169"/>
              <a:gd name="connsiteX237" fmla="*/ 2089732 w 5110790"/>
              <a:gd name="connsiteY237" fmla="*/ 2268835 h 4069169"/>
              <a:gd name="connsiteX238" fmla="*/ 2085193 w 5110790"/>
              <a:gd name="connsiteY238" fmla="*/ 2242090 h 4069169"/>
              <a:gd name="connsiteX239" fmla="*/ 2089874 w 5110790"/>
              <a:gd name="connsiteY239" fmla="*/ 2216516 h 4069169"/>
              <a:gd name="connsiteX240" fmla="*/ 2102907 w 5110790"/>
              <a:gd name="connsiteY240" fmla="*/ 2200715 h 4069169"/>
              <a:gd name="connsiteX241" fmla="*/ 2122772 w 5110790"/>
              <a:gd name="connsiteY241" fmla="*/ 2192697 h 4069169"/>
              <a:gd name="connsiteX242" fmla="*/ 784523 w 5110790"/>
              <a:gd name="connsiteY242" fmla="*/ 2190467 h 4069169"/>
              <a:gd name="connsiteX243" fmla="*/ 810129 w 5110790"/>
              <a:gd name="connsiteY243" fmla="*/ 2192697 h 4069169"/>
              <a:gd name="connsiteX244" fmla="*/ 829946 w 5110790"/>
              <a:gd name="connsiteY244" fmla="*/ 2200715 h 4069169"/>
              <a:gd name="connsiteX245" fmla="*/ 842741 w 5110790"/>
              <a:gd name="connsiteY245" fmla="*/ 2216516 h 4069169"/>
              <a:gd name="connsiteX246" fmla="*/ 847281 w 5110790"/>
              <a:gd name="connsiteY246" fmla="*/ 2242090 h 4069169"/>
              <a:gd name="connsiteX247" fmla="*/ 842741 w 5110790"/>
              <a:gd name="connsiteY247" fmla="*/ 2268835 h 4069169"/>
              <a:gd name="connsiteX248" fmla="*/ 829946 w 5110790"/>
              <a:gd name="connsiteY248" fmla="*/ 2285237 h 4069169"/>
              <a:gd name="connsiteX249" fmla="*/ 810129 w 5110790"/>
              <a:gd name="connsiteY249" fmla="*/ 2293477 h 4069169"/>
              <a:gd name="connsiteX250" fmla="*/ 784523 w 5110790"/>
              <a:gd name="connsiteY250" fmla="*/ 2295739 h 4069169"/>
              <a:gd name="connsiteX251" fmla="*/ 758916 w 5110790"/>
              <a:gd name="connsiteY251" fmla="*/ 2293477 h 4069169"/>
              <a:gd name="connsiteX252" fmla="*/ 739099 w 5110790"/>
              <a:gd name="connsiteY252" fmla="*/ 2285237 h 4069169"/>
              <a:gd name="connsiteX253" fmla="*/ 726304 w 5110790"/>
              <a:gd name="connsiteY253" fmla="*/ 2268835 h 4069169"/>
              <a:gd name="connsiteX254" fmla="*/ 721765 w 5110790"/>
              <a:gd name="connsiteY254" fmla="*/ 2242090 h 4069169"/>
              <a:gd name="connsiteX255" fmla="*/ 726446 w 5110790"/>
              <a:gd name="connsiteY255" fmla="*/ 2216516 h 4069169"/>
              <a:gd name="connsiteX256" fmla="*/ 739479 w 5110790"/>
              <a:gd name="connsiteY256" fmla="*/ 2200715 h 4069169"/>
              <a:gd name="connsiteX257" fmla="*/ 759344 w 5110790"/>
              <a:gd name="connsiteY257" fmla="*/ 2192697 h 4069169"/>
              <a:gd name="connsiteX258" fmla="*/ 62758 w 5110790"/>
              <a:gd name="connsiteY258" fmla="*/ 2190467 h 4069169"/>
              <a:gd name="connsiteX259" fmla="*/ 88364 w 5110790"/>
              <a:gd name="connsiteY259" fmla="*/ 2192697 h 4069169"/>
              <a:gd name="connsiteX260" fmla="*/ 108181 w 5110790"/>
              <a:gd name="connsiteY260" fmla="*/ 2200715 h 4069169"/>
              <a:gd name="connsiteX261" fmla="*/ 120977 w 5110790"/>
              <a:gd name="connsiteY261" fmla="*/ 2216516 h 4069169"/>
              <a:gd name="connsiteX262" fmla="*/ 125516 w 5110790"/>
              <a:gd name="connsiteY262" fmla="*/ 2242090 h 4069169"/>
              <a:gd name="connsiteX263" fmla="*/ 120977 w 5110790"/>
              <a:gd name="connsiteY263" fmla="*/ 2268835 h 4069169"/>
              <a:gd name="connsiteX264" fmla="*/ 108181 w 5110790"/>
              <a:gd name="connsiteY264" fmla="*/ 2285237 h 4069169"/>
              <a:gd name="connsiteX265" fmla="*/ 88364 w 5110790"/>
              <a:gd name="connsiteY265" fmla="*/ 2293477 h 4069169"/>
              <a:gd name="connsiteX266" fmla="*/ 62758 w 5110790"/>
              <a:gd name="connsiteY266" fmla="*/ 2295739 h 4069169"/>
              <a:gd name="connsiteX267" fmla="*/ 37151 w 5110790"/>
              <a:gd name="connsiteY267" fmla="*/ 2293477 h 4069169"/>
              <a:gd name="connsiteX268" fmla="*/ 17334 w 5110790"/>
              <a:gd name="connsiteY268" fmla="*/ 2285237 h 4069169"/>
              <a:gd name="connsiteX269" fmla="*/ 4539 w 5110790"/>
              <a:gd name="connsiteY269" fmla="*/ 2268835 h 4069169"/>
              <a:gd name="connsiteX270" fmla="*/ 0 w 5110790"/>
              <a:gd name="connsiteY270" fmla="*/ 2242090 h 4069169"/>
              <a:gd name="connsiteX271" fmla="*/ 4681 w 5110790"/>
              <a:gd name="connsiteY271" fmla="*/ 2216516 h 4069169"/>
              <a:gd name="connsiteX272" fmla="*/ 17713 w 5110790"/>
              <a:gd name="connsiteY272" fmla="*/ 2200715 h 4069169"/>
              <a:gd name="connsiteX273" fmla="*/ 37578 w 5110790"/>
              <a:gd name="connsiteY273" fmla="*/ 2192697 h 4069169"/>
              <a:gd name="connsiteX274" fmla="*/ 4915430 w 5110790"/>
              <a:gd name="connsiteY274" fmla="*/ 1822022 h 4069169"/>
              <a:gd name="connsiteX275" fmla="*/ 4996408 w 5110790"/>
              <a:gd name="connsiteY275" fmla="*/ 1822022 h 4069169"/>
              <a:gd name="connsiteX276" fmla="*/ 5110790 w 5110790"/>
              <a:gd name="connsiteY276" fmla="*/ 2031553 h 4069169"/>
              <a:gd name="connsiteX277" fmla="*/ 4994384 w 5110790"/>
              <a:gd name="connsiteY277" fmla="*/ 2247158 h 4069169"/>
              <a:gd name="connsiteX278" fmla="*/ 4915430 w 5110790"/>
              <a:gd name="connsiteY278" fmla="*/ 2247158 h 4069169"/>
              <a:gd name="connsiteX279" fmla="*/ 5014628 w 5110790"/>
              <a:gd name="connsiteY279" fmla="*/ 2061920 h 4069169"/>
              <a:gd name="connsiteX280" fmla="*/ 4624920 w 5110790"/>
              <a:gd name="connsiteY280" fmla="*/ 2061920 h 4069169"/>
              <a:gd name="connsiteX281" fmla="*/ 4624920 w 5110790"/>
              <a:gd name="connsiteY281" fmla="*/ 1997137 h 4069169"/>
              <a:gd name="connsiteX282" fmla="*/ 5012604 w 5110790"/>
              <a:gd name="connsiteY282" fmla="*/ 1997137 h 4069169"/>
              <a:gd name="connsiteX283" fmla="*/ 2876800 w 5110790"/>
              <a:gd name="connsiteY283" fmla="*/ 1822016 h 4069169"/>
              <a:gd name="connsiteX284" fmla="*/ 2957778 w 5110790"/>
              <a:gd name="connsiteY284" fmla="*/ 1822016 h 4069169"/>
              <a:gd name="connsiteX285" fmla="*/ 3072160 w 5110790"/>
              <a:gd name="connsiteY285" fmla="*/ 2031547 h 4069169"/>
              <a:gd name="connsiteX286" fmla="*/ 2955754 w 5110790"/>
              <a:gd name="connsiteY286" fmla="*/ 2247152 h 4069169"/>
              <a:gd name="connsiteX287" fmla="*/ 2876800 w 5110790"/>
              <a:gd name="connsiteY287" fmla="*/ 2247152 h 4069169"/>
              <a:gd name="connsiteX288" fmla="*/ 2975998 w 5110790"/>
              <a:gd name="connsiteY288" fmla="*/ 2061915 h 4069169"/>
              <a:gd name="connsiteX289" fmla="*/ 2586290 w 5110790"/>
              <a:gd name="connsiteY289" fmla="*/ 2061915 h 4069169"/>
              <a:gd name="connsiteX290" fmla="*/ 2586290 w 5110790"/>
              <a:gd name="connsiteY290" fmla="*/ 1997132 h 4069169"/>
              <a:gd name="connsiteX291" fmla="*/ 2973974 w 5110790"/>
              <a:gd name="connsiteY291" fmla="*/ 1997132 h 4069169"/>
              <a:gd name="connsiteX292" fmla="*/ 1513768 w 5110790"/>
              <a:gd name="connsiteY292" fmla="*/ 1822016 h 4069169"/>
              <a:gd name="connsiteX293" fmla="*/ 1594748 w 5110790"/>
              <a:gd name="connsiteY293" fmla="*/ 1822016 h 4069169"/>
              <a:gd name="connsiteX294" fmla="*/ 1709128 w 5110790"/>
              <a:gd name="connsiteY294" fmla="*/ 2031547 h 4069169"/>
              <a:gd name="connsiteX295" fmla="*/ 1592723 w 5110790"/>
              <a:gd name="connsiteY295" fmla="*/ 2247152 h 4069169"/>
              <a:gd name="connsiteX296" fmla="*/ 1513768 w 5110790"/>
              <a:gd name="connsiteY296" fmla="*/ 2247152 h 4069169"/>
              <a:gd name="connsiteX297" fmla="*/ 1612966 w 5110790"/>
              <a:gd name="connsiteY297" fmla="*/ 2061915 h 4069169"/>
              <a:gd name="connsiteX298" fmla="*/ 1223259 w 5110790"/>
              <a:gd name="connsiteY298" fmla="*/ 2061915 h 4069169"/>
              <a:gd name="connsiteX299" fmla="*/ 1223259 w 5110790"/>
              <a:gd name="connsiteY299" fmla="*/ 1997132 h 4069169"/>
              <a:gd name="connsiteX300" fmla="*/ 1610942 w 5110790"/>
              <a:gd name="connsiteY300" fmla="*/ 1997132 h 4069169"/>
              <a:gd name="connsiteX301" fmla="*/ 2147951 w 5110790"/>
              <a:gd name="connsiteY301" fmla="*/ 1765330 h 4069169"/>
              <a:gd name="connsiteX302" fmla="*/ 2173557 w 5110790"/>
              <a:gd name="connsiteY302" fmla="*/ 1767433 h 4069169"/>
              <a:gd name="connsiteX303" fmla="*/ 2193375 w 5110790"/>
              <a:gd name="connsiteY303" fmla="*/ 1775325 h 4069169"/>
              <a:gd name="connsiteX304" fmla="*/ 2206169 w 5110790"/>
              <a:gd name="connsiteY304" fmla="*/ 1791378 h 4069169"/>
              <a:gd name="connsiteX305" fmla="*/ 2210708 w 5110790"/>
              <a:gd name="connsiteY305" fmla="*/ 1817966 h 4069169"/>
              <a:gd name="connsiteX306" fmla="*/ 2206169 w 5110790"/>
              <a:gd name="connsiteY306" fmla="*/ 1843698 h 4069169"/>
              <a:gd name="connsiteX307" fmla="*/ 2193375 w 5110790"/>
              <a:gd name="connsiteY307" fmla="*/ 1859846 h 4069169"/>
              <a:gd name="connsiteX308" fmla="*/ 2173557 w 5110790"/>
              <a:gd name="connsiteY308" fmla="*/ 1868213 h 4069169"/>
              <a:gd name="connsiteX309" fmla="*/ 2147951 w 5110790"/>
              <a:gd name="connsiteY309" fmla="*/ 1870601 h 4069169"/>
              <a:gd name="connsiteX310" fmla="*/ 2122930 w 5110790"/>
              <a:gd name="connsiteY310" fmla="*/ 1868213 h 4069169"/>
              <a:gd name="connsiteX311" fmla="*/ 2103413 w 5110790"/>
              <a:gd name="connsiteY311" fmla="*/ 1859846 h 4069169"/>
              <a:gd name="connsiteX312" fmla="*/ 2090728 w 5110790"/>
              <a:gd name="connsiteY312" fmla="*/ 1843698 h 4069169"/>
              <a:gd name="connsiteX313" fmla="*/ 2086205 w 5110790"/>
              <a:gd name="connsiteY313" fmla="*/ 1817966 h 4069169"/>
              <a:gd name="connsiteX314" fmla="*/ 2090728 w 5110790"/>
              <a:gd name="connsiteY314" fmla="*/ 1791378 h 4069169"/>
              <a:gd name="connsiteX315" fmla="*/ 2103413 w 5110790"/>
              <a:gd name="connsiteY315" fmla="*/ 1775325 h 4069169"/>
              <a:gd name="connsiteX316" fmla="*/ 2122930 w 5110790"/>
              <a:gd name="connsiteY316" fmla="*/ 1767433 h 4069169"/>
              <a:gd name="connsiteX317" fmla="*/ 784523 w 5110790"/>
              <a:gd name="connsiteY317" fmla="*/ 1765330 h 4069169"/>
              <a:gd name="connsiteX318" fmla="*/ 810129 w 5110790"/>
              <a:gd name="connsiteY318" fmla="*/ 1767433 h 4069169"/>
              <a:gd name="connsiteX319" fmla="*/ 829946 w 5110790"/>
              <a:gd name="connsiteY319" fmla="*/ 1775325 h 4069169"/>
              <a:gd name="connsiteX320" fmla="*/ 842741 w 5110790"/>
              <a:gd name="connsiteY320" fmla="*/ 1791378 h 4069169"/>
              <a:gd name="connsiteX321" fmla="*/ 847281 w 5110790"/>
              <a:gd name="connsiteY321" fmla="*/ 1817966 h 4069169"/>
              <a:gd name="connsiteX322" fmla="*/ 842741 w 5110790"/>
              <a:gd name="connsiteY322" fmla="*/ 1843698 h 4069169"/>
              <a:gd name="connsiteX323" fmla="*/ 829946 w 5110790"/>
              <a:gd name="connsiteY323" fmla="*/ 1859846 h 4069169"/>
              <a:gd name="connsiteX324" fmla="*/ 810129 w 5110790"/>
              <a:gd name="connsiteY324" fmla="*/ 1868213 h 4069169"/>
              <a:gd name="connsiteX325" fmla="*/ 784523 w 5110790"/>
              <a:gd name="connsiteY325" fmla="*/ 1870601 h 4069169"/>
              <a:gd name="connsiteX326" fmla="*/ 759502 w 5110790"/>
              <a:gd name="connsiteY326" fmla="*/ 1868213 h 4069169"/>
              <a:gd name="connsiteX327" fmla="*/ 739984 w 5110790"/>
              <a:gd name="connsiteY327" fmla="*/ 1859846 h 4069169"/>
              <a:gd name="connsiteX328" fmla="*/ 727300 w 5110790"/>
              <a:gd name="connsiteY328" fmla="*/ 1843698 h 4069169"/>
              <a:gd name="connsiteX329" fmla="*/ 722776 w 5110790"/>
              <a:gd name="connsiteY329" fmla="*/ 1817966 h 4069169"/>
              <a:gd name="connsiteX330" fmla="*/ 727300 w 5110790"/>
              <a:gd name="connsiteY330" fmla="*/ 1791378 h 4069169"/>
              <a:gd name="connsiteX331" fmla="*/ 739984 w 5110790"/>
              <a:gd name="connsiteY331" fmla="*/ 1775325 h 4069169"/>
              <a:gd name="connsiteX332" fmla="*/ 759502 w 5110790"/>
              <a:gd name="connsiteY332" fmla="*/ 1767433 h 4069169"/>
              <a:gd name="connsiteX333" fmla="*/ 62758 w 5110790"/>
              <a:gd name="connsiteY333" fmla="*/ 1765330 h 4069169"/>
              <a:gd name="connsiteX334" fmla="*/ 88364 w 5110790"/>
              <a:gd name="connsiteY334" fmla="*/ 1767433 h 4069169"/>
              <a:gd name="connsiteX335" fmla="*/ 108181 w 5110790"/>
              <a:gd name="connsiteY335" fmla="*/ 1775325 h 4069169"/>
              <a:gd name="connsiteX336" fmla="*/ 120977 w 5110790"/>
              <a:gd name="connsiteY336" fmla="*/ 1791378 h 4069169"/>
              <a:gd name="connsiteX337" fmla="*/ 125516 w 5110790"/>
              <a:gd name="connsiteY337" fmla="*/ 1817966 h 4069169"/>
              <a:gd name="connsiteX338" fmla="*/ 120977 w 5110790"/>
              <a:gd name="connsiteY338" fmla="*/ 1843698 h 4069169"/>
              <a:gd name="connsiteX339" fmla="*/ 108181 w 5110790"/>
              <a:gd name="connsiteY339" fmla="*/ 1859846 h 4069169"/>
              <a:gd name="connsiteX340" fmla="*/ 88364 w 5110790"/>
              <a:gd name="connsiteY340" fmla="*/ 1868213 h 4069169"/>
              <a:gd name="connsiteX341" fmla="*/ 62758 w 5110790"/>
              <a:gd name="connsiteY341" fmla="*/ 1870601 h 4069169"/>
              <a:gd name="connsiteX342" fmla="*/ 37736 w 5110790"/>
              <a:gd name="connsiteY342" fmla="*/ 1868213 h 4069169"/>
              <a:gd name="connsiteX343" fmla="*/ 18219 w 5110790"/>
              <a:gd name="connsiteY343" fmla="*/ 1859846 h 4069169"/>
              <a:gd name="connsiteX344" fmla="*/ 5535 w 5110790"/>
              <a:gd name="connsiteY344" fmla="*/ 1843698 h 4069169"/>
              <a:gd name="connsiteX345" fmla="*/ 1012 w 5110790"/>
              <a:gd name="connsiteY345" fmla="*/ 1817966 h 4069169"/>
              <a:gd name="connsiteX346" fmla="*/ 5535 w 5110790"/>
              <a:gd name="connsiteY346" fmla="*/ 1791378 h 4069169"/>
              <a:gd name="connsiteX347" fmla="*/ 18219 w 5110790"/>
              <a:gd name="connsiteY347" fmla="*/ 1775325 h 4069169"/>
              <a:gd name="connsiteX348" fmla="*/ 37736 w 5110790"/>
              <a:gd name="connsiteY348" fmla="*/ 1767433 h 4069169"/>
              <a:gd name="connsiteX349" fmla="*/ 3434660 w 5110790"/>
              <a:gd name="connsiteY349" fmla="*/ 1570981 h 4069169"/>
              <a:gd name="connsiteX350" fmla="*/ 3466840 w 5110790"/>
              <a:gd name="connsiteY350" fmla="*/ 1572118 h 4069169"/>
              <a:gd name="connsiteX351" fmla="*/ 3496625 w 5110790"/>
              <a:gd name="connsiteY351" fmla="*/ 1575500 h 4069169"/>
              <a:gd name="connsiteX352" fmla="*/ 3524096 w 5110790"/>
              <a:gd name="connsiteY352" fmla="*/ 1581076 h 4069169"/>
              <a:gd name="connsiteX353" fmla="*/ 3549334 w 5110790"/>
              <a:gd name="connsiteY353" fmla="*/ 1588796 h 4069169"/>
              <a:gd name="connsiteX354" fmla="*/ 3572418 w 5110790"/>
              <a:gd name="connsiteY354" fmla="*/ 1598611 h 4069169"/>
              <a:gd name="connsiteX355" fmla="*/ 3593431 w 5110790"/>
              <a:gd name="connsiteY355" fmla="*/ 1610473 h 4069169"/>
              <a:gd name="connsiteX356" fmla="*/ 3612450 w 5110790"/>
              <a:gd name="connsiteY356" fmla="*/ 1624331 h 4069169"/>
              <a:gd name="connsiteX357" fmla="*/ 3629559 w 5110790"/>
              <a:gd name="connsiteY357" fmla="*/ 1640136 h 4069169"/>
              <a:gd name="connsiteX358" fmla="*/ 3644837 w 5110790"/>
              <a:gd name="connsiteY358" fmla="*/ 1657839 h 4069169"/>
              <a:gd name="connsiteX359" fmla="*/ 3658363 w 5110790"/>
              <a:gd name="connsiteY359" fmla="*/ 1677391 h 4069169"/>
              <a:gd name="connsiteX360" fmla="*/ 3670219 w 5110790"/>
              <a:gd name="connsiteY360" fmla="*/ 1698743 h 4069169"/>
              <a:gd name="connsiteX361" fmla="*/ 3680486 w 5110790"/>
              <a:gd name="connsiteY361" fmla="*/ 1721844 h 4069169"/>
              <a:gd name="connsiteX362" fmla="*/ 3689244 w 5110790"/>
              <a:gd name="connsiteY362" fmla="*/ 1746646 h 4069169"/>
              <a:gd name="connsiteX363" fmla="*/ 3696573 w 5110790"/>
              <a:gd name="connsiteY363" fmla="*/ 1773098 h 4069169"/>
              <a:gd name="connsiteX364" fmla="*/ 3702553 w 5110790"/>
              <a:gd name="connsiteY364" fmla="*/ 1801152 h 4069169"/>
              <a:gd name="connsiteX365" fmla="*/ 3707266 w 5110790"/>
              <a:gd name="connsiteY365" fmla="*/ 1830760 h 4069169"/>
              <a:gd name="connsiteX366" fmla="*/ 3710792 w 5110790"/>
              <a:gd name="connsiteY366" fmla="*/ 1861870 h 4069169"/>
              <a:gd name="connsiteX367" fmla="*/ 3713210 w 5110790"/>
              <a:gd name="connsiteY367" fmla="*/ 1894434 h 4069169"/>
              <a:gd name="connsiteX368" fmla="*/ 3714602 w 5110790"/>
              <a:gd name="connsiteY368" fmla="*/ 1928402 h 4069169"/>
              <a:gd name="connsiteX369" fmla="*/ 3715048 w 5110790"/>
              <a:gd name="connsiteY369" fmla="*/ 1963726 h 4069169"/>
              <a:gd name="connsiteX370" fmla="*/ 3714624 w 5110790"/>
              <a:gd name="connsiteY370" fmla="*/ 1999201 h 4069169"/>
              <a:gd name="connsiteX371" fmla="*/ 3713292 w 5110790"/>
              <a:gd name="connsiteY371" fmla="*/ 2033321 h 4069169"/>
              <a:gd name="connsiteX372" fmla="*/ 3710966 w 5110790"/>
              <a:gd name="connsiteY372" fmla="*/ 2066034 h 4069169"/>
              <a:gd name="connsiteX373" fmla="*/ 3707557 w 5110790"/>
              <a:gd name="connsiteY373" fmla="*/ 2097292 h 4069169"/>
              <a:gd name="connsiteX374" fmla="*/ 3702980 w 5110790"/>
              <a:gd name="connsiteY374" fmla="*/ 2127043 h 4069169"/>
              <a:gd name="connsiteX375" fmla="*/ 3697147 w 5110790"/>
              <a:gd name="connsiteY375" fmla="*/ 2155238 h 4069169"/>
              <a:gd name="connsiteX376" fmla="*/ 3689969 w 5110790"/>
              <a:gd name="connsiteY376" fmla="*/ 2181827 h 4069169"/>
              <a:gd name="connsiteX377" fmla="*/ 3681361 w 5110790"/>
              <a:gd name="connsiteY377" fmla="*/ 2206759 h 4069169"/>
              <a:gd name="connsiteX378" fmla="*/ 3671234 w 5110790"/>
              <a:gd name="connsiteY378" fmla="*/ 2229984 h 4069169"/>
              <a:gd name="connsiteX379" fmla="*/ 3659502 w 5110790"/>
              <a:gd name="connsiteY379" fmla="*/ 2251453 h 4069169"/>
              <a:gd name="connsiteX380" fmla="*/ 3646077 w 5110790"/>
              <a:gd name="connsiteY380" fmla="*/ 2271115 h 4069169"/>
              <a:gd name="connsiteX381" fmla="*/ 3630871 w 5110790"/>
              <a:gd name="connsiteY381" fmla="*/ 2288919 h 4069169"/>
              <a:gd name="connsiteX382" fmla="*/ 3613798 w 5110790"/>
              <a:gd name="connsiteY382" fmla="*/ 2304817 h 4069169"/>
              <a:gd name="connsiteX383" fmla="*/ 3594769 w 5110790"/>
              <a:gd name="connsiteY383" fmla="*/ 2318758 h 4069169"/>
              <a:gd name="connsiteX384" fmla="*/ 3573700 w 5110790"/>
              <a:gd name="connsiteY384" fmla="*/ 2330691 h 4069169"/>
              <a:gd name="connsiteX385" fmla="*/ 3550500 w 5110790"/>
              <a:gd name="connsiteY385" fmla="*/ 2340567 h 4069169"/>
              <a:gd name="connsiteX386" fmla="*/ 3525083 w 5110790"/>
              <a:gd name="connsiteY386" fmla="*/ 2348336 h 4069169"/>
              <a:gd name="connsiteX387" fmla="*/ 3497363 w 5110790"/>
              <a:gd name="connsiteY387" fmla="*/ 2353947 h 4069169"/>
              <a:gd name="connsiteX388" fmla="*/ 3467251 w 5110790"/>
              <a:gd name="connsiteY388" fmla="*/ 2357351 h 4069169"/>
              <a:gd name="connsiteX389" fmla="*/ 3434660 w 5110790"/>
              <a:gd name="connsiteY389" fmla="*/ 2358496 h 4069169"/>
              <a:gd name="connsiteX390" fmla="*/ 3434660 w 5110790"/>
              <a:gd name="connsiteY390" fmla="*/ 2299787 h 4069169"/>
              <a:gd name="connsiteX391" fmla="*/ 3464787 w 5110790"/>
              <a:gd name="connsiteY391" fmla="*/ 2298433 h 4069169"/>
              <a:gd name="connsiteX392" fmla="*/ 3492025 w 5110790"/>
              <a:gd name="connsiteY392" fmla="*/ 2294418 h 4069169"/>
              <a:gd name="connsiteX393" fmla="*/ 3516511 w 5110790"/>
              <a:gd name="connsiteY393" fmla="*/ 2287816 h 4069169"/>
              <a:gd name="connsiteX394" fmla="*/ 3538383 w 5110790"/>
              <a:gd name="connsiteY394" fmla="*/ 2278696 h 4069169"/>
              <a:gd name="connsiteX395" fmla="*/ 3574832 w 5110790"/>
              <a:gd name="connsiteY395" fmla="*/ 2253193 h 4069169"/>
              <a:gd name="connsiteX396" fmla="*/ 3602470 w 5110790"/>
              <a:gd name="connsiteY396" fmla="*/ 2218482 h 4069169"/>
              <a:gd name="connsiteX397" fmla="*/ 3613327 w 5110790"/>
              <a:gd name="connsiteY397" fmla="*/ 2197853 h 4069169"/>
              <a:gd name="connsiteX398" fmla="*/ 3622393 w 5110790"/>
              <a:gd name="connsiteY398" fmla="*/ 2175138 h 4069169"/>
              <a:gd name="connsiteX399" fmla="*/ 3629805 w 5110790"/>
              <a:gd name="connsiteY399" fmla="*/ 2150408 h 4069169"/>
              <a:gd name="connsiteX400" fmla="*/ 3635701 w 5110790"/>
              <a:gd name="connsiteY400" fmla="*/ 2123734 h 4069169"/>
              <a:gd name="connsiteX401" fmla="*/ 3640217 w 5110790"/>
              <a:gd name="connsiteY401" fmla="*/ 2095189 h 4069169"/>
              <a:gd name="connsiteX402" fmla="*/ 3643490 w 5110790"/>
              <a:gd name="connsiteY402" fmla="*/ 2064844 h 4069169"/>
              <a:gd name="connsiteX403" fmla="*/ 3645659 w 5110790"/>
              <a:gd name="connsiteY403" fmla="*/ 2032771 h 4069169"/>
              <a:gd name="connsiteX404" fmla="*/ 3646859 w 5110790"/>
              <a:gd name="connsiteY404" fmla="*/ 1999041 h 4069169"/>
              <a:gd name="connsiteX405" fmla="*/ 3647229 w 5110790"/>
              <a:gd name="connsiteY405" fmla="*/ 1963726 h 4069169"/>
              <a:gd name="connsiteX406" fmla="*/ 3646839 w 5110790"/>
              <a:gd name="connsiteY406" fmla="*/ 1928758 h 4069169"/>
              <a:gd name="connsiteX407" fmla="*/ 3645584 w 5110790"/>
              <a:gd name="connsiteY407" fmla="*/ 1895355 h 4069169"/>
              <a:gd name="connsiteX408" fmla="*/ 3643335 w 5110790"/>
              <a:gd name="connsiteY408" fmla="*/ 1863586 h 4069169"/>
              <a:gd name="connsiteX409" fmla="*/ 3639960 w 5110790"/>
              <a:gd name="connsiteY409" fmla="*/ 1833525 h 4069169"/>
              <a:gd name="connsiteX410" fmla="*/ 3635330 w 5110790"/>
              <a:gd name="connsiteY410" fmla="*/ 1805242 h 4069169"/>
              <a:gd name="connsiteX411" fmla="*/ 3629316 w 5110790"/>
              <a:gd name="connsiteY411" fmla="*/ 1778810 h 4069169"/>
              <a:gd name="connsiteX412" fmla="*/ 3621788 w 5110790"/>
              <a:gd name="connsiteY412" fmla="*/ 1754300 h 4069169"/>
              <a:gd name="connsiteX413" fmla="*/ 3612615 w 5110790"/>
              <a:gd name="connsiteY413" fmla="*/ 1731785 h 4069169"/>
              <a:gd name="connsiteX414" fmla="*/ 3601669 w 5110790"/>
              <a:gd name="connsiteY414" fmla="*/ 1711335 h 4069169"/>
              <a:gd name="connsiteX415" fmla="*/ 3573935 w 5110790"/>
              <a:gd name="connsiteY415" fmla="*/ 1676919 h 4069169"/>
              <a:gd name="connsiteX416" fmla="*/ 3537548 w 5110790"/>
              <a:gd name="connsiteY416" fmla="*/ 1651625 h 4069169"/>
              <a:gd name="connsiteX417" fmla="*/ 3515784 w 5110790"/>
              <a:gd name="connsiteY417" fmla="*/ 1642579 h 4069169"/>
              <a:gd name="connsiteX418" fmla="*/ 3491469 w 5110790"/>
              <a:gd name="connsiteY418" fmla="*/ 1636029 h 4069169"/>
              <a:gd name="connsiteX419" fmla="*/ 3464471 w 5110790"/>
              <a:gd name="connsiteY419" fmla="*/ 1632046 h 4069169"/>
              <a:gd name="connsiteX420" fmla="*/ 3434660 w 5110790"/>
              <a:gd name="connsiteY420" fmla="*/ 1630702 h 4069169"/>
              <a:gd name="connsiteX421" fmla="*/ 3579243 w 5110790"/>
              <a:gd name="connsiteY421" fmla="*/ 1279461 h 4069169"/>
              <a:gd name="connsiteX422" fmla="*/ 3604850 w 5110790"/>
              <a:gd name="connsiteY422" fmla="*/ 1281691 h 4069169"/>
              <a:gd name="connsiteX423" fmla="*/ 3624668 w 5110790"/>
              <a:gd name="connsiteY423" fmla="*/ 1289709 h 4069169"/>
              <a:gd name="connsiteX424" fmla="*/ 3637463 w 5110790"/>
              <a:gd name="connsiteY424" fmla="*/ 1305510 h 4069169"/>
              <a:gd name="connsiteX425" fmla="*/ 3642002 w 5110790"/>
              <a:gd name="connsiteY425" fmla="*/ 1331085 h 4069169"/>
              <a:gd name="connsiteX426" fmla="*/ 3637463 w 5110790"/>
              <a:gd name="connsiteY426" fmla="*/ 1357829 h 4069169"/>
              <a:gd name="connsiteX427" fmla="*/ 3624668 w 5110790"/>
              <a:gd name="connsiteY427" fmla="*/ 1374231 h 4069169"/>
              <a:gd name="connsiteX428" fmla="*/ 3604850 w 5110790"/>
              <a:gd name="connsiteY428" fmla="*/ 1382471 h 4069169"/>
              <a:gd name="connsiteX429" fmla="*/ 3579243 w 5110790"/>
              <a:gd name="connsiteY429" fmla="*/ 1384733 h 4069169"/>
              <a:gd name="connsiteX430" fmla="*/ 3553637 w 5110790"/>
              <a:gd name="connsiteY430" fmla="*/ 1382471 h 4069169"/>
              <a:gd name="connsiteX431" fmla="*/ 3533820 w 5110790"/>
              <a:gd name="connsiteY431" fmla="*/ 1374231 h 4069169"/>
              <a:gd name="connsiteX432" fmla="*/ 3521024 w 5110790"/>
              <a:gd name="connsiteY432" fmla="*/ 1357829 h 4069169"/>
              <a:gd name="connsiteX433" fmla="*/ 3516485 w 5110790"/>
              <a:gd name="connsiteY433" fmla="*/ 1331085 h 4069169"/>
              <a:gd name="connsiteX434" fmla="*/ 3521166 w 5110790"/>
              <a:gd name="connsiteY434" fmla="*/ 1305510 h 4069169"/>
              <a:gd name="connsiteX435" fmla="*/ 3534199 w 5110790"/>
              <a:gd name="connsiteY435" fmla="*/ 1289709 h 4069169"/>
              <a:gd name="connsiteX436" fmla="*/ 3554064 w 5110790"/>
              <a:gd name="connsiteY436" fmla="*/ 1281691 h 4069169"/>
              <a:gd name="connsiteX437" fmla="*/ 1609095 w 5110790"/>
              <a:gd name="connsiteY437" fmla="*/ 1279455 h 4069169"/>
              <a:gd name="connsiteX438" fmla="*/ 1634701 w 5110790"/>
              <a:gd name="connsiteY438" fmla="*/ 1281685 h 4069169"/>
              <a:gd name="connsiteX439" fmla="*/ 1654519 w 5110790"/>
              <a:gd name="connsiteY439" fmla="*/ 1289703 h 4069169"/>
              <a:gd name="connsiteX440" fmla="*/ 1667313 w 5110790"/>
              <a:gd name="connsiteY440" fmla="*/ 1305504 h 4069169"/>
              <a:gd name="connsiteX441" fmla="*/ 1671852 w 5110790"/>
              <a:gd name="connsiteY441" fmla="*/ 1331078 h 4069169"/>
              <a:gd name="connsiteX442" fmla="*/ 1667313 w 5110790"/>
              <a:gd name="connsiteY442" fmla="*/ 1357823 h 4069169"/>
              <a:gd name="connsiteX443" fmla="*/ 1654519 w 5110790"/>
              <a:gd name="connsiteY443" fmla="*/ 1374224 h 4069169"/>
              <a:gd name="connsiteX444" fmla="*/ 1634701 w 5110790"/>
              <a:gd name="connsiteY444" fmla="*/ 1382465 h 4069169"/>
              <a:gd name="connsiteX445" fmla="*/ 1609095 w 5110790"/>
              <a:gd name="connsiteY445" fmla="*/ 1384726 h 4069169"/>
              <a:gd name="connsiteX446" fmla="*/ 1583489 w 5110790"/>
              <a:gd name="connsiteY446" fmla="*/ 1382465 h 4069169"/>
              <a:gd name="connsiteX447" fmla="*/ 1563671 w 5110790"/>
              <a:gd name="connsiteY447" fmla="*/ 1374224 h 4069169"/>
              <a:gd name="connsiteX448" fmla="*/ 1550877 w 5110790"/>
              <a:gd name="connsiteY448" fmla="*/ 1357823 h 4069169"/>
              <a:gd name="connsiteX449" fmla="*/ 1546337 w 5110790"/>
              <a:gd name="connsiteY449" fmla="*/ 1331078 h 4069169"/>
              <a:gd name="connsiteX450" fmla="*/ 1551018 w 5110790"/>
              <a:gd name="connsiteY450" fmla="*/ 1305504 h 4069169"/>
              <a:gd name="connsiteX451" fmla="*/ 1564051 w 5110790"/>
              <a:gd name="connsiteY451" fmla="*/ 1289703 h 4069169"/>
              <a:gd name="connsiteX452" fmla="*/ 1583916 w 5110790"/>
              <a:gd name="connsiteY452" fmla="*/ 1281685 h 4069169"/>
              <a:gd name="connsiteX453" fmla="*/ 4308476 w 5110790"/>
              <a:gd name="connsiteY453" fmla="*/ 1229360 h 4069169"/>
              <a:gd name="connsiteX454" fmla="*/ 4389455 w 5110790"/>
              <a:gd name="connsiteY454" fmla="*/ 1229360 h 4069169"/>
              <a:gd name="connsiteX455" fmla="*/ 4503836 w 5110790"/>
              <a:gd name="connsiteY455" fmla="*/ 1438891 h 4069169"/>
              <a:gd name="connsiteX456" fmla="*/ 4387430 w 5110790"/>
              <a:gd name="connsiteY456" fmla="*/ 1654496 h 4069169"/>
              <a:gd name="connsiteX457" fmla="*/ 4308476 w 5110790"/>
              <a:gd name="connsiteY457" fmla="*/ 1654496 h 4069169"/>
              <a:gd name="connsiteX458" fmla="*/ 4407674 w 5110790"/>
              <a:gd name="connsiteY458" fmla="*/ 1469259 h 4069169"/>
              <a:gd name="connsiteX459" fmla="*/ 4017966 w 5110790"/>
              <a:gd name="connsiteY459" fmla="*/ 1469259 h 4069169"/>
              <a:gd name="connsiteX460" fmla="*/ 4017966 w 5110790"/>
              <a:gd name="connsiteY460" fmla="*/ 1404475 h 4069169"/>
              <a:gd name="connsiteX461" fmla="*/ 4405650 w 5110790"/>
              <a:gd name="connsiteY461" fmla="*/ 1404475 h 4069169"/>
              <a:gd name="connsiteX462" fmla="*/ 3579243 w 5110790"/>
              <a:gd name="connsiteY462" fmla="*/ 854324 h 4069169"/>
              <a:gd name="connsiteX463" fmla="*/ 3604850 w 5110790"/>
              <a:gd name="connsiteY463" fmla="*/ 856427 h 4069169"/>
              <a:gd name="connsiteX464" fmla="*/ 3624668 w 5110790"/>
              <a:gd name="connsiteY464" fmla="*/ 864320 h 4069169"/>
              <a:gd name="connsiteX465" fmla="*/ 3637463 w 5110790"/>
              <a:gd name="connsiteY465" fmla="*/ 880373 h 4069169"/>
              <a:gd name="connsiteX466" fmla="*/ 3642002 w 5110790"/>
              <a:gd name="connsiteY466" fmla="*/ 906960 h 4069169"/>
              <a:gd name="connsiteX467" fmla="*/ 3637463 w 5110790"/>
              <a:gd name="connsiteY467" fmla="*/ 932693 h 4069169"/>
              <a:gd name="connsiteX468" fmla="*/ 3624668 w 5110790"/>
              <a:gd name="connsiteY468" fmla="*/ 948841 h 4069169"/>
              <a:gd name="connsiteX469" fmla="*/ 3604850 w 5110790"/>
              <a:gd name="connsiteY469" fmla="*/ 957207 h 4069169"/>
              <a:gd name="connsiteX470" fmla="*/ 3579243 w 5110790"/>
              <a:gd name="connsiteY470" fmla="*/ 959596 h 4069169"/>
              <a:gd name="connsiteX471" fmla="*/ 3554223 w 5110790"/>
              <a:gd name="connsiteY471" fmla="*/ 957207 h 4069169"/>
              <a:gd name="connsiteX472" fmla="*/ 3534706 w 5110790"/>
              <a:gd name="connsiteY472" fmla="*/ 948841 h 4069169"/>
              <a:gd name="connsiteX473" fmla="*/ 3522021 w 5110790"/>
              <a:gd name="connsiteY473" fmla="*/ 932693 h 4069169"/>
              <a:gd name="connsiteX474" fmla="*/ 3517498 w 5110790"/>
              <a:gd name="connsiteY474" fmla="*/ 906960 h 4069169"/>
              <a:gd name="connsiteX475" fmla="*/ 3522021 w 5110790"/>
              <a:gd name="connsiteY475" fmla="*/ 880373 h 4069169"/>
              <a:gd name="connsiteX476" fmla="*/ 3534706 w 5110790"/>
              <a:gd name="connsiteY476" fmla="*/ 864320 h 4069169"/>
              <a:gd name="connsiteX477" fmla="*/ 3554223 w 5110790"/>
              <a:gd name="connsiteY477" fmla="*/ 856427 h 4069169"/>
              <a:gd name="connsiteX478" fmla="*/ 1609095 w 5110790"/>
              <a:gd name="connsiteY478" fmla="*/ 854318 h 4069169"/>
              <a:gd name="connsiteX479" fmla="*/ 1634701 w 5110790"/>
              <a:gd name="connsiteY479" fmla="*/ 856421 h 4069169"/>
              <a:gd name="connsiteX480" fmla="*/ 1654519 w 5110790"/>
              <a:gd name="connsiteY480" fmla="*/ 864313 h 4069169"/>
              <a:gd name="connsiteX481" fmla="*/ 1667313 w 5110790"/>
              <a:gd name="connsiteY481" fmla="*/ 880366 h 4069169"/>
              <a:gd name="connsiteX482" fmla="*/ 1671852 w 5110790"/>
              <a:gd name="connsiteY482" fmla="*/ 906953 h 4069169"/>
              <a:gd name="connsiteX483" fmla="*/ 1667313 w 5110790"/>
              <a:gd name="connsiteY483" fmla="*/ 932686 h 4069169"/>
              <a:gd name="connsiteX484" fmla="*/ 1654519 w 5110790"/>
              <a:gd name="connsiteY484" fmla="*/ 948834 h 4069169"/>
              <a:gd name="connsiteX485" fmla="*/ 1634701 w 5110790"/>
              <a:gd name="connsiteY485" fmla="*/ 957201 h 4069169"/>
              <a:gd name="connsiteX486" fmla="*/ 1609095 w 5110790"/>
              <a:gd name="connsiteY486" fmla="*/ 959589 h 4069169"/>
              <a:gd name="connsiteX487" fmla="*/ 1584074 w 5110790"/>
              <a:gd name="connsiteY487" fmla="*/ 957201 h 4069169"/>
              <a:gd name="connsiteX488" fmla="*/ 1564557 w 5110790"/>
              <a:gd name="connsiteY488" fmla="*/ 948834 h 4069169"/>
              <a:gd name="connsiteX489" fmla="*/ 1551872 w 5110790"/>
              <a:gd name="connsiteY489" fmla="*/ 932686 h 4069169"/>
              <a:gd name="connsiteX490" fmla="*/ 1547349 w 5110790"/>
              <a:gd name="connsiteY490" fmla="*/ 906953 h 4069169"/>
              <a:gd name="connsiteX491" fmla="*/ 1551872 w 5110790"/>
              <a:gd name="connsiteY491" fmla="*/ 880366 h 4069169"/>
              <a:gd name="connsiteX492" fmla="*/ 1564557 w 5110790"/>
              <a:gd name="connsiteY492" fmla="*/ 864313 h 4069169"/>
              <a:gd name="connsiteX493" fmla="*/ 1584074 w 5110790"/>
              <a:gd name="connsiteY493" fmla="*/ 856421 h 4069169"/>
              <a:gd name="connsiteX494" fmla="*/ 2879125 w 5110790"/>
              <a:gd name="connsiteY494" fmla="*/ 659976 h 4069169"/>
              <a:gd name="connsiteX495" fmla="*/ 2911305 w 5110790"/>
              <a:gd name="connsiteY495" fmla="*/ 661113 h 4069169"/>
              <a:gd name="connsiteX496" fmla="*/ 2941090 w 5110790"/>
              <a:gd name="connsiteY496" fmla="*/ 664495 h 4069169"/>
              <a:gd name="connsiteX497" fmla="*/ 2968561 w 5110790"/>
              <a:gd name="connsiteY497" fmla="*/ 670071 h 4069169"/>
              <a:gd name="connsiteX498" fmla="*/ 2993799 w 5110790"/>
              <a:gd name="connsiteY498" fmla="*/ 677791 h 4069169"/>
              <a:gd name="connsiteX499" fmla="*/ 3016884 w 5110790"/>
              <a:gd name="connsiteY499" fmla="*/ 687607 h 4069169"/>
              <a:gd name="connsiteX500" fmla="*/ 3037896 w 5110790"/>
              <a:gd name="connsiteY500" fmla="*/ 699468 h 4069169"/>
              <a:gd name="connsiteX501" fmla="*/ 3056916 w 5110790"/>
              <a:gd name="connsiteY501" fmla="*/ 713326 h 4069169"/>
              <a:gd name="connsiteX502" fmla="*/ 3074024 w 5110790"/>
              <a:gd name="connsiteY502" fmla="*/ 729131 h 4069169"/>
              <a:gd name="connsiteX503" fmla="*/ 3089302 w 5110790"/>
              <a:gd name="connsiteY503" fmla="*/ 746834 h 4069169"/>
              <a:gd name="connsiteX504" fmla="*/ 3102829 w 5110790"/>
              <a:gd name="connsiteY504" fmla="*/ 766386 h 4069169"/>
              <a:gd name="connsiteX505" fmla="*/ 3114685 w 5110790"/>
              <a:gd name="connsiteY505" fmla="*/ 787738 h 4069169"/>
              <a:gd name="connsiteX506" fmla="*/ 3124952 w 5110790"/>
              <a:gd name="connsiteY506" fmla="*/ 810839 h 4069169"/>
              <a:gd name="connsiteX507" fmla="*/ 3133709 w 5110790"/>
              <a:gd name="connsiteY507" fmla="*/ 835640 h 4069169"/>
              <a:gd name="connsiteX508" fmla="*/ 3141039 w 5110790"/>
              <a:gd name="connsiteY508" fmla="*/ 862093 h 4069169"/>
              <a:gd name="connsiteX509" fmla="*/ 3147019 w 5110790"/>
              <a:gd name="connsiteY509" fmla="*/ 890147 h 4069169"/>
              <a:gd name="connsiteX510" fmla="*/ 3151732 w 5110790"/>
              <a:gd name="connsiteY510" fmla="*/ 919755 h 4069169"/>
              <a:gd name="connsiteX511" fmla="*/ 3155257 w 5110790"/>
              <a:gd name="connsiteY511" fmla="*/ 950865 h 4069169"/>
              <a:gd name="connsiteX512" fmla="*/ 3157675 w 5110790"/>
              <a:gd name="connsiteY512" fmla="*/ 983429 h 4069169"/>
              <a:gd name="connsiteX513" fmla="*/ 3159067 w 5110790"/>
              <a:gd name="connsiteY513" fmla="*/ 1017397 h 4069169"/>
              <a:gd name="connsiteX514" fmla="*/ 3159514 w 5110790"/>
              <a:gd name="connsiteY514" fmla="*/ 1052721 h 4069169"/>
              <a:gd name="connsiteX515" fmla="*/ 3159089 w 5110790"/>
              <a:gd name="connsiteY515" fmla="*/ 1088196 h 4069169"/>
              <a:gd name="connsiteX516" fmla="*/ 3157757 w 5110790"/>
              <a:gd name="connsiteY516" fmla="*/ 1122316 h 4069169"/>
              <a:gd name="connsiteX517" fmla="*/ 3155431 w 5110790"/>
              <a:gd name="connsiteY517" fmla="*/ 1155029 h 4069169"/>
              <a:gd name="connsiteX518" fmla="*/ 3152023 w 5110790"/>
              <a:gd name="connsiteY518" fmla="*/ 1186287 h 4069169"/>
              <a:gd name="connsiteX519" fmla="*/ 3147446 w 5110790"/>
              <a:gd name="connsiteY519" fmla="*/ 1216038 h 4069169"/>
              <a:gd name="connsiteX520" fmla="*/ 3141612 w 5110790"/>
              <a:gd name="connsiteY520" fmla="*/ 1244233 h 4069169"/>
              <a:gd name="connsiteX521" fmla="*/ 3134435 w 5110790"/>
              <a:gd name="connsiteY521" fmla="*/ 1270822 h 4069169"/>
              <a:gd name="connsiteX522" fmla="*/ 3125826 w 5110790"/>
              <a:gd name="connsiteY522" fmla="*/ 1295754 h 4069169"/>
              <a:gd name="connsiteX523" fmla="*/ 3115700 w 5110790"/>
              <a:gd name="connsiteY523" fmla="*/ 1318979 h 4069169"/>
              <a:gd name="connsiteX524" fmla="*/ 3103967 w 5110790"/>
              <a:gd name="connsiteY524" fmla="*/ 1340448 h 4069169"/>
              <a:gd name="connsiteX525" fmla="*/ 3090542 w 5110790"/>
              <a:gd name="connsiteY525" fmla="*/ 1360110 h 4069169"/>
              <a:gd name="connsiteX526" fmla="*/ 3075336 w 5110790"/>
              <a:gd name="connsiteY526" fmla="*/ 1377914 h 4069169"/>
              <a:gd name="connsiteX527" fmla="*/ 3058263 w 5110790"/>
              <a:gd name="connsiteY527" fmla="*/ 1393812 h 4069169"/>
              <a:gd name="connsiteX528" fmla="*/ 3039235 w 5110790"/>
              <a:gd name="connsiteY528" fmla="*/ 1407753 h 4069169"/>
              <a:gd name="connsiteX529" fmla="*/ 3018165 w 5110790"/>
              <a:gd name="connsiteY529" fmla="*/ 1419686 h 4069169"/>
              <a:gd name="connsiteX530" fmla="*/ 2994965 w 5110790"/>
              <a:gd name="connsiteY530" fmla="*/ 1429562 h 4069169"/>
              <a:gd name="connsiteX531" fmla="*/ 2969548 w 5110790"/>
              <a:gd name="connsiteY531" fmla="*/ 1437331 h 4069169"/>
              <a:gd name="connsiteX532" fmla="*/ 2941828 w 5110790"/>
              <a:gd name="connsiteY532" fmla="*/ 1442942 h 4069169"/>
              <a:gd name="connsiteX533" fmla="*/ 2911716 w 5110790"/>
              <a:gd name="connsiteY533" fmla="*/ 1446346 h 4069169"/>
              <a:gd name="connsiteX534" fmla="*/ 2879125 w 5110790"/>
              <a:gd name="connsiteY534" fmla="*/ 1447491 h 4069169"/>
              <a:gd name="connsiteX535" fmla="*/ 2879125 w 5110790"/>
              <a:gd name="connsiteY535" fmla="*/ 1388782 h 4069169"/>
              <a:gd name="connsiteX536" fmla="*/ 2909252 w 5110790"/>
              <a:gd name="connsiteY536" fmla="*/ 1387428 h 4069169"/>
              <a:gd name="connsiteX537" fmla="*/ 2936490 w 5110790"/>
              <a:gd name="connsiteY537" fmla="*/ 1383413 h 4069169"/>
              <a:gd name="connsiteX538" fmla="*/ 2960977 w 5110790"/>
              <a:gd name="connsiteY538" fmla="*/ 1376811 h 4069169"/>
              <a:gd name="connsiteX539" fmla="*/ 2982849 w 5110790"/>
              <a:gd name="connsiteY539" fmla="*/ 1367691 h 4069169"/>
              <a:gd name="connsiteX540" fmla="*/ 3019298 w 5110790"/>
              <a:gd name="connsiteY540" fmla="*/ 1342188 h 4069169"/>
              <a:gd name="connsiteX541" fmla="*/ 3046935 w 5110790"/>
              <a:gd name="connsiteY541" fmla="*/ 1307477 h 4069169"/>
              <a:gd name="connsiteX542" fmla="*/ 3057792 w 5110790"/>
              <a:gd name="connsiteY542" fmla="*/ 1286848 h 4069169"/>
              <a:gd name="connsiteX543" fmla="*/ 3066859 w 5110790"/>
              <a:gd name="connsiteY543" fmla="*/ 1264133 h 4069169"/>
              <a:gd name="connsiteX544" fmla="*/ 3074271 w 5110790"/>
              <a:gd name="connsiteY544" fmla="*/ 1239402 h 4069169"/>
              <a:gd name="connsiteX545" fmla="*/ 3080167 w 5110790"/>
              <a:gd name="connsiteY545" fmla="*/ 1212729 h 4069169"/>
              <a:gd name="connsiteX546" fmla="*/ 3084682 w 5110790"/>
              <a:gd name="connsiteY546" fmla="*/ 1184184 h 4069169"/>
              <a:gd name="connsiteX547" fmla="*/ 3087956 w 5110790"/>
              <a:gd name="connsiteY547" fmla="*/ 1153838 h 4069169"/>
              <a:gd name="connsiteX548" fmla="*/ 3090124 w 5110790"/>
              <a:gd name="connsiteY548" fmla="*/ 1121765 h 4069169"/>
              <a:gd name="connsiteX549" fmla="*/ 3091324 w 5110790"/>
              <a:gd name="connsiteY549" fmla="*/ 1088036 h 4069169"/>
              <a:gd name="connsiteX550" fmla="*/ 3091694 w 5110790"/>
              <a:gd name="connsiteY550" fmla="*/ 1052721 h 4069169"/>
              <a:gd name="connsiteX551" fmla="*/ 3091305 w 5110790"/>
              <a:gd name="connsiteY551" fmla="*/ 1017753 h 4069169"/>
              <a:gd name="connsiteX552" fmla="*/ 3090050 w 5110790"/>
              <a:gd name="connsiteY552" fmla="*/ 984350 h 4069169"/>
              <a:gd name="connsiteX553" fmla="*/ 3087800 w 5110790"/>
              <a:gd name="connsiteY553" fmla="*/ 952581 h 4069169"/>
              <a:gd name="connsiteX554" fmla="*/ 3084425 w 5110790"/>
              <a:gd name="connsiteY554" fmla="*/ 922520 h 4069169"/>
              <a:gd name="connsiteX555" fmla="*/ 3079795 w 5110790"/>
              <a:gd name="connsiteY555" fmla="*/ 894237 h 4069169"/>
              <a:gd name="connsiteX556" fmla="*/ 3073782 w 5110790"/>
              <a:gd name="connsiteY556" fmla="*/ 867805 h 4069169"/>
              <a:gd name="connsiteX557" fmla="*/ 3066253 w 5110790"/>
              <a:gd name="connsiteY557" fmla="*/ 843295 h 4069169"/>
              <a:gd name="connsiteX558" fmla="*/ 3057081 w 5110790"/>
              <a:gd name="connsiteY558" fmla="*/ 820780 h 4069169"/>
              <a:gd name="connsiteX559" fmla="*/ 3046134 w 5110790"/>
              <a:gd name="connsiteY559" fmla="*/ 800330 h 4069169"/>
              <a:gd name="connsiteX560" fmla="*/ 3018400 w 5110790"/>
              <a:gd name="connsiteY560" fmla="*/ 765914 h 4069169"/>
              <a:gd name="connsiteX561" fmla="*/ 2982013 w 5110790"/>
              <a:gd name="connsiteY561" fmla="*/ 740620 h 4069169"/>
              <a:gd name="connsiteX562" fmla="*/ 2960250 w 5110790"/>
              <a:gd name="connsiteY562" fmla="*/ 731574 h 4069169"/>
              <a:gd name="connsiteX563" fmla="*/ 2935934 w 5110790"/>
              <a:gd name="connsiteY563" fmla="*/ 725024 h 4069169"/>
              <a:gd name="connsiteX564" fmla="*/ 2908936 w 5110790"/>
              <a:gd name="connsiteY564" fmla="*/ 721041 h 4069169"/>
              <a:gd name="connsiteX565" fmla="*/ 2879125 w 5110790"/>
              <a:gd name="connsiteY565" fmla="*/ 719697 h 4069169"/>
              <a:gd name="connsiteX566" fmla="*/ 2565698 w 5110790"/>
              <a:gd name="connsiteY566" fmla="*/ 659976 h 4069169"/>
              <a:gd name="connsiteX567" fmla="*/ 2565698 w 5110790"/>
              <a:gd name="connsiteY567" fmla="*/ 719697 h 4069169"/>
              <a:gd name="connsiteX568" fmla="*/ 2536056 w 5110790"/>
              <a:gd name="connsiteY568" fmla="*/ 721041 h 4069169"/>
              <a:gd name="connsiteX569" fmla="*/ 2509206 w 5110790"/>
              <a:gd name="connsiteY569" fmla="*/ 725024 h 4069169"/>
              <a:gd name="connsiteX570" fmla="*/ 2485020 w 5110790"/>
              <a:gd name="connsiteY570" fmla="*/ 731574 h 4069169"/>
              <a:gd name="connsiteX571" fmla="*/ 2463369 w 5110790"/>
              <a:gd name="connsiteY571" fmla="*/ 740620 h 4069169"/>
              <a:gd name="connsiteX572" fmla="*/ 2427161 w 5110790"/>
              <a:gd name="connsiteY572" fmla="*/ 765914 h 4069169"/>
              <a:gd name="connsiteX573" fmla="*/ 2399551 w 5110790"/>
              <a:gd name="connsiteY573" fmla="*/ 800330 h 4069169"/>
              <a:gd name="connsiteX574" fmla="*/ 2388649 w 5110790"/>
              <a:gd name="connsiteY574" fmla="*/ 820780 h 4069169"/>
              <a:gd name="connsiteX575" fmla="*/ 2379511 w 5110790"/>
              <a:gd name="connsiteY575" fmla="*/ 843295 h 4069169"/>
              <a:gd name="connsiteX576" fmla="*/ 2372009 w 5110790"/>
              <a:gd name="connsiteY576" fmla="*/ 867805 h 4069169"/>
              <a:gd name="connsiteX577" fmla="*/ 2366014 w 5110790"/>
              <a:gd name="connsiteY577" fmla="*/ 894237 h 4069169"/>
              <a:gd name="connsiteX578" fmla="*/ 2361397 w 5110790"/>
              <a:gd name="connsiteY578" fmla="*/ 922520 h 4069169"/>
              <a:gd name="connsiteX579" fmla="*/ 2358029 w 5110790"/>
              <a:gd name="connsiteY579" fmla="*/ 952581 h 4069169"/>
              <a:gd name="connsiteX580" fmla="*/ 2355783 w 5110790"/>
              <a:gd name="connsiteY580" fmla="*/ 984350 h 4069169"/>
              <a:gd name="connsiteX581" fmla="*/ 2354530 w 5110790"/>
              <a:gd name="connsiteY581" fmla="*/ 1017753 h 4069169"/>
              <a:gd name="connsiteX582" fmla="*/ 2354141 w 5110790"/>
              <a:gd name="connsiteY582" fmla="*/ 1052721 h 4069169"/>
              <a:gd name="connsiteX583" fmla="*/ 2354520 w 5110790"/>
              <a:gd name="connsiteY583" fmla="*/ 1088036 h 4069169"/>
              <a:gd name="connsiteX584" fmla="*/ 2355746 w 5110790"/>
              <a:gd name="connsiteY584" fmla="*/ 1121765 h 4069169"/>
              <a:gd name="connsiteX585" fmla="*/ 2357952 w 5110790"/>
              <a:gd name="connsiteY585" fmla="*/ 1153838 h 4069169"/>
              <a:gd name="connsiteX586" fmla="*/ 2361268 w 5110790"/>
              <a:gd name="connsiteY586" fmla="*/ 1184184 h 4069169"/>
              <a:gd name="connsiteX587" fmla="*/ 2365828 w 5110790"/>
              <a:gd name="connsiteY587" fmla="*/ 1212729 h 4069169"/>
              <a:gd name="connsiteX588" fmla="*/ 2371764 w 5110790"/>
              <a:gd name="connsiteY588" fmla="*/ 1239402 h 4069169"/>
              <a:gd name="connsiteX589" fmla="*/ 2379208 w 5110790"/>
              <a:gd name="connsiteY589" fmla="*/ 1264133 h 4069169"/>
              <a:gd name="connsiteX590" fmla="*/ 2388293 w 5110790"/>
              <a:gd name="connsiteY590" fmla="*/ 1286848 h 4069169"/>
              <a:gd name="connsiteX591" fmla="*/ 2399150 w 5110790"/>
              <a:gd name="connsiteY591" fmla="*/ 1307477 h 4069169"/>
              <a:gd name="connsiteX592" fmla="*/ 2426712 w 5110790"/>
              <a:gd name="connsiteY592" fmla="*/ 1342188 h 4069169"/>
              <a:gd name="connsiteX593" fmla="*/ 2462952 w 5110790"/>
              <a:gd name="connsiteY593" fmla="*/ 1367691 h 4069169"/>
              <a:gd name="connsiteX594" fmla="*/ 2484656 w 5110790"/>
              <a:gd name="connsiteY594" fmla="*/ 1376811 h 4069169"/>
              <a:gd name="connsiteX595" fmla="*/ 2508928 w 5110790"/>
              <a:gd name="connsiteY595" fmla="*/ 1383413 h 4069169"/>
              <a:gd name="connsiteX596" fmla="*/ 2535898 w 5110790"/>
              <a:gd name="connsiteY596" fmla="*/ 1387428 h 4069169"/>
              <a:gd name="connsiteX597" fmla="*/ 2565698 w 5110790"/>
              <a:gd name="connsiteY597" fmla="*/ 1388782 h 4069169"/>
              <a:gd name="connsiteX598" fmla="*/ 2565698 w 5110790"/>
              <a:gd name="connsiteY598" fmla="*/ 1447491 h 4069169"/>
              <a:gd name="connsiteX599" fmla="*/ 2533244 w 5110790"/>
              <a:gd name="connsiteY599" fmla="*/ 1446346 h 4069169"/>
              <a:gd name="connsiteX600" fmla="*/ 2503241 w 5110790"/>
              <a:gd name="connsiteY600" fmla="*/ 1442942 h 4069169"/>
              <a:gd name="connsiteX601" fmla="*/ 2475603 w 5110790"/>
              <a:gd name="connsiteY601" fmla="*/ 1437331 h 4069169"/>
              <a:gd name="connsiteX602" fmla="*/ 2450247 w 5110790"/>
              <a:gd name="connsiteY602" fmla="*/ 1429562 h 4069169"/>
              <a:gd name="connsiteX603" fmla="*/ 2427085 w 5110790"/>
              <a:gd name="connsiteY603" fmla="*/ 1419686 h 4069169"/>
              <a:gd name="connsiteX604" fmla="*/ 2406034 w 5110790"/>
              <a:gd name="connsiteY604" fmla="*/ 1407753 h 4069169"/>
              <a:gd name="connsiteX605" fmla="*/ 2387009 w 5110790"/>
              <a:gd name="connsiteY605" fmla="*/ 1393812 h 4069169"/>
              <a:gd name="connsiteX606" fmla="*/ 2369924 w 5110790"/>
              <a:gd name="connsiteY606" fmla="*/ 1377914 h 4069169"/>
              <a:gd name="connsiteX607" fmla="*/ 2354694 w 5110790"/>
              <a:gd name="connsiteY607" fmla="*/ 1360110 h 4069169"/>
              <a:gd name="connsiteX608" fmla="*/ 2341235 w 5110790"/>
              <a:gd name="connsiteY608" fmla="*/ 1340448 h 4069169"/>
              <a:gd name="connsiteX609" fmla="*/ 2329461 w 5110790"/>
              <a:gd name="connsiteY609" fmla="*/ 1318979 h 4069169"/>
              <a:gd name="connsiteX610" fmla="*/ 2319288 w 5110790"/>
              <a:gd name="connsiteY610" fmla="*/ 1295754 h 4069169"/>
              <a:gd name="connsiteX611" fmla="*/ 2310630 w 5110790"/>
              <a:gd name="connsiteY611" fmla="*/ 1270822 h 4069169"/>
              <a:gd name="connsiteX612" fmla="*/ 2303402 w 5110790"/>
              <a:gd name="connsiteY612" fmla="*/ 1244233 h 4069169"/>
              <a:gd name="connsiteX613" fmla="*/ 2297519 w 5110790"/>
              <a:gd name="connsiteY613" fmla="*/ 1216038 h 4069169"/>
              <a:gd name="connsiteX614" fmla="*/ 2292897 w 5110790"/>
              <a:gd name="connsiteY614" fmla="*/ 1186287 h 4069169"/>
              <a:gd name="connsiteX615" fmla="*/ 2289449 w 5110790"/>
              <a:gd name="connsiteY615" fmla="*/ 1155029 h 4069169"/>
              <a:gd name="connsiteX616" fmla="*/ 2287092 w 5110790"/>
              <a:gd name="connsiteY616" fmla="*/ 1122316 h 4069169"/>
              <a:gd name="connsiteX617" fmla="*/ 2285740 w 5110790"/>
              <a:gd name="connsiteY617" fmla="*/ 1088196 h 4069169"/>
              <a:gd name="connsiteX618" fmla="*/ 2285309 w 5110790"/>
              <a:gd name="connsiteY618" fmla="*/ 1052721 h 4069169"/>
              <a:gd name="connsiteX619" fmla="*/ 2285755 w 5110790"/>
              <a:gd name="connsiteY619" fmla="*/ 1017397 h 4069169"/>
              <a:gd name="connsiteX620" fmla="*/ 2287147 w 5110790"/>
              <a:gd name="connsiteY620" fmla="*/ 983429 h 4069169"/>
              <a:gd name="connsiteX621" fmla="*/ 2289566 w 5110790"/>
              <a:gd name="connsiteY621" fmla="*/ 950865 h 4069169"/>
              <a:gd name="connsiteX622" fmla="*/ 2293091 w 5110790"/>
              <a:gd name="connsiteY622" fmla="*/ 919755 h 4069169"/>
              <a:gd name="connsiteX623" fmla="*/ 2297804 w 5110790"/>
              <a:gd name="connsiteY623" fmla="*/ 890147 h 4069169"/>
              <a:gd name="connsiteX624" fmla="*/ 2303784 w 5110790"/>
              <a:gd name="connsiteY624" fmla="*/ 862093 h 4069169"/>
              <a:gd name="connsiteX625" fmla="*/ 2311113 w 5110790"/>
              <a:gd name="connsiteY625" fmla="*/ 835640 h 4069169"/>
              <a:gd name="connsiteX626" fmla="*/ 2319870 w 5110790"/>
              <a:gd name="connsiteY626" fmla="*/ 810839 h 4069169"/>
              <a:gd name="connsiteX627" fmla="*/ 2330137 w 5110790"/>
              <a:gd name="connsiteY627" fmla="*/ 787738 h 4069169"/>
              <a:gd name="connsiteX628" fmla="*/ 2341994 w 5110790"/>
              <a:gd name="connsiteY628" fmla="*/ 766386 h 4069169"/>
              <a:gd name="connsiteX629" fmla="*/ 2355521 w 5110790"/>
              <a:gd name="connsiteY629" fmla="*/ 746834 h 4069169"/>
              <a:gd name="connsiteX630" fmla="*/ 2370798 w 5110790"/>
              <a:gd name="connsiteY630" fmla="*/ 729131 h 4069169"/>
              <a:gd name="connsiteX631" fmla="*/ 2387907 w 5110790"/>
              <a:gd name="connsiteY631" fmla="*/ 713326 h 4069169"/>
              <a:gd name="connsiteX632" fmla="*/ 2406927 w 5110790"/>
              <a:gd name="connsiteY632" fmla="*/ 699468 h 4069169"/>
              <a:gd name="connsiteX633" fmla="*/ 2427939 w 5110790"/>
              <a:gd name="connsiteY633" fmla="*/ 687607 h 4069169"/>
              <a:gd name="connsiteX634" fmla="*/ 2451024 w 5110790"/>
              <a:gd name="connsiteY634" fmla="*/ 677791 h 4069169"/>
              <a:gd name="connsiteX635" fmla="*/ 2476262 w 5110790"/>
              <a:gd name="connsiteY635" fmla="*/ 670071 h 4069169"/>
              <a:gd name="connsiteX636" fmla="*/ 2503733 w 5110790"/>
              <a:gd name="connsiteY636" fmla="*/ 664495 h 4069169"/>
              <a:gd name="connsiteX637" fmla="*/ 2533518 w 5110790"/>
              <a:gd name="connsiteY637" fmla="*/ 661113 h 4069169"/>
              <a:gd name="connsiteX638" fmla="*/ 1358847 w 5110790"/>
              <a:gd name="connsiteY638" fmla="*/ 0 h 4069169"/>
              <a:gd name="connsiteX639" fmla="*/ 1439826 w 5110790"/>
              <a:gd name="connsiteY639" fmla="*/ 0 h 4069169"/>
              <a:gd name="connsiteX640" fmla="*/ 1554207 w 5110790"/>
              <a:gd name="connsiteY640" fmla="*/ 209532 h 4069169"/>
              <a:gd name="connsiteX641" fmla="*/ 1437801 w 5110790"/>
              <a:gd name="connsiteY641" fmla="*/ 425136 h 4069169"/>
              <a:gd name="connsiteX642" fmla="*/ 1358847 w 5110790"/>
              <a:gd name="connsiteY642" fmla="*/ 425136 h 4069169"/>
              <a:gd name="connsiteX643" fmla="*/ 1458045 w 5110790"/>
              <a:gd name="connsiteY643" fmla="*/ 239899 h 4069169"/>
              <a:gd name="connsiteX644" fmla="*/ 1068337 w 5110790"/>
              <a:gd name="connsiteY644" fmla="*/ 239899 h 4069169"/>
              <a:gd name="connsiteX645" fmla="*/ 1068337 w 5110790"/>
              <a:gd name="connsiteY645" fmla="*/ 175116 h 4069169"/>
              <a:gd name="connsiteX646" fmla="*/ 1456021 w 5110790"/>
              <a:gd name="connsiteY646" fmla="*/ 175116 h 4069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Lst>
            <a:rect l="l" t="t" r="r" b="b"/>
            <a:pathLst>
              <a:path w="5110790" h="4069169">
                <a:moveTo>
                  <a:pt x="1358848" y="3644032"/>
                </a:moveTo>
                <a:lnTo>
                  <a:pt x="1439827" y="3644032"/>
                </a:lnTo>
                <a:lnTo>
                  <a:pt x="1554208" y="3853564"/>
                </a:lnTo>
                <a:lnTo>
                  <a:pt x="1437802" y="4069169"/>
                </a:lnTo>
                <a:lnTo>
                  <a:pt x="1358848" y="4069169"/>
                </a:lnTo>
                <a:lnTo>
                  <a:pt x="1458046" y="3883931"/>
                </a:lnTo>
                <a:lnTo>
                  <a:pt x="1068338" y="3883931"/>
                </a:lnTo>
                <a:lnTo>
                  <a:pt x="1068338" y="3819148"/>
                </a:lnTo>
                <a:lnTo>
                  <a:pt x="1456022" y="3819148"/>
                </a:lnTo>
                <a:close/>
                <a:moveTo>
                  <a:pt x="3579243" y="3101476"/>
                </a:moveTo>
                <a:lnTo>
                  <a:pt x="3604850" y="3103707"/>
                </a:lnTo>
                <a:lnTo>
                  <a:pt x="3624668" y="3111725"/>
                </a:lnTo>
                <a:lnTo>
                  <a:pt x="3637463" y="3127526"/>
                </a:lnTo>
                <a:lnTo>
                  <a:pt x="3642002" y="3153100"/>
                </a:lnTo>
                <a:lnTo>
                  <a:pt x="3637463" y="3179845"/>
                </a:lnTo>
                <a:lnTo>
                  <a:pt x="3624668" y="3196247"/>
                </a:lnTo>
                <a:lnTo>
                  <a:pt x="3604850" y="3204487"/>
                </a:lnTo>
                <a:lnTo>
                  <a:pt x="3579243" y="3206749"/>
                </a:lnTo>
                <a:lnTo>
                  <a:pt x="3553637" y="3204487"/>
                </a:lnTo>
                <a:lnTo>
                  <a:pt x="3533820" y="3196247"/>
                </a:lnTo>
                <a:lnTo>
                  <a:pt x="3521024" y="3179845"/>
                </a:lnTo>
                <a:lnTo>
                  <a:pt x="3516485" y="3153100"/>
                </a:lnTo>
                <a:lnTo>
                  <a:pt x="3521166" y="3127526"/>
                </a:lnTo>
                <a:lnTo>
                  <a:pt x="3534199" y="3111725"/>
                </a:lnTo>
                <a:lnTo>
                  <a:pt x="3554064" y="3103707"/>
                </a:lnTo>
                <a:close/>
                <a:moveTo>
                  <a:pt x="1609095" y="3101476"/>
                </a:moveTo>
                <a:lnTo>
                  <a:pt x="1634701" y="3103707"/>
                </a:lnTo>
                <a:lnTo>
                  <a:pt x="1654519" y="3111725"/>
                </a:lnTo>
                <a:lnTo>
                  <a:pt x="1667313" y="3127526"/>
                </a:lnTo>
                <a:lnTo>
                  <a:pt x="1671852" y="3153100"/>
                </a:lnTo>
                <a:lnTo>
                  <a:pt x="1667313" y="3179845"/>
                </a:lnTo>
                <a:lnTo>
                  <a:pt x="1654519" y="3196247"/>
                </a:lnTo>
                <a:lnTo>
                  <a:pt x="1634701" y="3204487"/>
                </a:lnTo>
                <a:lnTo>
                  <a:pt x="1609095" y="3206749"/>
                </a:lnTo>
                <a:lnTo>
                  <a:pt x="1583490" y="3204487"/>
                </a:lnTo>
                <a:lnTo>
                  <a:pt x="1563672" y="3196247"/>
                </a:lnTo>
                <a:lnTo>
                  <a:pt x="1550877" y="3179845"/>
                </a:lnTo>
                <a:lnTo>
                  <a:pt x="1546338" y="3153100"/>
                </a:lnTo>
                <a:lnTo>
                  <a:pt x="1551019" y="3127526"/>
                </a:lnTo>
                <a:lnTo>
                  <a:pt x="1564051" y="3111725"/>
                </a:lnTo>
                <a:lnTo>
                  <a:pt x="1583917" y="3103707"/>
                </a:lnTo>
                <a:close/>
                <a:moveTo>
                  <a:pt x="3579243" y="2676340"/>
                </a:moveTo>
                <a:lnTo>
                  <a:pt x="3604850" y="2678443"/>
                </a:lnTo>
                <a:lnTo>
                  <a:pt x="3624668" y="2686335"/>
                </a:lnTo>
                <a:lnTo>
                  <a:pt x="3637463" y="2702388"/>
                </a:lnTo>
                <a:lnTo>
                  <a:pt x="3642002" y="2728976"/>
                </a:lnTo>
                <a:lnTo>
                  <a:pt x="3637463" y="2754708"/>
                </a:lnTo>
                <a:lnTo>
                  <a:pt x="3624668" y="2770857"/>
                </a:lnTo>
                <a:lnTo>
                  <a:pt x="3604850" y="2779223"/>
                </a:lnTo>
                <a:lnTo>
                  <a:pt x="3579243" y="2781612"/>
                </a:lnTo>
                <a:lnTo>
                  <a:pt x="3554223" y="2779223"/>
                </a:lnTo>
                <a:lnTo>
                  <a:pt x="3534706" y="2770857"/>
                </a:lnTo>
                <a:lnTo>
                  <a:pt x="3522021" y="2754708"/>
                </a:lnTo>
                <a:lnTo>
                  <a:pt x="3517498" y="2728976"/>
                </a:lnTo>
                <a:lnTo>
                  <a:pt x="3522021" y="2702388"/>
                </a:lnTo>
                <a:lnTo>
                  <a:pt x="3534706" y="2686335"/>
                </a:lnTo>
                <a:lnTo>
                  <a:pt x="3554223" y="2678443"/>
                </a:lnTo>
                <a:close/>
                <a:moveTo>
                  <a:pt x="1609095" y="2676340"/>
                </a:moveTo>
                <a:lnTo>
                  <a:pt x="1634701" y="2678443"/>
                </a:lnTo>
                <a:lnTo>
                  <a:pt x="1654519" y="2686335"/>
                </a:lnTo>
                <a:lnTo>
                  <a:pt x="1667313" y="2702388"/>
                </a:lnTo>
                <a:lnTo>
                  <a:pt x="1671852" y="2728976"/>
                </a:lnTo>
                <a:lnTo>
                  <a:pt x="1667313" y="2754708"/>
                </a:lnTo>
                <a:lnTo>
                  <a:pt x="1654519" y="2770857"/>
                </a:lnTo>
                <a:lnTo>
                  <a:pt x="1634701" y="2779223"/>
                </a:lnTo>
                <a:lnTo>
                  <a:pt x="1609095" y="2781612"/>
                </a:lnTo>
                <a:lnTo>
                  <a:pt x="1584075" y="2779223"/>
                </a:lnTo>
                <a:lnTo>
                  <a:pt x="1564558" y="2770857"/>
                </a:lnTo>
                <a:lnTo>
                  <a:pt x="1551873" y="2754708"/>
                </a:lnTo>
                <a:lnTo>
                  <a:pt x="1547350" y="2728976"/>
                </a:lnTo>
                <a:lnTo>
                  <a:pt x="1551873" y="2702388"/>
                </a:lnTo>
                <a:lnTo>
                  <a:pt x="1564558" y="2686335"/>
                </a:lnTo>
                <a:lnTo>
                  <a:pt x="1584075" y="2678443"/>
                </a:lnTo>
                <a:close/>
                <a:moveTo>
                  <a:pt x="2879125" y="2481992"/>
                </a:moveTo>
                <a:lnTo>
                  <a:pt x="2911305" y="2483129"/>
                </a:lnTo>
                <a:lnTo>
                  <a:pt x="2941090" y="2486511"/>
                </a:lnTo>
                <a:lnTo>
                  <a:pt x="2968561" y="2492087"/>
                </a:lnTo>
                <a:lnTo>
                  <a:pt x="2993799" y="2499807"/>
                </a:lnTo>
                <a:lnTo>
                  <a:pt x="3016884" y="2509622"/>
                </a:lnTo>
                <a:lnTo>
                  <a:pt x="3037896" y="2521483"/>
                </a:lnTo>
                <a:lnTo>
                  <a:pt x="3056916" y="2535342"/>
                </a:lnTo>
                <a:lnTo>
                  <a:pt x="3074024" y="2551147"/>
                </a:lnTo>
                <a:lnTo>
                  <a:pt x="3089302" y="2568850"/>
                </a:lnTo>
                <a:lnTo>
                  <a:pt x="3102829" y="2588403"/>
                </a:lnTo>
                <a:lnTo>
                  <a:pt x="3114685" y="2609754"/>
                </a:lnTo>
                <a:lnTo>
                  <a:pt x="3124952" y="2632854"/>
                </a:lnTo>
                <a:lnTo>
                  <a:pt x="3133709" y="2657656"/>
                </a:lnTo>
                <a:lnTo>
                  <a:pt x="3141039" y="2684109"/>
                </a:lnTo>
                <a:lnTo>
                  <a:pt x="3147019" y="2712163"/>
                </a:lnTo>
                <a:lnTo>
                  <a:pt x="3151732" y="2741770"/>
                </a:lnTo>
                <a:lnTo>
                  <a:pt x="3155257" y="2772881"/>
                </a:lnTo>
                <a:lnTo>
                  <a:pt x="3157675" y="2805445"/>
                </a:lnTo>
                <a:lnTo>
                  <a:pt x="3159067" y="2839413"/>
                </a:lnTo>
                <a:lnTo>
                  <a:pt x="3159514" y="2874737"/>
                </a:lnTo>
                <a:lnTo>
                  <a:pt x="3159089" y="2910212"/>
                </a:lnTo>
                <a:lnTo>
                  <a:pt x="3157757" y="2944332"/>
                </a:lnTo>
                <a:lnTo>
                  <a:pt x="3155431" y="2977045"/>
                </a:lnTo>
                <a:lnTo>
                  <a:pt x="3152023" y="3008303"/>
                </a:lnTo>
                <a:lnTo>
                  <a:pt x="3147446" y="3038054"/>
                </a:lnTo>
                <a:lnTo>
                  <a:pt x="3141612" y="3066249"/>
                </a:lnTo>
                <a:lnTo>
                  <a:pt x="3134435" y="3092837"/>
                </a:lnTo>
                <a:lnTo>
                  <a:pt x="3125826" y="3117770"/>
                </a:lnTo>
                <a:lnTo>
                  <a:pt x="3115700" y="3140995"/>
                </a:lnTo>
                <a:lnTo>
                  <a:pt x="3103967" y="3162464"/>
                </a:lnTo>
                <a:lnTo>
                  <a:pt x="3090542" y="3182126"/>
                </a:lnTo>
                <a:lnTo>
                  <a:pt x="3075336" y="3199931"/>
                </a:lnTo>
                <a:lnTo>
                  <a:pt x="3058263" y="3215828"/>
                </a:lnTo>
                <a:lnTo>
                  <a:pt x="3039235" y="3229769"/>
                </a:lnTo>
                <a:lnTo>
                  <a:pt x="3018165" y="3241703"/>
                </a:lnTo>
                <a:lnTo>
                  <a:pt x="2994965" y="3251579"/>
                </a:lnTo>
                <a:lnTo>
                  <a:pt x="2969548" y="3259347"/>
                </a:lnTo>
                <a:lnTo>
                  <a:pt x="2941828" y="3264959"/>
                </a:lnTo>
                <a:lnTo>
                  <a:pt x="2911716" y="3268362"/>
                </a:lnTo>
                <a:lnTo>
                  <a:pt x="2879125" y="3269508"/>
                </a:lnTo>
                <a:lnTo>
                  <a:pt x="2879125" y="3210798"/>
                </a:lnTo>
                <a:lnTo>
                  <a:pt x="2909252" y="3209444"/>
                </a:lnTo>
                <a:lnTo>
                  <a:pt x="2936490" y="3205429"/>
                </a:lnTo>
                <a:lnTo>
                  <a:pt x="2960977" y="3198827"/>
                </a:lnTo>
                <a:lnTo>
                  <a:pt x="2982849" y="3189707"/>
                </a:lnTo>
                <a:lnTo>
                  <a:pt x="3019298" y="3164203"/>
                </a:lnTo>
                <a:lnTo>
                  <a:pt x="3046935" y="3129493"/>
                </a:lnTo>
                <a:lnTo>
                  <a:pt x="3057792" y="3108864"/>
                </a:lnTo>
                <a:lnTo>
                  <a:pt x="3066859" y="3086149"/>
                </a:lnTo>
                <a:lnTo>
                  <a:pt x="3074271" y="3061419"/>
                </a:lnTo>
                <a:lnTo>
                  <a:pt x="3080167" y="3034745"/>
                </a:lnTo>
                <a:lnTo>
                  <a:pt x="3084682" y="3006199"/>
                </a:lnTo>
                <a:lnTo>
                  <a:pt x="3087956" y="2975855"/>
                </a:lnTo>
                <a:lnTo>
                  <a:pt x="3090124" y="2943781"/>
                </a:lnTo>
                <a:lnTo>
                  <a:pt x="3091324" y="2910051"/>
                </a:lnTo>
                <a:lnTo>
                  <a:pt x="3091694" y="2874737"/>
                </a:lnTo>
                <a:lnTo>
                  <a:pt x="3091305" y="2839769"/>
                </a:lnTo>
                <a:lnTo>
                  <a:pt x="3090050" y="2806365"/>
                </a:lnTo>
                <a:lnTo>
                  <a:pt x="3087800" y="2774596"/>
                </a:lnTo>
                <a:lnTo>
                  <a:pt x="3084425" y="2744535"/>
                </a:lnTo>
                <a:lnTo>
                  <a:pt x="3079795" y="2716252"/>
                </a:lnTo>
                <a:lnTo>
                  <a:pt x="3073782" y="2689820"/>
                </a:lnTo>
                <a:lnTo>
                  <a:pt x="3066253" y="2665311"/>
                </a:lnTo>
                <a:lnTo>
                  <a:pt x="3057081" y="2642795"/>
                </a:lnTo>
                <a:lnTo>
                  <a:pt x="3046134" y="2622345"/>
                </a:lnTo>
                <a:lnTo>
                  <a:pt x="3018400" y="2587929"/>
                </a:lnTo>
                <a:lnTo>
                  <a:pt x="2982013" y="2562635"/>
                </a:lnTo>
                <a:lnTo>
                  <a:pt x="2960250" y="2553590"/>
                </a:lnTo>
                <a:lnTo>
                  <a:pt x="2935934" y="2547039"/>
                </a:lnTo>
                <a:lnTo>
                  <a:pt x="2908936" y="2543056"/>
                </a:lnTo>
                <a:lnTo>
                  <a:pt x="2879125" y="2541713"/>
                </a:lnTo>
                <a:close/>
                <a:moveTo>
                  <a:pt x="2565698" y="2481992"/>
                </a:moveTo>
                <a:lnTo>
                  <a:pt x="2565698" y="2541713"/>
                </a:lnTo>
                <a:lnTo>
                  <a:pt x="2536056" y="2543056"/>
                </a:lnTo>
                <a:lnTo>
                  <a:pt x="2509206" y="2547039"/>
                </a:lnTo>
                <a:lnTo>
                  <a:pt x="2485020" y="2553590"/>
                </a:lnTo>
                <a:lnTo>
                  <a:pt x="2463369" y="2562635"/>
                </a:lnTo>
                <a:lnTo>
                  <a:pt x="2427161" y="2587929"/>
                </a:lnTo>
                <a:lnTo>
                  <a:pt x="2399551" y="2622345"/>
                </a:lnTo>
                <a:lnTo>
                  <a:pt x="2388649" y="2642795"/>
                </a:lnTo>
                <a:lnTo>
                  <a:pt x="2379511" y="2665311"/>
                </a:lnTo>
                <a:lnTo>
                  <a:pt x="2372009" y="2689820"/>
                </a:lnTo>
                <a:lnTo>
                  <a:pt x="2366014" y="2716252"/>
                </a:lnTo>
                <a:lnTo>
                  <a:pt x="2361397" y="2744535"/>
                </a:lnTo>
                <a:lnTo>
                  <a:pt x="2358029" y="2774596"/>
                </a:lnTo>
                <a:lnTo>
                  <a:pt x="2355783" y="2806365"/>
                </a:lnTo>
                <a:lnTo>
                  <a:pt x="2354530" y="2839769"/>
                </a:lnTo>
                <a:lnTo>
                  <a:pt x="2354141" y="2874737"/>
                </a:lnTo>
                <a:lnTo>
                  <a:pt x="2354520" y="2910051"/>
                </a:lnTo>
                <a:lnTo>
                  <a:pt x="2355746" y="2943781"/>
                </a:lnTo>
                <a:lnTo>
                  <a:pt x="2357952" y="2975855"/>
                </a:lnTo>
                <a:lnTo>
                  <a:pt x="2361268" y="3006199"/>
                </a:lnTo>
                <a:lnTo>
                  <a:pt x="2365828" y="3034745"/>
                </a:lnTo>
                <a:lnTo>
                  <a:pt x="2371764" y="3061419"/>
                </a:lnTo>
                <a:lnTo>
                  <a:pt x="2379208" y="3086149"/>
                </a:lnTo>
                <a:lnTo>
                  <a:pt x="2388293" y="3108864"/>
                </a:lnTo>
                <a:lnTo>
                  <a:pt x="2399150" y="3129493"/>
                </a:lnTo>
                <a:lnTo>
                  <a:pt x="2426712" y="3164203"/>
                </a:lnTo>
                <a:lnTo>
                  <a:pt x="2462952" y="3189707"/>
                </a:lnTo>
                <a:lnTo>
                  <a:pt x="2484656" y="3198827"/>
                </a:lnTo>
                <a:lnTo>
                  <a:pt x="2508928" y="3205429"/>
                </a:lnTo>
                <a:lnTo>
                  <a:pt x="2535898" y="3209444"/>
                </a:lnTo>
                <a:lnTo>
                  <a:pt x="2565698" y="3210798"/>
                </a:lnTo>
                <a:lnTo>
                  <a:pt x="2565698" y="3269508"/>
                </a:lnTo>
                <a:lnTo>
                  <a:pt x="2533244" y="3268362"/>
                </a:lnTo>
                <a:lnTo>
                  <a:pt x="2503241" y="3264959"/>
                </a:lnTo>
                <a:lnTo>
                  <a:pt x="2475603" y="3259347"/>
                </a:lnTo>
                <a:lnTo>
                  <a:pt x="2450247" y="3251579"/>
                </a:lnTo>
                <a:lnTo>
                  <a:pt x="2427085" y="3241703"/>
                </a:lnTo>
                <a:lnTo>
                  <a:pt x="2406034" y="3229769"/>
                </a:lnTo>
                <a:lnTo>
                  <a:pt x="2387009" y="3215828"/>
                </a:lnTo>
                <a:lnTo>
                  <a:pt x="2369924" y="3199931"/>
                </a:lnTo>
                <a:lnTo>
                  <a:pt x="2354694" y="3182126"/>
                </a:lnTo>
                <a:lnTo>
                  <a:pt x="2341235" y="3162464"/>
                </a:lnTo>
                <a:lnTo>
                  <a:pt x="2329461" y="3140995"/>
                </a:lnTo>
                <a:lnTo>
                  <a:pt x="2319288" y="3117770"/>
                </a:lnTo>
                <a:lnTo>
                  <a:pt x="2310630" y="3092837"/>
                </a:lnTo>
                <a:lnTo>
                  <a:pt x="2303402" y="3066249"/>
                </a:lnTo>
                <a:lnTo>
                  <a:pt x="2297519" y="3038054"/>
                </a:lnTo>
                <a:lnTo>
                  <a:pt x="2292897" y="3008303"/>
                </a:lnTo>
                <a:lnTo>
                  <a:pt x="2289449" y="2977045"/>
                </a:lnTo>
                <a:lnTo>
                  <a:pt x="2287092" y="2944332"/>
                </a:lnTo>
                <a:lnTo>
                  <a:pt x="2285740" y="2910212"/>
                </a:lnTo>
                <a:lnTo>
                  <a:pt x="2285309" y="2874737"/>
                </a:lnTo>
                <a:lnTo>
                  <a:pt x="2285755" y="2839413"/>
                </a:lnTo>
                <a:lnTo>
                  <a:pt x="2287147" y="2805445"/>
                </a:lnTo>
                <a:lnTo>
                  <a:pt x="2289566" y="2772881"/>
                </a:lnTo>
                <a:lnTo>
                  <a:pt x="2293091" y="2741770"/>
                </a:lnTo>
                <a:lnTo>
                  <a:pt x="2297804" y="2712163"/>
                </a:lnTo>
                <a:lnTo>
                  <a:pt x="2303784" y="2684109"/>
                </a:lnTo>
                <a:lnTo>
                  <a:pt x="2311113" y="2657656"/>
                </a:lnTo>
                <a:lnTo>
                  <a:pt x="2319870" y="2632854"/>
                </a:lnTo>
                <a:lnTo>
                  <a:pt x="2330137" y="2609754"/>
                </a:lnTo>
                <a:lnTo>
                  <a:pt x="2341994" y="2588403"/>
                </a:lnTo>
                <a:lnTo>
                  <a:pt x="2355521" y="2568850"/>
                </a:lnTo>
                <a:lnTo>
                  <a:pt x="2370798" y="2551147"/>
                </a:lnTo>
                <a:lnTo>
                  <a:pt x="2387907" y="2535342"/>
                </a:lnTo>
                <a:lnTo>
                  <a:pt x="2406927" y="2521483"/>
                </a:lnTo>
                <a:lnTo>
                  <a:pt x="2427939" y="2509622"/>
                </a:lnTo>
                <a:lnTo>
                  <a:pt x="2451024" y="2499807"/>
                </a:lnTo>
                <a:lnTo>
                  <a:pt x="2476262" y="2492087"/>
                </a:lnTo>
                <a:lnTo>
                  <a:pt x="2503733" y="2486511"/>
                </a:lnTo>
                <a:lnTo>
                  <a:pt x="2533518" y="2483129"/>
                </a:lnTo>
                <a:close/>
                <a:moveTo>
                  <a:pt x="4308476" y="2413668"/>
                </a:moveTo>
                <a:lnTo>
                  <a:pt x="4389455" y="2413668"/>
                </a:lnTo>
                <a:lnTo>
                  <a:pt x="4503836" y="2623200"/>
                </a:lnTo>
                <a:lnTo>
                  <a:pt x="4387430" y="2838804"/>
                </a:lnTo>
                <a:lnTo>
                  <a:pt x="4308476" y="2838804"/>
                </a:lnTo>
                <a:lnTo>
                  <a:pt x="4407674" y="2653567"/>
                </a:lnTo>
                <a:lnTo>
                  <a:pt x="4017966" y="2653567"/>
                </a:lnTo>
                <a:lnTo>
                  <a:pt x="4017966" y="2588784"/>
                </a:lnTo>
                <a:lnTo>
                  <a:pt x="4405650" y="2588784"/>
                </a:lnTo>
                <a:close/>
                <a:moveTo>
                  <a:pt x="2147951" y="2190467"/>
                </a:moveTo>
                <a:lnTo>
                  <a:pt x="2173557" y="2192697"/>
                </a:lnTo>
                <a:lnTo>
                  <a:pt x="2193375" y="2200715"/>
                </a:lnTo>
                <a:lnTo>
                  <a:pt x="2206169" y="2216516"/>
                </a:lnTo>
                <a:lnTo>
                  <a:pt x="2210708" y="2242090"/>
                </a:lnTo>
                <a:lnTo>
                  <a:pt x="2206169" y="2268835"/>
                </a:lnTo>
                <a:lnTo>
                  <a:pt x="2193375" y="2285237"/>
                </a:lnTo>
                <a:lnTo>
                  <a:pt x="2173557" y="2293477"/>
                </a:lnTo>
                <a:lnTo>
                  <a:pt x="2147951" y="2295739"/>
                </a:lnTo>
                <a:lnTo>
                  <a:pt x="2122345" y="2293477"/>
                </a:lnTo>
                <a:lnTo>
                  <a:pt x="2102527" y="2285237"/>
                </a:lnTo>
                <a:lnTo>
                  <a:pt x="2089732" y="2268835"/>
                </a:lnTo>
                <a:lnTo>
                  <a:pt x="2085193" y="2242090"/>
                </a:lnTo>
                <a:lnTo>
                  <a:pt x="2089874" y="2216516"/>
                </a:lnTo>
                <a:lnTo>
                  <a:pt x="2102907" y="2200715"/>
                </a:lnTo>
                <a:lnTo>
                  <a:pt x="2122772" y="2192697"/>
                </a:lnTo>
                <a:close/>
                <a:moveTo>
                  <a:pt x="784523" y="2190467"/>
                </a:moveTo>
                <a:lnTo>
                  <a:pt x="810129" y="2192697"/>
                </a:lnTo>
                <a:lnTo>
                  <a:pt x="829946" y="2200715"/>
                </a:lnTo>
                <a:lnTo>
                  <a:pt x="842741" y="2216516"/>
                </a:lnTo>
                <a:lnTo>
                  <a:pt x="847281" y="2242090"/>
                </a:lnTo>
                <a:lnTo>
                  <a:pt x="842741" y="2268835"/>
                </a:lnTo>
                <a:lnTo>
                  <a:pt x="829946" y="2285237"/>
                </a:lnTo>
                <a:lnTo>
                  <a:pt x="810129" y="2293477"/>
                </a:lnTo>
                <a:lnTo>
                  <a:pt x="784523" y="2295739"/>
                </a:lnTo>
                <a:lnTo>
                  <a:pt x="758916" y="2293477"/>
                </a:lnTo>
                <a:lnTo>
                  <a:pt x="739099" y="2285237"/>
                </a:lnTo>
                <a:lnTo>
                  <a:pt x="726304" y="2268835"/>
                </a:lnTo>
                <a:lnTo>
                  <a:pt x="721765" y="2242090"/>
                </a:lnTo>
                <a:lnTo>
                  <a:pt x="726446" y="2216516"/>
                </a:lnTo>
                <a:lnTo>
                  <a:pt x="739479" y="2200715"/>
                </a:lnTo>
                <a:lnTo>
                  <a:pt x="759344" y="2192697"/>
                </a:lnTo>
                <a:close/>
                <a:moveTo>
                  <a:pt x="62758" y="2190467"/>
                </a:moveTo>
                <a:lnTo>
                  <a:pt x="88364" y="2192697"/>
                </a:lnTo>
                <a:lnTo>
                  <a:pt x="108181" y="2200715"/>
                </a:lnTo>
                <a:lnTo>
                  <a:pt x="120977" y="2216516"/>
                </a:lnTo>
                <a:lnTo>
                  <a:pt x="125516" y="2242090"/>
                </a:lnTo>
                <a:lnTo>
                  <a:pt x="120977" y="2268835"/>
                </a:lnTo>
                <a:lnTo>
                  <a:pt x="108181" y="2285237"/>
                </a:lnTo>
                <a:lnTo>
                  <a:pt x="88364" y="2293477"/>
                </a:lnTo>
                <a:lnTo>
                  <a:pt x="62758" y="2295739"/>
                </a:lnTo>
                <a:lnTo>
                  <a:pt x="37151" y="2293477"/>
                </a:lnTo>
                <a:lnTo>
                  <a:pt x="17334" y="2285237"/>
                </a:lnTo>
                <a:lnTo>
                  <a:pt x="4539" y="2268835"/>
                </a:lnTo>
                <a:lnTo>
                  <a:pt x="0" y="2242090"/>
                </a:lnTo>
                <a:lnTo>
                  <a:pt x="4681" y="2216516"/>
                </a:lnTo>
                <a:lnTo>
                  <a:pt x="17713" y="2200715"/>
                </a:lnTo>
                <a:lnTo>
                  <a:pt x="37578" y="2192697"/>
                </a:lnTo>
                <a:close/>
                <a:moveTo>
                  <a:pt x="4915430" y="1822022"/>
                </a:moveTo>
                <a:lnTo>
                  <a:pt x="4996408" y="1822022"/>
                </a:lnTo>
                <a:lnTo>
                  <a:pt x="5110790" y="2031553"/>
                </a:lnTo>
                <a:lnTo>
                  <a:pt x="4994384" y="2247158"/>
                </a:lnTo>
                <a:lnTo>
                  <a:pt x="4915430" y="2247158"/>
                </a:lnTo>
                <a:lnTo>
                  <a:pt x="5014628" y="2061920"/>
                </a:lnTo>
                <a:lnTo>
                  <a:pt x="4624920" y="2061920"/>
                </a:lnTo>
                <a:lnTo>
                  <a:pt x="4624920" y="1997137"/>
                </a:lnTo>
                <a:lnTo>
                  <a:pt x="5012604" y="1997137"/>
                </a:lnTo>
                <a:close/>
                <a:moveTo>
                  <a:pt x="2876800" y="1822016"/>
                </a:moveTo>
                <a:lnTo>
                  <a:pt x="2957778" y="1822016"/>
                </a:lnTo>
                <a:lnTo>
                  <a:pt x="3072160" y="2031547"/>
                </a:lnTo>
                <a:lnTo>
                  <a:pt x="2955754" y="2247152"/>
                </a:lnTo>
                <a:lnTo>
                  <a:pt x="2876800" y="2247152"/>
                </a:lnTo>
                <a:lnTo>
                  <a:pt x="2975998" y="2061915"/>
                </a:lnTo>
                <a:lnTo>
                  <a:pt x="2586290" y="2061915"/>
                </a:lnTo>
                <a:lnTo>
                  <a:pt x="2586290" y="1997132"/>
                </a:lnTo>
                <a:lnTo>
                  <a:pt x="2973974" y="1997132"/>
                </a:lnTo>
                <a:close/>
                <a:moveTo>
                  <a:pt x="1513768" y="1822016"/>
                </a:moveTo>
                <a:lnTo>
                  <a:pt x="1594748" y="1822016"/>
                </a:lnTo>
                <a:lnTo>
                  <a:pt x="1709128" y="2031547"/>
                </a:lnTo>
                <a:lnTo>
                  <a:pt x="1592723" y="2247152"/>
                </a:lnTo>
                <a:lnTo>
                  <a:pt x="1513768" y="2247152"/>
                </a:lnTo>
                <a:lnTo>
                  <a:pt x="1612966" y="2061915"/>
                </a:lnTo>
                <a:lnTo>
                  <a:pt x="1223259" y="2061915"/>
                </a:lnTo>
                <a:lnTo>
                  <a:pt x="1223259" y="1997132"/>
                </a:lnTo>
                <a:lnTo>
                  <a:pt x="1610942" y="1997132"/>
                </a:lnTo>
                <a:close/>
                <a:moveTo>
                  <a:pt x="2147951" y="1765330"/>
                </a:moveTo>
                <a:lnTo>
                  <a:pt x="2173557" y="1767433"/>
                </a:lnTo>
                <a:lnTo>
                  <a:pt x="2193375" y="1775325"/>
                </a:lnTo>
                <a:lnTo>
                  <a:pt x="2206169" y="1791378"/>
                </a:lnTo>
                <a:lnTo>
                  <a:pt x="2210708" y="1817966"/>
                </a:lnTo>
                <a:lnTo>
                  <a:pt x="2206169" y="1843698"/>
                </a:lnTo>
                <a:lnTo>
                  <a:pt x="2193375" y="1859846"/>
                </a:lnTo>
                <a:lnTo>
                  <a:pt x="2173557" y="1868213"/>
                </a:lnTo>
                <a:lnTo>
                  <a:pt x="2147951" y="1870601"/>
                </a:lnTo>
                <a:lnTo>
                  <a:pt x="2122930" y="1868213"/>
                </a:lnTo>
                <a:lnTo>
                  <a:pt x="2103413" y="1859846"/>
                </a:lnTo>
                <a:lnTo>
                  <a:pt x="2090728" y="1843698"/>
                </a:lnTo>
                <a:lnTo>
                  <a:pt x="2086205" y="1817966"/>
                </a:lnTo>
                <a:lnTo>
                  <a:pt x="2090728" y="1791378"/>
                </a:lnTo>
                <a:lnTo>
                  <a:pt x="2103413" y="1775325"/>
                </a:lnTo>
                <a:lnTo>
                  <a:pt x="2122930" y="1767433"/>
                </a:lnTo>
                <a:close/>
                <a:moveTo>
                  <a:pt x="784523" y="1765330"/>
                </a:moveTo>
                <a:lnTo>
                  <a:pt x="810129" y="1767433"/>
                </a:lnTo>
                <a:lnTo>
                  <a:pt x="829946" y="1775325"/>
                </a:lnTo>
                <a:lnTo>
                  <a:pt x="842741" y="1791378"/>
                </a:lnTo>
                <a:lnTo>
                  <a:pt x="847281" y="1817966"/>
                </a:lnTo>
                <a:lnTo>
                  <a:pt x="842741" y="1843698"/>
                </a:lnTo>
                <a:lnTo>
                  <a:pt x="829946" y="1859846"/>
                </a:lnTo>
                <a:lnTo>
                  <a:pt x="810129" y="1868213"/>
                </a:lnTo>
                <a:lnTo>
                  <a:pt x="784523" y="1870601"/>
                </a:lnTo>
                <a:lnTo>
                  <a:pt x="759502" y="1868213"/>
                </a:lnTo>
                <a:lnTo>
                  <a:pt x="739984" y="1859846"/>
                </a:lnTo>
                <a:lnTo>
                  <a:pt x="727300" y="1843698"/>
                </a:lnTo>
                <a:lnTo>
                  <a:pt x="722776" y="1817966"/>
                </a:lnTo>
                <a:lnTo>
                  <a:pt x="727300" y="1791378"/>
                </a:lnTo>
                <a:lnTo>
                  <a:pt x="739984" y="1775325"/>
                </a:lnTo>
                <a:lnTo>
                  <a:pt x="759502" y="1767433"/>
                </a:lnTo>
                <a:close/>
                <a:moveTo>
                  <a:pt x="62758" y="1765330"/>
                </a:moveTo>
                <a:lnTo>
                  <a:pt x="88364" y="1767433"/>
                </a:lnTo>
                <a:lnTo>
                  <a:pt x="108181" y="1775325"/>
                </a:lnTo>
                <a:lnTo>
                  <a:pt x="120977" y="1791378"/>
                </a:lnTo>
                <a:lnTo>
                  <a:pt x="125516" y="1817966"/>
                </a:lnTo>
                <a:lnTo>
                  <a:pt x="120977" y="1843698"/>
                </a:lnTo>
                <a:lnTo>
                  <a:pt x="108181" y="1859846"/>
                </a:lnTo>
                <a:lnTo>
                  <a:pt x="88364" y="1868213"/>
                </a:lnTo>
                <a:lnTo>
                  <a:pt x="62758" y="1870601"/>
                </a:lnTo>
                <a:lnTo>
                  <a:pt x="37736" y="1868213"/>
                </a:lnTo>
                <a:lnTo>
                  <a:pt x="18219" y="1859846"/>
                </a:lnTo>
                <a:lnTo>
                  <a:pt x="5535" y="1843698"/>
                </a:lnTo>
                <a:lnTo>
                  <a:pt x="1012" y="1817966"/>
                </a:lnTo>
                <a:lnTo>
                  <a:pt x="5535" y="1791378"/>
                </a:lnTo>
                <a:lnTo>
                  <a:pt x="18219" y="1775325"/>
                </a:lnTo>
                <a:lnTo>
                  <a:pt x="37736" y="1767433"/>
                </a:lnTo>
                <a:close/>
                <a:moveTo>
                  <a:pt x="3434660" y="1570981"/>
                </a:moveTo>
                <a:lnTo>
                  <a:pt x="3466840" y="1572118"/>
                </a:lnTo>
                <a:lnTo>
                  <a:pt x="3496625" y="1575500"/>
                </a:lnTo>
                <a:lnTo>
                  <a:pt x="3524096" y="1581076"/>
                </a:lnTo>
                <a:lnTo>
                  <a:pt x="3549334" y="1588796"/>
                </a:lnTo>
                <a:lnTo>
                  <a:pt x="3572418" y="1598611"/>
                </a:lnTo>
                <a:lnTo>
                  <a:pt x="3593431" y="1610473"/>
                </a:lnTo>
                <a:lnTo>
                  <a:pt x="3612450" y="1624331"/>
                </a:lnTo>
                <a:lnTo>
                  <a:pt x="3629559" y="1640136"/>
                </a:lnTo>
                <a:lnTo>
                  <a:pt x="3644837" y="1657839"/>
                </a:lnTo>
                <a:lnTo>
                  <a:pt x="3658363" y="1677391"/>
                </a:lnTo>
                <a:lnTo>
                  <a:pt x="3670219" y="1698743"/>
                </a:lnTo>
                <a:lnTo>
                  <a:pt x="3680486" y="1721844"/>
                </a:lnTo>
                <a:lnTo>
                  <a:pt x="3689244" y="1746646"/>
                </a:lnTo>
                <a:lnTo>
                  <a:pt x="3696573" y="1773098"/>
                </a:lnTo>
                <a:lnTo>
                  <a:pt x="3702553" y="1801152"/>
                </a:lnTo>
                <a:lnTo>
                  <a:pt x="3707266" y="1830760"/>
                </a:lnTo>
                <a:lnTo>
                  <a:pt x="3710792" y="1861870"/>
                </a:lnTo>
                <a:lnTo>
                  <a:pt x="3713210" y="1894434"/>
                </a:lnTo>
                <a:lnTo>
                  <a:pt x="3714602" y="1928402"/>
                </a:lnTo>
                <a:lnTo>
                  <a:pt x="3715048" y="1963726"/>
                </a:lnTo>
                <a:lnTo>
                  <a:pt x="3714624" y="1999201"/>
                </a:lnTo>
                <a:lnTo>
                  <a:pt x="3713292" y="2033321"/>
                </a:lnTo>
                <a:lnTo>
                  <a:pt x="3710966" y="2066034"/>
                </a:lnTo>
                <a:lnTo>
                  <a:pt x="3707557" y="2097292"/>
                </a:lnTo>
                <a:lnTo>
                  <a:pt x="3702980" y="2127043"/>
                </a:lnTo>
                <a:lnTo>
                  <a:pt x="3697147" y="2155238"/>
                </a:lnTo>
                <a:lnTo>
                  <a:pt x="3689969" y="2181827"/>
                </a:lnTo>
                <a:lnTo>
                  <a:pt x="3681361" y="2206759"/>
                </a:lnTo>
                <a:lnTo>
                  <a:pt x="3671234" y="2229984"/>
                </a:lnTo>
                <a:lnTo>
                  <a:pt x="3659502" y="2251453"/>
                </a:lnTo>
                <a:lnTo>
                  <a:pt x="3646077" y="2271115"/>
                </a:lnTo>
                <a:lnTo>
                  <a:pt x="3630871" y="2288919"/>
                </a:lnTo>
                <a:lnTo>
                  <a:pt x="3613798" y="2304817"/>
                </a:lnTo>
                <a:lnTo>
                  <a:pt x="3594769" y="2318758"/>
                </a:lnTo>
                <a:lnTo>
                  <a:pt x="3573700" y="2330691"/>
                </a:lnTo>
                <a:lnTo>
                  <a:pt x="3550500" y="2340567"/>
                </a:lnTo>
                <a:lnTo>
                  <a:pt x="3525083" y="2348336"/>
                </a:lnTo>
                <a:lnTo>
                  <a:pt x="3497363" y="2353947"/>
                </a:lnTo>
                <a:lnTo>
                  <a:pt x="3467251" y="2357351"/>
                </a:lnTo>
                <a:lnTo>
                  <a:pt x="3434660" y="2358496"/>
                </a:lnTo>
                <a:lnTo>
                  <a:pt x="3434660" y="2299787"/>
                </a:lnTo>
                <a:lnTo>
                  <a:pt x="3464787" y="2298433"/>
                </a:lnTo>
                <a:lnTo>
                  <a:pt x="3492025" y="2294418"/>
                </a:lnTo>
                <a:lnTo>
                  <a:pt x="3516511" y="2287816"/>
                </a:lnTo>
                <a:lnTo>
                  <a:pt x="3538383" y="2278696"/>
                </a:lnTo>
                <a:lnTo>
                  <a:pt x="3574832" y="2253193"/>
                </a:lnTo>
                <a:lnTo>
                  <a:pt x="3602470" y="2218482"/>
                </a:lnTo>
                <a:lnTo>
                  <a:pt x="3613327" y="2197853"/>
                </a:lnTo>
                <a:lnTo>
                  <a:pt x="3622393" y="2175138"/>
                </a:lnTo>
                <a:lnTo>
                  <a:pt x="3629805" y="2150408"/>
                </a:lnTo>
                <a:lnTo>
                  <a:pt x="3635701" y="2123734"/>
                </a:lnTo>
                <a:lnTo>
                  <a:pt x="3640217" y="2095189"/>
                </a:lnTo>
                <a:lnTo>
                  <a:pt x="3643490" y="2064844"/>
                </a:lnTo>
                <a:lnTo>
                  <a:pt x="3645659" y="2032771"/>
                </a:lnTo>
                <a:lnTo>
                  <a:pt x="3646859" y="1999041"/>
                </a:lnTo>
                <a:lnTo>
                  <a:pt x="3647229" y="1963726"/>
                </a:lnTo>
                <a:lnTo>
                  <a:pt x="3646839" y="1928758"/>
                </a:lnTo>
                <a:lnTo>
                  <a:pt x="3645584" y="1895355"/>
                </a:lnTo>
                <a:lnTo>
                  <a:pt x="3643335" y="1863586"/>
                </a:lnTo>
                <a:lnTo>
                  <a:pt x="3639960" y="1833525"/>
                </a:lnTo>
                <a:lnTo>
                  <a:pt x="3635330" y="1805242"/>
                </a:lnTo>
                <a:lnTo>
                  <a:pt x="3629316" y="1778810"/>
                </a:lnTo>
                <a:lnTo>
                  <a:pt x="3621788" y="1754300"/>
                </a:lnTo>
                <a:lnTo>
                  <a:pt x="3612615" y="1731785"/>
                </a:lnTo>
                <a:lnTo>
                  <a:pt x="3601669" y="1711335"/>
                </a:lnTo>
                <a:lnTo>
                  <a:pt x="3573935" y="1676919"/>
                </a:lnTo>
                <a:lnTo>
                  <a:pt x="3537548" y="1651625"/>
                </a:lnTo>
                <a:lnTo>
                  <a:pt x="3515784" y="1642579"/>
                </a:lnTo>
                <a:lnTo>
                  <a:pt x="3491469" y="1636029"/>
                </a:lnTo>
                <a:lnTo>
                  <a:pt x="3464471" y="1632046"/>
                </a:lnTo>
                <a:lnTo>
                  <a:pt x="3434660" y="1630702"/>
                </a:lnTo>
                <a:close/>
                <a:moveTo>
                  <a:pt x="3579243" y="1279461"/>
                </a:moveTo>
                <a:lnTo>
                  <a:pt x="3604850" y="1281691"/>
                </a:lnTo>
                <a:lnTo>
                  <a:pt x="3624668" y="1289709"/>
                </a:lnTo>
                <a:lnTo>
                  <a:pt x="3637463" y="1305510"/>
                </a:lnTo>
                <a:lnTo>
                  <a:pt x="3642002" y="1331085"/>
                </a:lnTo>
                <a:lnTo>
                  <a:pt x="3637463" y="1357829"/>
                </a:lnTo>
                <a:lnTo>
                  <a:pt x="3624668" y="1374231"/>
                </a:lnTo>
                <a:lnTo>
                  <a:pt x="3604850" y="1382471"/>
                </a:lnTo>
                <a:lnTo>
                  <a:pt x="3579243" y="1384733"/>
                </a:lnTo>
                <a:lnTo>
                  <a:pt x="3553637" y="1382471"/>
                </a:lnTo>
                <a:lnTo>
                  <a:pt x="3533820" y="1374231"/>
                </a:lnTo>
                <a:lnTo>
                  <a:pt x="3521024" y="1357829"/>
                </a:lnTo>
                <a:lnTo>
                  <a:pt x="3516485" y="1331085"/>
                </a:lnTo>
                <a:lnTo>
                  <a:pt x="3521166" y="1305510"/>
                </a:lnTo>
                <a:lnTo>
                  <a:pt x="3534199" y="1289709"/>
                </a:lnTo>
                <a:lnTo>
                  <a:pt x="3554064" y="1281691"/>
                </a:lnTo>
                <a:close/>
                <a:moveTo>
                  <a:pt x="1609095" y="1279455"/>
                </a:moveTo>
                <a:lnTo>
                  <a:pt x="1634701" y="1281685"/>
                </a:lnTo>
                <a:lnTo>
                  <a:pt x="1654519" y="1289703"/>
                </a:lnTo>
                <a:lnTo>
                  <a:pt x="1667313" y="1305504"/>
                </a:lnTo>
                <a:lnTo>
                  <a:pt x="1671852" y="1331078"/>
                </a:lnTo>
                <a:lnTo>
                  <a:pt x="1667313" y="1357823"/>
                </a:lnTo>
                <a:lnTo>
                  <a:pt x="1654519" y="1374224"/>
                </a:lnTo>
                <a:lnTo>
                  <a:pt x="1634701" y="1382465"/>
                </a:lnTo>
                <a:lnTo>
                  <a:pt x="1609095" y="1384726"/>
                </a:lnTo>
                <a:lnTo>
                  <a:pt x="1583489" y="1382465"/>
                </a:lnTo>
                <a:lnTo>
                  <a:pt x="1563671" y="1374224"/>
                </a:lnTo>
                <a:lnTo>
                  <a:pt x="1550877" y="1357823"/>
                </a:lnTo>
                <a:lnTo>
                  <a:pt x="1546337" y="1331078"/>
                </a:lnTo>
                <a:lnTo>
                  <a:pt x="1551018" y="1305504"/>
                </a:lnTo>
                <a:lnTo>
                  <a:pt x="1564051" y="1289703"/>
                </a:lnTo>
                <a:lnTo>
                  <a:pt x="1583916" y="1281685"/>
                </a:lnTo>
                <a:close/>
                <a:moveTo>
                  <a:pt x="4308476" y="1229360"/>
                </a:moveTo>
                <a:lnTo>
                  <a:pt x="4389455" y="1229360"/>
                </a:lnTo>
                <a:lnTo>
                  <a:pt x="4503836" y="1438891"/>
                </a:lnTo>
                <a:lnTo>
                  <a:pt x="4387430" y="1654496"/>
                </a:lnTo>
                <a:lnTo>
                  <a:pt x="4308476" y="1654496"/>
                </a:lnTo>
                <a:lnTo>
                  <a:pt x="4407674" y="1469259"/>
                </a:lnTo>
                <a:lnTo>
                  <a:pt x="4017966" y="1469259"/>
                </a:lnTo>
                <a:lnTo>
                  <a:pt x="4017966" y="1404475"/>
                </a:lnTo>
                <a:lnTo>
                  <a:pt x="4405650" y="1404475"/>
                </a:lnTo>
                <a:close/>
                <a:moveTo>
                  <a:pt x="3579243" y="854324"/>
                </a:moveTo>
                <a:lnTo>
                  <a:pt x="3604850" y="856427"/>
                </a:lnTo>
                <a:lnTo>
                  <a:pt x="3624668" y="864320"/>
                </a:lnTo>
                <a:lnTo>
                  <a:pt x="3637463" y="880373"/>
                </a:lnTo>
                <a:lnTo>
                  <a:pt x="3642002" y="906960"/>
                </a:lnTo>
                <a:lnTo>
                  <a:pt x="3637463" y="932693"/>
                </a:lnTo>
                <a:lnTo>
                  <a:pt x="3624668" y="948841"/>
                </a:lnTo>
                <a:lnTo>
                  <a:pt x="3604850" y="957207"/>
                </a:lnTo>
                <a:lnTo>
                  <a:pt x="3579243" y="959596"/>
                </a:lnTo>
                <a:lnTo>
                  <a:pt x="3554223" y="957207"/>
                </a:lnTo>
                <a:lnTo>
                  <a:pt x="3534706" y="948841"/>
                </a:lnTo>
                <a:lnTo>
                  <a:pt x="3522021" y="932693"/>
                </a:lnTo>
                <a:lnTo>
                  <a:pt x="3517498" y="906960"/>
                </a:lnTo>
                <a:lnTo>
                  <a:pt x="3522021" y="880373"/>
                </a:lnTo>
                <a:lnTo>
                  <a:pt x="3534706" y="864320"/>
                </a:lnTo>
                <a:lnTo>
                  <a:pt x="3554223" y="856427"/>
                </a:lnTo>
                <a:close/>
                <a:moveTo>
                  <a:pt x="1609095" y="854318"/>
                </a:moveTo>
                <a:lnTo>
                  <a:pt x="1634701" y="856421"/>
                </a:lnTo>
                <a:lnTo>
                  <a:pt x="1654519" y="864313"/>
                </a:lnTo>
                <a:lnTo>
                  <a:pt x="1667313" y="880366"/>
                </a:lnTo>
                <a:lnTo>
                  <a:pt x="1671852" y="906953"/>
                </a:lnTo>
                <a:lnTo>
                  <a:pt x="1667313" y="932686"/>
                </a:lnTo>
                <a:lnTo>
                  <a:pt x="1654519" y="948834"/>
                </a:lnTo>
                <a:lnTo>
                  <a:pt x="1634701" y="957201"/>
                </a:lnTo>
                <a:lnTo>
                  <a:pt x="1609095" y="959589"/>
                </a:lnTo>
                <a:lnTo>
                  <a:pt x="1584074" y="957201"/>
                </a:lnTo>
                <a:lnTo>
                  <a:pt x="1564557" y="948834"/>
                </a:lnTo>
                <a:lnTo>
                  <a:pt x="1551872" y="932686"/>
                </a:lnTo>
                <a:lnTo>
                  <a:pt x="1547349" y="906953"/>
                </a:lnTo>
                <a:lnTo>
                  <a:pt x="1551872" y="880366"/>
                </a:lnTo>
                <a:lnTo>
                  <a:pt x="1564557" y="864313"/>
                </a:lnTo>
                <a:lnTo>
                  <a:pt x="1584074" y="856421"/>
                </a:lnTo>
                <a:close/>
                <a:moveTo>
                  <a:pt x="2879125" y="659976"/>
                </a:moveTo>
                <a:lnTo>
                  <a:pt x="2911305" y="661113"/>
                </a:lnTo>
                <a:lnTo>
                  <a:pt x="2941090" y="664495"/>
                </a:lnTo>
                <a:lnTo>
                  <a:pt x="2968561" y="670071"/>
                </a:lnTo>
                <a:lnTo>
                  <a:pt x="2993799" y="677791"/>
                </a:lnTo>
                <a:lnTo>
                  <a:pt x="3016884" y="687607"/>
                </a:lnTo>
                <a:lnTo>
                  <a:pt x="3037896" y="699468"/>
                </a:lnTo>
                <a:lnTo>
                  <a:pt x="3056916" y="713326"/>
                </a:lnTo>
                <a:lnTo>
                  <a:pt x="3074024" y="729131"/>
                </a:lnTo>
                <a:lnTo>
                  <a:pt x="3089302" y="746834"/>
                </a:lnTo>
                <a:lnTo>
                  <a:pt x="3102829" y="766386"/>
                </a:lnTo>
                <a:lnTo>
                  <a:pt x="3114685" y="787738"/>
                </a:lnTo>
                <a:lnTo>
                  <a:pt x="3124952" y="810839"/>
                </a:lnTo>
                <a:lnTo>
                  <a:pt x="3133709" y="835640"/>
                </a:lnTo>
                <a:lnTo>
                  <a:pt x="3141039" y="862093"/>
                </a:lnTo>
                <a:lnTo>
                  <a:pt x="3147019" y="890147"/>
                </a:lnTo>
                <a:lnTo>
                  <a:pt x="3151732" y="919755"/>
                </a:lnTo>
                <a:lnTo>
                  <a:pt x="3155257" y="950865"/>
                </a:lnTo>
                <a:lnTo>
                  <a:pt x="3157675" y="983429"/>
                </a:lnTo>
                <a:lnTo>
                  <a:pt x="3159067" y="1017397"/>
                </a:lnTo>
                <a:lnTo>
                  <a:pt x="3159514" y="1052721"/>
                </a:lnTo>
                <a:lnTo>
                  <a:pt x="3159089" y="1088196"/>
                </a:lnTo>
                <a:lnTo>
                  <a:pt x="3157757" y="1122316"/>
                </a:lnTo>
                <a:lnTo>
                  <a:pt x="3155431" y="1155029"/>
                </a:lnTo>
                <a:lnTo>
                  <a:pt x="3152023" y="1186287"/>
                </a:lnTo>
                <a:lnTo>
                  <a:pt x="3147446" y="1216038"/>
                </a:lnTo>
                <a:lnTo>
                  <a:pt x="3141612" y="1244233"/>
                </a:lnTo>
                <a:lnTo>
                  <a:pt x="3134435" y="1270822"/>
                </a:lnTo>
                <a:lnTo>
                  <a:pt x="3125826" y="1295754"/>
                </a:lnTo>
                <a:lnTo>
                  <a:pt x="3115700" y="1318979"/>
                </a:lnTo>
                <a:lnTo>
                  <a:pt x="3103967" y="1340448"/>
                </a:lnTo>
                <a:lnTo>
                  <a:pt x="3090542" y="1360110"/>
                </a:lnTo>
                <a:lnTo>
                  <a:pt x="3075336" y="1377914"/>
                </a:lnTo>
                <a:lnTo>
                  <a:pt x="3058263" y="1393812"/>
                </a:lnTo>
                <a:lnTo>
                  <a:pt x="3039235" y="1407753"/>
                </a:lnTo>
                <a:lnTo>
                  <a:pt x="3018165" y="1419686"/>
                </a:lnTo>
                <a:lnTo>
                  <a:pt x="2994965" y="1429562"/>
                </a:lnTo>
                <a:lnTo>
                  <a:pt x="2969548" y="1437331"/>
                </a:lnTo>
                <a:lnTo>
                  <a:pt x="2941828" y="1442942"/>
                </a:lnTo>
                <a:lnTo>
                  <a:pt x="2911716" y="1446346"/>
                </a:lnTo>
                <a:lnTo>
                  <a:pt x="2879125" y="1447491"/>
                </a:lnTo>
                <a:lnTo>
                  <a:pt x="2879125" y="1388782"/>
                </a:lnTo>
                <a:lnTo>
                  <a:pt x="2909252" y="1387428"/>
                </a:lnTo>
                <a:lnTo>
                  <a:pt x="2936490" y="1383413"/>
                </a:lnTo>
                <a:lnTo>
                  <a:pt x="2960977" y="1376811"/>
                </a:lnTo>
                <a:lnTo>
                  <a:pt x="2982849" y="1367691"/>
                </a:lnTo>
                <a:lnTo>
                  <a:pt x="3019298" y="1342188"/>
                </a:lnTo>
                <a:lnTo>
                  <a:pt x="3046935" y="1307477"/>
                </a:lnTo>
                <a:lnTo>
                  <a:pt x="3057792" y="1286848"/>
                </a:lnTo>
                <a:lnTo>
                  <a:pt x="3066859" y="1264133"/>
                </a:lnTo>
                <a:lnTo>
                  <a:pt x="3074271" y="1239402"/>
                </a:lnTo>
                <a:lnTo>
                  <a:pt x="3080167" y="1212729"/>
                </a:lnTo>
                <a:lnTo>
                  <a:pt x="3084682" y="1184184"/>
                </a:lnTo>
                <a:lnTo>
                  <a:pt x="3087956" y="1153838"/>
                </a:lnTo>
                <a:lnTo>
                  <a:pt x="3090124" y="1121765"/>
                </a:lnTo>
                <a:lnTo>
                  <a:pt x="3091324" y="1088036"/>
                </a:lnTo>
                <a:lnTo>
                  <a:pt x="3091694" y="1052721"/>
                </a:lnTo>
                <a:lnTo>
                  <a:pt x="3091305" y="1017753"/>
                </a:lnTo>
                <a:lnTo>
                  <a:pt x="3090050" y="984350"/>
                </a:lnTo>
                <a:lnTo>
                  <a:pt x="3087800" y="952581"/>
                </a:lnTo>
                <a:lnTo>
                  <a:pt x="3084425" y="922520"/>
                </a:lnTo>
                <a:lnTo>
                  <a:pt x="3079795" y="894237"/>
                </a:lnTo>
                <a:lnTo>
                  <a:pt x="3073782" y="867805"/>
                </a:lnTo>
                <a:lnTo>
                  <a:pt x="3066253" y="843295"/>
                </a:lnTo>
                <a:lnTo>
                  <a:pt x="3057081" y="820780"/>
                </a:lnTo>
                <a:lnTo>
                  <a:pt x="3046134" y="800330"/>
                </a:lnTo>
                <a:lnTo>
                  <a:pt x="3018400" y="765914"/>
                </a:lnTo>
                <a:lnTo>
                  <a:pt x="2982013" y="740620"/>
                </a:lnTo>
                <a:lnTo>
                  <a:pt x="2960250" y="731574"/>
                </a:lnTo>
                <a:lnTo>
                  <a:pt x="2935934" y="725024"/>
                </a:lnTo>
                <a:lnTo>
                  <a:pt x="2908936" y="721041"/>
                </a:lnTo>
                <a:lnTo>
                  <a:pt x="2879125" y="719697"/>
                </a:lnTo>
                <a:close/>
                <a:moveTo>
                  <a:pt x="2565698" y="659976"/>
                </a:moveTo>
                <a:lnTo>
                  <a:pt x="2565698" y="719697"/>
                </a:lnTo>
                <a:lnTo>
                  <a:pt x="2536056" y="721041"/>
                </a:lnTo>
                <a:lnTo>
                  <a:pt x="2509206" y="725024"/>
                </a:lnTo>
                <a:lnTo>
                  <a:pt x="2485020" y="731574"/>
                </a:lnTo>
                <a:lnTo>
                  <a:pt x="2463369" y="740620"/>
                </a:lnTo>
                <a:lnTo>
                  <a:pt x="2427161" y="765914"/>
                </a:lnTo>
                <a:lnTo>
                  <a:pt x="2399551" y="800330"/>
                </a:lnTo>
                <a:lnTo>
                  <a:pt x="2388649" y="820780"/>
                </a:lnTo>
                <a:lnTo>
                  <a:pt x="2379511" y="843295"/>
                </a:lnTo>
                <a:lnTo>
                  <a:pt x="2372009" y="867805"/>
                </a:lnTo>
                <a:lnTo>
                  <a:pt x="2366014" y="894237"/>
                </a:lnTo>
                <a:lnTo>
                  <a:pt x="2361397" y="922520"/>
                </a:lnTo>
                <a:lnTo>
                  <a:pt x="2358029" y="952581"/>
                </a:lnTo>
                <a:lnTo>
                  <a:pt x="2355783" y="984350"/>
                </a:lnTo>
                <a:lnTo>
                  <a:pt x="2354530" y="1017753"/>
                </a:lnTo>
                <a:lnTo>
                  <a:pt x="2354141" y="1052721"/>
                </a:lnTo>
                <a:lnTo>
                  <a:pt x="2354520" y="1088036"/>
                </a:lnTo>
                <a:lnTo>
                  <a:pt x="2355746" y="1121765"/>
                </a:lnTo>
                <a:lnTo>
                  <a:pt x="2357952" y="1153838"/>
                </a:lnTo>
                <a:lnTo>
                  <a:pt x="2361268" y="1184184"/>
                </a:lnTo>
                <a:lnTo>
                  <a:pt x="2365828" y="1212729"/>
                </a:lnTo>
                <a:lnTo>
                  <a:pt x="2371764" y="1239402"/>
                </a:lnTo>
                <a:lnTo>
                  <a:pt x="2379208" y="1264133"/>
                </a:lnTo>
                <a:lnTo>
                  <a:pt x="2388293" y="1286848"/>
                </a:lnTo>
                <a:lnTo>
                  <a:pt x="2399150" y="1307477"/>
                </a:lnTo>
                <a:lnTo>
                  <a:pt x="2426712" y="1342188"/>
                </a:lnTo>
                <a:lnTo>
                  <a:pt x="2462952" y="1367691"/>
                </a:lnTo>
                <a:lnTo>
                  <a:pt x="2484656" y="1376811"/>
                </a:lnTo>
                <a:lnTo>
                  <a:pt x="2508928" y="1383413"/>
                </a:lnTo>
                <a:lnTo>
                  <a:pt x="2535898" y="1387428"/>
                </a:lnTo>
                <a:lnTo>
                  <a:pt x="2565698" y="1388782"/>
                </a:lnTo>
                <a:lnTo>
                  <a:pt x="2565698" y="1447491"/>
                </a:lnTo>
                <a:lnTo>
                  <a:pt x="2533244" y="1446346"/>
                </a:lnTo>
                <a:lnTo>
                  <a:pt x="2503241" y="1442942"/>
                </a:lnTo>
                <a:lnTo>
                  <a:pt x="2475603" y="1437331"/>
                </a:lnTo>
                <a:lnTo>
                  <a:pt x="2450247" y="1429562"/>
                </a:lnTo>
                <a:lnTo>
                  <a:pt x="2427085" y="1419686"/>
                </a:lnTo>
                <a:lnTo>
                  <a:pt x="2406034" y="1407753"/>
                </a:lnTo>
                <a:lnTo>
                  <a:pt x="2387009" y="1393812"/>
                </a:lnTo>
                <a:lnTo>
                  <a:pt x="2369924" y="1377914"/>
                </a:lnTo>
                <a:lnTo>
                  <a:pt x="2354694" y="1360110"/>
                </a:lnTo>
                <a:lnTo>
                  <a:pt x="2341235" y="1340448"/>
                </a:lnTo>
                <a:lnTo>
                  <a:pt x="2329461" y="1318979"/>
                </a:lnTo>
                <a:lnTo>
                  <a:pt x="2319288" y="1295754"/>
                </a:lnTo>
                <a:lnTo>
                  <a:pt x="2310630" y="1270822"/>
                </a:lnTo>
                <a:lnTo>
                  <a:pt x="2303402" y="1244233"/>
                </a:lnTo>
                <a:lnTo>
                  <a:pt x="2297519" y="1216038"/>
                </a:lnTo>
                <a:lnTo>
                  <a:pt x="2292897" y="1186287"/>
                </a:lnTo>
                <a:lnTo>
                  <a:pt x="2289449" y="1155029"/>
                </a:lnTo>
                <a:lnTo>
                  <a:pt x="2287092" y="1122316"/>
                </a:lnTo>
                <a:lnTo>
                  <a:pt x="2285740" y="1088196"/>
                </a:lnTo>
                <a:lnTo>
                  <a:pt x="2285309" y="1052721"/>
                </a:lnTo>
                <a:lnTo>
                  <a:pt x="2285755" y="1017397"/>
                </a:lnTo>
                <a:lnTo>
                  <a:pt x="2287147" y="983429"/>
                </a:lnTo>
                <a:lnTo>
                  <a:pt x="2289566" y="950865"/>
                </a:lnTo>
                <a:lnTo>
                  <a:pt x="2293091" y="919755"/>
                </a:lnTo>
                <a:lnTo>
                  <a:pt x="2297804" y="890147"/>
                </a:lnTo>
                <a:lnTo>
                  <a:pt x="2303784" y="862093"/>
                </a:lnTo>
                <a:lnTo>
                  <a:pt x="2311113" y="835640"/>
                </a:lnTo>
                <a:lnTo>
                  <a:pt x="2319870" y="810839"/>
                </a:lnTo>
                <a:lnTo>
                  <a:pt x="2330137" y="787738"/>
                </a:lnTo>
                <a:lnTo>
                  <a:pt x="2341994" y="766386"/>
                </a:lnTo>
                <a:lnTo>
                  <a:pt x="2355521" y="746834"/>
                </a:lnTo>
                <a:lnTo>
                  <a:pt x="2370798" y="729131"/>
                </a:lnTo>
                <a:lnTo>
                  <a:pt x="2387907" y="713326"/>
                </a:lnTo>
                <a:lnTo>
                  <a:pt x="2406927" y="699468"/>
                </a:lnTo>
                <a:lnTo>
                  <a:pt x="2427939" y="687607"/>
                </a:lnTo>
                <a:lnTo>
                  <a:pt x="2451024" y="677791"/>
                </a:lnTo>
                <a:lnTo>
                  <a:pt x="2476262" y="670071"/>
                </a:lnTo>
                <a:lnTo>
                  <a:pt x="2503733" y="664495"/>
                </a:lnTo>
                <a:lnTo>
                  <a:pt x="2533518" y="661113"/>
                </a:lnTo>
                <a:close/>
                <a:moveTo>
                  <a:pt x="1358847" y="0"/>
                </a:moveTo>
                <a:lnTo>
                  <a:pt x="1439826" y="0"/>
                </a:lnTo>
                <a:lnTo>
                  <a:pt x="1554207" y="209532"/>
                </a:lnTo>
                <a:lnTo>
                  <a:pt x="1437801" y="425136"/>
                </a:lnTo>
                <a:lnTo>
                  <a:pt x="1358847" y="425136"/>
                </a:lnTo>
                <a:lnTo>
                  <a:pt x="1458045" y="239899"/>
                </a:lnTo>
                <a:lnTo>
                  <a:pt x="1068337" y="239899"/>
                </a:lnTo>
                <a:lnTo>
                  <a:pt x="1068337" y="175116"/>
                </a:lnTo>
                <a:lnTo>
                  <a:pt x="1456021" y="175116"/>
                </a:lnTo>
                <a:close/>
              </a:path>
            </a:pathLst>
          </a:custGeom>
          <a:solidFill>
            <a:srgbClr val="4D7836"/>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0436544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reaker F">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87C710D9-C93F-423E-B535-622B5249ACB1}" type="datetime2">
              <a:rPr lang="da-DK" smtClean="0"/>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29" name="Mikro grafik 1">
            <a:extLst>
              <a:ext uri="{FF2B5EF4-FFF2-40B4-BE49-F238E27FC236}">
                <a16:creationId xmlns:a16="http://schemas.microsoft.com/office/drawing/2014/main" id="{64436394-C531-6AC2-FF2F-12CAAB37CDDC}"/>
              </a:ext>
            </a:extLst>
          </p:cNvPr>
          <p:cNvSpPr/>
          <p:nvPr/>
        </p:nvSpPr>
        <p:spPr>
          <a:xfrm>
            <a:off x="367396" y="1045688"/>
            <a:ext cx="3833093" cy="3051877"/>
          </a:xfrm>
          <a:custGeom>
            <a:avLst/>
            <a:gdLst>
              <a:gd name="connsiteX0" fmla="*/ 1358848 w 5110790"/>
              <a:gd name="connsiteY0" fmla="*/ 3644032 h 4069169"/>
              <a:gd name="connsiteX1" fmla="*/ 1439827 w 5110790"/>
              <a:gd name="connsiteY1" fmla="*/ 3644032 h 4069169"/>
              <a:gd name="connsiteX2" fmla="*/ 1554208 w 5110790"/>
              <a:gd name="connsiteY2" fmla="*/ 3853564 h 4069169"/>
              <a:gd name="connsiteX3" fmla="*/ 1437802 w 5110790"/>
              <a:gd name="connsiteY3" fmla="*/ 4069169 h 4069169"/>
              <a:gd name="connsiteX4" fmla="*/ 1358848 w 5110790"/>
              <a:gd name="connsiteY4" fmla="*/ 4069169 h 4069169"/>
              <a:gd name="connsiteX5" fmla="*/ 1458046 w 5110790"/>
              <a:gd name="connsiteY5" fmla="*/ 3883931 h 4069169"/>
              <a:gd name="connsiteX6" fmla="*/ 1068338 w 5110790"/>
              <a:gd name="connsiteY6" fmla="*/ 3883931 h 4069169"/>
              <a:gd name="connsiteX7" fmla="*/ 1068338 w 5110790"/>
              <a:gd name="connsiteY7" fmla="*/ 3819148 h 4069169"/>
              <a:gd name="connsiteX8" fmla="*/ 1456022 w 5110790"/>
              <a:gd name="connsiteY8" fmla="*/ 3819148 h 4069169"/>
              <a:gd name="connsiteX9" fmla="*/ 3579243 w 5110790"/>
              <a:gd name="connsiteY9" fmla="*/ 3101476 h 4069169"/>
              <a:gd name="connsiteX10" fmla="*/ 3604850 w 5110790"/>
              <a:gd name="connsiteY10" fmla="*/ 3103707 h 4069169"/>
              <a:gd name="connsiteX11" fmla="*/ 3624668 w 5110790"/>
              <a:gd name="connsiteY11" fmla="*/ 3111725 h 4069169"/>
              <a:gd name="connsiteX12" fmla="*/ 3637463 w 5110790"/>
              <a:gd name="connsiteY12" fmla="*/ 3127526 h 4069169"/>
              <a:gd name="connsiteX13" fmla="*/ 3642002 w 5110790"/>
              <a:gd name="connsiteY13" fmla="*/ 3153100 h 4069169"/>
              <a:gd name="connsiteX14" fmla="*/ 3637463 w 5110790"/>
              <a:gd name="connsiteY14" fmla="*/ 3179845 h 4069169"/>
              <a:gd name="connsiteX15" fmla="*/ 3624668 w 5110790"/>
              <a:gd name="connsiteY15" fmla="*/ 3196247 h 4069169"/>
              <a:gd name="connsiteX16" fmla="*/ 3604850 w 5110790"/>
              <a:gd name="connsiteY16" fmla="*/ 3204487 h 4069169"/>
              <a:gd name="connsiteX17" fmla="*/ 3579243 w 5110790"/>
              <a:gd name="connsiteY17" fmla="*/ 3206749 h 4069169"/>
              <a:gd name="connsiteX18" fmla="*/ 3553637 w 5110790"/>
              <a:gd name="connsiteY18" fmla="*/ 3204487 h 4069169"/>
              <a:gd name="connsiteX19" fmla="*/ 3533820 w 5110790"/>
              <a:gd name="connsiteY19" fmla="*/ 3196247 h 4069169"/>
              <a:gd name="connsiteX20" fmla="*/ 3521024 w 5110790"/>
              <a:gd name="connsiteY20" fmla="*/ 3179845 h 4069169"/>
              <a:gd name="connsiteX21" fmla="*/ 3516485 w 5110790"/>
              <a:gd name="connsiteY21" fmla="*/ 3153100 h 4069169"/>
              <a:gd name="connsiteX22" fmla="*/ 3521166 w 5110790"/>
              <a:gd name="connsiteY22" fmla="*/ 3127526 h 4069169"/>
              <a:gd name="connsiteX23" fmla="*/ 3534199 w 5110790"/>
              <a:gd name="connsiteY23" fmla="*/ 3111725 h 4069169"/>
              <a:gd name="connsiteX24" fmla="*/ 3554064 w 5110790"/>
              <a:gd name="connsiteY24" fmla="*/ 3103707 h 4069169"/>
              <a:gd name="connsiteX25" fmla="*/ 1609095 w 5110790"/>
              <a:gd name="connsiteY25" fmla="*/ 3101476 h 4069169"/>
              <a:gd name="connsiteX26" fmla="*/ 1634701 w 5110790"/>
              <a:gd name="connsiteY26" fmla="*/ 3103707 h 4069169"/>
              <a:gd name="connsiteX27" fmla="*/ 1654519 w 5110790"/>
              <a:gd name="connsiteY27" fmla="*/ 3111725 h 4069169"/>
              <a:gd name="connsiteX28" fmla="*/ 1667313 w 5110790"/>
              <a:gd name="connsiteY28" fmla="*/ 3127526 h 4069169"/>
              <a:gd name="connsiteX29" fmla="*/ 1671852 w 5110790"/>
              <a:gd name="connsiteY29" fmla="*/ 3153100 h 4069169"/>
              <a:gd name="connsiteX30" fmla="*/ 1667313 w 5110790"/>
              <a:gd name="connsiteY30" fmla="*/ 3179845 h 4069169"/>
              <a:gd name="connsiteX31" fmla="*/ 1654519 w 5110790"/>
              <a:gd name="connsiteY31" fmla="*/ 3196247 h 4069169"/>
              <a:gd name="connsiteX32" fmla="*/ 1634701 w 5110790"/>
              <a:gd name="connsiteY32" fmla="*/ 3204487 h 4069169"/>
              <a:gd name="connsiteX33" fmla="*/ 1609095 w 5110790"/>
              <a:gd name="connsiteY33" fmla="*/ 3206749 h 4069169"/>
              <a:gd name="connsiteX34" fmla="*/ 1583490 w 5110790"/>
              <a:gd name="connsiteY34" fmla="*/ 3204487 h 4069169"/>
              <a:gd name="connsiteX35" fmla="*/ 1563672 w 5110790"/>
              <a:gd name="connsiteY35" fmla="*/ 3196247 h 4069169"/>
              <a:gd name="connsiteX36" fmla="*/ 1550877 w 5110790"/>
              <a:gd name="connsiteY36" fmla="*/ 3179845 h 4069169"/>
              <a:gd name="connsiteX37" fmla="*/ 1546338 w 5110790"/>
              <a:gd name="connsiteY37" fmla="*/ 3153100 h 4069169"/>
              <a:gd name="connsiteX38" fmla="*/ 1551019 w 5110790"/>
              <a:gd name="connsiteY38" fmla="*/ 3127526 h 4069169"/>
              <a:gd name="connsiteX39" fmla="*/ 1564051 w 5110790"/>
              <a:gd name="connsiteY39" fmla="*/ 3111725 h 4069169"/>
              <a:gd name="connsiteX40" fmla="*/ 1583917 w 5110790"/>
              <a:gd name="connsiteY40" fmla="*/ 3103707 h 4069169"/>
              <a:gd name="connsiteX41" fmla="*/ 3579243 w 5110790"/>
              <a:gd name="connsiteY41" fmla="*/ 2676340 h 4069169"/>
              <a:gd name="connsiteX42" fmla="*/ 3604850 w 5110790"/>
              <a:gd name="connsiteY42" fmla="*/ 2678443 h 4069169"/>
              <a:gd name="connsiteX43" fmla="*/ 3624668 w 5110790"/>
              <a:gd name="connsiteY43" fmla="*/ 2686335 h 4069169"/>
              <a:gd name="connsiteX44" fmla="*/ 3637463 w 5110790"/>
              <a:gd name="connsiteY44" fmla="*/ 2702388 h 4069169"/>
              <a:gd name="connsiteX45" fmla="*/ 3642002 w 5110790"/>
              <a:gd name="connsiteY45" fmla="*/ 2728976 h 4069169"/>
              <a:gd name="connsiteX46" fmla="*/ 3637463 w 5110790"/>
              <a:gd name="connsiteY46" fmla="*/ 2754708 h 4069169"/>
              <a:gd name="connsiteX47" fmla="*/ 3624668 w 5110790"/>
              <a:gd name="connsiteY47" fmla="*/ 2770857 h 4069169"/>
              <a:gd name="connsiteX48" fmla="*/ 3604850 w 5110790"/>
              <a:gd name="connsiteY48" fmla="*/ 2779223 h 4069169"/>
              <a:gd name="connsiteX49" fmla="*/ 3579243 w 5110790"/>
              <a:gd name="connsiteY49" fmla="*/ 2781612 h 4069169"/>
              <a:gd name="connsiteX50" fmla="*/ 3554223 w 5110790"/>
              <a:gd name="connsiteY50" fmla="*/ 2779223 h 4069169"/>
              <a:gd name="connsiteX51" fmla="*/ 3534706 w 5110790"/>
              <a:gd name="connsiteY51" fmla="*/ 2770857 h 4069169"/>
              <a:gd name="connsiteX52" fmla="*/ 3522021 w 5110790"/>
              <a:gd name="connsiteY52" fmla="*/ 2754708 h 4069169"/>
              <a:gd name="connsiteX53" fmla="*/ 3517498 w 5110790"/>
              <a:gd name="connsiteY53" fmla="*/ 2728976 h 4069169"/>
              <a:gd name="connsiteX54" fmla="*/ 3522021 w 5110790"/>
              <a:gd name="connsiteY54" fmla="*/ 2702388 h 4069169"/>
              <a:gd name="connsiteX55" fmla="*/ 3534706 w 5110790"/>
              <a:gd name="connsiteY55" fmla="*/ 2686335 h 4069169"/>
              <a:gd name="connsiteX56" fmla="*/ 3554223 w 5110790"/>
              <a:gd name="connsiteY56" fmla="*/ 2678443 h 4069169"/>
              <a:gd name="connsiteX57" fmla="*/ 1609095 w 5110790"/>
              <a:gd name="connsiteY57" fmla="*/ 2676340 h 4069169"/>
              <a:gd name="connsiteX58" fmla="*/ 1634701 w 5110790"/>
              <a:gd name="connsiteY58" fmla="*/ 2678443 h 4069169"/>
              <a:gd name="connsiteX59" fmla="*/ 1654519 w 5110790"/>
              <a:gd name="connsiteY59" fmla="*/ 2686335 h 4069169"/>
              <a:gd name="connsiteX60" fmla="*/ 1667313 w 5110790"/>
              <a:gd name="connsiteY60" fmla="*/ 2702388 h 4069169"/>
              <a:gd name="connsiteX61" fmla="*/ 1671852 w 5110790"/>
              <a:gd name="connsiteY61" fmla="*/ 2728976 h 4069169"/>
              <a:gd name="connsiteX62" fmla="*/ 1667313 w 5110790"/>
              <a:gd name="connsiteY62" fmla="*/ 2754708 h 4069169"/>
              <a:gd name="connsiteX63" fmla="*/ 1654519 w 5110790"/>
              <a:gd name="connsiteY63" fmla="*/ 2770857 h 4069169"/>
              <a:gd name="connsiteX64" fmla="*/ 1634701 w 5110790"/>
              <a:gd name="connsiteY64" fmla="*/ 2779223 h 4069169"/>
              <a:gd name="connsiteX65" fmla="*/ 1609095 w 5110790"/>
              <a:gd name="connsiteY65" fmla="*/ 2781612 h 4069169"/>
              <a:gd name="connsiteX66" fmla="*/ 1584075 w 5110790"/>
              <a:gd name="connsiteY66" fmla="*/ 2779223 h 4069169"/>
              <a:gd name="connsiteX67" fmla="*/ 1564558 w 5110790"/>
              <a:gd name="connsiteY67" fmla="*/ 2770857 h 4069169"/>
              <a:gd name="connsiteX68" fmla="*/ 1551873 w 5110790"/>
              <a:gd name="connsiteY68" fmla="*/ 2754708 h 4069169"/>
              <a:gd name="connsiteX69" fmla="*/ 1547350 w 5110790"/>
              <a:gd name="connsiteY69" fmla="*/ 2728976 h 4069169"/>
              <a:gd name="connsiteX70" fmla="*/ 1551873 w 5110790"/>
              <a:gd name="connsiteY70" fmla="*/ 2702388 h 4069169"/>
              <a:gd name="connsiteX71" fmla="*/ 1564558 w 5110790"/>
              <a:gd name="connsiteY71" fmla="*/ 2686335 h 4069169"/>
              <a:gd name="connsiteX72" fmla="*/ 1584075 w 5110790"/>
              <a:gd name="connsiteY72" fmla="*/ 2678443 h 4069169"/>
              <a:gd name="connsiteX73" fmla="*/ 2879125 w 5110790"/>
              <a:gd name="connsiteY73" fmla="*/ 2481992 h 4069169"/>
              <a:gd name="connsiteX74" fmla="*/ 2911305 w 5110790"/>
              <a:gd name="connsiteY74" fmla="*/ 2483129 h 4069169"/>
              <a:gd name="connsiteX75" fmla="*/ 2941090 w 5110790"/>
              <a:gd name="connsiteY75" fmla="*/ 2486511 h 4069169"/>
              <a:gd name="connsiteX76" fmla="*/ 2968561 w 5110790"/>
              <a:gd name="connsiteY76" fmla="*/ 2492087 h 4069169"/>
              <a:gd name="connsiteX77" fmla="*/ 2993799 w 5110790"/>
              <a:gd name="connsiteY77" fmla="*/ 2499807 h 4069169"/>
              <a:gd name="connsiteX78" fmla="*/ 3016884 w 5110790"/>
              <a:gd name="connsiteY78" fmla="*/ 2509622 h 4069169"/>
              <a:gd name="connsiteX79" fmla="*/ 3037896 w 5110790"/>
              <a:gd name="connsiteY79" fmla="*/ 2521483 h 4069169"/>
              <a:gd name="connsiteX80" fmla="*/ 3056916 w 5110790"/>
              <a:gd name="connsiteY80" fmla="*/ 2535342 h 4069169"/>
              <a:gd name="connsiteX81" fmla="*/ 3074024 w 5110790"/>
              <a:gd name="connsiteY81" fmla="*/ 2551147 h 4069169"/>
              <a:gd name="connsiteX82" fmla="*/ 3089302 w 5110790"/>
              <a:gd name="connsiteY82" fmla="*/ 2568850 h 4069169"/>
              <a:gd name="connsiteX83" fmla="*/ 3102829 w 5110790"/>
              <a:gd name="connsiteY83" fmla="*/ 2588403 h 4069169"/>
              <a:gd name="connsiteX84" fmla="*/ 3114685 w 5110790"/>
              <a:gd name="connsiteY84" fmla="*/ 2609754 h 4069169"/>
              <a:gd name="connsiteX85" fmla="*/ 3124952 w 5110790"/>
              <a:gd name="connsiteY85" fmla="*/ 2632854 h 4069169"/>
              <a:gd name="connsiteX86" fmla="*/ 3133709 w 5110790"/>
              <a:gd name="connsiteY86" fmla="*/ 2657656 h 4069169"/>
              <a:gd name="connsiteX87" fmla="*/ 3141039 w 5110790"/>
              <a:gd name="connsiteY87" fmla="*/ 2684109 h 4069169"/>
              <a:gd name="connsiteX88" fmla="*/ 3147019 w 5110790"/>
              <a:gd name="connsiteY88" fmla="*/ 2712163 h 4069169"/>
              <a:gd name="connsiteX89" fmla="*/ 3151732 w 5110790"/>
              <a:gd name="connsiteY89" fmla="*/ 2741770 h 4069169"/>
              <a:gd name="connsiteX90" fmla="*/ 3155257 w 5110790"/>
              <a:gd name="connsiteY90" fmla="*/ 2772881 h 4069169"/>
              <a:gd name="connsiteX91" fmla="*/ 3157675 w 5110790"/>
              <a:gd name="connsiteY91" fmla="*/ 2805445 h 4069169"/>
              <a:gd name="connsiteX92" fmla="*/ 3159067 w 5110790"/>
              <a:gd name="connsiteY92" fmla="*/ 2839413 h 4069169"/>
              <a:gd name="connsiteX93" fmla="*/ 3159514 w 5110790"/>
              <a:gd name="connsiteY93" fmla="*/ 2874737 h 4069169"/>
              <a:gd name="connsiteX94" fmla="*/ 3159089 w 5110790"/>
              <a:gd name="connsiteY94" fmla="*/ 2910212 h 4069169"/>
              <a:gd name="connsiteX95" fmla="*/ 3157757 w 5110790"/>
              <a:gd name="connsiteY95" fmla="*/ 2944332 h 4069169"/>
              <a:gd name="connsiteX96" fmla="*/ 3155431 w 5110790"/>
              <a:gd name="connsiteY96" fmla="*/ 2977045 h 4069169"/>
              <a:gd name="connsiteX97" fmla="*/ 3152023 w 5110790"/>
              <a:gd name="connsiteY97" fmla="*/ 3008303 h 4069169"/>
              <a:gd name="connsiteX98" fmla="*/ 3147446 w 5110790"/>
              <a:gd name="connsiteY98" fmla="*/ 3038054 h 4069169"/>
              <a:gd name="connsiteX99" fmla="*/ 3141612 w 5110790"/>
              <a:gd name="connsiteY99" fmla="*/ 3066249 h 4069169"/>
              <a:gd name="connsiteX100" fmla="*/ 3134435 w 5110790"/>
              <a:gd name="connsiteY100" fmla="*/ 3092837 h 4069169"/>
              <a:gd name="connsiteX101" fmla="*/ 3125826 w 5110790"/>
              <a:gd name="connsiteY101" fmla="*/ 3117770 h 4069169"/>
              <a:gd name="connsiteX102" fmla="*/ 3115700 w 5110790"/>
              <a:gd name="connsiteY102" fmla="*/ 3140995 h 4069169"/>
              <a:gd name="connsiteX103" fmla="*/ 3103967 w 5110790"/>
              <a:gd name="connsiteY103" fmla="*/ 3162464 h 4069169"/>
              <a:gd name="connsiteX104" fmla="*/ 3090542 w 5110790"/>
              <a:gd name="connsiteY104" fmla="*/ 3182126 h 4069169"/>
              <a:gd name="connsiteX105" fmla="*/ 3075336 w 5110790"/>
              <a:gd name="connsiteY105" fmla="*/ 3199931 h 4069169"/>
              <a:gd name="connsiteX106" fmla="*/ 3058263 w 5110790"/>
              <a:gd name="connsiteY106" fmla="*/ 3215828 h 4069169"/>
              <a:gd name="connsiteX107" fmla="*/ 3039235 w 5110790"/>
              <a:gd name="connsiteY107" fmla="*/ 3229769 h 4069169"/>
              <a:gd name="connsiteX108" fmla="*/ 3018165 w 5110790"/>
              <a:gd name="connsiteY108" fmla="*/ 3241703 h 4069169"/>
              <a:gd name="connsiteX109" fmla="*/ 2994965 w 5110790"/>
              <a:gd name="connsiteY109" fmla="*/ 3251579 h 4069169"/>
              <a:gd name="connsiteX110" fmla="*/ 2969548 w 5110790"/>
              <a:gd name="connsiteY110" fmla="*/ 3259347 h 4069169"/>
              <a:gd name="connsiteX111" fmla="*/ 2941828 w 5110790"/>
              <a:gd name="connsiteY111" fmla="*/ 3264959 h 4069169"/>
              <a:gd name="connsiteX112" fmla="*/ 2911716 w 5110790"/>
              <a:gd name="connsiteY112" fmla="*/ 3268362 h 4069169"/>
              <a:gd name="connsiteX113" fmla="*/ 2879125 w 5110790"/>
              <a:gd name="connsiteY113" fmla="*/ 3269508 h 4069169"/>
              <a:gd name="connsiteX114" fmla="*/ 2879125 w 5110790"/>
              <a:gd name="connsiteY114" fmla="*/ 3210798 h 4069169"/>
              <a:gd name="connsiteX115" fmla="*/ 2909252 w 5110790"/>
              <a:gd name="connsiteY115" fmla="*/ 3209444 h 4069169"/>
              <a:gd name="connsiteX116" fmla="*/ 2936490 w 5110790"/>
              <a:gd name="connsiteY116" fmla="*/ 3205429 h 4069169"/>
              <a:gd name="connsiteX117" fmla="*/ 2960977 w 5110790"/>
              <a:gd name="connsiteY117" fmla="*/ 3198827 h 4069169"/>
              <a:gd name="connsiteX118" fmla="*/ 2982849 w 5110790"/>
              <a:gd name="connsiteY118" fmla="*/ 3189707 h 4069169"/>
              <a:gd name="connsiteX119" fmla="*/ 3019298 w 5110790"/>
              <a:gd name="connsiteY119" fmla="*/ 3164203 h 4069169"/>
              <a:gd name="connsiteX120" fmla="*/ 3046935 w 5110790"/>
              <a:gd name="connsiteY120" fmla="*/ 3129493 h 4069169"/>
              <a:gd name="connsiteX121" fmla="*/ 3057792 w 5110790"/>
              <a:gd name="connsiteY121" fmla="*/ 3108864 h 4069169"/>
              <a:gd name="connsiteX122" fmla="*/ 3066859 w 5110790"/>
              <a:gd name="connsiteY122" fmla="*/ 3086149 h 4069169"/>
              <a:gd name="connsiteX123" fmla="*/ 3074271 w 5110790"/>
              <a:gd name="connsiteY123" fmla="*/ 3061419 h 4069169"/>
              <a:gd name="connsiteX124" fmla="*/ 3080167 w 5110790"/>
              <a:gd name="connsiteY124" fmla="*/ 3034745 h 4069169"/>
              <a:gd name="connsiteX125" fmla="*/ 3084682 w 5110790"/>
              <a:gd name="connsiteY125" fmla="*/ 3006199 h 4069169"/>
              <a:gd name="connsiteX126" fmla="*/ 3087956 w 5110790"/>
              <a:gd name="connsiteY126" fmla="*/ 2975855 h 4069169"/>
              <a:gd name="connsiteX127" fmla="*/ 3090124 w 5110790"/>
              <a:gd name="connsiteY127" fmla="*/ 2943781 h 4069169"/>
              <a:gd name="connsiteX128" fmla="*/ 3091324 w 5110790"/>
              <a:gd name="connsiteY128" fmla="*/ 2910051 h 4069169"/>
              <a:gd name="connsiteX129" fmla="*/ 3091694 w 5110790"/>
              <a:gd name="connsiteY129" fmla="*/ 2874737 h 4069169"/>
              <a:gd name="connsiteX130" fmla="*/ 3091305 w 5110790"/>
              <a:gd name="connsiteY130" fmla="*/ 2839769 h 4069169"/>
              <a:gd name="connsiteX131" fmla="*/ 3090050 w 5110790"/>
              <a:gd name="connsiteY131" fmla="*/ 2806365 h 4069169"/>
              <a:gd name="connsiteX132" fmla="*/ 3087800 w 5110790"/>
              <a:gd name="connsiteY132" fmla="*/ 2774596 h 4069169"/>
              <a:gd name="connsiteX133" fmla="*/ 3084425 w 5110790"/>
              <a:gd name="connsiteY133" fmla="*/ 2744535 h 4069169"/>
              <a:gd name="connsiteX134" fmla="*/ 3079795 w 5110790"/>
              <a:gd name="connsiteY134" fmla="*/ 2716252 h 4069169"/>
              <a:gd name="connsiteX135" fmla="*/ 3073782 w 5110790"/>
              <a:gd name="connsiteY135" fmla="*/ 2689820 h 4069169"/>
              <a:gd name="connsiteX136" fmla="*/ 3066253 w 5110790"/>
              <a:gd name="connsiteY136" fmla="*/ 2665311 h 4069169"/>
              <a:gd name="connsiteX137" fmla="*/ 3057081 w 5110790"/>
              <a:gd name="connsiteY137" fmla="*/ 2642795 h 4069169"/>
              <a:gd name="connsiteX138" fmla="*/ 3046134 w 5110790"/>
              <a:gd name="connsiteY138" fmla="*/ 2622345 h 4069169"/>
              <a:gd name="connsiteX139" fmla="*/ 3018400 w 5110790"/>
              <a:gd name="connsiteY139" fmla="*/ 2587929 h 4069169"/>
              <a:gd name="connsiteX140" fmla="*/ 2982013 w 5110790"/>
              <a:gd name="connsiteY140" fmla="*/ 2562635 h 4069169"/>
              <a:gd name="connsiteX141" fmla="*/ 2960250 w 5110790"/>
              <a:gd name="connsiteY141" fmla="*/ 2553590 h 4069169"/>
              <a:gd name="connsiteX142" fmla="*/ 2935934 w 5110790"/>
              <a:gd name="connsiteY142" fmla="*/ 2547039 h 4069169"/>
              <a:gd name="connsiteX143" fmla="*/ 2908936 w 5110790"/>
              <a:gd name="connsiteY143" fmla="*/ 2543056 h 4069169"/>
              <a:gd name="connsiteX144" fmla="*/ 2879125 w 5110790"/>
              <a:gd name="connsiteY144" fmla="*/ 2541713 h 4069169"/>
              <a:gd name="connsiteX145" fmla="*/ 2565698 w 5110790"/>
              <a:gd name="connsiteY145" fmla="*/ 2481992 h 4069169"/>
              <a:gd name="connsiteX146" fmla="*/ 2565698 w 5110790"/>
              <a:gd name="connsiteY146" fmla="*/ 2541713 h 4069169"/>
              <a:gd name="connsiteX147" fmla="*/ 2536056 w 5110790"/>
              <a:gd name="connsiteY147" fmla="*/ 2543056 h 4069169"/>
              <a:gd name="connsiteX148" fmla="*/ 2509206 w 5110790"/>
              <a:gd name="connsiteY148" fmla="*/ 2547039 h 4069169"/>
              <a:gd name="connsiteX149" fmla="*/ 2485020 w 5110790"/>
              <a:gd name="connsiteY149" fmla="*/ 2553590 h 4069169"/>
              <a:gd name="connsiteX150" fmla="*/ 2463369 w 5110790"/>
              <a:gd name="connsiteY150" fmla="*/ 2562635 h 4069169"/>
              <a:gd name="connsiteX151" fmla="*/ 2427161 w 5110790"/>
              <a:gd name="connsiteY151" fmla="*/ 2587929 h 4069169"/>
              <a:gd name="connsiteX152" fmla="*/ 2399551 w 5110790"/>
              <a:gd name="connsiteY152" fmla="*/ 2622345 h 4069169"/>
              <a:gd name="connsiteX153" fmla="*/ 2388649 w 5110790"/>
              <a:gd name="connsiteY153" fmla="*/ 2642795 h 4069169"/>
              <a:gd name="connsiteX154" fmla="*/ 2379511 w 5110790"/>
              <a:gd name="connsiteY154" fmla="*/ 2665311 h 4069169"/>
              <a:gd name="connsiteX155" fmla="*/ 2372009 w 5110790"/>
              <a:gd name="connsiteY155" fmla="*/ 2689820 h 4069169"/>
              <a:gd name="connsiteX156" fmla="*/ 2366014 w 5110790"/>
              <a:gd name="connsiteY156" fmla="*/ 2716252 h 4069169"/>
              <a:gd name="connsiteX157" fmla="*/ 2361397 w 5110790"/>
              <a:gd name="connsiteY157" fmla="*/ 2744535 h 4069169"/>
              <a:gd name="connsiteX158" fmla="*/ 2358029 w 5110790"/>
              <a:gd name="connsiteY158" fmla="*/ 2774596 h 4069169"/>
              <a:gd name="connsiteX159" fmla="*/ 2355783 w 5110790"/>
              <a:gd name="connsiteY159" fmla="*/ 2806365 h 4069169"/>
              <a:gd name="connsiteX160" fmla="*/ 2354530 w 5110790"/>
              <a:gd name="connsiteY160" fmla="*/ 2839769 h 4069169"/>
              <a:gd name="connsiteX161" fmla="*/ 2354141 w 5110790"/>
              <a:gd name="connsiteY161" fmla="*/ 2874737 h 4069169"/>
              <a:gd name="connsiteX162" fmla="*/ 2354520 w 5110790"/>
              <a:gd name="connsiteY162" fmla="*/ 2910051 h 4069169"/>
              <a:gd name="connsiteX163" fmla="*/ 2355746 w 5110790"/>
              <a:gd name="connsiteY163" fmla="*/ 2943781 h 4069169"/>
              <a:gd name="connsiteX164" fmla="*/ 2357952 w 5110790"/>
              <a:gd name="connsiteY164" fmla="*/ 2975855 h 4069169"/>
              <a:gd name="connsiteX165" fmla="*/ 2361268 w 5110790"/>
              <a:gd name="connsiteY165" fmla="*/ 3006199 h 4069169"/>
              <a:gd name="connsiteX166" fmla="*/ 2365828 w 5110790"/>
              <a:gd name="connsiteY166" fmla="*/ 3034745 h 4069169"/>
              <a:gd name="connsiteX167" fmla="*/ 2371764 w 5110790"/>
              <a:gd name="connsiteY167" fmla="*/ 3061419 h 4069169"/>
              <a:gd name="connsiteX168" fmla="*/ 2379208 w 5110790"/>
              <a:gd name="connsiteY168" fmla="*/ 3086149 h 4069169"/>
              <a:gd name="connsiteX169" fmla="*/ 2388293 w 5110790"/>
              <a:gd name="connsiteY169" fmla="*/ 3108864 h 4069169"/>
              <a:gd name="connsiteX170" fmla="*/ 2399150 w 5110790"/>
              <a:gd name="connsiteY170" fmla="*/ 3129493 h 4069169"/>
              <a:gd name="connsiteX171" fmla="*/ 2426712 w 5110790"/>
              <a:gd name="connsiteY171" fmla="*/ 3164203 h 4069169"/>
              <a:gd name="connsiteX172" fmla="*/ 2462952 w 5110790"/>
              <a:gd name="connsiteY172" fmla="*/ 3189707 h 4069169"/>
              <a:gd name="connsiteX173" fmla="*/ 2484656 w 5110790"/>
              <a:gd name="connsiteY173" fmla="*/ 3198827 h 4069169"/>
              <a:gd name="connsiteX174" fmla="*/ 2508928 w 5110790"/>
              <a:gd name="connsiteY174" fmla="*/ 3205429 h 4069169"/>
              <a:gd name="connsiteX175" fmla="*/ 2535898 w 5110790"/>
              <a:gd name="connsiteY175" fmla="*/ 3209444 h 4069169"/>
              <a:gd name="connsiteX176" fmla="*/ 2565698 w 5110790"/>
              <a:gd name="connsiteY176" fmla="*/ 3210798 h 4069169"/>
              <a:gd name="connsiteX177" fmla="*/ 2565698 w 5110790"/>
              <a:gd name="connsiteY177" fmla="*/ 3269508 h 4069169"/>
              <a:gd name="connsiteX178" fmla="*/ 2533244 w 5110790"/>
              <a:gd name="connsiteY178" fmla="*/ 3268362 h 4069169"/>
              <a:gd name="connsiteX179" fmla="*/ 2503241 w 5110790"/>
              <a:gd name="connsiteY179" fmla="*/ 3264959 h 4069169"/>
              <a:gd name="connsiteX180" fmla="*/ 2475603 w 5110790"/>
              <a:gd name="connsiteY180" fmla="*/ 3259347 h 4069169"/>
              <a:gd name="connsiteX181" fmla="*/ 2450247 w 5110790"/>
              <a:gd name="connsiteY181" fmla="*/ 3251579 h 4069169"/>
              <a:gd name="connsiteX182" fmla="*/ 2427085 w 5110790"/>
              <a:gd name="connsiteY182" fmla="*/ 3241703 h 4069169"/>
              <a:gd name="connsiteX183" fmla="*/ 2406034 w 5110790"/>
              <a:gd name="connsiteY183" fmla="*/ 3229769 h 4069169"/>
              <a:gd name="connsiteX184" fmla="*/ 2387009 w 5110790"/>
              <a:gd name="connsiteY184" fmla="*/ 3215828 h 4069169"/>
              <a:gd name="connsiteX185" fmla="*/ 2369924 w 5110790"/>
              <a:gd name="connsiteY185" fmla="*/ 3199931 h 4069169"/>
              <a:gd name="connsiteX186" fmla="*/ 2354694 w 5110790"/>
              <a:gd name="connsiteY186" fmla="*/ 3182126 h 4069169"/>
              <a:gd name="connsiteX187" fmla="*/ 2341235 w 5110790"/>
              <a:gd name="connsiteY187" fmla="*/ 3162464 h 4069169"/>
              <a:gd name="connsiteX188" fmla="*/ 2329461 w 5110790"/>
              <a:gd name="connsiteY188" fmla="*/ 3140995 h 4069169"/>
              <a:gd name="connsiteX189" fmla="*/ 2319288 w 5110790"/>
              <a:gd name="connsiteY189" fmla="*/ 3117770 h 4069169"/>
              <a:gd name="connsiteX190" fmla="*/ 2310630 w 5110790"/>
              <a:gd name="connsiteY190" fmla="*/ 3092837 h 4069169"/>
              <a:gd name="connsiteX191" fmla="*/ 2303402 w 5110790"/>
              <a:gd name="connsiteY191" fmla="*/ 3066249 h 4069169"/>
              <a:gd name="connsiteX192" fmla="*/ 2297519 w 5110790"/>
              <a:gd name="connsiteY192" fmla="*/ 3038054 h 4069169"/>
              <a:gd name="connsiteX193" fmla="*/ 2292897 w 5110790"/>
              <a:gd name="connsiteY193" fmla="*/ 3008303 h 4069169"/>
              <a:gd name="connsiteX194" fmla="*/ 2289449 w 5110790"/>
              <a:gd name="connsiteY194" fmla="*/ 2977045 h 4069169"/>
              <a:gd name="connsiteX195" fmla="*/ 2287092 w 5110790"/>
              <a:gd name="connsiteY195" fmla="*/ 2944332 h 4069169"/>
              <a:gd name="connsiteX196" fmla="*/ 2285740 w 5110790"/>
              <a:gd name="connsiteY196" fmla="*/ 2910212 h 4069169"/>
              <a:gd name="connsiteX197" fmla="*/ 2285309 w 5110790"/>
              <a:gd name="connsiteY197" fmla="*/ 2874737 h 4069169"/>
              <a:gd name="connsiteX198" fmla="*/ 2285755 w 5110790"/>
              <a:gd name="connsiteY198" fmla="*/ 2839413 h 4069169"/>
              <a:gd name="connsiteX199" fmla="*/ 2287147 w 5110790"/>
              <a:gd name="connsiteY199" fmla="*/ 2805445 h 4069169"/>
              <a:gd name="connsiteX200" fmla="*/ 2289566 w 5110790"/>
              <a:gd name="connsiteY200" fmla="*/ 2772881 h 4069169"/>
              <a:gd name="connsiteX201" fmla="*/ 2293091 w 5110790"/>
              <a:gd name="connsiteY201" fmla="*/ 2741770 h 4069169"/>
              <a:gd name="connsiteX202" fmla="*/ 2297804 w 5110790"/>
              <a:gd name="connsiteY202" fmla="*/ 2712163 h 4069169"/>
              <a:gd name="connsiteX203" fmla="*/ 2303784 w 5110790"/>
              <a:gd name="connsiteY203" fmla="*/ 2684109 h 4069169"/>
              <a:gd name="connsiteX204" fmla="*/ 2311113 w 5110790"/>
              <a:gd name="connsiteY204" fmla="*/ 2657656 h 4069169"/>
              <a:gd name="connsiteX205" fmla="*/ 2319870 w 5110790"/>
              <a:gd name="connsiteY205" fmla="*/ 2632854 h 4069169"/>
              <a:gd name="connsiteX206" fmla="*/ 2330137 w 5110790"/>
              <a:gd name="connsiteY206" fmla="*/ 2609754 h 4069169"/>
              <a:gd name="connsiteX207" fmla="*/ 2341994 w 5110790"/>
              <a:gd name="connsiteY207" fmla="*/ 2588403 h 4069169"/>
              <a:gd name="connsiteX208" fmla="*/ 2355521 w 5110790"/>
              <a:gd name="connsiteY208" fmla="*/ 2568850 h 4069169"/>
              <a:gd name="connsiteX209" fmla="*/ 2370798 w 5110790"/>
              <a:gd name="connsiteY209" fmla="*/ 2551147 h 4069169"/>
              <a:gd name="connsiteX210" fmla="*/ 2387907 w 5110790"/>
              <a:gd name="connsiteY210" fmla="*/ 2535342 h 4069169"/>
              <a:gd name="connsiteX211" fmla="*/ 2406927 w 5110790"/>
              <a:gd name="connsiteY211" fmla="*/ 2521483 h 4069169"/>
              <a:gd name="connsiteX212" fmla="*/ 2427939 w 5110790"/>
              <a:gd name="connsiteY212" fmla="*/ 2509622 h 4069169"/>
              <a:gd name="connsiteX213" fmla="*/ 2451024 w 5110790"/>
              <a:gd name="connsiteY213" fmla="*/ 2499807 h 4069169"/>
              <a:gd name="connsiteX214" fmla="*/ 2476262 w 5110790"/>
              <a:gd name="connsiteY214" fmla="*/ 2492087 h 4069169"/>
              <a:gd name="connsiteX215" fmla="*/ 2503733 w 5110790"/>
              <a:gd name="connsiteY215" fmla="*/ 2486511 h 4069169"/>
              <a:gd name="connsiteX216" fmla="*/ 2533518 w 5110790"/>
              <a:gd name="connsiteY216" fmla="*/ 2483129 h 4069169"/>
              <a:gd name="connsiteX217" fmla="*/ 4308476 w 5110790"/>
              <a:gd name="connsiteY217" fmla="*/ 2413668 h 4069169"/>
              <a:gd name="connsiteX218" fmla="*/ 4389455 w 5110790"/>
              <a:gd name="connsiteY218" fmla="*/ 2413668 h 4069169"/>
              <a:gd name="connsiteX219" fmla="*/ 4503836 w 5110790"/>
              <a:gd name="connsiteY219" fmla="*/ 2623200 h 4069169"/>
              <a:gd name="connsiteX220" fmla="*/ 4387430 w 5110790"/>
              <a:gd name="connsiteY220" fmla="*/ 2838804 h 4069169"/>
              <a:gd name="connsiteX221" fmla="*/ 4308476 w 5110790"/>
              <a:gd name="connsiteY221" fmla="*/ 2838804 h 4069169"/>
              <a:gd name="connsiteX222" fmla="*/ 4407674 w 5110790"/>
              <a:gd name="connsiteY222" fmla="*/ 2653567 h 4069169"/>
              <a:gd name="connsiteX223" fmla="*/ 4017966 w 5110790"/>
              <a:gd name="connsiteY223" fmla="*/ 2653567 h 4069169"/>
              <a:gd name="connsiteX224" fmla="*/ 4017966 w 5110790"/>
              <a:gd name="connsiteY224" fmla="*/ 2588784 h 4069169"/>
              <a:gd name="connsiteX225" fmla="*/ 4405650 w 5110790"/>
              <a:gd name="connsiteY225" fmla="*/ 2588784 h 4069169"/>
              <a:gd name="connsiteX226" fmla="*/ 2147951 w 5110790"/>
              <a:gd name="connsiteY226" fmla="*/ 2190467 h 4069169"/>
              <a:gd name="connsiteX227" fmla="*/ 2173557 w 5110790"/>
              <a:gd name="connsiteY227" fmla="*/ 2192697 h 4069169"/>
              <a:gd name="connsiteX228" fmla="*/ 2193375 w 5110790"/>
              <a:gd name="connsiteY228" fmla="*/ 2200715 h 4069169"/>
              <a:gd name="connsiteX229" fmla="*/ 2206169 w 5110790"/>
              <a:gd name="connsiteY229" fmla="*/ 2216516 h 4069169"/>
              <a:gd name="connsiteX230" fmla="*/ 2210708 w 5110790"/>
              <a:gd name="connsiteY230" fmla="*/ 2242090 h 4069169"/>
              <a:gd name="connsiteX231" fmla="*/ 2206169 w 5110790"/>
              <a:gd name="connsiteY231" fmla="*/ 2268835 h 4069169"/>
              <a:gd name="connsiteX232" fmla="*/ 2193375 w 5110790"/>
              <a:gd name="connsiteY232" fmla="*/ 2285237 h 4069169"/>
              <a:gd name="connsiteX233" fmla="*/ 2173557 w 5110790"/>
              <a:gd name="connsiteY233" fmla="*/ 2293477 h 4069169"/>
              <a:gd name="connsiteX234" fmla="*/ 2147951 w 5110790"/>
              <a:gd name="connsiteY234" fmla="*/ 2295739 h 4069169"/>
              <a:gd name="connsiteX235" fmla="*/ 2122345 w 5110790"/>
              <a:gd name="connsiteY235" fmla="*/ 2293477 h 4069169"/>
              <a:gd name="connsiteX236" fmla="*/ 2102527 w 5110790"/>
              <a:gd name="connsiteY236" fmla="*/ 2285237 h 4069169"/>
              <a:gd name="connsiteX237" fmla="*/ 2089732 w 5110790"/>
              <a:gd name="connsiteY237" fmla="*/ 2268835 h 4069169"/>
              <a:gd name="connsiteX238" fmla="*/ 2085193 w 5110790"/>
              <a:gd name="connsiteY238" fmla="*/ 2242090 h 4069169"/>
              <a:gd name="connsiteX239" fmla="*/ 2089874 w 5110790"/>
              <a:gd name="connsiteY239" fmla="*/ 2216516 h 4069169"/>
              <a:gd name="connsiteX240" fmla="*/ 2102907 w 5110790"/>
              <a:gd name="connsiteY240" fmla="*/ 2200715 h 4069169"/>
              <a:gd name="connsiteX241" fmla="*/ 2122772 w 5110790"/>
              <a:gd name="connsiteY241" fmla="*/ 2192697 h 4069169"/>
              <a:gd name="connsiteX242" fmla="*/ 784523 w 5110790"/>
              <a:gd name="connsiteY242" fmla="*/ 2190467 h 4069169"/>
              <a:gd name="connsiteX243" fmla="*/ 810129 w 5110790"/>
              <a:gd name="connsiteY243" fmla="*/ 2192697 h 4069169"/>
              <a:gd name="connsiteX244" fmla="*/ 829946 w 5110790"/>
              <a:gd name="connsiteY244" fmla="*/ 2200715 h 4069169"/>
              <a:gd name="connsiteX245" fmla="*/ 842741 w 5110790"/>
              <a:gd name="connsiteY245" fmla="*/ 2216516 h 4069169"/>
              <a:gd name="connsiteX246" fmla="*/ 847281 w 5110790"/>
              <a:gd name="connsiteY246" fmla="*/ 2242090 h 4069169"/>
              <a:gd name="connsiteX247" fmla="*/ 842741 w 5110790"/>
              <a:gd name="connsiteY247" fmla="*/ 2268835 h 4069169"/>
              <a:gd name="connsiteX248" fmla="*/ 829946 w 5110790"/>
              <a:gd name="connsiteY248" fmla="*/ 2285237 h 4069169"/>
              <a:gd name="connsiteX249" fmla="*/ 810129 w 5110790"/>
              <a:gd name="connsiteY249" fmla="*/ 2293477 h 4069169"/>
              <a:gd name="connsiteX250" fmla="*/ 784523 w 5110790"/>
              <a:gd name="connsiteY250" fmla="*/ 2295739 h 4069169"/>
              <a:gd name="connsiteX251" fmla="*/ 758916 w 5110790"/>
              <a:gd name="connsiteY251" fmla="*/ 2293477 h 4069169"/>
              <a:gd name="connsiteX252" fmla="*/ 739099 w 5110790"/>
              <a:gd name="connsiteY252" fmla="*/ 2285237 h 4069169"/>
              <a:gd name="connsiteX253" fmla="*/ 726304 w 5110790"/>
              <a:gd name="connsiteY253" fmla="*/ 2268835 h 4069169"/>
              <a:gd name="connsiteX254" fmla="*/ 721765 w 5110790"/>
              <a:gd name="connsiteY254" fmla="*/ 2242090 h 4069169"/>
              <a:gd name="connsiteX255" fmla="*/ 726446 w 5110790"/>
              <a:gd name="connsiteY255" fmla="*/ 2216516 h 4069169"/>
              <a:gd name="connsiteX256" fmla="*/ 739479 w 5110790"/>
              <a:gd name="connsiteY256" fmla="*/ 2200715 h 4069169"/>
              <a:gd name="connsiteX257" fmla="*/ 759344 w 5110790"/>
              <a:gd name="connsiteY257" fmla="*/ 2192697 h 4069169"/>
              <a:gd name="connsiteX258" fmla="*/ 62758 w 5110790"/>
              <a:gd name="connsiteY258" fmla="*/ 2190467 h 4069169"/>
              <a:gd name="connsiteX259" fmla="*/ 88364 w 5110790"/>
              <a:gd name="connsiteY259" fmla="*/ 2192697 h 4069169"/>
              <a:gd name="connsiteX260" fmla="*/ 108181 w 5110790"/>
              <a:gd name="connsiteY260" fmla="*/ 2200715 h 4069169"/>
              <a:gd name="connsiteX261" fmla="*/ 120977 w 5110790"/>
              <a:gd name="connsiteY261" fmla="*/ 2216516 h 4069169"/>
              <a:gd name="connsiteX262" fmla="*/ 125516 w 5110790"/>
              <a:gd name="connsiteY262" fmla="*/ 2242090 h 4069169"/>
              <a:gd name="connsiteX263" fmla="*/ 120977 w 5110790"/>
              <a:gd name="connsiteY263" fmla="*/ 2268835 h 4069169"/>
              <a:gd name="connsiteX264" fmla="*/ 108181 w 5110790"/>
              <a:gd name="connsiteY264" fmla="*/ 2285237 h 4069169"/>
              <a:gd name="connsiteX265" fmla="*/ 88364 w 5110790"/>
              <a:gd name="connsiteY265" fmla="*/ 2293477 h 4069169"/>
              <a:gd name="connsiteX266" fmla="*/ 62758 w 5110790"/>
              <a:gd name="connsiteY266" fmla="*/ 2295739 h 4069169"/>
              <a:gd name="connsiteX267" fmla="*/ 37151 w 5110790"/>
              <a:gd name="connsiteY267" fmla="*/ 2293477 h 4069169"/>
              <a:gd name="connsiteX268" fmla="*/ 17334 w 5110790"/>
              <a:gd name="connsiteY268" fmla="*/ 2285237 h 4069169"/>
              <a:gd name="connsiteX269" fmla="*/ 4539 w 5110790"/>
              <a:gd name="connsiteY269" fmla="*/ 2268835 h 4069169"/>
              <a:gd name="connsiteX270" fmla="*/ 0 w 5110790"/>
              <a:gd name="connsiteY270" fmla="*/ 2242090 h 4069169"/>
              <a:gd name="connsiteX271" fmla="*/ 4681 w 5110790"/>
              <a:gd name="connsiteY271" fmla="*/ 2216516 h 4069169"/>
              <a:gd name="connsiteX272" fmla="*/ 17713 w 5110790"/>
              <a:gd name="connsiteY272" fmla="*/ 2200715 h 4069169"/>
              <a:gd name="connsiteX273" fmla="*/ 37578 w 5110790"/>
              <a:gd name="connsiteY273" fmla="*/ 2192697 h 4069169"/>
              <a:gd name="connsiteX274" fmla="*/ 4915430 w 5110790"/>
              <a:gd name="connsiteY274" fmla="*/ 1822022 h 4069169"/>
              <a:gd name="connsiteX275" fmla="*/ 4996408 w 5110790"/>
              <a:gd name="connsiteY275" fmla="*/ 1822022 h 4069169"/>
              <a:gd name="connsiteX276" fmla="*/ 5110790 w 5110790"/>
              <a:gd name="connsiteY276" fmla="*/ 2031553 h 4069169"/>
              <a:gd name="connsiteX277" fmla="*/ 4994384 w 5110790"/>
              <a:gd name="connsiteY277" fmla="*/ 2247158 h 4069169"/>
              <a:gd name="connsiteX278" fmla="*/ 4915430 w 5110790"/>
              <a:gd name="connsiteY278" fmla="*/ 2247158 h 4069169"/>
              <a:gd name="connsiteX279" fmla="*/ 5014628 w 5110790"/>
              <a:gd name="connsiteY279" fmla="*/ 2061920 h 4069169"/>
              <a:gd name="connsiteX280" fmla="*/ 4624920 w 5110790"/>
              <a:gd name="connsiteY280" fmla="*/ 2061920 h 4069169"/>
              <a:gd name="connsiteX281" fmla="*/ 4624920 w 5110790"/>
              <a:gd name="connsiteY281" fmla="*/ 1997137 h 4069169"/>
              <a:gd name="connsiteX282" fmla="*/ 5012604 w 5110790"/>
              <a:gd name="connsiteY282" fmla="*/ 1997137 h 4069169"/>
              <a:gd name="connsiteX283" fmla="*/ 2876800 w 5110790"/>
              <a:gd name="connsiteY283" fmla="*/ 1822016 h 4069169"/>
              <a:gd name="connsiteX284" fmla="*/ 2957778 w 5110790"/>
              <a:gd name="connsiteY284" fmla="*/ 1822016 h 4069169"/>
              <a:gd name="connsiteX285" fmla="*/ 3072160 w 5110790"/>
              <a:gd name="connsiteY285" fmla="*/ 2031547 h 4069169"/>
              <a:gd name="connsiteX286" fmla="*/ 2955754 w 5110790"/>
              <a:gd name="connsiteY286" fmla="*/ 2247152 h 4069169"/>
              <a:gd name="connsiteX287" fmla="*/ 2876800 w 5110790"/>
              <a:gd name="connsiteY287" fmla="*/ 2247152 h 4069169"/>
              <a:gd name="connsiteX288" fmla="*/ 2975998 w 5110790"/>
              <a:gd name="connsiteY288" fmla="*/ 2061915 h 4069169"/>
              <a:gd name="connsiteX289" fmla="*/ 2586290 w 5110790"/>
              <a:gd name="connsiteY289" fmla="*/ 2061915 h 4069169"/>
              <a:gd name="connsiteX290" fmla="*/ 2586290 w 5110790"/>
              <a:gd name="connsiteY290" fmla="*/ 1997132 h 4069169"/>
              <a:gd name="connsiteX291" fmla="*/ 2973974 w 5110790"/>
              <a:gd name="connsiteY291" fmla="*/ 1997132 h 4069169"/>
              <a:gd name="connsiteX292" fmla="*/ 1513768 w 5110790"/>
              <a:gd name="connsiteY292" fmla="*/ 1822016 h 4069169"/>
              <a:gd name="connsiteX293" fmla="*/ 1594748 w 5110790"/>
              <a:gd name="connsiteY293" fmla="*/ 1822016 h 4069169"/>
              <a:gd name="connsiteX294" fmla="*/ 1709128 w 5110790"/>
              <a:gd name="connsiteY294" fmla="*/ 2031547 h 4069169"/>
              <a:gd name="connsiteX295" fmla="*/ 1592723 w 5110790"/>
              <a:gd name="connsiteY295" fmla="*/ 2247152 h 4069169"/>
              <a:gd name="connsiteX296" fmla="*/ 1513768 w 5110790"/>
              <a:gd name="connsiteY296" fmla="*/ 2247152 h 4069169"/>
              <a:gd name="connsiteX297" fmla="*/ 1612966 w 5110790"/>
              <a:gd name="connsiteY297" fmla="*/ 2061915 h 4069169"/>
              <a:gd name="connsiteX298" fmla="*/ 1223259 w 5110790"/>
              <a:gd name="connsiteY298" fmla="*/ 2061915 h 4069169"/>
              <a:gd name="connsiteX299" fmla="*/ 1223259 w 5110790"/>
              <a:gd name="connsiteY299" fmla="*/ 1997132 h 4069169"/>
              <a:gd name="connsiteX300" fmla="*/ 1610942 w 5110790"/>
              <a:gd name="connsiteY300" fmla="*/ 1997132 h 4069169"/>
              <a:gd name="connsiteX301" fmla="*/ 2147951 w 5110790"/>
              <a:gd name="connsiteY301" fmla="*/ 1765330 h 4069169"/>
              <a:gd name="connsiteX302" fmla="*/ 2173557 w 5110790"/>
              <a:gd name="connsiteY302" fmla="*/ 1767433 h 4069169"/>
              <a:gd name="connsiteX303" fmla="*/ 2193375 w 5110790"/>
              <a:gd name="connsiteY303" fmla="*/ 1775325 h 4069169"/>
              <a:gd name="connsiteX304" fmla="*/ 2206169 w 5110790"/>
              <a:gd name="connsiteY304" fmla="*/ 1791378 h 4069169"/>
              <a:gd name="connsiteX305" fmla="*/ 2210708 w 5110790"/>
              <a:gd name="connsiteY305" fmla="*/ 1817966 h 4069169"/>
              <a:gd name="connsiteX306" fmla="*/ 2206169 w 5110790"/>
              <a:gd name="connsiteY306" fmla="*/ 1843698 h 4069169"/>
              <a:gd name="connsiteX307" fmla="*/ 2193375 w 5110790"/>
              <a:gd name="connsiteY307" fmla="*/ 1859846 h 4069169"/>
              <a:gd name="connsiteX308" fmla="*/ 2173557 w 5110790"/>
              <a:gd name="connsiteY308" fmla="*/ 1868213 h 4069169"/>
              <a:gd name="connsiteX309" fmla="*/ 2147951 w 5110790"/>
              <a:gd name="connsiteY309" fmla="*/ 1870601 h 4069169"/>
              <a:gd name="connsiteX310" fmla="*/ 2122930 w 5110790"/>
              <a:gd name="connsiteY310" fmla="*/ 1868213 h 4069169"/>
              <a:gd name="connsiteX311" fmla="*/ 2103413 w 5110790"/>
              <a:gd name="connsiteY311" fmla="*/ 1859846 h 4069169"/>
              <a:gd name="connsiteX312" fmla="*/ 2090728 w 5110790"/>
              <a:gd name="connsiteY312" fmla="*/ 1843698 h 4069169"/>
              <a:gd name="connsiteX313" fmla="*/ 2086205 w 5110790"/>
              <a:gd name="connsiteY313" fmla="*/ 1817966 h 4069169"/>
              <a:gd name="connsiteX314" fmla="*/ 2090728 w 5110790"/>
              <a:gd name="connsiteY314" fmla="*/ 1791378 h 4069169"/>
              <a:gd name="connsiteX315" fmla="*/ 2103413 w 5110790"/>
              <a:gd name="connsiteY315" fmla="*/ 1775325 h 4069169"/>
              <a:gd name="connsiteX316" fmla="*/ 2122930 w 5110790"/>
              <a:gd name="connsiteY316" fmla="*/ 1767433 h 4069169"/>
              <a:gd name="connsiteX317" fmla="*/ 784523 w 5110790"/>
              <a:gd name="connsiteY317" fmla="*/ 1765330 h 4069169"/>
              <a:gd name="connsiteX318" fmla="*/ 810129 w 5110790"/>
              <a:gd name="connsiteY318" fmla="*/ 1767433 h 4069169"/>
              <a:gd name="connsiteX319" fmla="*/ 829946 w 5110790"/>
              <a:gd name="connsiteY319" fmla="*/ 1775325 h 4069169"/>
              <a:gd name="connsiteX320" fmla="*/ 842741 w 5110790"/>
              <a:gd name="connsiteY320" fmla="*/ 1791378 h 4069169"/>
              <a:gd name="connsiteX321" fmla="*/ 847281 w 5110790"/>
              <a:gd name="connsiteY321" fmla="*/ 1817966 h 4069169"/>
              <a:gd name="connsiteX322" fmla="*/ 842741 w 5110790"/>
              <a:gd name="connsiteY322" fmla="*/ 1843698 h 4069169"/>
              <a:gd name="connsiteX323" fmla="*/ 829946 w 5110790"/>
              <a:gd name="connsiteY323" fmla="*/ 1859846 h 4069169"/>
              <a:gd name="connsiteX324" fmla="*/ 810129 w 5110790"/>
              <a:gd name="connsiteY324" fmla="*/ 1868213 h 4069169"/>
              <a:gd name="connsiteX325" fmla="*/ 784523 w 5110790"/>
              <a:gd name="connsiteY325" fmla="*/ 1870601 h 4069169"/>
              <a:gd name="connsiteX326" fmla="*/ 759502 w 5110790"/>
              <a:gd name="connsiteY326" fmla="*/ 1868213 h 4069169"/>
              <a:gd name="connsiteX327" fmla="*/ 739984 w 5110790"/>
              <a:gd name="connsiteY327" fmla="*/ 1859846 h 4069169"/>
              <a:gd name="connsiteX328" fmla="*/ 727300 w 5110790"/>
              <a:gd name="connsiteY328" fmla="*/ 1843698 h 4069169"/>
              <a:gd name="connsiteX329" fmla="*/ 722776 w 5110790"/>
              <a:gd name="connsiteY329" fmla="*/ 1817966 h 4069169"/>
              <a:gd name="connsiteX330" fmla="*/ 727300 w 5110790"/>
              <a:gd name="connsiteY330" fmla="*/ 1791378 h 4069169"/>
              <a:gd name="connsiteX331" fmla="*/ 739984 w 5110790"/>
              <a:gd name="connsiteY331" fmla="*/ 1775325 h 4069169"/>
              <a:gd name="connsiteX332" fmla="*/ 759502 w 5110790"/>
              <a:gd name="connsiteY332" fmla="*/ 1767433 h 4069169"/>
              <a:gd name="connsiteX333" fmla="*/ 62758 w 5110790"/>
              <a:gd name="connsiteY333" fmla="*/ 1765330 h 4069169"/>
              <a:gd name="connsiteX334" fmla="*/ 88364 w 5110790"/>
              <a:gd name="connsiteY334" fmla="*/ 1767433 h 4069169"/>
              <a:gd name="connsiteX335" fmla="*/ 108181 w 5110790"/>
              <a:gd name="connsiteY335" fmla="*/ 1775325 h 4069169"/>
              <a:gd name="connsiteX336" fmla="*/ 120977 w 5110790"/>
              <a:gd name="connsiteY336" fmla="*/ 1791378 h 4069169"/>
              <a:gd name="connsiteX337" fmla="*/ 125516 w 5110790"/>
              <a:gd name="connsiteY337" fmla="*/ 1817966 h 4069169"/>
              <a:gd name="connsiteX338" fmla="*/ 120977 w 5110790"/>
              <a:gd name="connsiteY338" fmla="*/ 1843698 h 4069169"/>
              <a:gd name="connsiteX339" fmla="*/ 108181 w 5110790"/>
              <a:gd name="connsiteY339" fmla="*/ 1859846 h 4069169"/>
              <a:gd name="connsiteX340" fmla="*/ 88364 w 5110790"/>
              <a:gd name="connsiteY340" fmla="*/ 1868213 h 4069169"/>
              <a:gd name="connsiteX341" fmla="*/ 62758 w 5110790"/>
              <a:gd name="connsiteY341" fmla="*/ 1870601 h 4069169"/>
              <a:gd name="connsiteX342" fmla="*/ 37736 w 5110790"/>
              <a:gd name="connsiteY342" fmla="*/ 1868213 h 4069169"/>
              <a:gd name="connsiteX343" fmla="*/ 18219 w 5110790"/>
              <a:gd name="connsiteY343" fmla="*/ 1859846 h 4069169"/>
              <a:gd name="connsiteX344" fmla="*/ 5535 w 5110790"/>
              <a:gd name="connsiteY344" fmla="*/ 1843698 h 4069169"/>
              <a:gd name="connsiteX345" fmla="*/ 1012 w 5110790"/>
              <a:gd name="connsiteY345" fmla="*/ 1817966 h 4069169"/>
              <a:gd name="connsiteX346" fmla="*/ 5535 w 5110790"/>
              <a:gd name="connsiteY346" fmla="*/ 1791378 h 4069169"/>
              <a:gd name="connsiteX347" fmla="*/ 18219 w 5110790"/>
              <a:gd name="connsiteY347" fmla="*/ 1775325 h 4069169"/>
              <a:gd name="connsiteX348" fmla="*/ 37736 w 5110790"/>
              <a:gd name="connsiteY348" fmla="*/ 1767433 h 4069169"/>
              <a:gd name="connsiteX349" fmla="*/ 3434660 w 5110790"/>
              <a:gd name="connsiteY349" fmla="*/ 1570981 h 4069169"/>
              <a:gd name="connsiteX350" fmla="*/ 3466840 w 5110790"/>
              <a:gd name="connsiteY350" fmla="*/ 1572118 h 4069169"/>
              <a:gd name="connsiteX351" fmla="*/ 3496625 w 5110790"/>
              <a:gd name="connsiteY351" fmla="*/ 1575500 h 4069169"/>
              <a:gd name="connsiteX352" fmla="*/ 3524096 w 5110790"/>
              <a:gd name="connsiteY352" fmla="*/ 1581076 h 4069169"/>
              <a:gd name="connsiteX353" fmla="*/ 3549334 w 5110790"/>
              <a:gd name="connsiteY353" fmla="*/ 1588796 h 4069169"/>
              <a:gd name="connsiteX354" fmla="*/ 3572418 w 5110790"/>
              <a:gd name="connsiteY354" fmla="*/ 1598611 h 4069169"/>
              <a:gd name="connsiteX355" fmla="*/ 3593431 w 5110790"/>
              <a:gd name="connsiteY355" fmla="*/ 1610473 h 4069169"/>
              <a:gd name="connsiteX356" fmla="*/ 3612450 w 5110790"/>
              <a:gd name="connsiteY356" fmla="*/ 1624331 h 4069169"/>
              <a:gd name="connsiteX357" fmla="*/ 3629559 w 5110790"/>
              <a:gd name="connsiteY357" fmla="*/ 1640136 h 4069169"/>
              <a:gd name="connsiteX358" fmla="*/ 3644837 w 5110790"/>
              <a:gd name="connsiteY358" fmla="*/ 1657839 h 4069169"/>
              <a:gd name="connsiteX359" fmla="*/ 3658363 w 5110790"/>
              <a:gd name="connsiteY359" fmla="*/ 1677391 h 4069169"/>
              <a:gd name="connsiteX360" fmla="*/ 3670219 w 5110790"/>
              <a:gd name="connsiteY360" fmla="*/ 1698743 h 4069169"/>
              <a:gd name="connsiteX361" fmla="*/ 3680486 w 5110790"/>
              <a:gd name="connsiteY361" fmla="*/ 1721844 h 4069169"/>
              <a:gd name="connsiteX362" fmla="*/ 3689244 w 5110790"/>
              <a:gd name="connsiteY362" fmla="*/ 1746646 h 4069169"/>
              <a:gd name="connsiteX363" fmla="*/ 3696573 w 5110790"/>
              <a:gd name="connsiteY363" fmla="*/ 1773098 h 4069169"/>
              <a:gd name="connsiteX364" fmla="*/ 3702553 w 5110790"/>
              <a:gd name="connsiteY364" fmla="*/ 1801152 h 4069169"/>
              <a:gd name="connsiteX365" fmla="*/ 3707266 w 5110790"/>
              <a:gd name="connsiteY365" fmla="*/ 1830760 h 4069169"/>
              <a:gd name="connsiteX366" fmla="*/ 3710792 w 5110790"/>
              <a:gd name="connsiteY366" fmla="*/ 1861870 h 4069169"/>
              <a:gd name="connsiteX367" fmla="*/ 3713210 w 5110790"/>
              <a:gd name="connsiteY367" fmla="*/ 1894434 h 4069169"/>
              <a:gd name="connsiteX368" fmla="*/ 3714602 w 5110790"/>
              <a:gd name="connsiteY368" fmla="*/ 1928402 h 4069169"/>
              <a:gd name="connsiteX369" fmla="*/ 3715048 w 5110790"/>
              <a:gd name="connsiteY369" fmla="*/ 1963726 h 4069169"/>
              <a:gd name="connsiteX370" fmla="*/ 3714624 w 5110790"/>
              <a:gd name="connsiteY370" fmla="*/ 1999201 h 4069169"/>
              <a:gd name="connsiteX371" fmla="*/ 3713292 w 5110790"/>
              <a:gd name="connsiteY371" fmla="*/ 2033321 h 4069169"/>
              <a:gd name="connsiteX372" fmla="*/ 3710966 w 5110790"/>
              <a:gd name="connsiteY372" fmla="*/ 2066034 h 4069169"/>
              <a:gd name="connsiteX373" fmla="*/ 3707557 w 5110790"/>
              <a:gd name="connsiteY373" fmla="*/ 2097292 h 4069169"/>
              <a:gd name="connsiteX374" fmla="*/ 3702980 w 5110790"/>
              <a:gd name="connsiteY374" fmla="*/ 2127043 h 4069169"/>
              <a:gd name="connsiteX375" fmla="*/ 3697147 w 5110790"/>
              <a:gd name="connsiteY375" fmla="*/ 2155238 h 4069169"/>
              <a:gd name="connsiteX376" fmla="*/ 3689969 w 5110790"/>
              <a:gd name="connsiteY376" fmla="*/ 2181827 h 4069169"/>
              <a:gd name="connsiteX377" fmla="*/ 3681361 w 5110790"/>
              <a:gd name="connsiteY377" fmla="*/ 2206759 h 4069169"/>
              <a:gd name="connsiteX378" fmla="*/ 3671234 w 5110790"/>
              <a:gd name="connsiteY378" fmla="*/ 2229984 h 4069169"/>
              <a:gd name="connsiteX379" fmla="*/ 3659502 w 5110790"/>
              <a:gd name="connsiteY379" fmla="*/ 2251453 h 4069169"/>
              <a:gd name="connsiteX380" fmla="*/ 3646077 w 5110790"/>
              <a:gd name="connsiteY380" fmla="*/ 2271115 h 4069169"/>
              <a:gd name="connsiteX381" fmla="*/ 3630871 w 5110790"/>
              <a:gd name="connsiteY381" fmla="*/ 2288919 h 4069169"/>
              <a:gd name="connsiteX382" fmla="*/ 3613798 w 5110790"/>
              <a:gd name="connsiteY382" fmla="*/ 2304817 h 4069169"/>
              <a:gd name="connsiteX383" fmla="*/ 3594769 w 5110790"/>
              <a:gd name="connsiteY383" fmla="*/ 2318758 h 4069169"/>
              <a:gd name="connsiteX384" fmla="*/ 3573700 w 5110790"/>
              <a:gd name="connsiteY384" fmla="*/ 2330691 h 4069169"/>
              <a:gd name="connsiteX385" fmla="*/ 3550500 w 5110790"/>
              <a:gd name="connsiteY385" fmla="*/ 2340567 h 4069169"/>
              <a:gd name="connsiteX386" fmla="*/ 3525083 w 5110790"/>
              <a:gd name="connsiteY386" fmla="*/ 2348336 h 4069169"/>
              <a:gd name="connsiteX387" fmla="*/ 3497363 w 5110790"/>
              <a:gd name="connsiteY387" fmla="*/ 2353947 h 4069169"/>
              <a:gd name="connsiteX388" fmla="*/ 3467251 w 5110790"/>
              <a:gd name="connsiteY388" fmla="*/ 2357351 h 4069169"/>
              <a:gd name="connsiteX389" fmla="*/ 3434660 w 5110790"/>
              <a:gd name="connsiteY389" fmla="*/ 2358496 h 4069169"/>
              <a:gd name="connsiteX390" fmla="*/ 3434660 w 5110790"/>
              <a:gd name="connsiteY390" fmla="*/ 2299787 h 4069169"/>
              <a:gd name="connsiteX391" fmla="*/ 3464787 w 5110790"/>
              <a:gd name="connsiteY391" fmla="*/ 2298433 h 4069169"/>
              <a:gd name="connsiteX392" fmla="*/ 3492025 w 5110790"/>
              <a:gd name="connsiteY392" fmla="*/ 2294418 h 4069169"/>
              <a:gd name="connsiteX393" fmla="*/ 3516511 w 5110790"/>
              <a:gd name="connsiteY393" fmla="*/ 2287816 h 4069169"/>
              <a:gd name="connsiteX394" fmla="*/ 3538383 w 5110790"/>
              <a:gd name="connsiteY394" fmla="*/ 2278696 h 4069169"/>
              <a:gd name="connsiteX395" fmla="*/ 3574832 w 5110790"/>
              <a:gd name="connsiteY395" fmla="*/ 2253193 h 4069169"/>
              <a:gd name="connsiteX396" fmla="*/ 3602470 w 5110790"/>
              <a:gd name="connsiteY396" fmla="*/ 2218482 h 4069169"/>
              <a:gd name="connsiteX397" fmla="*/ 3613327 w 5110790"/>
              <a:gd name="connsiteY397" fmla="*/ 2197853 h 4069169"/>
              <a:gd name="connsiteX398" fmla="*/ 3622393 w 5110790"/>
              <a:gd name="connsiteY398" fmla="*/ 2175138 h 4069169"/>
              <a:gd name="connsiteX399" fmla="*/ 3629805 w 5110790"/>
              <a:gd name="connsiteY399" fmla="*/ 2150408 h 4069169"/>
              <a:gd name="connsiteX400" fmla="*/ 3635701 w 5110790"/>
              <a:gd name="connsiteY400" fmla="*/ 2123734 h 4069169"/>
              <a:gd name="connsiteX401" fmla="*/ 3640217 w 5110790"/>
              <a:gd name="connsiteY401" fmla="*/ 2095189 h 4069169"/>
              <a:gd name="connsiteX402" fmla="*/ 3643490 w 5110790"/>
              <a:gd name="connsiteY402" fmla="*/ 2064844 h 4069169"/>
              <a:gd name="connsiteX403" fmla="*/ 3645659 w 5110790"/>
              <a:gd name="connsiteY403" fmla="*/ 2032771 h 4069169"/>
              <a:gd name="connsiteX404" fmla="*/ 3646859 w 5110790"/>
              <a:gd name="connsiteY404" fmla="*/ 1999041 h 4069169"/>
              <a:gd name="connsiteX405" fmla="*/ 3647229 w 5110790"/>
              <a:gd name="connsiteY405" fmla="*/ 1963726 h 4069169"/>
              <a:gd name="connsiteX406" fmla="*/ 3646839 w 5110790"/>
              <a:gd name="connsiteY406" fmla="*/ 1928758 h 4069169"/>
              <a:gd name="connsiteX407" fmla="*/ 3645584 w 5110790"/>
              <a:gd name="connsiteY407" fmla="*/ 1895355 h 4069169"/>
              <a:gd name="connsiteX408" fmla="*/ 3643335 w 5110790"/>
              <a:gd name="connsiteY408" fmla="*/ 1863586 h 4069169"/>
              <a:gd name="connsiteX409" fmla="*/ 3639960 w 5110790"/>
              <a:gd name="connsiteY409" fmla="*/ 1833525 h 4069169"/>
              <a:gd name="connsiteX410" fmla="*/ 3635330 w 5110790"/>
              <a:gd name="connsiteY410" fmla="*/ 1805242 h 4069169"/>
              <a:gd name="connsiteX411" fmla="*/ 3629316 w 5110790"/>
              <a:gd name="connsiteY411" fmla="*/ 1778810 h 4069169"/>
              <a:gd name="connsiteX412" fmla="*/ 3621788 w 5110790"/>
              <a:gd name="connsiteY412" fmla="*/ 1754300 h 4069169"/>
              <a:gd name="connsiteX413" fmla="*/ 3612615 w 5110790"/>
              <a:gd name="connsiteY413" fmla="*/ 1731785 h 4069169"/>
              <a:gd name="connsiteX414" fmla="*/ 3601669 w 5110790"/>
              <a:gd name="connsiteY414" fmla="*/ 1711335 h 4069169"/>
              <a:gd name="connsiteX415" fmla="*/ 3573935 w 5110790"/>
              <a:gd name="connsiteY415" fmla="*/ 1676919 h 4069169"/>
              <a:gd name="connsiteX416" fmla="*/ 3537548 w 5110790"/>
              <a:gd name="connsiteY416" fmla="*/ 1651625 h 4069169"/>
              <a:gd name="connsiteX417" fmla="*/ 3515784 w 5110790"/>
              <a:gd name="connsiteY417" fmla="*/ 1642579 h 4069169"/>
              <a:gd name="connsiteX418" fmla="*/ 3491469 w 5110790"/>
              <a:gd name="connsiteY418" fmla="*/ 1636029 h 4069169"/>
              <a:gd name="connsiteX419" fmla="*/ 3464471 w 5110790"/>
              <a:gd name="connsiteY419" fmla="*/ 1632046 h 4069169"/>
              <a:gd name="connsiteX420" fmla="*/ 3434660 w 5110790"/>
              <a:gd name="connsiteY420" fmla="*/ 1630702 h 4069169"/>
              <a:gd name="connsiteX421" fmla="*/ 3579243 w 5110790"/>
              <a:gd name="connsiteY421" fmla="*/ 1279461 h 4069169"/>
              <a:gd name="connsiteX422" fmla="*/ 3604850 w 5110790"/>
              <a:gd name="connsiteY422" fmla="*/ 1281691 h 4069169"/>
              <a:gd name="connsiteX423" fmla="*/ 3624668 w 5110790"/>
              <a:gd name="connsiteY423" fmla="*/ 1289709 h 4069169"/>
              <a:gd name="connsiteX424" fmla="*/ 3637463 w 5110790"/>
              <a:gd name="connsiteY424" fmla="*/ 1305510 h 4069169"/>
              <a:gd name="connsiteX425" fmla="*/ 3642002 w 5110790"/>
              <a:gd name="connsiteY425" fmla="*/ 1331085 h 4069169"/>
              <a:gd name="connsiteX426" fmla="*/ 3637463 w 5110790"/>
              <a:gd name="connsiteY426" fmla="*/ 1357829 h 4069169"/>
              <a:gd name="connsiteX427" fmla="*/ 3624668 w 5110790"/>
              <a:gd name="connsiteY427" fmla="*/ 1374231 h 4069169"/>
              <a:gd name="connsiteX428" fmla="*/ 3604850 w 5110790"/>
              <a:gd name="connsiteY428" fmla="*/ 1382471 h 4069169"/>
              <a:gd name="connsiteX429" fmla="*/ 3579243 w 5110790"/>
              <a:gd name="connsiteY429" fmla="*/ 1384733 h 4069169"/>
              <a:gd name="connsiteX430" fmla="*/ 3553637 w 5110790"/>
              <a:gd name="connsiteY430" fmla="*/ 1382471 h 4069169"/>
              <a:gd name="connsiteX431" fmla="*/ 3533820 w 5110790"/>
              <a:gd name="connsiteY431" fmla="*/ 1374231 h 4069169"/>
              <a:gd name="connsiteX432" fmla="*/ 3521024 w 5110790"/>
              <a:gd name="connsiteY432" fmla="*/ 1357829 h 4069169"/>
              <a:gd name="connsiteX433" fmla="*/ 3516485 w 5110790"/>
              <a:gd name="connsiteY433" fmla="*/ 1331085 h 4069169"/>
              <a:gd name="connsiteX434" fmla="*/ 3521166 w 5110790"/>
              <a:gd name="connsiteY434" fmla="*/ 1305510 h 4069169"/>
              <a:gd name="connsiteX435" fmla="*/ 3534199 w 5110790"/>
              <a:gd name="connsiteY435" fmla="*/ 1289709 h 4069169"/>
              <a:gd name="connsiteX436" fmla="*/ 3554064 w 5110790"/>
              <a:gd name="connsiteY436" fmla="*/ 1281691 h 4069169"/>
              <a:gd name="connsiteX437" fmla="*/ 1609095 w 5110790"/>
              <a:gd name="connsiteY437" fmla="*/ 1279455 h 4069169"/>
              <a:gd name="connsiteX438" fmla="*/ 1634701 w 5110790"/>
              <a:gd name="connsiteY438" fmla="*/ 1281685 h 4069169"/>
              <a:gd name="connsiteX439" fmla="*/ 1654519 w 5110790"/>
              <a:gd name="connsiteY439" fmla="*/ 1289703 h 4069169"/>
              <a:gd name="connsiteX440" fmla="*/ 1667313 w 5110790"/>
              <a:gd name="connsiteY440" fmla="*/ 1305504 h 4069169"/>
              <a:gd name="connsiteX441" fmla="*/ 1671852 w 5110790"/>
              <a:gd name="connsiteY441" fmla="*/ 1331078 h 4069169"/>
              <a:gd name="connsiteX442" fmla="*/ 1667313 w 5110790"/>
              <a:gd name="connsiteY442" fmla="*/ 1357823 h 4069169"/>
              <a:gd name="connsiteX443" fmla="*/ 1654519 w 5110790"/>
              <a:gd name="connsiteY443" fmla="*/ 1374224 h 4069169"/>
              <a:gd name="connsiteX444" fmla="*/ 1634701 w 5110790"/>
              <a:gd name="connsiteY444" fmla="*/ 1382465 h 4069169"/>
              <a:gd name="connsiteX445" fmla="*/ 1609095 w 5110790"/>
              <a:gd name="connsiteY445" fmla="*/ 1384726 h 4069169"/>
              <a:gd name="connsiteX446" fmla="*/ 1583489 w 5110790"/>
              <a:gd name="connsiteY446" fmla="*/ 1382465 h 4069169"/>
              <a:gd name="connsiteX447" fmla="*/ 1563671 w 5110790"/>
              <a:gd name="connsiteY447" fmla="*/ 1374224 h 4069169"/>
              <a:gd name="connsiteX448" fmla="*/ 1550877 w 5110790"/>
              <a:gd name="connsiteY448" fmla="*/ 1357823 h 4069169"/>
              <a:gd name="connsiteX449" fmla="*/ 1546337 w 5110790"/>
              <a:gd name="connsiteY449" fmla="*/ 1331078 h 4069169"/>
              <a:gd name="connsiteX450" fmla="*/ 1551018 w 5110790"/>
              <a:gd name="connsiteY450" fmla="*/ 1305504 h 4069169"/>
              <a:gd name="connsiteX451" fmla="*/ 1564051 w 5110790"/>
              <a:gd name="connsiteY451" fmla="*/ 1289703 h 4069169"/>
              <a:gd name="connsiteX452" fmla="*/ 1583916 w 5110790"/>
              <a:gd name="connsiteY452" fmla="*/ 1281685 h 4069169"/>
              <a:gd name="connsiteX453" fmla="*/ 4308476 w 5110790"/>
              <a:gd name="connsiteY453" fmla="*/ 1229360 h 4069169"/>
              <a:gd name="connsiteX454" fmla="*/ 4389455 w 5110790"/>
              <a:gd name="connsiteY454" fmla="*/ 1229360 h 4069169"/>
              <a:gd name="connsiteX455" fmla="*/ 4503836 w 5110790"/>
              <a:gd name="connsiteY455" fmla="*/ 1438891 h 4069169"/>
              <a:gd name="connsiteX456" fmla="*/ 4387430 w 5110790"/>
              <a:gd name="connsiteY456" fmla="*/ 1654496 h 4069169"/>
              <a:gd name="connsiteX457" fmla="*/ 4308476 w 5110790"/>
              <a:gd name="connsiteY457" fmla="*/ 1654496 h 4069169"/>
              <a:gd name="connsiteX458" fmla="*/ 4407674 w 5110790"/>
              <a:gd name="connsiteY458" fmla="*/ 1469259 h 4069169"/>
              <a:gd name="connsiteX459" fmla="*/ 4017966 w 5110790"/>
              <a:gd name="connsiteY459" fmla="*/ 1469259 h 4069169"/>
              <a:gd name="connsiteX460" fmla="*/ 4017966 w 5110790"/>
              <a:gd name="connsiteY460" fmla="*/ 1404475 h 4069169"/>
              <a:gd name="connsiteX461" fmla="*/ 4405650 w 5110790"/>
              <a:gd name="connsiteY461" fmla="*/ 1404475 h 4069169"/>
              <a:gd name="connsiteX462" fmla="*/ 3579243 w 5110790"/>
              <a:gd name="connsiteY462" fmla="*/ 854324 h 4069169"/>
              <a:gd name="connsiteX463" fmla="*/ 3604850 w 5110790"/>
              <a:gd name="connsiteY463" fmla="*/ 856427 h 4069169"/>
              <a:gd name="connsiteX464" fmla="*/ 3624668 w 5110790"/>
              <a:gd name="connsiteY464" fmla="*/ 864320 h 4069169"/>
              <a:gd name="connsiteX465" fmla="*/ 3637463 w 5110790"/>
              <a:gd name="connsiteY465" fmla="*/ 880373 h 4069169"/>
              <a:gd name="connsiteX466" fmla="*/ 3642002 w 5110790"/>
              <a:gd name="connsiteY466" fmla="*/ 906960 h 4069169"/>
              <a:gd name="connsiteX467" fmla="*/ 3637463 w 5110790"/>
              <a:gd name="connsiteY467" fmla="*/ 932693 h 4069169"/>
              <a:gd name="connsiteX468" fmla="*/ 3624668 w 5110790"/>
              <a:gd name="connsiteY468" fmla="*/ 948841 h 4069169"/>
              <a:gd name="connsiteX469" fmla="*/ 3604850 w 5110790"/>
              <a:gd name="connsiteY469" fmla="*/ 957207 h 4069169"/>
              <a:gd name="connsiteX470" fmla="*/ 3579243 w 5110790"/>
              <a:gd name="connsiteY470" fmla="*/ 959596 h 4069169"/>
              <a:gd name="connsiteX471" fmla="*/ 3554223 w 5110790"/>
              <a:gd name="connsiteY471" fmla="*/ 957207 h 4069169"/>
              <a:gd name="connsiteX472" fmla="*/ 3534706 w 5110790"/>
              <a:gd name="connsiteY472" fmla="*/ 948841 h 4069169"/>
              <a:gd name="connsiteX473" fmla="*/ 3522021 w 5110790"/>
              <a:gd name="connsiteY473" fmla="*/ 932693 h 4069169"/>
              <a:gd name="connsiteX474" fmla="*/ 3517498 w 5110790"/>
              <a:gd name="connsiteY474" fmla="*/ 906960 h 4069169"/>
              <a:gd name="connsiteX475" fmla="*/ 3522021 w 5110790"/>
              <a:gd name="connsiteY475" fmla="*/ 880373 h 4069169"/>
              <a:gd name="connsiteX476" fmla="*/ 3534706 w 5110790"/>
              <a:gd name="connsiteY476" fmla="*/ 864320 h 4069169"/>
              <a:gd name="connsiteX477" fmla="*/ 3554223 w 5110790"/>
              <a:gd name="connsiteY477" fmla="*/ 856427 h 4069169"/>
              <a:gd name="connsiteX478" fmla="*/ 1609095 w 5110790"/>
              <a:gd name="connsiteY478" fmla="*/ 854318 h 4069169"/>
              <a:gd name="connsiteX479" fmla="*/ 1634701 w 5110790"/>
              <a:gd name="connsiteY479" fmla="*/ 856421 h 4069169"/>
              <a:gd name="connsiteX480" fmla="*/ 1654519 w 5110790"/>
              <a:gd name="connsiteY480" fmla="*/ 864313 h 4069169"/>
              <a:gd name="connsiteX481" fmla="*/ 1667313 w 5110790"/>
              <a:gd name="connsiteY481" fmla="*/ 880366 h 4069169"/>
              <a:gd name="connsiteX482" fmla="*/ 1671852 w 5110790"/>
              <a:gd name="connsiteY482" fmla="*/ 906953 h 4069169"/>
              <a:gd name="connsiteX483" fmla="*/ 1667313 w 5110790"/>
              <a:gd name="connsiteY483" fmla="*/ 932686 h 4069169"/>
              <a:gd name="connsiteX484" fmla="*/ 1654519 w 5110790"/>
              <a:gd name="connsiteY484" fmla="*/ 948834 h 4069169"/>
              <a:gd name="connsiteX485" fmla="*/ 1634701 w 5110790"/>
              <a:gd name="connsiteY485" fmla="*/ 957201 h 4069169"/>
              <a:gd name="connsiteX486" fmla="*/ 1609095 w 5110790"/>
              <a:gd name="connsiteY486" fmla="*/ 959589 h 4069169"/>
              <a:gd name="connsiteX487" fmla="*/ 1584074 w 5110790"/>
              <a:gd name="connsiteY487" fmla="*/ 957201 h 4069169"/>
              <a:gd name="connsiteX488" fmla="*/ 1564557 w 5110790"/>
              <a:gd name="connsiteY488" fmla="*/ 948834 h 4069169"/>
              <a:gd name="connsiteX489" fmla="*/ 1551872 w 5110790"/>
              <a:gd name="connsiteY489" fmla="*/ 932686 h 4069169"/>
              <a:gd name="connsiteX490" fmla="*/ 1547349 w 5110790"/>
              <a:gd name="connsiteY490" fmla="*/ 906953 h 4069169"/>
              <a:gd name="connsiteX491" fmla="*/ 1551872 w 5110790"/>
              <a:gd name="connsiteY491" fmla="*/ 880366 h 4069169"/>
              <a:gd name="connsiteX492" fmla="*/ 1564557 w 5110790"/>
              <a:gd name="connsiteY492" fmla="*/ 864313 h 4069169"/>
              <a:gd name="connsiteX493" fmla="*/ 1584074 w 5110790"/>
              <a:gd name="connsiteY493" fmla="*/ 856421 h 4069169"/>
              <a:gd name="connsiteX494" fmla="*/ 2879125 w 5110790"/>
              <a:gd name="connsiteY494" fmla="*/ 659976 h 4069169"/>
              <a:gd name="connsiteX495" fmla="*/ 2911305 w 5110790"/>
              <a:gd name="connsiteY495" fmla="*/ 661113 h 4069169"/>
              <a:gd name="connsiteX496" fmla="*/ 2941090 w 5110790"/>
              <a:gd name="connsiteY496" fmla="*/ 664495 h 4069169"/>
              <a:gd name="connsiteX497" fmla="*/ 2968561 w 5110790"/>
              <a:gd name="connsiteY497" fmla="*/ 670071 h 4069169"/>
              <a:gd name="connsiteX498" fmla="*/ 2993799 w 5110790"/>
              <a:gd name="connsiteY498" fmla="*/ 677791 h 4069169"/>
              <a:gd name="connsiteX499" fmla="*/ 3016884 w 5110790"/>
              <a:gd name="connsiteY499" fmla="*/ 687607 h 4069169"/>
              <a:gd name="connsiteX500" fmla="*/ 3037896 w 5110790"/>
              <a:gd name="connsiteY500" fmla="*/ 699468 h 4069169"/>
              <a:gd name="connsiteX501" fmla="*/ 3056916 w 5110790"/>
              <a:gd name="connsiteY501" fmla="*/ 713326 h 4069169"/>
              <a:gd name="connsiteX502" fmla="*/ 3074024 w 5110790"/>
              <a:gd name="connsiteY502" fmla="*/ 729131 h 4069169"/>
              <a:gd name="connsiteX503" fmla="*/ 3089302 w 5110790"/>
              <a:gd name="connsiteY503" fmla="*/ 746834 h 4069169"/>
              <a:gd name="connsiteX504" fmla="*/ 3102829 w 5110790"/>
              <a:gd name="connsiteY504" fmla="*/ 766386 h 4069169"/>
              <a:gd name="connsiteX505" fmla="*/ 3114685 w 5110790"/>
              <a:gd name="connsiteY505" fmla="*/ 787738 h 4069169"/>
              <a:gd name="connsiteX506" fmla="*/ 3124952 w 5110790"/>
              <a:gd name="connsiteY506" fmla="*/ 810839 h 4069169"/>
              <a:gd name="connsiteX507" fmla="*/ 3133709 w 5110790"/>
              <a:gd name="connsiteY507" fmla="*/ 835640 h 4069169"/>
              <a:gd name="connsiteX508" fmla="*/ 3141039 w 5110790"/>
              <a:gd name="connsiteY508" fmla="*/ 862093 h 4069169"/>
              <a:gd name="connsiteX509" fmla="*/ 3147019 w 5110790"/>
              <a:gd name="connsiteY509" fmla="*/ 890147 h 4069169"/>
              <a:gd name="connsiteX510" fmla="*/ 3151732 w 5110790"/>
              <a:gd name="connsiteY510" fmla="*/ 919755 h 4069169"/>
              <a:gd name="connsiteX511" fmla="*/ 3155257 w 5110790"/>
              <a:gd name="connsiteY511" fmla="*/ 950865 h 4069169"/>
              <a:gd name="connsiteX512" fmla="*/ 3157675 w 5110790"/>
              <a:gd name="connsiteY512" fmla="*/ 983429 h 4069169"/>
              <a:gd name="connsiteX513" fmla="*/ 3159067 w 5110790"/>
              <a:gd name="connsiteY513" fmla="*/ 1017397 h 4069169"/>
              <a:gd name="connsiteX514" fmla="*/ 3159514 w 5110790"/>
              <a:gd name="connsiteY514" fmla="*/ 1052721 h 4069169"/>
              <a:gd name="connsiteX515" fmla="*/ 3159089 w 5110790"/>
              <a:gd name="connsiteY515" fmla="*/ 1088196 h 4069169"/>
              <a:gd name="connsiteX516" fmla="*/ 3157757 w 5110790"/>
              <a:gd name="connsiteY516" fmla="*/ 1122316 h 4069169"/>
              <a:gd name="connsiteX517" fmla="*/ 3155431 w 5110790"/>
              <a:gd name="connsiteY517" fmla="*/ 1155029 h 4069169"/>
              <a:gd name="connsiteX518" fmla="*/ 3152023 w 5110790"/>
              <a:gd name="connsiteY518" fmla="*/ 1186287 h 4069169"/>
              <a:gd name="connsiteX519" fmla="*/ 3147446 w 5110790"/>
              <a:gd name="connsiteY519" fmla="*/ 1216038 h 4069169"/>
              <a:gd name="connsiteX520" fmla="*/ 3141612 w 5110790"/>
              <a:gd name="connsiteY520" fmla="*/ 1244233 h 4069169"/>
              <a:gd name="connsiteX521" fmla="*/ 3134435 w 5110790"/>
              <a:gd name="connsiteY521" fmla="*/ 1270822 h 4069169"/>
              <a:gd name="connsiteX522" fmla="*/ 3125826 w 5110790"/>
              <a:gd name="connsiteY522" fmla="*/ 1295754 h 4069169"/>
              <a:gd name="connsiteX523" fmla="*/ 3115700 w 5110790"/>
              <a:gd name="connsiteY523" fmla="*/ 1318979 h 4069169"/>
              <a:gd name="connsiteX524" fmla="*/ 3103967 w 5110790"/>
              <a:gd name="connsiteY524" fmla="*/ 1340448 h 4069169"/>
              <a:gd name="connsiteX525" fmla="*/ 3090542 w 5110790"/>
              <a:gd name="connsiteY525" fmla="*/ 1360110 h 4069169"/>
              <a:gd name="connsiteX526" fmla="*/ 3075336 w 5110790"/>
              <a:gd name="connsiteY526" fmla="*/ 1377914 h 4069169"/>
              <a:gd name="connsiteX527" fmla="*/ 3058263 w 5110790"/>
              <a:gd name="connsiteY527" fmla="*/ 1393812 h 4069169"/>
              <a:gd name="connsiteX528" fmla="*/ 3039235 w 5110790"/>
              <a:gd name="connsiteY528" fmla="*/ 1407753 h 4069169"/>
              <a:gd name="connsiteX529" fmla="*/ 3018165 w 5110790"/>
              <a:gd name="connsiteY529" fmla="*/ 1419686 h 4069169"/>
              <a:gd name="connsiteX530" fmla="*/ 2994965 w 5110790"/>
              <a:gd name="connsiteY530" fmla="*/ 1429562 h 4069169"/>
              <a:gd name="connsiteX531" fmla="*/ 2969548 w 5110790"/>
              <a:gd name="connsiteY531" fmla="*/ 1437331 h 4069169"/>
              <a:gd name="connsiteX532" fmla="*/ 2941828 w 5110790"/>
              <a:gd name="connsiteY532" fmla="*/ 1442942 h 4069169"/>
              <a:gd name="connsiteX533" fmla="*/ 2911716 w 5110790"/>
              <a:gd name="connsiteY533" fmla="*/ 1446346 h 4069169"/>
              <a:gd name="connsiteX534" fmla="*/ 2879125 w 5110790"/>
              <a:gd name="connsiteY534" fmla="*/ 1447491 h 4069169"/>
              <a:gd name="connsiteX535" fmla="*/ 2879125 w 5110790"/>
              <a:gd name="connsiteY535" fmla="*/ 1388782 h 4069169"/>
              <a:gd name="connsiteX536" fmla="*/ 2909252 w 5110790"/>
              <a:gd name="connsiteY536" fmla="*/ 1387428 h 4069169"/>
              <a:gd name="connsiteX537" fmla="*/ 2936490 w 5110790"/>
              <a:gd name="connsiteY537" fmla="*/ 1383413 h 4069169"/>
              <a:gd name="connsiteX538" fmla="*/ 2960977 w 5110790"/>
              <a:gd name="connsiteY538" fmla="*/ 1376811 h 4069169"/>
              <a:gd name="connsiteX539" fmla="*/ 2982849 w 5110790"/>
              <a:gd name="connsiteY539" fmla="*/ 1367691 h 4069169"/>
              <a:gd name="connsiteX540" fmla="*/ 3019298 w 5110790"/>
              <a:gd name="connsiteY540" fmla="*/ 1342188 h 4069169"/>
              <a:gd name="connsiteX541" fmla="*/ 3046935 w 5110790"/>
              <a:gd name="connsiteY541" fmla="*/ 1307477 h 4069169"/>
              <a:gd name="connsiteX542" fmla="*/ 3057792 w 5110790"/>
              <a:gd name="connsiteY542" fmla="*/ 1286848 h 4069169"/>
              <a:gd name="connsiteX543" fmla="*/ 3066859 w 5110790"/>
              <a:gd name="connsiteY543" fmla="*/ 1264133 h 4069169"/>
              <a:gd name="connsiteX544" fmla="*/ 3074271 w 5110790"/>
              <a:gd name="connsiteY544" fmla="*/ 1239402 h 4069169"/>
              <a:gd name="connsiteX545" fmla="*/ 3080167 w 5110790"/>
              <a:gd name="connsiteY545" fmla="*/ 1212729 h 4069169"/>
              <a:gd name="connsiteX546" fmla="*/ 3084682 w 5110790"/>
              <a:gd name="connsiteY546" fmla="*/ 1184184 h 4069169"/>
              <a:gd name="connsiteX547" fmla="*/ 3087956 w 5110790"/>
              <a:gd name="connsiteY547" fmla="*/ 1153838 h 4069169"/>
              <a:gd name="connsiteX548" fmla="*/ 3090124 w 5110790"/>
              <a:gd name="connsiteY548" fmla="*/ 1121765 h 4069169"/>
              <a:gd name="connsiteX549" fmla="*/ 3091324 w 5110790"/>
              <a:gd name="connsiteY549" fmla="*/ 1088036 h 4069169"/>
              <a:gd name="connsiteX550" fmla="*/ 3091694 w 5110790"/>
              <a:gd name="connsiteY550" fmla="*/ 1052721 h 4069169"/>
              <a:gd name="connsiteX551" fmla="*/ 3091305 w 5110790"/>
              <a:gd name="connsiteY551" fmla="*/ 1017753 h 4069169"/>
              <a:gd name="connsiteX552" fmla="*/ 3090050 w 5110790"/>
              <a:gd name="connsiteY552" fmla="*/ 984350 h 4069169"/>
              <a:gd name="connsiteX553" fmla="*/ 3087800 w 5110790"/>
              <a:gd name="connsiteY553" fmla="*/ 952581 h 4069169"/>
              <a:gd name="connsiteX554" fmla="*/ 3084425 w 5110790"/>
              <a:gd name="connsiteY554" fmla="*/ 922520 h 4069169"/>
              <a:gd name="connsiteX555" fmla="*/ 3079795 w 5110790"/>
              <a:gd name="connsiteY555" fmla="*/ 894237 h 4069169"/>
              <a:gd name="connsiteX556" fmla="*/ 3073782 w 5110790"/>
              <a:gd name="connsiteY556" fmla="*/ 867805 h 4069169"/>
              <a:gd name="connsiteX557" fmla="*/ 3066253 w 5110790"/>
              <a:gd name="connsiteY557" fmla="*/ 843295 h 4069169"/>
              <a:gd name="connsiteX558" fmla="*/ 3057081 w 5110790"/>
              <a:gd name="connsiteY558" fmla="*/ 820780 h 4069169"/>
              <a:gd name="connsiteX559" fmla="*/ 3046134 w 5110790"/>
              <a:gd name="connsiteY559" fmla="*/ 800330 h 4069169"/>
              <a:gd name="connsiteX560" fmla="*/ 3018400 w 5110790"/>
              <a:gd name="connsiteY560" fmla="*/ 765914 h 4069169"/>
              <a:gd name="connsiteX561" fmla="*/ 2982013 w 5110790"/>
              <a:gd name="connsiteY561" fmla="*/ 740620 h 4069169"/>
              <a:gd name="connsiteX562" fmla="*/ 2960250 w 5110790"/>
              <a:gd name="connsiteY562" fmla="*/ 731574 h 4069169"/>
              <a:gd name="connsiteX563" fmla="*/ 2935934 w 5110790"/>
              <a:gd name="connsiteY563" fmla="*/ 725024 h 4069169"/>
              <a:gd name="connsiteX564" fmla="*/ 2908936 w 5110790"/>
              <a:gd name="connsiteY564" fmla="*/ 721041 h 4069169"/>
              <a:gd name="connsiteX565" fmla="*/ 2879125 w 5110790"/>
              <a:gd name="connsiteY565" fmla="*/ 719697 h 4069169"/>
              <a:gd name="connsiteX566" fmla="*/ 2565698 w 5110790"/>
              <a:gd name="connsiteY566" fmla="*/ 659976 h 4069169"/>
              <a:gd name="connsiteX567" fmla="*/ 2565698 w 5110790"/>
              <a:gd name="connsiteY567" fmla="*/ 719697 h 4069169"/>
              <a:gd name="connsiteX568" fmla="*/ 2536056 w 5110790"/>
              <a:gd name="connsiteY568" fmla="*/ 721041 h 4069169"/>
              <a:gd name="connsiteX569" fmla="*/ 2509206 w 5110790"/>
              <a:gd name="connsiteY569" fmla="*/ 725024 h 4069169"/>
              <a:gd name="connsiteX570" fmla="*/ 2485020 w 5110790"/>
              <a:gd name="connsiteY570" fmla="*/ 731574 h 4069169"/>
              <a:gd name="connsiteX571" fmla="*/ 2463369 w 5110790"/>
              <a:gd name="connsiteY571" fmla="*/ 740620 h 4069169"/>
              <a:gd name="connsiteX572" fmla="*/ 2427161 w 5110790"/>
              <a:gd name="connsiteY572" fmla="*/ 765914 h 4069169"/>
              <a:gd name="connsiteX573" fmla="*/ 2399551 w 5110790"/>
              <a:gd name="connsiteY573" fmla="*/ 800330 h 4069169"/>
              <a:gd name="connsiteX574" fmla="*/ 2388649 w 5110790"/>
              <a:gd name="connsiteY574" fmla="*/ 820780 h 4069169"/>
              <a:gd name="connsiteX575" fmla="*/ 2379511 w 5110790"/>
              <a:gd name="connsiteY575" fmla="*/ 843295 h 4069169"/>
              <a:gd name="connsiteX576" fmla="*/ 2372009 w 5110790"/>
              <a:gd name="connsiteY576" fmla="*/ 867805 h 4069169"/>
              <a:gd name="connsiteX577" fmla="*/ 2366014 w 5110790"/>
              <a:gd name="connsiteY577" fmla="*/ 894237 h 4069169"/>
              <a:gd name="connsiteX578" fmla="*/ 2361397 w 5110790"/>
              <a:gd name="connsiteY578" fmla="*/ 922520 h 4069169"/>
              <a:gd name="connsiteX579" fmla="*/ 2358029 w 5110790"/>
              <a:gd name="connsiteY579" fmla="*/ 952581 h 4069169"/>
              <a:gd name="connsiteX580" fmla="*/ 2355783 w 5110790"/>
              <a:gd name="connsiteY580" fmla="*/ 984350 h 4069169"/>
              <a:gd name="connsiteX581" fmla="*/ 2354530 w 5110790"/>
              <a:gd name="connsiteY581" fmla="*/ 1017753 h 4069169"/>
              <a:gd name="connsiteX582" fmla="*/ 2354141 w 5110790"/>
              <a:gd name="connsiteY582" fmla="*/ 1052721 h 4069169"/>
              <a:gd name="connsiteX583" fmla="*/ 2354520 w 5110790"/>
              <a:gd name="connsiteY583" fmla="*/ 1088036 h 4069169"/>
              <a:gd name="connsiteX584" fmla="*/ 2355746 w 5110790"/>
              <a:gd name="connsiteY584" fmla="*/ 1121765 h 4069169"/>
              <a:gd name="connsiteX585" fmla="*/ 2357952 w 5110790"/>
              <a:gd name="connsiteY585" fmla="*/ 1153838 h 4069169"/>
              <a:gd name="connsiteX586" fmla="*/ 2361268 w 5110790"/>
              <a:gd name="connsiteY586" fmla="*/ 1184184 h 4069169"/>
              <a:gd name="connsiteX587" fmla="*/ 2365828 w 5110790"/>
              <a:gd name="connsiteY587" fmla="*/ 1212729 h 4069169"/>
              <a:gd name="connsiteX588" fmla="*/ 2371764 w 5110790"/>
              <a:gd name="connsiteY588" fmla="*/ 1239402 h 4069169"/>
              <a:gd name="connsiteX589" fmla="*/ 2379208 w 5110790"/>
              <a:gd name="connsiteY589" fmla="*/ 1264133 h 4069169"/>
              <a:gd name="connsiteX590" fmla="*/ 2388293 w 5110790"/>
              <a:gd name="connsiteY590" fmla="*/ 1286848 h 4069169"/>
              <a:gd name="connsiteX591" fmla="*/ 2399150 w 5110790"/>
              <a:gd name="connsiteY591" fmla="*/ 1307477 h 4069169"/>
              <a:gd name="connsiteX592" fmla="*/ 2426712 w 5110790"/>
              <a:gd name="connsiteY592" fmla="*/ 1342188 h 4069169"/>
              <a:gd name="connsiteX593" fmla="*/ 2462952 w 5110790"/>
              <a:gd name="connsiteY593" fmla="*/ 1367691 h 4069169"/>
              <a:gd name="connsiteX594" fmla="*/ 2484656 w 5110790"/>
              <a:gd name="connsiteY594" fmla="*/ 1376811 h 4069169"/>
              <a:gd name="connsiteX595" fmla="*/ 2508928 w 5110790"/>
              <a:gd name="connsiteY595" fmla="*/ 1383413 h 4069169"/>
              <a:gd name="connsiteX596" fmla="*/ 2535898 w 5110790"/>
              <a:gd name="connsiteY596" fmla="*/ 1387428 h 4069169"/>
              <a:gd name="connsiteX597" fmla="*/ 2565698 w 5110790"/>
              <a:gd name="connsiteY597" fmla="*/ 1388782 h 4069169"/>
              <a:gd name="connsiteX598" fmla="*/ 2565698 w 5110790"/>
              <a:gd name="connsiteY598" fmla="*/ 1447491 h 4069169"/>
              <a:gd name="connsiteX599" fmla="*/ 2533244 w 5110790"/>
              <a:gd name="connsiteY599" fmla="*/ 1446346 h 4069169"/>
              <a:gd name="connsiteX600" fmla="*/ 2503241 w 5110790"/>
              <a:gd name="connsiteY600" fmla="*/ 1442942 h 4069169"/>
              <a:gd name="connsiteX601" fmla="*/ 2475603 w 5110790"/>
              <a:gd name="connsiteY601" fmla="*/ 1437331 h 4069169"/>
              <a:gd name="connsiteX602" fmla="*/ 2450247 w 5110790"/>
              <a:gd name="connsiteY602" fmla="*/ 1429562 h 4069169"/>
              <a:gd name="connsiteX603" fmla="*/ 2427085 w 5110790"/>
              <a:gd name="connsiteY603" fmla="*/ 1419686 h 4069169"/>
              <a:gd name="connsiteX604" fmla="*/ 2406034 w 5110790"/>
              <a:gd name="connsiteY604" fmla="*/ 1407753 h 4069169"/>
              <a:gd name="connsiteX605" fmla="*/ 2387009 w 5110790"/>
              <a:gd name="connsiteY605" fmla="*/ 1393812 h 4069169"/>
              <a:gd name="connsiteX606" fmla="*/ 2369924 w 5110790"/>
              <a:gd name="connsiteY606" fmla="*/ 1377914 h 4069169"/>
              <a:gd name="connsiteX607" fmla="*/ 2354694 w 5110790"/>
              <a:gd name="connsiteY607" fmla="*/ 1360110 h 4069169"/>
              <a:gd name="connsiteX608" fmla="*/ 2341235 w 5110790"/>
              <a:gd name="connsiteY608" fmla="*/ 1340448 h 4069169"/>
              <a:gd name="connsiteX609" fmla="*/ 2329461 w 5110790"/>
              <a:gd name="connsiteY609" fmla="*/ 1318979 h 4069169"/>
              <a:gd name="connsiteX610" fmla="*/ 2319288 w 5110790"/>
              <a:gd name="connsiteY610" fmla="*/ 1295754 h 4069169"/>
              <a:gd name="connsiteX611" fmla="*/ 2310630 w 5110790"/>
              <a:gd name="connsiteY611" fmla="*/ 1270822 h 4069169"/>
              <a:gd name="connsiteX612" fmla="*/ 2303402 w 5110790"/>
              <a:gd name="connsiteY612" fmla="*/ 1244233 h 4069169"/>
              <a:gd name="connsiteX613" fmla="*/ 2297519 w 5110790"/>
              <a:gd name="connsiteY613" fmla="*/ 1216038 h 4069169"/>
              <a:gd name="connsiteX614" fmla="*/ 2292897 w 5110790"/>
              <a:gd name="connsiteY614" fmla="*/ 1186287 h 4069169"/>
              <a:gd name="connsiteX615" fmla="*/ 2289449 w 5110790"/>
              <a:gd name="connsiteY615" fmla="*/ 1155029 h 4069169"/>
              <a:gd name="connsiteX616" fmla="*/ 2287092 w 5110790"/>
              <a:gd name="connsiteY616" fmla="*/ 1122316 h 4069169"/>
              <a:gd name="connsiteX617" fmla="*/ 2285740 w 5110790"/>
              <a:gd name="connsiteY617" fmla="*/ 1088196 h 4069169"/>
              <a:gd name="connsiteX618" fmla="*/ 2285309 w 5110790"/>
              <a:gd name="connsiteY618" fmla="*/ 1052721 h 4069169"/>
              <a:gd name="connsiteX619" fmla="*/ 2285755 w 5110790"/>
              <a:gd name="connsiteY619" fmla="*/ 1017397 h 4069169"/>
              <a:gd name="connsiteX620" fmla="*/ 2287147 w 5110790"/>
              <a:gd name="connsiteY620" fmla="*/ 983429 h 4069169"/>
              <a:gd name="connsiteX621" fmla="*/ 2289566 w 5110790"/>
              <a:gd name="connsiteY621" fmla="*/ 950865 h 4069169"/>
              <a:gd name="connsiteX622" fmla="*/ 2293091 w 5110790"/>
              <a:gd name="connsiteY622" fmla="*/ 919755 h 4069169"/>
              <a:gd name="connsiteX623" fmla="*/ 2297804 w 5110790"/>
              <a:gd name="connsiteY623" fmla="*/ 890147 h 4069169"/>
              <a:gd name="connsiteX624" fmla="*/ 2303784 w 5110790"/>
              <a:gd name="connsiteY624" fmla="*/ 862093 h 4069169"/>
              <a:gd name="connsiteX625" fmla="*/ 2311113 w 5110790"/>
              <a:gd name="connsiteY625" fmla="*/ 835640 h 4069169"/>
              <a:gd name="connsiteX626" fmla="*/ 2319870 w 5110790"/>
              <a:gd name="connsiteY626" fmla="*/ 810839 h 4069169"/>
              <a:gd name="connsiteX627" fmla="*/ 2330137 w 5110790"/>
              <a:gd name="connsiteY627" fmla="*/ 787738 h 4069169"/>
              <a:gd name="connsiteX628" fmla="*/ 2341994 w 5110790"/>
              <a:gd name="connsiteY628" fmla="*/ 766386 h 4069169"/>
              <a:gd name="connsiteX629" fmla="*/ 2355521 w 5110790"/>
              <a:gd name="connsiteY629" fmla="*/ 746834 h 4069169"/>
              <a:gd name="connsiteX630" fmla="*/ 2370798 w 5110790"/>
              <a:gd name="connsiteY630" fmla="*/ 729131 h 4069169"/>
              <a:gd name="connsiteX631" fmla="*/ 2387907 w 5110790"/>
              <a:gd name="connsiteY631" fmla="*/ 713326 h 4069169"/>
              <a:gd name="connsiteX632" fmla="*/ 2406927 w 5110790"/>
              <a:gd name="connsiteY632" fmla="*/ 699468 h 4069169"/>
              <a:gd name="connsiteX633" fmla="*/ 2427939 w 5110790"/>
              <a:gd name="connsiteY633" fmla="*/ 687607 h 4069169"/>
              <a:gd name="connsiteX634" fmla="*/ 2451024 w 5110790"/>
              <a:gd name="connsiteY634" fmla="*/ 677791 h 4069169"/>
              <a:gd name="connsiteX635" fmla="*/ 2476262 w 5110790"/>
              <a:gd name="connsiteY635" fmla="*/ 670071 h 4069169"/>
              <a:gd name="connsiteX636" fmla="*/ 2503733 w 5110790"/>
              <a:gd name="connsiteY636" fmla="*/ 664495 h 4069169"/>
              <a:gd name="connsiteX637" fmla="*/ 2533518 w 5110790"/>
              <a:gd name="connsiteY637" fmla="*/ 661113 h 4069169"/>
              <a:gd name="connsiteX638" fmla="*/ 1358847 w 5110790"/>
              <a:gd name="connsiteY638" fmla="*/ 0 h 4069169"/>
              <a:gd name="connsiteX639" fmla="*/ 1439826 w 5110790"/>
              <a:gd name="connsiteY639" fmla="*/ 0 h 4069169"/>
              <a:gd name="connsiteX640" fmla="*/ 1554207 w 5110790"/>
              <a:gd name="connsiteY640" fmla="*/ 209532 h 4069169"/>
              <a:gd name="connsiteX641" fmla="*/ 1437801 w 5110790"/>
              <a:gd name="connsiteY641" fmla="*/ 425136 h 4069169"/>
              <a:gd name="connsiteX642" fmla="*/ 1358847 w 5110790"/>
              <a:gd name="connsiteY642" fmla="*/ 425136 h 4069169"/>
              <a:gd name="connsiteX643" fmla="*/ 1458045 w 5110790"/>
              <a:gd name="connsiteY643" fmla="*/ 239899 h 4069169"/>
              <a:gd name="connsiteX644" fmla="*/ 1068337 w 5110790"/>
              <a:gd name="connsiteY644" fmla="*/ 239899 h 4069169"/>
              <a:gd name="connsiteX645" fmla="*/ 1068337 w 5110790"/>
              <a:gd name="connsiteY645" fmla="*/ 175116 h 4069169"/>
              <a:gd name="connsiteX646" fmla="*/ 1456021 w 5110790"/>
              <a:gd name="connsiteY646" fmla="*/ 175116 h 4069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Lst>
            <a:rect l="l" t="t" r="r" b="b"/>
            <a:pathLst>
              <a:path w="5110790" h="4069169">
                <a:moveTo>
                  <a:pt x="1358848" y="3644032"/>
                </a:moveTo>
                <a:lnTo>
                  <a:pt x="1439827" y="3644032"/>
                </a:lnTo>
                <a:lnTo>
                  <a:pt x="1554208" y="3853564"/>
                </a:lnTo>
                <a:lnTo>
                  <a:pt x="1437802" y="4069169"/>
                </a:lnTo>
                <a:lnTo>
                  <a:pt x="1358848" y="4069169"/>
                </a:lnTo>
                <a:lnTo>
                  <a:pt x="1458046" y="3883931"/>
                </a:lnTo>
                <a:lnTo>
                  <a:pt x="1068338" y="3883931"/>
                </a:lnTo>
                <a:lnTo>
                  <a:pt x="1068338" y="3819148"/>
                </a:lnTo>
                <a:lnTo>
                  <a:pt x="1456022" y="3819148"/>
                </a:lnTo>
                <a:close/>
                <a:moveTo>
                  <a:pt x="3579243" y="3101476"/>
                </a:moveTo>
                <a:lnTo>
                  <a:pt x="3604850" y="3103707"/>
                </a:lnTo>
                <a:lnTo>
                  <a:pt x="3624668" y="3111725"/>
                </a:lnTo>
                <a:lnTo>
                  <a:pt x="3637463" y="3127526"/>
                </a:lnTo>
                <a:lnTo>
                  <a:pt x="3642002" y="3153100"/>
                </a:lnTo>
                <a:lnTo>
                  <a:pt x="3637463" y="3179845"/>
                </a:lnTo>
                <a:lnTo>
                  <a:pt x="3624668" y="3196247"/>
                </a:lnTo>
                <a:lnTo>
                  <a:pt x="3604850" y="3204487"/>
                </a:lnTo>
                <a:lnTo>
                  <a:pt x="3579243" y="3206749"/>
                </a:lnTo>
                <a:lnTo>
                  <a:pt x="3553637" y="3204487"/>
                </a:lnTo>
                <a:lnTo>
                  <a:pt x="3533820" y="3196247"/>
                </a:lnTo>
                <a:lnTo>
                  <a:pt x="3521024" y="3179845"/>
                </a:lnTo>
                <a:lnTo>
                  <a:pt x="3516485" y="3153100"/>
                </a:lnTo>
                <a:lnTo>
                  <a:pt x="3521166" y="3127526"/>
                </a:lnTo>
                <a:lnTo>
                  <a:pt x="3534199" y="3111725"/>
                </a:lnTo>
                <a:lnTo>
                  <a:pt x="3554064" y="3103707"/>
                </a:lnTo>
                <a:close/>
                <a:moveTo>
                  <a:pt x="1609095" y="3101476"/>
                </a:moveTo>
                <a:lnTo>
                  <a:pt x="1634701" y="3103707"/>
                </a:lnTo>
                <a:lnTo>
                  <a:pt x="1654519" y="3111725"/>
                </a:lnTo>
                <a:lnTo>
                  <a:pt x="1667313" y="3127526"/>
                </a:lnTo>
                <a:lnTo>
                  <a:pt x="1671852" y="3153100"/>
                </a:lnTo>
                <a:lnTo>
                  <a:pt x="1667313" y="3179845"/>
                </a:lnTo>
                <a:lnTo>
                  <a:pt x="1654519" y="3196247"/>
                </a:lnTo>
                <a:lnTo>
                  <a:pt x="1634701" y="3204487"/>
                </a:lnTo>
                <a:lnTo>
                  <a:pt x="1609095" y="3206749"/>
                </a:lnTo>
                <a:lnTo>
                  <a:pt x="1583490" y="3204487"/>
                </a:lnTo>
                <a:lnTo>
                  <a:pt x="1563672" y="3196247"/>
                </a:lnTo>
                <a:lnTo>
                  <a:pt x="1550877" y="3179845"/>
                </a:lnTo>
                <a:lnTo>
                  <a:pt x="1546338" y="3153100"/>
                </a:lnTo>
                <a:lnTo>
                  <a:pt x="1551019" y="3127526"/>
                </a:lnTo>
                <a:lnTo>
                  <a:pt x="1564051" y="3111725"/>
                </a:lnTo>
                <a:lnTo>
                  <a:pt x="1583917" y="3103707"/>
                </a:lnTo>
                <a:close/>
                <a:moveTo>
                  <a:pt x="3579243" y="2676340"/>
                </a:moveTo>
                <a:lnTo>
                  <a:pt x="3604850" y="2678443"/>
                </a:lnTo>
                <a:lnTo>
                  <a:pt x="3624668" y="2686335"/>
                </a:lnTo>
                <a:lnTo>
                  <a:pt x="3637463" y="2702388"/>
                </a:lnTo>
                <a:lnTo>
                  <a:pt x="3642002" y="2728976"/>
                </a:lnTo>
                <a:lnTo>
                  <a:pt x="3637463" y="2754708"/>
                </a:lnTo>
                <a:lnTo>
                  <a:pt x="3624668" y="2770857"/>
                </a:lnTo>
                <a:lnTo>
                  <a:pt x="3604850" y="2779223"/>
                </a:lnTo>
                <a:lnTo>
                  <a:pt x="3579243" y="2781612"/>
                </a:lnTo>
                <a:lnTo>
                  <a:pt x="3554223" y="2779223"/>
                </a:lnTo>
                <a:lnTo>
                  <a:pt x="3534706" y="2770857"/>
                </a:lnTo>
                <a:lnTo>
                  <a:pt x="3522021" y="2754708"/>
                </a:lnTo>
                <a:lnTo>
                  <a:pt x="3517498" y="2728976"/>
                </a:lnTo>
                <a:lnTo>
                  <a:pt x="3522021" y="2702388"/>
                </a:lnTo>
                <a:lnTo>
                  <a:pt x="3534706" y="2686335"/>
                </a:lnTo>
                <a:lnTo>
                  <a:pt x="3554223" y="2678443"/>
                </a:lnTo>
                <a:close/>
                <a:moveTo>
                  <a:pt x="1609095" y="2676340"/>
                </a:moveTo>
                <a:lnTo>
                  <a:pt x="1634701" y="2678443"/>
                </a:lnTo>
                <a:lnTo>
                  <a:pt x="1654519" y="2686335"/>
                </a:lnTo>
                <a:lnTo>
                  <a:pt x="1667313" y="2702388"/>
                </a:lnTo>
                <a:lnTo>
                  <a:pt x="1671852" y="2728976"/>
                </a:lnTo>
                <a:lnTo>
                  <a:pt x="1667313" y="2754708"/>
                </a:lnTo>
                <a:lnTo>
                  <a:pt x="1654519" y="2770857"/>
                </a:lnTo>
                <a:lnTo>
                  <a:pt x="1634701" y="2779223"/>
                </a:lnTo>
                <a:lnTo>
                  <a:pt x="1609095" y="2781612"/>
                </a:lnTo>
                <a:lnTo>
                  <a:pt x="1584075" y="2779223"/>
                </a:lnTo>
                <a:lnTo>
                  <a:pt x="1564558" y="2770857"/>
                </a:lnTo>
                <a:lnTo>
                  <a:pt x="1551873" y="2754708"/>
                </a:lnTo>
                <a:lnTo>
                  <a:pt x="1547350" y="2728976"/>
                </a:lnTo>
                <a:lnTo>
                  <a:pt x="1551873" y="2702388"/>
                </a:lnTo>
                <a:lnTo>
                  <a:pt x="1564558" y="2686335"/>
                </a:lnTo>
                <a:lnTo>
                  <a:pt x="1584075" y="2678443"/>
                </a:lnTo>
                <a:close/>
                <a:moveTo>
                  <a:pt x="2879125" y="2481992"/>
                </a:moveTo>
                <a:lnTo>
                  <a:pt x="2911305" y="2483129"/>
                </a:lnTo>
                <a:lnTo>
                  <a:pt x="2941090" y="2486511"/>
                </a:lnTo>
                <a:lnTo>
                  <a:pt x="2968561" y="2492087"/>
                </a:lnTo>
                <a:lnTo>
                  <a:pt x="2993799" y="2499807"/>
                </a:lnTo>
                <a:lnTo>
                  <a:pt x="3016884" y="2509622"/>
                </a:lnTo>
                <a:lnTo>
                  <a:pt x="3037896" y="2521483"/>
                </a:lnTo>
                <a:lnTo>
                  <a:pt x="3056916" y="2535342"/>
                </a:lnTo>
                <a:lnTo>
                  <a:pt x="3074024" y="2551147"/>
                </a:lnTo>
                <a:lnTo>
                  <a:pt x="3089302" y="2568850"/>
                </a:lnTo>
                <a:lnTo>
                  <a:pt x="3102829" y="2588403"/>
                </a:lnTo>
                <a:lnTo>
                  <a:pt x="3114685" y="2609754"/>
                </a:lnTo>
                <a:lnTo>
                  <a:pt x="3124952" y="2632854"/>
                </a:lnTo>
                <a:lnTo>
                  <a:pt x="3133709" y="2657656"/>
                </a:lnTo>
                <a:lnTo>
                  <a:pt x="3141039" y="2684109"/>
                </a:lnTo>
                <a:lnTo>
                  <a:pt x="3147019" y="2712163"/>
                </a:lnTo>
                <a:lnTo>
                  <a:pt x="3151732" y="2741770"/>
                </a:lnTo>
                <a:lnTo>
                  <a:pt x="3155257" y="2772881"/>
                </a:lnTo>
                <a:lnTo>
                  <a:pt x="3157675" y="2805445"/>
                </a:lnTo>
                <a:lnTo>
                  <a:pt x="3159067" y="2839413"/>
                </a:lnTo>
                <a:lnTo>
                  <a:pt x="3159514" y="2874737"/>
                </a:lnTo>
                <a:lnTo>
                  <a:pt x="3159089" y="2910212"/>
                </a:lnTo>
                <a:lnTo>
                  <a:pt x="3157757" y="2944332"/>
                </a:lnTo>
                <a:lnTo>
                  <a:pt x="3155431" y="2977045"/>
                </a:lnTo>
                <a:lnTo>
                  <a:pt x="3152023" y="3008303"/>
                </a:lnTo>
                <a:lnTo>
                  <a:pt x="3147446" y="3038054"/>
                </a:lnTo>
                <a:lnTo>
                  <a:pt x="3141612" y="3066249"/>
                </a:lnTo>
                <a:lnTo>
                  <a:pt x="3134435" y="3092837"/>
                </a:lnTo>
                <a:lnTo>
                  <a:pt x="3125826" y="3117770"/>
                </a:lnTo>
                <a:lnTo>
                  <a:pt x="3115700" y="3140995"/>
                </a:lnTo>
                <a:lnTo>
                  <a:pt x="3103967" y="3162464"/>
                </a:lnTo>
                <a:lnTo>
                  <a:pt x="3090542" y="3182126"/>
                </a:lnTo>
                <a:lnTo>
                  <a:pt x="3075336" y="3199931"/>
                </a:lnTo>
                <a:lnTo>
                  <a:pt x="3058263" y="3215828"/>
                </a:lnTo>
                <a:lnTo>
                  <a:pt x="3039235" y="3229769"/>
                </a:lnTo>
                <a:lnTo>
                  <a:pt x="3018165" y="3241703"/>
                </a:lnTo>
                <a:lnTo>
                  <a:pt x="2994965" y="3251579"/>
                </a:lnTo>
                <a:lnTo>
                  <a:pt x="2969548" y="3259347"/>
                </a:lnTo>
                <a:lnTo>
                  <a:pt x="2941828" y="3264959"/>
                </a:lnTo>
                <a:lnTo>
                  <a:pt x="2911716" y="3268362"/>
                </a:lnTo>
                <a:lnTo>
                  <a:pt x="2879125" y="3269508"/>
                </a:lnTo>
                <a:lnTo>
                  <a:pt x="2879125" y="3210798"/>
                </a:lnTo>
                <a:lnTo>
                  <a:pt x="2909252" y="3209444"/>
                </a:lnTo>
                <a:lnTo>
                  <a:pt x="2936490" y="3205429"/>
                </a:lnTo>
                <a:lnTo>
                  <a:pt x="2960977" y="3198827"/>
                </a:lnTo>
                <a:lnTo>
                  <a:pt x="2982849" y="3189707"/>
                </a:lnTo>
                <a:lnTo>
                  <a:pt x="3019298" y="3164203"/>
                </a:lnTo>
                <a:lnTo>
                  <a:pt x="3046935" y="3129493"/>
                </a:lnTo>
                <a:lnTo>
                  <a:pt x="3057792" y="3108864"/>
                </a:lnTo>
                <a:lnTo>
                  <a:pt x="3066859" y="3086149"/>
                </a:lnTo>
                <a:lnTo>
                  <a:pt x="3074271" y="3061419"/>
                </a:lnTo>
                <a:lnTo>
                  <a:pt x="3080167" y="3034745"/>
                </a:lnTo>
                <a:lnTo>
                  <a:pt x="3084682" y="3006199"/>
                </a:lnTo>
                <a:lnTo>
                  <a:pt x="3087956" y="2975855"/>
                </a:lnTo>
                <a:lnTo>
                  <a:pt x="3090124" y="2943781"/>
                </a:lnTo>
                <a:lnTo>
                  <a:pt x="3091324" y="2910051"/>
                </a:lnTo>
                <a:lnTo>
                  <a:pt x="3091694" y="2874737"/>
                </a:lnTo>
                <a:lnTo>
                  <a:pt x="3091305" y="2839769"/>
                </a:lnTo>
                <a:lnTo>
                  <a:pt x="3090050" y="2806365"/>
                </a:lnTo>
                <a:lnTo>
                  <a:pt x="3087800" y="2774596"/>
                </a:lnTo>
                <a:lnTo>
                  <a:pt x="3084425" y="2744535"/>
                </a:lnTo>
                <a:lnTo>
                  <a:pt x="3079795" y="2716252"/>
                </a:lnTo>
                <a:lnTo>
                  <a:pt x="3073782" y="2689820"/>
                </a:lnTo>
                <a:lnTo>
                  <a:pt x="3066253" y="2665311"/>
                </a:lnTo>
                <a:lnTo>
                  <a:pt x="3057081" y="2642795"/>
                </a:lnTo>
                <a:lnTo>
                  <a:pt x="3046134" y="2622345"/>
                </a:lnTo>
                <a:lnTo>
                  <a:pt x="3018400" y="2587929"/>
                </a:lnTo>
                <a:lnTo>
                  <a:pt x="2982013" y="2562635"/>
                </a:lnTo>
                <a:lnTo>
                  <a:pt x="2960250" y="2553590"/>
                </a:lnTo>
                <a:lnTo>
                  <a:pt x="2935934" y="2547039"/>
                </a:lnTo>
                <a:lnTo>
                  <a:pt x="2908936" y="2543056"/>
                </a:lnTo>
                <a:lnTo>
                  <a:pt x="2879125" y="2541713"/>
                </a:lnTo>
                <a:close/>
                <a:moveTo>
                  <a:pt x="2565698" y="2481992"/>
                </a:moveTo>
                <a:lnTo>
                  <a:pt x="2565698" y="2541713"/>
                </a:lnTo>
                <a:lnTo>
                  <a:pt x="2536056" y="2543056"/>
                </a:lnTo>
                <a:lnTo>
                  <a:pt x="2509206" y="2547039"/>
                </a:lnTo>
                <a:lnTo>
                  <a:pt x="2485020" y="2553590"/>
                </a:lnTo>
                <a:lnTo>
                  <a:pt x="2463369" y="2562635"/>
                </a:lnTo>
                <a:lnTo>
                  <a:pt x="2427161" y="2587929"/>
                </a:lnTo>
                <a:lnTo>
                  <a:pt x="2399551" y="2622345"/>
                </a:lnTo>
                <a:lnTo>
                  <a:pt x="2388649" y="2642795"/>
                </a:lnTo>
                <a:lnTo>
                  <a:pt x="2379511" y="2665311"/>
                </a:lnTo>
                <a:lnTo>
                  <a:pt x="2372009" y="2689820"/>
                </a:lnTo>
                <a:lnTo>
                  <a:pt x="2366014" y="2716252"/>
                </a:lnTo>
                <a:lnTo>
                  <a:pt x="2361397" y="2744535"/>
                </a:lnTo>
                <a:lnTo>
                  <a:pt x="2358029" y="2774596"/>
                </a:lnTo>
                <a:lnTo>
                  <a:pt x="2355783" y="2806365"/>
                </a:lnTo>
                <a:lnTo>
                  <a:pt x="2354530" y="2839769"/>
                </a:lnTo>
                <a:lnTo>
                  <a:pt x="2354141" y="2874737"/>
                </a:lnTo>
                <a:lnTo>
                  <a:pt x="2354520" y="2910051"/>
                </a:lnTo>
                <a:lnTo>
                  <a:pt x="2355746" y="2943781"/>
                </a:lnTo>
                <a:lnTo>
                  <a:pt x="2357952" y="2975855"/>
                </a:lnTo>
                <a:lnTo>
                  <a:pt x="2361268" y="3006199"/>
                </a:lnTo>
                <a:lnTo>
                  <a:pt x="2365828" y="3034745"/>
                </a:lnTo>
                <a:lnTo>
                  <a:pt x="2371764" y="3061419"/>
                </a:lnTo>
                <a:lnTo>
                  <a:pt x="2379208" y="3086149"/>
                </a:lnTo>
                <a:lnTo>
                  <a:pt x="2388293" y="3108864"/>
                </a:lnTo>
                <a:lnTo>
                  <a:pt x="2399150" y="3129493"/>
                </a:lnTo>
                <a:lnTo>
                  <a:pt x="2426712" y="3164203"/>
                </a:lnTo>
                <a:lnTo>
                  <a:pt x="2462952" y="3189707"/>
                </a:lnTo>
                <a:lnTo>
                  <a:pt x="2484656" y="3198827"/>
                </a:lnTo>
                <a:lnTo>
                  <a:pt x="2508928" y="3205429"/>
                </a:lnTo>
                <a:lnTo>
                  <a:pt x="2535898" y="3209444"/>
                </a:lnTo>
                <a:lnTo>
                  <a:pt x="2565698" y="3210798"/>
                </a:lnTo>
                <a:lnTo>
                  <a:pt x="2565698" y="3269508"/>
                </a:lnTo>
                <a:lnTo>
                  <a:pt x="2533244" y="3268362"/>
                </a:lnTo>
                <a:lnTo>
                  <a:pt x="2503241" y="3264959"/>
                </a:lnTo>
                <a:lnTo>
                  <a:pt x="2475603" y="3259347"/>
                </a:lnTo>
                <a:lnTo>
                  <a:pt x="2450247" y="3251579"/>
                </a:lnTo>
                <a:lnTo>
                  <a:pt x="2427085" y="3241703"/>
                </a:lnTo>
                <a:lnTo>
                  <a:pt x="2406034" y="3229769"/>
                </a:lnTo>
                <a:lnTo>
                  <a:pt x="2387009" y="3215828"/>
                </a:lnTo>
                <a:lnTo>
                  <a:pt x="2369924" y="3199931"/>
                </a:lnTo>
                <a:lnTo>
                  <a:pt x="2354694" y="3182126"/>
                </a:lnTo>
                <a:lnTo>
                  <a:pt x="2341235" y="3162464"/>
                </a:lnTo>
                <a:lnTo>
                  <a:pt x="2329461" y="3140995"/>
                </a:lnTo>
                <a:lnTo>
                  <a:pt x="2319288" y="3117770"/>
                </a:lnTo>
                <a:lnTo>
                  <a:pt x="2310630" y="3092837"/>
                </a:lnTo>
                <a:lnTo>
                  <a:pt x="2303402" y="3066249"/>
                </a:lnTo>
                <a:lnTo>
                  <a:pt x="2297519" y="3038054"/>
                </a:lnTo>
                <a:lnTo>
                  <a:pt x="2292897" y="3008303"/>
                </a:lnTo>
                <a:lnTo>
                  <a:pt x="2289449" y="2977045"/>
                </a:lnTo>
                <a:lnTo>
                  <a:pt x="2287092" y="2944332"/>
                </a:lnTo>
                <a:lnTo>
                  <a:pt x="2285740" y="2910212"/>
                </a:lnTo>
                <a:lnTo>
                  <a:pt x="2285309" y="2874737"/>
                </a:lnTo>
                <a:lnTo>
                  <a:pt x="2285755" y="2839413"/>
                </a:lnTo>
                <a:lnTo>
                  <a:pt x="2287147" y="2805445"/>
                </a:lnTo>
                <a:lnTo>
                  <a:pt x="2289566" y="2772881"/>
                </a:lnTo>
                <a:lnTo>
                  <a:pt x="2293091" y="2741770"/>
                </a:lnTo>
                <a:lnTo>
                  <a:pt x="2297804" y="2712163"/>
                </a:lnTo>
                <a:lnTo>
                  <a:pt x="2303784" y="2684109"/>
                </a:lnTo>
                <a:lnTo>
                  <a:pt x="2311113" y="2657656"/>
                </a:lnTo>
                <a:lnTo>
                  <a:pt x="2319870" y="2632854"/>
                </a:lnTo>
                <a:lnTo>
                  <a:pt x="2330137" y="2609754"/>
                </a:lnTo>
                <a:lnTo>
                  <a:pt x="2341994" y="2588403"/>
                </a:lnTo>
                <a:lnTo>
                  <a:pt x="2355521" y="2568850"/>
                </a:lnTo>
                <a:lnTo>
                  <a:pt x="2370798" y="2551147"/>
                </a:lnTo>
                <a:lnTo>
                  <a:pt x="2387907" y="2535342"/>
                </a:lnTo>
                <a:lnTo>
                  <a:pt x="2406927" y="2521483"/>
                </a:lnTo>
                <a:lnTo>
                  <a:pt x="2427939" y="2509622"/>
                </a:lnTo>
                <a:lnTo>
                  <a:pt x="2451024" y="2499807"/>
                </a:lnTo>
                <a:lnTo>
                  <a:pt x="2476262" y="2492087"/>
                </a:lnTo>
                <a:lnTo>
                  <a:pt x="2503733" y="2486511"/>
                </a:lnTo>
                <a:lnTo>
                  <a:pt x="2533518" y="2483129"/>
                </a:lnTo>
                <a:close/>
                <a:moveTo>
                  <a:pt x="4308476" y="2413668"/>
                </a:moveTo>
                <a:lnTo>
                  <a:pt x="4389455" y="2413668"/>
                </a:lnTo>
                <a:lnTo>
                  <a:pt x="4503836" y="2623200"/>
                </a:lnTo>
                <a:lnTo>
                  <a:pt x="4387430" y="2838804"/>
                </a:lnTo>
                <a:lnTo>
                  <a:pt x="4308476" y="2838804"/>
                </a:lnTo>
                <a:lnTo>
                  <a:pt x="4407674" y="2653567"/>
                </a:lnTo>
                <a:lnTo>
                  <a:pt x="4017966" y="2653567"/>
                </a:lnTo>
                <a:lnTo>
                  <a:pt x="4017966" y="2588784"/>
                </a:lnTo>
                <a:lnTo>
                  <a:pt x="4405650" y="2588784"/>
                </a:lnTo>
                <a:close/>
                <a:moveTo>
                  <a:pt x="2147951" y="2190467"/>
                </a:moveTo>
                <a:lnTo>
                  <a:pt x="2173557" y="2192697"/>
                </a:lnTo>
                <a:lnTo>
                  <a:pt x="2193375" y="2200715"/>
                </a:lnTo>
                <a:lnTo>
                  <a:pt x="2206169" y="2216516"/>
                </a:lnTo>
                <a:lnTo>
                  <a:pt x="2210708" y="2242090"/>
                </a:lnTo>
                <a:lnTo>
                  <a:pt x="2206169" y="2268835"/>
                </a:lnTo>
                <a:lnTo>
                  <a:pt x="2193375" y="2285237"/>
                </a:lnTo>
                <a:lnTo>
                  <a:pt x="2173557" y="2293477"/>
                </a:lnTo>
                <a:lnTo>
                  <a:pt x="2147951" y="2295739"/>
                </a:lnTo>
                <a:lnTo>
                  <a:pt x="2122345" y="2293477"/>
                </a:lnTo>
                <a:lnTo>
                  <a:pt x="2102527" y="2285237"/>
                </a:lnTo>
                <a:lnTo>
                  <a:pt x="2089732" y="2268835"/>
                </a:lnTo>
                <a:lnTo>
                  <a:pt x="2085193" y="2242090"/>
                </a:lnTo>
                <a:lnTo>
                  <a:pt x="2089874" y="2216516"/>
                </a:lnTo>
                <a:lnTo>
                  <a:pt x="2102907" y="2200715"/>
                </a:lnTo>
                <a:lnTo>
                  <a:pt x="2122772" y="2192697"/>
                </a:lnTo>
                <a:close/>
                <a:moveTo>
                  <a:pt x="784523" y="2190467"/>
                </a:moveTo>
                <a:lnTo>
                  <a:pt x="810129" y="2192697"/>
                </a:lnTo>
                <a:lnTo>
                  <a:pt x="829946" y="2200715"/>
                </a:lnTo>
                <a:lnTo>
                  <a:pt x="842741" y="2216516"/>
                </a:lnTo>
                <a:lnTo>
                  <a:pt x="847281" y="2242090"/>
                </a:lnTo>
                <a:lnTo>
                  <a:pt x="842741" y="2268835"/>
                </a:lnTo>
                <a:lnTo>
                  <a:pt x="829946" y="2285237"/>
                </a:lnTo>
                <a:lnTo>
                  <a:pt x="810129" y="2293477"/>
                </a:lnTo>
                <a:lnTo>
                  <a:pt x="784523" y="2295739"/>
                </a:lnTo>
                <a:lnTo>
                  <a:pt x="758916" y="2293477"/>
                </a:lnTo>
                <a:lnTo>
                  <a:pt x="739099" y="2285237"/>
                </a:lnTo>
                <a:lnTo>
                  <a:pt x="726304" y="2268835"/>
                </a:lnTo>
                <a:lnTo>
                  <a:pt x="721765" y="2242090"/>
                </a:lnTo>
                <a:lnTo>
                  <a:pt x="726446" y="2216516"/>
                </a:lnTo>
                <a:lnTo>
                  <a:pt x="739479" y="2200715"/>
                </a:lnTo>
                <a:lnTo>
                  <a:pt x="759344" y="2192697"/>
                </a:lnTo>
                <a:close/>
                <a:moveTo>
                  <a:pt x="62758" y="2190467"/>
                </a:moveTo>
                <a:lnTo>
                  <a:pt x="88364" y="2192697"/>
                </a:lnTo>
                <a:lnTo>
                  <a:pt x="108181" y="2200715"/>
                </a:lnTo>
                <a:lnTo>
                  <a:pt x="120977" y="2216516"/>
                </a:lnTo>
                <a:lnTo>
                  <a:pt x="125516" y="2242090"/>
                </a:lnTo>
                <a:lnTo>
                  <a:pt x="120977" y="2268835"/>
                </a:lnTo>
                <a:lnTo>
                  <a:pt x="108181" y="2285237"/>
                </a:lnTo>
                <a:lnTo>
                  <a:pt x="88364" y="2293477"/>
                </a:lnTo>
                <a:lnTo>
                  <a:pt x="62758" y="2295739"/>
                </a:lnTo>
                <a:lnTo>
                  <a:pt x="37151" y="2293477"/>
                </a:lnTo>
                <a:lnTo>
                  <a:pt x="17334" y="2285237"/>
                </a:lnTo>
                <a:lnTo>
                  <a:pt x="4539" y="2268835"/>
                </a:lnTo>
                <a:lnTo>
                  <a:pt x="0" y="2242090"/>
                </a:lnTo>
                <a:lnTo>
                  <a:pt x="4681" y="2216516"/>
                </a:lnTo>
                <a:lnTo>
                  <a:pt x="17713" y="2200715"/>
                </a:lnTo>
                <a:lnTo>
                  <a:pt x="37578" y="2192697"/>
                </a:lnTo>
                <a:close/>
                <a:moveTo>
                  <a:pt x="4915430" y="1822022"/>
                </a:moveTo>
                <a:lnTo>
                  <a:pt x="4996408" y="1822022"/>
                </a:lnTo>
                <a:lnTo>
                  <a:pt x="5110790" y="2031553"/>
                </a:lnTo>
                <a:lnTo>
                  <a:pt x="4994384" y="2247158"/>
                </a:lnTo>
                <a:lnTo>
                  <a:pt x="4915430" y="2247158"/>
                </a:lnTo>
                <a:lnTo>
                  <a:pt x="5014628" y="2061920"/>
                </a:lnTo>
                <a:lnTo>
                  <a:pt x="4624920" y="2061920"/>
                </a:lnTo>
                <a:lnTo>
                  <a:pt x="4624920" y="1997137"/>
                </a:lnTo>
                <a:lnTo>
                  <a:pt x="5012604" y="1997137"/>
                </a:lnTo>
                <a:close/>
                <a:moveTo>
                  <a:pt x="2876800" y="1822016"/>
                </a:moveTo>
                <a:lnTo>
                  <a:pt x="2957778" y="1822016"/>
                </a:lnTo>
                <a:lnTo>
                  <a:pt x="3072160" y="2031547"/>
                </a:lnTo>
                <a:lnTo>
                  <a:pt x="2955754" y="2247152"/>
                </a:lnTo>
                <a:lnTo>
                  <a:pt x="2876800" y="2247152"/>
                </a:lnTo>
                <a:lnTo>
                  <a:pt x="2975998" y="2061915"/>
                </a:lnTo>
                <a:lnTo>
                  <a:pt x="2586290" y="2061915"/>
                </a:lnTo>
                <a:lnTo>
                  <a:pt x="2586290" y="1997132"/>
                </a:lnTo>
                <a:lnTo>
                  <a:pt x="2973974" y="1997132"/>
                </a:lnTo>
                <a:close/>
                <a:moveTo>
                  <a:pt x="1513768" y="1822016"/>
                </a:moveTo>
                <a:lnTo>
                  <a:pt x="1594748" y="1822016"/>
                </a:lnTo>
                <a:lnTo>
                  <a:pt x="1709128" y="2031547"/>
                </a:lnTo>
                <a:lnTo>
                  <a:pt x="1592723" y="2247152"/>
                </a:lnTo>
                <a:lnTo>
                  <a:pt x="1513768" y="2247152"/>
                </a:lnTo>
                <a:lnTo>
                  <a:pt x="1612966" y="2061915"/>
                </a:lnTo>
                <a:lnTo>
                  <a:pt x="1223259" y="2061915"/>
                </a:lnTo>
                <a:lnTo>
                  <a:pt x="1223259" y="1997132"/>
                </a:lnTo>
                <a:lnTo>
                  <a:pt x="1610942" y="1997132"/>
                </a:lnTo>
                <a:close/>
                <a:moveTo>
                  <a:pt x="2147951" y="1765330"/>
                </a:moveTo>
                <a:lnTo>
                  <a:pt x="2173557" y="1767433"/>
                </a:lnTo>
                <a:lnTo>
                  <a:pt x="2193375" y="1775325"/>
                </a:lnTo>
                <a:lnTo>
                  <a:pt x="2206169" y="1791378"/>
                </a:lnTo>
                <a:lnTo>
                  <a:pt x="2210708" y="1817966"/>
                </a:lnTo>
                <a:lnTo>
                  <a:pt x="2206169" y="1843698"/>
                </a:lnTo>
                <a:lnTo>
                  <a:pt x="2193375" y="1859846"/>
                </a:lnTo>
                <a:lnTo>
                  <a:pt x="2173557" y="1868213"/>
                </a:lnTo>
                <a:lnTo>
                  <a:pt x="2147951" y="1870601"/>
                </a:lnTo>
                <a:lnTo>
                  <a:pt x="2122930" y="1868213"/>
                </a:lnTo>
                <a:lnTo>
                  <a:pt x="2103413" y="1859846"/>
                </a:lnTo>
                <a:lnTo>
                  <a:pt x="2090728" y="1843698"/>
                </a:lnTo>
                <a:lnTo>
                  <a:pt x="2086205" y="1817966"/>
                </a:lnTo>
                <a:lnTo>
                  <a:pt x="2090728" y="1791378"/>
                </a:lnTo>
                <a:lnTo>
                  <a:pt x="2103413" y="1775325"/>
                </a:lnTo>
                <a:lnTo>
                  <a:pt x="2122930" y="1767433"/>
                </a:lnTo>
                <a:close/>
                <a:moveTo>
                  <a:pt x="784523" y="1765330"/>
                </a:moveTo>
                <a:lnTo>
                  <a:pt x="810129" y="1767433"/>
                </a:lnTo>
                <a:lnTo>
                  <a:pt x="829946" y="1775325"/>
                </a:lnTo>
                <a:lnTo>
                  <a:pt x="842741" y="1791378"/>
                </a:lnTo>
                <a:lnTo>
                  <a:pt x="847281" y="1817966"/>
                </a:lnTo>
                <a:lnTo>
                  <a:pt x="842741" y="1843698"/>
                </a:lnTo>
                <a:lnTo>
                  <a:pt x="829946" y="1859846"/>
                </a:lnTo>
                <a:lnTo>
                  <a:pt x="810129" y="1868213"/>
                </a:lnTo>
                <a:lnTo>
                  <a:pt x="784523" y="1870601"/>
                </a:lnTo>
                <a:lnTo>
                  <a:pt x="759502" y="1868213"/>
                </a:lnTo>
                <a:lnTo>
                  <a:pt x="739984" y="1859846"/>
                </a:lnTo>
                <a:lnTo>
                  <a:pt x="727300" y="1843698"/>
                </a:lnTo>
                <a:lnTo>
                  <a:pt x="722776" y="1817966"/>
                </a:lnTo>
                <a:lnTo>
                  <a:pt x="727300" y="1791378"/>
                </a:lnTo>
                <a:lnTo>
                  <a:pt x="739984" y="1775325"/>
                </a:lnTo>
                <a:lnTo>
                  <a:pt x="759502" y="1767433"/>
                </a:lnTo>
                <a:close/>
                <a:moveTo>
                  <a:pt x="62758" y="1765330"/>
                </a:moveTo>
                <a:lnTo>
                  <a:pt x="88364" y="1767433"/>
                </a:lnTo>
                <a:lnTo>
                  <a:pt x="108181" y="1775325"/>
                </a:lnTo>
                <a:lnTo>
                  <a:pt x="120977" y="1791378"/>
                </a:lnTo>
                <a:lnTo>
                  <a:pt x="125516" y="1817966"/>
                </a:lnTo>
                <a:lnTo>
                  <a:pt x="120977" y="1843698"/>
                </a:lnTo>
                <a:lnTo>
                  <a:pt x="108181" y="1859846"/>
                </a:lnTo>
                <a:lnTo>
                  <a:pt x="88364" y="1868213"/>
                </a:lnTo>
                <a:lnTo>
                  <a:pt x="62758" y="1870601"/>
                </a:lnTo>
                <a:lnTo>
                  <a:pt x="37736" y="1868213"/>
                </a:lnTo>
                <a:lnTo>
                  <a:pt x="18219" y="1859846"/>
                </a:lnTo>
                <a:lnTo>
                  <a:pt x="5535" y="1843698"/>
                </a:lnTo>
                <a:lnTo>
                  <a:pt x="1012" y="1817966"/>
                </a:lnTo>
                <a:lnTo>
                  <a:pt x="5535" y="1791378"/>
                </a:lnTo>
                <a:lnTo>
                  <a:pt x="18219" y="1775325"/>
                </a:lnTo>
                <a:lnTo>
                  <a:pt x="37736" y="1767433"/>
                </a:lnTo>
                <a:close/>
                <a:moveTo>
                  <a:pt x="3434660" y="1570981"/>
                </a:moveTo>
                <a:lnTo>
                  <a:pt x="3466840" y="1572118"/>
                </a:lnTo>
                <a:lnTo>
                  <a:pt x="3496625" y="1575500"/>
                </a:lnTo>
                <a:lnTo>
                  <a:pt x="3524096" y="1581076"/>
                </a:lnTo>
                <a:lnTo>
                  <a:pt x="3549334" y="1588796"/>
                </a:lnTo>
                <a:lnTo>
                  <a:pt x="3572418" y="1598611"/>
                </a:lnTo>
                <a:lnTo>
                  <a:pt x="3593431" y="1610473"/>
                </a:lnTo>
                <a:lnTo>
                  <a:pt x="3612450" y="1624331"/>
                </a:lnTo>
                <a:lnTo>
                  <a:pt x="3629559" y="1640136"/>
                </a:lnTo>
                <a:lnTo>
                  <a:pt x="3644837" y="1657839"/>
                </a:lnTo>
                <a:lnTo>
                  <a:pt x="3658363" y="1677391"/>
                </a:lnTo>
                <a:lnTo>
                  <a:pt x="3670219" y="1698743"/>
                </a:lnTo>
                <a:lnTo>
                  <a:pt x="3680486" y="1721844"/>
                </a:lnTo>
                <a:lnTo>
                  <a:pt x="3689244" y="1746646"/>
                </a:lnTo>
                <a:lnTo>
                  <a:pt x="3696573" y="1773098"/>
                </a:lnTo>
                <a:lnTo>
                  <a:pt x="3702553" y="1801152"/>
                </a:lnTo>
                <a:lnTo>
                  <a:pt x="3707266" y="1830760"/>
                </a:lnTo>
                <a:lnTo>
                  <a:pt x="3710792" y="1861870"/>
                </a:lnTo>
                <a:lnTo>
                  <a:pt x="3713210" y="1894434"/>
                </a:lnTo>
                <a:lnTo>
                  <a:pt x="3714602" y="1928402"/>
                </a:lnTo>
                <a:lnTo>
                  <a:pt x="3715048" y="1963726"/>
                </a:lnTo>
                <a:lnTo>
                  <a:pt x="3714624" y="1999201"/>
                </a:lnTo>
                <a:lnTo>
                  <a:pt x="3713292" y="2033321"/>
                </a:lnTo>
                <a:lnTo>
                  <a:pt x="3710966" y="2066034"/>
                </a:lnTo>
                <a:lnTo>
                  <a:pt x="3707557" y="2097292"/>
                </a:lnTo>
                <a:lnTo>
                  <a:pt x="3702980" y="2127043"/>
                </a:lnTo>
                <a:lnTo>
                  <a:pt x="3697147" y="2155238"/>
                </a:lnTo>
                <a:lnTo>
                  <a:pt x="3689969" y="2181827"/>
                </a:lnTo>
                <a:lnTo>
                  <a:pt x="3681361" y="2206759"/>
                </a:lnTo>
                <a:lnTo>
                  <a:pt x="3671234" y="2229984"/>
                </a:lnTo>
                <a:lnTo>
                  <a:pt x="3659502" y="2251453"/>
                </a:lnTo>
                <a:lnTo>
                  <a:pt x="3646077" y="2271115"/>
                </a:lnTo>
                <a:lnTo>
                  <a:pt x="3630871" y="2288919"/>
                </a:lnTo>
                <a:lnTo>
                  <a:pt x="3613798" y="2304817"/>
                </a:lnTo>
                <a:lnTo>
                  <a:pt x="3594769" y="2318758"/>
                </a:lnTo>
                <a:lnTo>
                  <a:pt x="3573700" y="2330691"/>
                </a:lnTo>
                <a:lnTo>
                  <a:pt x="3550500" y="2340567"/>
                </a:lnTo>
                <a:lnTo>
                  <a:pt x="3525083" y="2348336"/>
                </a:lnTo>
                <a:lnTo>
                  <a:pt x="3497363" y="2353947"/>
                </a:lnTo>
                <a:lnTo>
                  <a:pt x="3467251" y="2357351"/>
                </a:lnTo>
                <a:lnTo>
                  <a:pt x="3434660" y="2358496"/>
                </a:lnTo>
                <a:lnTo>
                  <a:pt x="3434660" y="2299787"/>
                </a:lnTo>
                <a:lnTo>
                  <a:pt x="3464787" y="2298433"/>
                </a:lnTo>
                <a:lnTo>
                  <a:pt x="3492025" y="2294418"/>
                </a:lnTo>
                <a:lnTo>
                  <a:pt x="3516511" y="2287816"/>
                </a:lnTo>
                <a:lnTo>
                  <a:pt x="3538383" y="2278696"/>
                </a:lnTo>
                <a:lnTo>
                  <a:pt x="3574832" y="2253193"/>
                </a:lnTo>
                <a:lnTo>
                  <a:pt x="3602470" y="2218482"/>
                </a:lnTo>
                <a:lnTo>
                  <a:pt x="3613327" y="2197853"/>
                </a:lnTo>
                <a:lnTo>
                  <a:pt x="3622393" y="2175138"/>
                </a:lnTo>
                <a:lnTo>
                  <a:pt x="3629805" y="2150408"/>
                </a:lnTo>
                <a:lnTo>
                  <a:pt x="3635701" y="2123734"/>
                </a:lnTo>
                <a:lnTo>
                  <a:pt x="3640217" y="2095189"/>
                </a:lnTo>
                <a:lnTo>
                  <a:pt x="3643490" y="2064844"/>
                </a:lnTo>
                <a:lnTo>
                  <a:pt x="3645659" y="2032771"/>
                </a:lnTo>
                <a:lnTo>
                  <a:pt x="3646859" y="1999041"/>
                </a:lnTo>
                <a:lnTo>
                  <a:pt x="3647229" y="1963726"/>
                </a:lnTo>
                <a:lnTo>
                  <a:pt x="3646839" y="1928758"/>
                </a:lnTo>
                <a:lnTo>
                  <a:pt x="3645584" y="1895355"/>
                </a:lnTo>
                <a:lnTo>
                  <a:pt x="3643335" y="1863586"/>
                </a:lnTo>
                <a:lnTo>
                  <a:pt x="3639960" y="1833525"/>
                </a:lnTo>
                <a:lnTo>
                  <a:pt x="3635330" y="1805242"/>
                </a:lnTo>
                <a:lnTo>
                  <a:pt x="3629316" y="1778810"/>
                </a:lnTo>
                <a:lnTo>
                  <a:pt x="3621788" y="1754300"/>
                </a:lnTo>
                <a:lnTo>
                  <a:pt x="3612615" y="1731785"/>
                </a:lnTo>
                <a:lnTo>
                  <a:pt x="3601669" y="1711335"/>
                </a:lnTo>
                <a:lnTo>
                  <a:pt x="3573935" y="1676919"/>
                </a:lnTo>
                <a:lnTo>
                  <a:pt x="3537548" y="1651625"/>
                </a:lnTo>
                <a:lnTo>
                  <a:pt x="3515784" y="1642579"/>
                </a:lnTo>
                <a:lnTo>
                  <a:pt x="3491469" y="1636029"/>
                </a:lnTo>
                <a:lnTo>
                  <a:pt x="3464471" y="1632046"/>
                </a:lnTo>
                <a:lnTo>
                  <a:pt x="3434660" y="1630702"/>
                </a:lnTo>
                <a:close/>
                <a:moveTo>
                  <a:pt x="3579243" y="1279461"/>
                </a:moveTo>
                <a:lnTo>
                  <a:pt x="3604850" y="1281691"/>
                </a:lnTo>
                <a:lnTo>
                  <a:pt x="3624668" y="1289709"/>
                </a:lnTo>
                <a:lnTo>
                  <a:pt x="3637463" y="1305510"/>
                </a:lnTo>
                <a:lnTo>
                  <a:pt x="3642002" y="1331085"/>
                </a:lnTo>
                <a:lnTo>
                  <a:pt x="3637463" y="1357829"/>
                </a:lnTo>
                <a:lnTo>
                  <a:pt x="3624668" y="1374231"/>
                </a:lnTo>
                <a:lnTo>
                  <a:pt x="3604850" y="1382471"/>
                </a:lnTo>
                <a:lnTo>
                  <a:pt x="3579243" y="1384733"/>
                </a:lnTo>
                <a:lnTo>
                  <a:pt x="3553637" y="1382471"/>
                </a:lnTo>
                <a:lnTo>
                  <a:pt x="3533820" y="1374231"/>
                </a:lnTo>
                <a:lnTo>
                  <a:pt x="3521024" y="1357829"/>
                </a:lnTo>
                <a:lnTo>
                  <a:pt x="3516485" y="1331085"/>
                </a:lnTo>
                <a:lnTo>
                  <a:pt x="3521166" y="1305510"/>
                </a:lnTo>
                <a:lnTo>
                  <a:pt x="3534199" y="1289709"/>
                </a:lnTo>
                <a:lnTo>
                  <a:pt x="3554064" y="1281691"/>
                </a:lnTo>
                <a:close/>
                <a:moveTo>
                  <a:pt x="1609095" y="1279455"/>
                </a:moveTo>
                <a:lnTo>
                  <a:pt x="1634701" y="1281685"/>
                </a:lnTo>
                <a:lnTo>
                  <a:pt x="1654519" y="1289703"/>
                </a:lnTo>
                <a:lnTo>
                  <a:pt x="1667313" y="1305504"/>
                </a:lnTo>
                <a:lnTo>
                  <a:pt x="1671852" y="1331078"/>
                </a:lnTo>
                <a:lnTo>
                  <a:pt x="1667313" y="1357823"/>
                </a:lnTo>
                <a:lnTo>
                  <a:pt x="1654519" y="1374224"/>
                </a:lnTo>
                <a:lnTo>
                  <a:pt x="1634701" y="1382465"/>
                </a:lnTo>
                <a:lnTo>
                  <a:pt x="1609095" y="1384726"/>
                </a:lnTo>
                <a:lnTo>
                  <a:pt x="1583489" y="1382465"/>
                </a:lnTo>
                <a:lnTo>
                  <a:pt x="1563671" y="1374224"/>
                </a:lnTo>
                <a:lnTo>
                  <a:pt x="1550877" y="1357823"/>
                </a:lnTo>
                <a:lnTo>
                  <a:pt x="1546337" y="1331078"/>
                </a:lnTo>
                <a:lnTo>
                  <a:pt x="1551018" y="1305504"/>
                </a:lnTo>
                <a:lnTo>
                  <a:pt x="1564051" y="1289703"/>
                </a:lnTo>
                <a:lnTo>
                  <a:pt x="1583916" y="1281685"/>
                </a:lnTo>
                <a:close/>
                <a:moveTo>
                  <a:pt x="4308476" y="1229360"/>
                </a:moveTo>
                <a:lnTo>
                  <a:pt x="4389455" y="1229360"/>
                </a:lnTo>
                <a:lnTo>
                  <a:pt x="4503836" y="1438891"/>
                </a:lnTo>
                <a:lnTo>
                  <a:pt x="4387430" y="1654496"/>
                </a:lnTo>
                <a:lnTo>
                  <a:pt x="4308476" y="1654496"/>
                </a:lnTo>
                <a:lnTo>
                  <a:pt x="4407674" y="1469259"/>
                </a:lnTo>
                <a:lnTo>
                  <a:pt x="4017966" y="1469259"/>
                </a:lnTo>
                <a:lnTo>
                  <a:pt x="4017966" y="1404475"/>
                </a:lnTo>
                <a:lnTo>
                  <a:pt x="4405650" y="1404475"/>
                </a:lnTo>
                <a:close/>
                <a:moveTo>
                  <a:pt x="3579243" y="854324"/>
                </a:moveTo>
                <a:lnTo>
                  <a:pt x="3604850" y="856427"/>
                </a:lnTo>
                <a:lnTo>
                  <a:pt x="3624668" y="864320"/>
                </a:lnTo>
                <a:lnTo>
                  <a:pt x="3637463" y="880373"/>
                </a:lnTo>
                <a:lnTo>
                  <a:pt x="3642002" y="906960"/>
                </a:lnTo>
                <a:lnTo>
                  <a:pt x="3637463" y="932693"/>
                </a:lnTo>
                <a:lnTo>
                  <a:pt x="3624668" y="948841"/>
                </a:lnTo>
                <a:lnTo>
                  <a:pt x="3604850" y="957207"/>
                </a:lnTo>
                <a:lnTo>
                  <a:pt x="3579243" y="959596"/>
                </a:lnTo>
                <a:lnTo>
                  <a:pt x="3554223" y="957207"/>
                </a:lnTo>
                <a:lnTo>
                  <a:pt x="3534706" y="948841"/>
                </a:lnTo>
                <a:lnTo>
                  <a:pt x="3522021" y="932693"/>
                </a:lnTo>
                <a:lnTo>
                  <a:pt x="3517498" y="906960"/>
                </a:lnTo>
                <a:lnTo>
                  <a:pt x="3522021" y="880373"/>
                </a:lnTo>
                <a:lnTo>
                  <a:pt x="3534706" y="864320"/>
                </a:lnTo>
                <a:lnTo>
                  <a:pt x="3554223" y="856427"/>
                </a:lnTo>
                <a:close/>
                <a:moveTo>
                  <a:pt x="1609095" y="854318"/>
                </a:moveTo>
                <a:lnTo>
                  <a:pt x="1634701" y="856421"/>
                </a:lnTo>
                <a:lnTo>
                  <a:pt x="1654519" y="864313"/>
                </a:lnTo>
                <a:lnTo>
                  <a:pt x="1667313" y="880366"/>
                </a:lnTo>
                <a:lnTo>
                  <a:pt x="1671852" y="906953"/>
                </a:lnTo>
                <a:lnTo>
                  <a:pt x="1667313" y="932686"/>
                </a:lnTo>
                <a:lnTo>
                  <a:pt x="1654519" y="948834"/>
                </a:lnTo>
                <a:lnTo>
                  <a:pt x="1634701" y="957201"/>
                </a:lnTo>
                <a:lnTo>
                  <a:pt x="1609095" y="959589"/>
                </a:lnTo>
                <a:lnTo>
                  <a:pt x="1584074" y="957201"/>
                </a:lnTo>
                <a:lnTo>
                  <a:pt x="1564557" y="948834"/>
                </a:lnTo>
                <a:lnTo>
                  <a:pt x="1551872" y="932686"/>
                </a:lnTo>
                <a:lnTo>
                  <a:pt x="1547349" y="906953"/>
                </a:lnTo>
                <a:lnTo>
                  <a:pt x="1551872" y="880366"/>
                </a:lnTo>
                <a:lnTo>
                  <a:pt x="1564557" y="864313"/>
                </a:lnTo>
                <a:lnTo>
                  <a:pt x="1584074" y="856421"/>
                </a:lnTo>
                <a:close/>
                <a:moveTo>
                  <a:pt x="2879125" y="659976"/>
                </a:moveTo>
                <a:lnTo>
                  <a:pt x="2911305" y="661113"/>
                </a:lnTo>
                <a:lnTo>
                  <a:pt x="2941090" y="664495"/>
                </a:lnTo>
                <a:lnTo>
                  <a:pt x="2968561" y="670071"/>
                </a:lnTo>
                <a:lnTo>
                  <a:pt x="2993799" y="677791"/>
                </a:lnTo>
                <a:lnTo>
                  <a:pt x="3016884" y="687607"/>
                </a:lnTo>
                <a:lnTo>
                  <a:pt x="3037896" y="699468"/>
                </a:lnTo>
                <a:lnTo>
                  <a:pt x="3056916" y="713326"/>
                </a:lnTo>
                <a:lnTo>
                  <a:pt x="3074024" y="729131"/>
                </a:lnTo>
                <a:lnTo>
                  <a:pt x="3089302" y="746834"/>
                </a:lnTo>
                <a:lnTo>
                  <a:pt x="3102829" y="766386"/>
                </a:lnTo>
                <a:lnTo>
                  <a:pt x="3114685" y="787738"/>
                </a:lnTo>
                <a:lnTo>
                  <a:pt x="3124952" y="810839"/>
                </a:lnTo>
                <a:lnTo>
                  <a:pt x="3133709" y="835640"/>
                </a:lnTo>
                <a:lnTo>
                  <a:pt x="3141039" y="862093"/>
                </a:lnTo>
                <a:lnTo>
                  <a:pt x="3147019" y="890147"/>
                </a:lnTo>
                <a:lnTo>
                  <a:pt x="3151732" y="919755"/>
                </a:lnTo>
                <a:lnTo>
                  <a:pt x="3155257" y="950865"/>
                </a:lnTo>
                <a:lnTo>
                  <a:pt x="3157675" y="983429"/>
                </a:lnTo>
                <a:lnTo>
                  <a:pt x="3159067" y="1017397"/>
                </a:lnTo>
                <a:lnTo>
                  <a:pt x="3159514" y="1052721"/>
                </a:lnTo>
                <a:lnTo>
                  <a:pt x="3159089" y="1088196"/>
                </a:lnTo>
                <a:lnTo>
                  <a:pt x="3157757" y="1122316"/>
                </a:lnTo>
                <a:lnTo>
                  <a:pt x="3155431" y="1155029"/>
                </a:lnTo>
                <a:lnTo>
                  <a:pt x="3152023" y="1186287"/>
                </a:lnTo>
                <a:lnTo>
                  <a:pt x="3147446" y="1216038"/>
                </a:lnTo>
                <a:lnTo>
                  <a:pt x="3141612" y="1244233"/>
                </a:lnTo>
                <a:lnTo>
                  <a:pt x="3134435" y="1270822"/>
                </a:lnTo>
                <a:lnTo>
                  <a:pt x="3125826" y="1295754"/>
                </a:lnTo>
                <a:lnTo>
                  <a:pt x="3115700" y="1318979"/>
                </a:lnTo>
                <a:lnTo>
                  <a:pt x="3103967" y="1340448"/>
                </a:lnTo>
                <a:lnTo>
                  <a:pt x="3090542" y="1360110"/>
                </a:lnTo>
                <a:lnTo>
                  <a:pt x="3075336" y="1377914"/>
                </a:lnTo>
                <a:lnTo>
                  <a:pt x="3058263" y="1393812"/>
                </a:lnTo>
                <a:lnTo>
                  <a:pt x="3039235" y="1407753"/>
                </a:lnTo>
                <a:lnTo>
                  <a:pt x="3018165" y="1419686"/>
                </a:lnTo>
                <a:lnTo>
                  <a:pt x="2994965" y="1429562"/>
                </a:lnTo>
                <a:lnTo>
                  <a:pt x="2969548" y="1437331"/>
                </a:lnTo>
                <a:lnTo>
                  <a:pt x="2941828" y="1442942"/>
                </a:lnTo>
                <a:lnTo>
                  <a:pt x="2911716" y="1446346"/>
                </a:lnTo>
                <a:lnTo>
                  <a:pt x="2879125" y="1447491"/>
                </a:lnTo>
                <a:lnTo>
                  <a:pt x="2879125" y="1388782"/>
                </a:lnTo>
                <a:lnTo>
                  <a:pt x="2909252" y="1387428"/>
                </a:lnTo>
                <a:lnTo>
                  <a:pt x="2936490" y="1383413"/>
                </a:lnTo>
                <a:lnTo>
                  <a:pt x="2960977" y="1376811"/>
                </a:lnTo>
                <a:lnTo>
                  <a:pt x="2982849" y="1367691"/>
                </a:lnTo>
                <a:lnTo>
                  <a:pt x="3019298" y="1342188"/>
                </a:lnTo>
                <a:lnTo>
                  <a:pt x="3046935" y="1307477"/>
                </a:lnTo>
                <a:lnTo>
                  <a:pt x="3057792" y="1286848"/>
                </a:lnTo>
                <a:lnTo>
                  <a:pt x="3066859" y="1264133"/>
                </a:lnTo>
                <a:lnTo>
                  <a:pt x="3074271" y="1239402"/>
                </a:lnTo>
                <a:lnTo>
                  <a:pt x="3080167" y="1212729"/>
                </a:lnTo>
                <a:lnTo>
                  <a:pt x="3084682" y="1184184"/>
                </a:lnTo>
                <a:lnTo>
                  <a:pt x="3087956" y="1153838"/>
                </a:lnTo>
                <a:lnTo>
                  <a:pt x="3090124" y="1121765"/>
                </a:lnTo>
                <a:lnTo>
                  <a:pt x="3091324" y="1088036"/>
                </a:lnTo>
                <a:lnTo>
                  <a:pt x="3091694" y="1052721"/>
                </a:lnTo>
                <a:lnTo>
                  <a:pt x="3091305" y="1017753"/>
                </a:lnTo>
                <a:lnTo>
                  <a:pt x="3090050" y="984350"/>
                </a:lnTo>
                <a:lnTo>
                  <a:pt x="3087800" y="952581"/>
                </a:lnTo>
                <a:lnTo>
                  <a:pt x="3084425" y="922520"/>
                </a:lnTo>
                <a:lnTo>
                  <a:pt x="3079795" y="894237"/>
                </a:lnTo>
                <a:lnTo>
                  <a:pt x="3073782" y="867805"/>
                </a:lnTo>
                <a:lnTo>
                  <a:pt x="3066253" y="843295"/>
                </a:lnTo>
                <a:lnTo>
                  <a:pt x="3057081" y="820780"/>
                </a:lnTo>
                <a:lnTo>
                  <a:pt x="3046134" y="800330"/>
                </a:lnTo>
                <a:lnTo>
                  <a:pt x="3018400" y="765914"/>
                </a:lnTo>
                <a:lnTo>
                  <a:pt x="2982013" y="740620"/>
                </a:lnTo>
                <a:lnTo>
                  <a:pt x="2960250" y="731574"/>
                </a:lnTo>
                <a:lnTo>
                  <a:pt x="2935934" y="725024"/>
                </a:lnTo>
                <a:lnTo>
                  <a:pt x="2908936" y="721041"/>
                </a:lnTo>
                <a:lnTo>
                  <a:pt x="2879125" y="719697"/>
                </a:lnTo>
                <a:close/>
                <a:moveTo>
                  <a:pt x="2565698" y="659976"/>
                </a:moveTo>
                <a:lnTo>
                  <a:pt x="2565698" y="719697"/>
                </a:lnTo>
                <a:lnTo>
                  <a:pt x="2536056" y="721041"/>
                </a:lnTo>
                <a:lnTo>
                  <a:pt x="2509206" y="725024"/>
                </a:lnTo>
                <a:lnTo>
                  <a:pt x="2485020" y="731574"/>
                </a:lnTo>
                <a:lnTo>
                  <a:pt x="2463369" y="740620"/>
                </a:lnTo>
                <a:lnTo>
                  <a:pt x="2427161" y="765914"/>
                </a:lnTo>
                <a:lnTo>
                  <a:pt x="2399551" y="800330"/>
                </a:lnTo>
                <a:lnTo>
                  <a:pt x="2388649" y="820780"/>
                </a:lnTo>
                <a:lnTo>
                  <a:pt x="2379511" y="843295"/>
                </a:lnTo>
                <a:lnTo>
                  <a:pt x="2372009" y="867805"/>
                </a:lnTo>
                <a:lnTo>
                  <a:pt x="2366014" y="894237"/>
                </a:lnTo>
                <a:lnTo>
                  <a:pt x="2361397" y="922520"/>
                </a:lnTo>
                <a:lnTo>
                  <a:pt x="2358029" y="952581"/>
                </a:lnTo>
                <a:lnTo>
                  <a:pt x="2355783" y="984350"/>
                </a:lnTo>
                <a:lnTo>
                  <a:pt x="2354530" y="1017753"/>
                </a:lnTo>
                <a:lnTo>
                  <a:pt x="2354141" y="1052721"/>
                </a:lnTo>
                <a:lnTo>
                  <a:pt x="2354520" y="1088036"/>
                </a:lnTo>
                <a:lnTo>
                  <a:pt x="2355746" y="1121765"/>
                </a:lnTo>
                <a:lnTo>
                  <a:pt x="2357952" y="1153838"/>
                </a:lnTo>
                <a:lnTo>
                  <a:pt x="2361268" y="1184184"/>
                </a:lnTo>
                <a:lnTo>
                  <a:pt x="2365828" y="1212729"/>
                </a:lnTo>
                <a:lnTo>
                  <a:pt x="2371764" y="1239402"/>
                </a:lnTo>
                <a:lnTo>
                  <a:pt x="2379208" y="1264133"/>
                </a:lnTo>
                <a:lnTo>
                  <a:pt x="2388293" y="1286848"/>
                </a:lnTo>
                <a:lnTo>
                  <a:pt x="2399150" y="1307477"/>
                </a:lnTo>
                <a:lnTo>
                  <a:pt x="2426712" y="1342188"/>
                </a:lnTo>
                <a:lnTo>
                  <a:pt x="2462952" y="1367691"/>
                </a:lnTo>
                <a:lnTo>
                  <a:pt x="2484656" y="1376811"/>
                </a:lnTo>
                <a:lnTo>
                  <a:pt x="2508928" y="1383413"/>
                </a:lnTo>
                <a:lnTo>
                  <a:pt x="2535898" y="1387428"/>
                </a:lnTo>
                <a:lnTo>
                  <a:pt x="2565698" y="1388782"/>
                </a:lnTo>
                <a:lnTo>
                  <a:pt x="2565698" y="1447491"/>
                </a:lnTo>
                <a:lnTo>
                  <a:pt x="2533244" y="1446346"/>
                </a:lnTo>
                <a:lnTo>
                  <a:pt x="2503241" y="1442942"/>
                </a:lnTo>
                <a:lnTo>
                  <a:pt x="2475603" y="1437331"/>
                </a:lnTo>
                <a:lnTo>
                  <a:pt x="2450247" y="1429562"/>
                </a:lnTo>
                <a:lnTo>
                  <a:pt x="2427085" y="1419686"/>
                </a:lnTo>
                <a:lnTo>
                  <a:pt x="2406034" y="1407753"/>
                </a:lnTo>
                <a:lnTo>
                  <a:pt x="2387009" y="1393812"/>
                </a:lnTo>
                <a:lnTo>
                  <a:pt x="2369924" y="1377914"/>
                </a:lnTo>
                <a:lnTo>
                  <a:pt x="2354694" y="1360110"/>
                </a:lnTo>
                <a:lnTo>
                  <a:pt x="2341235" y="1340448"/>
                </a:lnTo>
                <a:lnTo>
                  <a:pt x="2329461" y="1318979"/>
                </a:lnTo>
                <a:lnTo>
                  <a:pt x="2319288" y="1295754"/>
                </a:lnTo>
                <a:lnTo>
                  <a:pt x="2310630" y="1270822"/>
                </a:lnTo>
                <a:lnTo>
                  <a:pt x="2303402" y="1244233"/>
                </a:lnTo>
                <a:lnTo>
                  <a:pt x="2297519" y="1216038"/>
                </a:lnTo>
                <a:lnTo>
                  <a:pt x="2292897" y="1186287"/>
                </a:lnTo>
                <a:lnTo>
                  <a:pt x="2289449" y="1155029"/>
                </a:lnTo>
                <a:lnTo>
                  <a:pt x="2287092" y="1122316"/>
                </a:lnTo>
                <a:lnTo>
                  <a:pt x="2285740" y="1088196"/>
                </a:lnTo>
                <a:lnTo>
                  <a:pt x="2285309" y="1052721"/>
                </a:lnTo>
                <a:lnTo>
                  <a:pt x="2285755" y="1017397"/>
                </a:lnTo>
                <a:lnTo>
                  <a:pt x="2287147" y="983429"/>
                </a:lnTo>
                <a:lnTo>
                  <a:pt x="2289566" y="950865"/>
                </a:lnTo>
                <a:lnTo>
                  <a:pt x="2293091" y="919755"/>
                </a:lnTo>
                <a:lnTo>
                  <a:pt x="2297804" y="890147"/>
                </a:lnTo>
                <a:lnTo>
                  <a:pt x="2303784" y="862093"/>
                </a:lnTo>
                <a:lnTo>
                  <a:pt x="2311113" y="835640"/>
                </a:lnTo>
                <a:lnTo>
                  <a:pt x="2319870" y="810839"/>
                </a:lnTo>
                <a:lnTo>
                  <a:pt x="2330137" y="787738"/>
                </a:lnTo>
                <a:lnTo>
                  <a:pt x="2341994" y="766386"/>
                </a:lnTo>
                <a:lnTo>
                  <a:pt x="2355521" y="746834"/>
                </a:lnTo>
                <a:lnTo>
                  <a:pt x="2370798" y="729131"/>
                </a:lnTo>
                <a:lnTo>
                  <a:pt x="2387907" y="713326"/>
                </a:lnTo>
                <a:lnTo>
                  <a:pt x="2406927" y="699468"/>
                </a:lnTo>
                <a:lnTo>
                  <a:pt x="2427939" y="687607"/>
                </a:lnTo>
                <a:lnTo>
                  <a:pt x="2451024" y="677791"/>
                </a:lnTo>
                <a:lnTo>
                  <a:pt x="2476262" y="670071"/>
                </a:lnTo>
                <a:lnTo>
                  <a:pt x="2503733" y="664495"/>
                </a:lnTo>
                <a:lnTo>
                  <a:pt x="2533518" y="661113"/>
                </a:lnTo>
                <a:close/>
                <a:moveTo>
                  <a:pt x="1358847" y="0"/>
                </a:moveTo>
                <a:lnTo>
                  <a:pt x="1439826" y="0"/>
                </a:lnTo>
                <a:lnTo>
                  <a:pt x="1554207" y="209532"/>
                </a:lnTo>
                <a:lnTo>
                  <a:pt x="1437801" y="425136"/>
                </a:lnTo>
                <a:lnTo>
                  <a:pt x="1358847" y="425136"/>
                </a:lnTo>
                <a:lnTo>
                  <a:pt x="1458045" y="239899"/>
                </a:lnTo>
                <a:lnTo>
                  <a:pt x="1068337" y="239899"/>
                </a:lnTo>
                <a:lnTo>
                  <a:pt x="1068337" y="175116"/>
                </a:lnTo>
                <a:lnTo>
                  <a:pt x="1456021" y="175116"/>
                </a:lnTo>
                <a:close/>
              </a:path>
            </a:pathLst>
          </a:custGeom>
          <a:solidFill>
            <a:srgbClr val="88C66D"/>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010952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reaker 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rgbClr val="21212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rgbClr val="21212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rgbClr val="212121"/>
                </a:solidFill>
              </a:defRPr>
            </a:lvl1pPr>
          </a:lstStyle>
          <a:p>
            <a:fld id="{7326C215-F3F2-4DB9-8B13-8FADB0ABB2EE}" type="datetime2">
              <a:rPr lang="da-DK" smtClean="0"/>
              <a:pPr/>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rgbClr val="21212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rgbClr val="212121"/>
                </a:solidFill>
              </a:defRPr>
            </a:lvl1pPr>
          </a:lstStyle>
          <a:p>
            <a:fld id="{24C8C45C-947F-4981-8B3F-4F32E973C901}" type="slidenum">
              <a:rPr lang="da-DK" smtClean="0"/>
              <a:pPr/>
              <a:t>‹nr.›</a:t>
            </a:fld>
            <a:endParaRPr lang="da-DK"/>
          </a:p>
        </p:txBody>
      </p:sp>
      <p:sp>
        <p:nvSpPr>
          <p:cNvPr id="6" name="Mikro grafik 1">
            <a:extLst>
              <a:ext uri="{FF2B5EF4-FFF2-40B4-BE49-F238E27FC236}">
                <a16:creationId xmlns:a16="http://schemas.microsoft.com/office/drawing/2014/main" id="{6CC62A60-7680-83DC-FF01-8D34130F5DA8}"/>
              </a:ext>
            </a:extLst>
          </p:cNvPr>
          <p:cNvSpPr/>
          <p:nvPr userDrawn="1"/>
        </p:nvSpPr>
        <p:spPr>
          <a:xfrm>
            <a:off x="346105" y="1028469"/>
            <a:ext cx="3864836" cy="3086563"/>
          </a:xfrm>
          <a:custGeom>
            <a:avLst/>
            <a:gdLst>
              <a:gd name="connsiteX0" fmla="*/ 8393513 w 8497013"/>
              <a:gd name="connsiteY0" fmla="*/ 6508832 h 6785945"/>
              <a:gd name="connsiteX1" fmla="*/ 8435743 w 8497013"/>
              <a:gd name="connsiteY1" fmla="*/ 6512510 h 6785945"/>
              <a:gd name="connsiteX2" fmla="*/ 8468426 w 8497013"/>
              <a:gd name="connsiteY2" fmla="*/ 6525734 h 6785945"/>
              <a:gd name="connsiteX3" fmla="*/ 8489527 w 8497013"/>
              <a:gd name="connsiteY3" fmla="*/ 6551791 h 6785945"/>
              <a:gd name="connsiteX4" fmla="*/ 8497013 w 8497013"/>
              <a:gd name="connsiteY4" fmla="*/ 6593969 h 6785945"/>
              <a:gd name="connsiteX5" fmla="*/ 8489527 w 8497013"/>
              <a:gd name="connsiteY5" fmla="*/ 6638076 h 6785945"/>
              <a:gd name="connsiteX6" fmla="*/ 8468426 w 8497013"/>
              <a:gd name="connsiteY6" fmla="*/ 6665125 h 6785945"/>
              <a:gd name="connsiteX7" fmla="*/ 8435743 w 8497013"/>
              <a:gd name="connsiteY7" fmla="*/ 6678715 h 6785945"/>
              <a:gd name="connsiteX8" fmla="*/ 8393513 w 8497013"/>
              <a:gd name="connsiteY8" fmla="*/ 6682444 h 6785945"/>
              <a:gd name="connsiteX9" fmla="*/ 8351283 w 8497013"/>
              <a:gd name="connsiteY9" fmla="*/ 6678715 h 6785945"/>
              <a:gd name="connsiteX10" fmla="*/ 8318600 w 8497013"/>
              <a:gd name="connsiteY10" fmla="*/ 6665125 h 6785945"/>
              <a:gd name="connsiteX11" fmla="*/ 8297498 w 8497013"/>
              <a:gd name="connsiteY11" fmla="*/ 6638076 h 6785945"/>
              <a:gd name="connsiteX12" fmla="*/ 8290013 w 8497013"/>
              <a:gd name="connsiteY12" fmla="*/ 6593969 h 6785945"/>
              <a:gd name="connsiteX13" fmla="*/ 8297733 w 8497013"/>
              <a:gd name="connsiteY13" fmla="*/ 6551791 h 6785945"/>
              <a:gd name="connsiteX14" fmla="*/ 8319226 w 8497013"/>
              <a:gd name="connsiteY14" fmla="*/ 6525734 h 6785945"/>
              <a:gd name="connsiteX15" fmla="*/ 8351987 w 8497013"/>
              <a:gd name="connsiteY15" fmla="*/ 6512510 h 6785945"/>
              <a:gd name="connsiteX16" fmla="*/ 5162785 w 8497013"/>
              <a:gd name="connsiteY16" fmla="*/ 6508832 h 6785945"/>
              <a:gd name="connsiteX17" fmla="*/ 5205015 w 8497013"/>
              <a:gd name="connsiteY17" fmla="*/ 6512510 h 6785945"/>
              <a:gd name="connsiteX18" fmla="*/ 5237697 w 8497013"/>
              <a:gd name="connsiteY18" fmla="*/ 6525734 h 6785945"/>
              <a:gd name="connsiteX19" fmla="*/ 5258799 w 8497013"/>
              <a:gd name="connsiteY19" fmla="*/ 6551791 h 6785945"/>
              <a:gd name="connsiteX20" fmla="*/ 5266284 w 8497013"/>
              <a:gd name="connsiteY20" fmla="*/ 6593969 h 6785945"/>
              <a:gd name="connsiteX21" fmla="*/ 5258799 w 8497013"/>
              <a:gd name="connsiteY21" fmla="*/ 6638076 h 6785945"/>
              <a:gd name="connsiteX22" fmla="*/ 5237697 w 8497013"/>
              <a:gd name="connsiteY22" fmla="*/ 6665125 h 6785945"/>
              <a:gd name="connsiteX23" fmla="*/ 5205015 w 8497013"/>
              <a:gd name="connsiteY23" fmla="*/ 6678715 h 6785945"/>
              <a:gd name="connsiteX24" fmla="*/ 5162785 w 8497013"/>
              <a:gd name="connsiteY24" fmla="*/ 6682444 h 6785945"/>
              <a:gd name="connsiteX25" fmla="*/ 5120555 w 8497013"/>
              <a:gd name="connsiteY25" fmla="*/ 6678715 h 6785945"/>
              <a:gd name="connsiteX26" fmla="*/ 5087872 w 8497013"/>
              <a:gd name="connsiteY26" fmla="*/ 6665125 h 6785945"/>
              <a:gd name="connsiteX27" fmla="*/ 5066771 w 8497013"/>
              <a:gd name="connsiteY27" fmla="*/ 6638076 h 6785945"/>
              <a:gd name="connsiteX28" fmla="*/ 5059285 w 8497013"/>
              <a:gd name="connsiteY28" fmla="*/ 6593969 h 6785945"/>
              <a:gd name="connsiteX29" fmla="*/ 5067005 w 8497013"/>
              <a:gd name="connsiteY29" fmla="*/ 6551791 h 6785945"/>
              <a:gd name="connsiteX30" fmla="*/ 5088499 w 8497013"/>
              <a:gd name="connsiteY30" fmla="*/ 6525734 h 6785945"/>
              <a:gd name="connsiteX31" fmla="*/ 5121260 w 8497013"/>
              <a:gd name="connsiteY31" fmla="*/ 6512510 h 6785945"/>
              <a:gd name="connsiteX32" fmla="*/ 6674635 w 8497013"/>
              <a:gd name="connsiteY32" fmla="*/ 6508827 h 6785945"/>
              <a:gd name="connsiteX33" fmla="*/ 6881636 w 8497013"/>
              <a:gd name="connsiteY33" fmla="*/ 6508827 h 6785945"/>
              <a:gd name="connsiteX34" fmla="*/ 6881636 w 8497013"/>
              <a:gd name="connsiteY34" fmla="*/ 6682440 h 6785945"/>
              <a:gd name="connsiteX35" fmla="*/ 6674635 w 8497013"/>
              <a:gd name="connsiteY35" fmla="*/ 6682440 h 6785945"/>
              <a:gd name="connsiteX36" fmla="*/ 1511898 w 8497013"/>
              <a:gd name="connsiteY36" fmla="*/ 6358592 h 6785945"/>
              <a:gd name="connsiteX37" fmla="*/ 2416689 w 8497013"/>
              <a:gd name="connsiteY37" fmla="*/ 6358592 h 6785945"/>
              <a:gd name="connsiteX38" fmla="*/ 2416689 w 8497013"/>
              <a:gd name="connsiteY38" fmla="*/ 6465429 h 6785945"/>
              <a:gd name="connsiteX39" fmla="*/ 1511898 w 8497013"/>
              <a:gd name="connsiteY39" fmla="*/ 6465429 h 6785945"/>
              <a:gd name="connsiteX40" fmla="*/ 0 w 8497013"/>
              <a:gd name="connsiteY40" fmla="*/ 6358592 h 6785945"/>
              <a:gd name="connsiteX41" fmla="*/ 904792 w 8497013"/>
              <a:gd name="connsiteY41" fmla="*/ 6358592 h 6785945"/>
              <a:gd name="connsiteX42" fmla="*/ 904792 w 8497013"/>
              <a:gd name="connsiteY42" fmla="*/ 6465429 h 6785945"/>
              <a:gd name="connsiteX43" fmla="*/ 0 w 8497013"/>
              <a:gd name="connsiteY43" fmla="*/ 6465429 h 6785945"/>
              <a:gd name="connsiteX44" fmla="*/ 1511898 w 8497013"/>
              <a:gd name="connsiteY44" fmla="*/ 6009695 h 6785945"/>
              <a:gd name="connsiteX45" fmla="*/ 2416689 w 8497013"/>
              <a:gd name="connsiteY45" fmla="*/ 6009695 h 6785945"/>
              <a:gd name="connsiteX46" fmla="*/ 2416689 w 8497013"/>
              <a:gd name="connsiteY46" fmla="*/ 6116533 h 6785945"/>
              <a:gd name="connsiteX47" fmla="*/ 1511898 w 8497013"/>
              <a:gd name="connsiteY47" fmla="*/ 6116533 h 6785945"/>
              <a:gd name="connsiteX48" fmla="*/ 0 w 8497013"/>
              <a:gd name="connsiteY48" fmla="*/ 6009695 h 6785945"/>
              <a:gd name="connsiteX49" fmla="*/ 904792 w 8497013"/>
              <a:gd name="connsiteY49" fmla="*/ 6009695 h 6785945"/>
              <a:gd name="connsiteX50" fmla="*/ 904792 w 8497013"/>
              <a:gd name="connsiteY50" fmla="*/ 6116533 h 6785945"/>
              <a:gd name="connsiteX51" fmla="*/ 0 w 8497013"/>
              <a:gd name="connsiteY51" fmla="*/ 6116533 h 6785945"/>
              <a:gd name="connsiteX52" fmla="*/ 8393513 w 8497013"/>
              <a:gd name="connsiteY52" fmla="*/ 5807701 h 6785945"/>
              <a:gd name="connsiteX53" fmla="*/ 8435743 w 8497013"/>
              <a:gd name="connsiteY53" fmla="*/ 5811170 h 6785945"/>
              <a:gd name="connsiteX54" fmla="*/ 8468426 w 8497013"/>
              <a:gd name="connsiteY54" fmla="*/ 5824185 h 6785945"/>
              <a:gd name="connsiteX55" fmla="*/ 8489527 w 8497013"/>
              <a:gd name="connsiteY55" fmla="*/ 5850660 h 6785945"/>
              <a:gd name="connsiteX56" fmla="*/ 8497013 w 8497013"/>
              <a:gd name="connsiteY56" fmla="*/ 5894506 h 6785945"/>
              <a:gd name="connsiteX57" fmla="*/ 8489527 w 8497013"/>
              <a:gd name="connsiteY57" fmla="*/ 5936945 h 6785945"/>
              <a:gd name="connsiteX58" fmla="*/ 8468426 w 8497013"/>
              <a:gd name="connsiteY58" fmla="*/ 5963576 h 6785945"/>
              <a:gd name="connsiteX59" fmla="*/ 8435743 w 8497013"/>
              <a:gd name="connsiteY59" fmla="*/ 5977374 h 6785945"/>
              <a:gd name="connsiteX60" fmla="*/ 8393513 w 8497013"/>
              <a:gd name="connsiteY60" fmla="*/ 5981313 h 6785945"/>
              <a:gd name="connsiteX61" fmla="*/ 8352248 w 8497013"/>
              <a:gd name="connsiteY61" fmla="*/ 5977374 h 6785945"/>
              <a:gd name="connsiteX62" fmla="*/ 8320060 w 8497013"/>
              <a:gd name="connsiteY62" fmla="*/ 5963576 h 6785945"/>
              <a:gd name="connsiteX63" fmla="*/ 8299141 w 8497013"/>
              <a:gd name="connsiteY63" fmla="*/ 5936945 h 6785945"/>
              <a:gd name="connsiteX64" fmla="*/ 8291681 w 8497013"/>
              <a:gd name="connsiteY64" fmla="*/ 5894506 h 6785945"/>
              <a:gd name="connsiteX65" fmla="*/ 8299141 w 8497013"/>
              <a:gd name="connsiteY65" fmla="*/ 5850660 h 6785945"/>
              <a:gd name="connsiteX66" fmla="*/ 8320060 w 8497013"/>
              <a:gd name="connsiteY66" fmla="*/ 5824185 h 6785945"/>
              <a:gd name="connsiteX67" fmla="*/ 8352248 w 8497013"/>
              <a:gd name="connsiteY67" fmla="*/ 5811170 h 6785945"/>
              <a:gd name="connsiteX68" fmla="*/ 5162785 w 8497013"/>
              <a:gd name="connsiteY68" fmla="*/ 5807701 h 6785945"/>
              <a:gd name="connsiteX69" fmla="*/ 5205015 w 8497013"/>
              <a:gd name="connsiteY69" fmla="*/ 5811170 h 6785945"/>
              <a:gd name="connsiteX70" fmla="*/ 5237697 w 8497013"/>
              <a:gd name="connsiteY70" fmla="*/ 5824185 h 6785945"/>
              <a:gd name="connsiteX71" fmla="*/ 5258799 w 8497013"/>
              <a:gd name="connsiteY71" fmla="*/ 5850660 h 6785945"/>
              <a:gd name="connsiteX72" fmla="*/ 5266284 w 8497013"/>
              <a:gd name="connsiteY72" fmla="*/ 5894506 h 6785945"/>
              <a:gd name="connsiteX73" fmla="*/ 5258799 w 8497013"/>
              <a:gd name="connsiteY73" fmla="*/ 5936945 h 6785945"/>
              <a:gd name="connsiteX74" fmla="*/ 5237697 w 8497013"/>
              <a:gd name="connsiteY74" fmla="*/ 5963576 h 6785945"/>
              <a:gd name="connsiteX75" fmla="*/ 5205015 w 8497013"/>
              <a:gd name="connsiteY75" fmla="*/ 5977374 h 6785945"/>
              <a:gd name="connsiteX76" fmla="*/ 5162785 w 8497013"/>
              <a:gd name="connsiteY76" fmla="*/ 5981313 h 6785945"/>
              <a:gd name="connsiteX77" fmla="*/ 5121521 w 8497013"/>
              <a:gd name="connsiteY77" fmla="*/ 5977374 h 6785945"/>
              <a:gd name="connsiteX78" fmla="*/ 5089334 w 8497013"/>
              <a:gd name="connsiteY78" fmla="*/ 5963576 h 6785945"/>
              <a:gd name="connsiteX79" fmla="*/ 5068415 w 8497013"/>
              <a:gd name="connsiteY79" fmla="*/ 5936945 h 6785945"/>
              <a:gd name="connsiteX80" fmla="*/ 5060955 w 8497013"/>
              <a:gd name="connsiteY80" fmla="*/ 5894506 h 6785945"/>
              <a:gd name="connsiteX81" fmla="*/ 5068415 w 8497013"/>
              <a:gd name="connsiteY81" fmla="*/ 5850660 h 6785945"/>
              <a:gd name="connsiteX82" fmla="*/ 5089334 w 8497013"/>
              <a:gd name="connsiteY82" fmla="*/ 5824185 h 6785945"/>
              <a:gd name="connsiteX83" fmla="*/ 5121521 w 8497013"/>
              <a:gd name="connsiteY83" fmla="*/ 5811170 h 6785945"/>
              <a:gd name="connsiteX84" fmla="*/ 4008189 w 8497013"/>
              <a:gd name="connsiteY84" fmla="*/ 5487184 h 6785945"/>
              <a:gd name="connsiteX85" fmla="*/ 4061259 w 8497013"/>
              <a:gd name="connsiteY85" fmla="*/ 5489060 h 6785945"/>
              <a:gd name="connsiteX86" fmla="*/ 4110380 w 8497013"/>
              <a:gd name="connsiteY86" fmla="*/ 5494637 h 6785945"/>
              <a:gd name="connsiteX87" fmla="*/ 4155685 w 8497013"/>
              <a:gd name="connsiteY87" fmla="*/ 5503832 h 6785945"/>
              <a:gd name="connsiteX88" fmla="*/ 4197307 w 8497013"/>
              <a:gd name="connsiteY88" fmla="*/ 5516564 h 6785945"/>
              <a:gd name="connsiteX89" fmla="*/ 4235378 w 8497013"/>
              <a:gd name="connsiteY89" fmla="*/ 5532752 h 6785945"/>
              <a:gd name="connsiteX90" fmla="*/ 4270031 w 8497013"/>
              <a:gd name="connsiteY90" fmla="*/ 5552313 h 6785945"/>
              <a:gd name="connsiteX91" fmla="*/ 4301398 w 8497013"/>
              <a:gd name="connsiteY91" fmla="*/ 5575168 h 6785945"/>
              <a:gd name="connsiteX92" fmla="*/ 4329613 w 8497013"/>
              <a:gd name="connsiteY92" fmla="*/ 5601234 h 6785945"/>
              <a:gd name="connsiteX93" fmla="*/ 4354810 w 8497013"/>
              <a:gd name="connsiteY93" fmla="*/ 5630430 h 6785945"/>
              <a:gd name="connsiteX94" fmla="*/ 4377118 w 8497013"/>
              <a:gd name="connsiteY94" fmla="*/ 5662675 h 6785945"/>
              <a:gd name="connsiteX95" fmla="*/ 4396671 w 8497013"/>
              <a:gd name="connsiteY95" fmla="*/ 5697887 h 6785945"/>
              <a:gd name="connsiteX96" fmla="*/ 4413603 w 8497013"/>
              <a:gd name="connsiteY96" fmla="*/ 5735985 h 6785945"/>
              <a:gd name="connsiteX97" fmla="*/ 4428046 w 8497013"/>
              <a:gd name="connsiteY97" fmla="*/ 5776887 h 6785945"/>
              <a:gd name="connsiteX98" fmla="*/ 4440133 w 8497013"/>
              <a:gd name="connsiteY98" fmla="*/ 5820513 h 6785945"/>
              <a:gd name="connsiteX99" fmla="*/ 4449996 w 8497013"/>
              <a:gd name="connsiteY99" fmla="*/ 5866781 h 6785945"/>
              <a:gd name="connsiteX100" fmla="*/ 4457768 w 8497013"/>
              <a:gd name="connsiteY100" fmla="*/ 5915609 h 6785945"/>
              <a:gd name="connsiteX101" fmla="*/ 4463582 w 8497013"/>
              <a:gd name="connsiteY101" fmla="*/ 5966915 h 6785945"/>
              <a:gd name="connsiteX102" fmla="*/ 4467570 w 8497013"/>
              <a:gd name="connsiteY102" fmla="*/ 6020620 h 6785945"/>
              <a:gd name="connsiteX103" fmla="*/ 4469866 w 8497013"/>
              <a:gd name="connsiteY103" fmla="*/ 6076640 h 6785945"/>
              <a:gd name="connsiteX104" fmla="*/ 4470602 w 8497013"/>
              <a:gd name="connsiteY104" fmla="*/ 6134896 h 6785945"/>
              <a:gd name="connsiteX105" fmla="*/ 4469902 w 8497013"/>
              <a:gd name="connsiteY105" fmla="*/ 6193401 h 6785945"/>
              <a:gd name="connsiteX106" fmla="*/ 4467705 w 8497013"/>
              <a:gd name="connsiteY106" fmla="*/ 6249671 h 6785945"/>
              <a:gd name="connsiteX107" fmla="*/ 4463869 w 8497013"/>
              <a:gd name="connsiteY107" fmla="*/ 6303621 h 6785945"/>
              <a:gd name="connsiteX108" fmla="*/ 4458248 w 8497013"/>
              <a:gd name="connsiteY108" fmla="*/ 6355171 h 6785945"/>
              <a:gd name="connsiteX109" fmla="*/ 4450700 w 8497013"/>
              <a:gd name="connsiteY109" fmla="*/ 6404236 h 6785945"/>
              <a:gd name="connsiteX110" fmla="*/ 4441079 w 8497013"/>
              <a:gd name="connsiteY110" fmla="*/ 6450735 h 6785945"/>
              <a:gd name="connsiteX111" fmla="*/ 4429242 w 8497013"/>
              <a:gd name="connsiteY111" fmla="*/ 6494584 h 6785945"/>
              <a:gd name="connsiteX112" fmla="*/ 4415045 w 8497013"/>
              <a:gd name="connsiteY112" fmla="*/ 6535702 h 6785945"/>
              <a:gd name="connsiteX113" fmla="*/ 4398345 w 8497013"/>
              <a:gd name="connsiteY113" fmla="*/ 6574005 h 6785945"/>
              <a:gd name="connsiteX114" fmla="*/ 4378996 w 8497013"/>
              <a:gd name="connsiteY114" fmla="*/ 6609411 h 6785945"/>
              <a:gd name="connsiteX115" fmla="*/ 4356855 w 8497013"/>
              <a:gd name="connsiteY115" fmla="*/ 6641837 h 6785945"/>
              <a:gd name="connsiteX116" fmla="*/ 4331777 w 8497013"/>
              <a:gd name="connsiteY116" fmla="*/ 6671200 h 6785945"/>
              <a:gd name="connsiteX117" fmla="*/ 4303620 w 8497013"/>
              <a:gd name="connsiteY117" fmla="*/ 6697419 h 6785945"/>
              <a:gd name="connsiteX118" fmla="*/ 4272239 w 8497013"/>
              <a:gd name="connsiteY118" fmla="*/ 6720409 h 6785945"/>
              <a:gd name="connsiteX119" fmla="*/ 4237491 w 8497013"/>
              <a:gd name="connsiteY119" fmla="*/ 6740090 h 6785945"/>
              <a:gd name="connsiteX120" fmla="*/ 4199230 w 8497013"/>
              <a:gd name="connsiteY120" fmla="*/ 6756377 h 6785945"/>
              <a:gd name="connsiteX121" fmla="*/ 4157313 w 8497013"/>
              <a:gd name="connsiteY121" fmla="*/ 6769189 h 6785945"/>
              <a:gd name="connsiteX122" fmla="*/ 4111597 w 8497013"/>
              <a:gd name="connsiteY122" fmla="*/ 6778443 h 6785945"/>
              <a:gd name="connsiteX123" fmla="*/ 4061937 w 8497013"/>
              <a:gd name="connsiteY123" fmla="*/ 6784056 h 6785945"/>
              <a:gd name="connsiteX124" fmla="*/ 4008189 w 8497013"/>
              <a:gd name="connsiteY124" fmla="*/ 6785945 h 6785945"/>
              <a:gd name="connsiteX125" fmla="*/ 4008189 w 8497013"/>
              <a:gd name="connsiteY125" fmla="*/ 6689123 h 6785945"/>
              <a:gd name="connsiteX126" fmla="*/ 4057874 w 8497013"/>
              <a:gd name="connsiteY126" fmla="*/ 6686890 h 6785945"/>
              <a:gd name="connsiteX127" fmla="*/ 4102795 w 8497013"/>
              <a:gd name="connsiteY127" fmla="*/ 6680269 h 6785945"/>
              <a:gd name="connsiteX128" fmla="*/ 4143177 w 8497013"/>
              <a:gd name="connsiteY128" fmla="*/ 6669380 h 6785945"/>
              <a:gd name="connsiteX129" fmla="*/ 4179248 w 8497013"/>
              <a:gd name="connsiteY129" fmla="*/ 6654340 h 6785945"/>
              <a:gd name="connsiteX130" fmla="*/ 4239359 w 8497013"/>
              <a:gd name="connsiteY130" fmla="*/ 6612280 h 6785945"/>
              <a:gd name="connsiteX131" fmla="*/ 4284939 w 8497013"/>
              <a:gd name="connsiteY131" fmla="*/ 6555036 h 6785945"/>
              <a:gd name="connsiteX132" fmla="*/ 4302844 w 8497013"/>
              <a:gd name="connsiteY132" fmla="*/ 6521015 h 6785945"/>
              <a:gd name="connsiteX133" fmla="*/ 4317796 w 8497013"/>
              <a:gd name="connsiteY133" fmla="*/ 6483554 h 6785945"/>
              <a:gd name="connsiteX134" fmla="*/ 4330020 w 8497013"/>
              <a:gd name="connsiteY134" fmla="*/ 6442769 h 6785945"/>
              <a:gd name="connsiteX135" fmla="*/ 4339743 w 8497013"/>
              <a:gd name="connsiteY135" fmla="*/ 6398779 h 6785945"/>
              <a:gd name="connsiteX136" fmla="*/ 4347190 w 8497013"/>
              <a:gd name="connsiteY136" fmla="*/ 6351702 h 6785945"/>
              <a:gd name="connsiteX137" fmla="*/ 4352590 w 8497013"/>
              <a:gd name="connsiteY137" fmla="*/ 6301658 h 6785945"/>
              <a:gd name="connsiteX138" fmla="*/ 4356166 w 8497013"/>
              <a:gd name="connsiteY138" fmla="*/ 6248763 h 6785945"/>
              <a:gd name="connsiteX139" fmla="*/ 4358145 w 8497013"/>
              <a:gd name="connsiteY139" fmla="*/ 6193136 h 6785945"/>
              <a:gd name="connsiteX140" fmla="*/ 4358755 w 8497013"/>
              <a:gd name="connsiteY140" fmla="*/ 6134896 h 6785945"/>
              <a:gd name="connsiteX141" fmla="*/ 4358113 w 8497013"/>
              <a:gd name="connsiteY141" fmla="*/ 6077227 h 6785945"/>
              <a:gd name="connsiteX142" fmla="*/ 4356043 w 8497013"/>
              <a:gd name="connsiteY142" fmla="*/ 6022138 h 6785945"/>
              <a:gd name="connsiteX143" fmla="*/ 4352333 w 8497013"/>
              <a:gd name="connsiteY143" fmla="*/ 5969745 h 6785945"/>
              <a:gd name="connsiteX144" fmla="*/ 4346766 w 8497013"/>
              <a:gd name="connsiteY144" fmla="*/ 5920169 h 6785945"/>
              <a:gd name="connsiteX145" fmla="*/ 4339131 w 8497013"/>
              <a:gd name="connsiteY145" fmla="*/ 5873525 h 6785945"/>
              <a:gd name="connsiteX146" fmla="*/ 4329213 w 8497013"/>
              <a:gd name="connsiteY146" fmla="*/ 5829933 h 6785945"/>
              <a:gd name="connsiteX147" fmla="*/ 4316797 w 8497013"/>
              <a:gd name="connsiteY147" fmla="*/ 5789512 h 6785945"/>
              <a:gd name="connsiteX148" fmla="*/ 4301670 w 8497013"/>
              <a:gd name="connsiteY148" fmla="*/ 5752380 h 6785945"/>
              <a:gd name="connsiteX149" fmla="*/ 4283617 w 8497013"/>
              <a:gd name="connsiteY149" fmla="*/ 5718654 h 6785945"/>
              <a:gd name="connsiteX150" fmla="*/ 4237879 w 8497013"/>
              <a:gd name="connsiteY150" fmla="*/ 5661895 h 6785945"/>
              <a:gd name="connsiteX151" fmla="*/ 4177870 w 8497013"/>
              <a:gd name="connsiteY151" fmla="*/ 5620182 h 6785945"/>
              <a:gd name="connsiteX152" fmla="*/ 4141978 w 8497013"/>
              <a:gd name="connsiteY152" fmla="*/ 5605263 h 6785945"/>
              <a:gd name="connsiteX153" fmla="*/ 4101877 w 8497013"/>
              <a:gd name="connsiteY153" fmla="*/ 5594460 h 6785945"/>
              <a:gd name="connsiteX154" fmla="*/ 4057352 w 8497013"/>
              <a:gd name="connsiteY154" fmla="*/ 5587892 h 6785945"/>
              <a:gd name="connsiteX155" fmla="*/ 4008189 w 8497013"/>
              <a:gd name="connsiteY155" fmla="*/ 5585676 h 6785945"/>
              <a:gd name="connsiteX156" fmla="*/ 3491267 w 8497013"/>
              <a:gd name="connsiteY156" fmla="*/ 5487184 h 6785945"/>
              <a:gd name="connsiteX157" fmla="*/ 3491267 w 8497013"/>
              <a:gd name="connsiteY157" fmla="*/ 5585676 h 6785945"/>
              <a:gd name="connsiteX158" fmla="*/ 3442381 w 8497013"/>
              <a:gd name="connsiteY158" fmla="*/ 5587892 h 6785945"/>
              <a:gd name="connsiteX159" fmla="*/ 3398103 w 8497013"/>
              <a:gd name="connsiteY159" fmla="*/ 5594460 h 6785945"/>
              <a:gd name="connsiteX160" fmla="*/ 3358217 w 8497013"/>
              <a:gd name="connsiteY160" fmla="*/ 5605263 h 6785945"/>
              <a:gd name="connsiteX161" fmla="*/ 3322510 w 8497013"/>
              <a:gd name="connsiteY161" fmla="*/ 5620182 h 6785945"/>
              <a:gd name="connsiteX162" fmla="*/ 3262795 w 8497013"/>
              <a:gd name="connsiteY162" fmla="*/ 5661895 h 6785945"/>
              <a:gd name="connsiteX163" fmla="*/ 3217261 w 8497013"/>
              <a:gd name="connsiteY163" fmla="*/ 5718654 h 6785945"/>
              <a:gd name="connsiteX164" fmla="*/ 3199282 w 8497013"/>
              <a:gd name="connsiteY164" fmla="*/ 5752380 h 6785945"/>
              <a:gd name="connsiteX165" fmla="*/ 3184213 w 8497013"/>
              <a:gd name="connsiteY165" fmla="*/ 5789512 h 6785945"/>
              <a:gd name="connsiteX166" fmla="*/ 3171840 w 8497013"/>
              <a:gd name="connsiteY166" fmla="*/ 5829933 h 6785945"/>
              <a:gd name="connsiteX167" fmla="*/ 3161952 w 8497013"/>
              <a:gd name="connsiteY167" fmla="*/ 5873525 h 6785945"/>
              <a:gd name="connsiteX168" fmla="*/ 3154338 w 8497013"/>
              <a:gd name="connsiteY168" fmla="*/ 5920169 h 6785945"/>
              <a:gd name="connsiteX169" fmla="*/ 3148785 w 8497013"/>
              <a:gd name="connsiteY169" fmla="*/ 5969745 h 6785945"/>
              <a:gd name="connsiteX170" fmla="*/ 3145081 w 8497013"/>
              <a:gd name="connsiteY170" fmla="*/ 6022138 h 6785945"/>
              <a:gd name="connsiteX171" fmla="*/ 3143014 w 8497013"/>
              <a:gd name="connsiteY171" fmla="*/ 6077227 h 6785945"/>
              <a:gd name="connsiteX172" fmla="*/ 3142372 w 8497013"/>
              <a:gd name="connsiteY172" fmla="*/ 6134896 h 6785945"/>
              <a:gd name="connsiteX173" fmla="*/ 3142997 w 8497013"/>
              <a:gd name="connsiteY173" fmla="*/ 6193136 h 6785945"/>
              <a:gd name="connsiteX174" fmla="*/ 3145020 w 8497013"/>
              <a:gd name="connsiteY174" fmla="*/ 6248763 h 6785945"/>
              <a:gd name="connsiteX175" fmla="*/ 3148657 w 8497013"/>
              <a:gd name="connsiteY175" fmla="*/ 6301658 h 6785945"/>
              <a:gd name="connsiteX176" fmla="*/ 3154126 w 8497013"/>
              <a:gd name="connsiteY176" fmla="*/ 6351702 h 6785945"/>
              <a:gd name="connsiteX177" fmla="*/ 3161647 w 8497013"/>
              <a:gd name="connsiteY177" fmla="*/ 6398779 h 6785945"/>
              <a:gd name="connsiteX178" fmla="*/ 3171437 w 8497013"/>
              <a:gd name="connsiteY178" fmla="*/ 6442769 h 6785945"/>
              <a:gd name="connsiteX179" fmla="*/ 3183713 w 8497013"/>
              <a:gd name="connsiteY179" fmla="*/ 6483554 h 6785945"/>
              <a:gd name="connsiteX180" fmla="*/ 3198695 w 8497013"/>
              <a:gd name="connsiteY180" fmla="*/ 6521015 h 6785945"/>
              <a:gd name="connsiteX181" fmla="*/ 3216602 w 8497013"/>
              <a:gd name="connsiteY181" fmla="*/ 6555036 h 6785945"/>
              <a:gd name="connsiteX182" fmla="*/ 3262055 w 8497013"/>
              <a:gd name="connsiteY182" fmla="*/ 6612280 h 6785945"/>
              <a:gd name="connsiteX183" fmla="*/ 3321821 w 8497013"/>
              <a:gd name="connsiteY183" fmla="*/ 6654340 h 6785945"/>
              <a:gd name="connsiteX184" fmla="*/ 3357617 w 8497013"/>
              <a:gd name="connsiteY184" fmla="*/ 6669380 h 6785945"/>
              <a:gd name="connsiteX185" fmla="*/ 3397644 w 8497013"/>
              <a:gd name="connsiteY185" fmla="*/ 6680269 h 6785945"/>
              <a:gd name="connsiteX186" fmla="*/ 3442120 w 8497013"/>
              <a:gd name="connsiteY186" fmla="*/ 6686890 h 6785945"/>
              <a:gd name="connsiteX187" fmla="*/ 3491267 w 8497013"/>
              <a:gd name="connsiteY187" fmla="*/ 6689123 h 6785945"/>
              <a:gd name="connsiteX188" fmla="*/ 3491267 w 8497013"/>
              <a:gd name="connsiteY188" fmla="*/ 6785945 h 6785945"/>
              <a:gd name="connsiteX189" fmla="*/ 3437744 w 8497013"/>
              <a:gd name="connsiteY189" fmla="*/ 6784056 h 6785945"/>
              <a:gd name="connsiteX190" fmla="*/ 3388267 w 8497013"/>
              <a:gd name="connsiteY190" fmla="*/ 6778443 h 6785945"/>
              <a:gd name="connsiteX191" fmla="*/ 3342687 w 8497013"/>
              <a:gd name="connsiteY191" fmla="*/ 6769189 h 6785945"/>
              <a:gd name="connsiteX192" fmla="*/ 3300868 w 8497013"/>
              <a:gd name="connsiteY192" fmla="*/ 6756377 h 6785945"/>
              <a:gd name="connsiteX193" fmla="*/ 3262672 w 8497013"/>
              <a:gd name="connsiteY193" fmla="*/ 6740090 h 6785945"/>
              <a:gd name="connsiteX194" fmla="*/ 3227954 w 8497013"/>
              <a:gd name="connsiteY194" fmla="*/ 6720409 h 6785945"/>
              <a:gd name="connsiteX195" fmla="*/ 3196577 w 8497013"/>
              <a:gd name="connsiteY195" fmla="*/ 6697419 h 6785945"/>
              <a:gd name="connsiteX196" fmla="*/ 3168401 w 8497013"/>
              <a:gd name="connsiteY196" fmla="*/ 6671200 h 6785945"/>
              <a:gd name="connsiteX197" fmla="*/ 3143286 w 8497013"/>
              <a:gd name="connsiteY197" fmla="*/ 6641837 h 6785945"/>
              <a:gd name="connsiteX198" fmla="*/ 3121088 w 8497013"/>
              <a:gd name="connsiteY198" fmla="*/ 6609411 h 6785945"/>
              <a:gd name="connsiteX199" fmla="*/ 3101671 w 8497013"/>
              <a:gd name="connsiteY199" fmla="*/ 6574005 h 6785945"/>
              <a:gd name="connsiteX200" fmla="*/ 3084893 w 8497013"/>
              <a:gd name="connsiteY200" fmla="*/ 6535702 h 6785945"/>
              <a:gd name="connsiteX201" fmla="*/ 3070614 w 8497013"/>
              <a:gd name="connsiteY201" fmla="*/ 6494584 h 6785945"/>
              <a:gd name="connsiteX202" fmla="*/ 3058694 w 8497013"/>
              <a:gd name="connsiteY202" fmla="*/ 6450735 h 6785945"/>
              <a:gd name="connsiteX203" fmla="*/ 3048993 w 8497013"/>
              <a:gd name="connsiteY203" fmla="*/ 6404236 h 6785945"/>
              <a:gd name="connsiteX204" fmla="*/ 3041370 w 8497013"/>
              <a:gd name="connsiteY204" fmla="*/ 6355171 h 6785945"/>
              <a:gd name="connsiteX205" fmla="*/ 3035685 w 8497013"/>
              <a:gd name="connsiteY205" fmla="*/ 6303621 h 6785945"/>
              <a:gd name="connsiteX206" fmla="*/ 3031798 w 8497013"/>
              <a:gd name="connsiteY206" fmla="*/ 6249671 h 6785945"/>
              <a:gd name="connsiteX207" fmla="*/ 3029568 w 8497013"/>
              <a:gd name="connsiteY207" fmla="*/ 6193401 h 6785945"/>
              <a:gd name="connsiteX208" fmla="*/ 3028857 w 8497013"/>
              <a:gd name="connsiteY208" fmla="*/ 6134896 h 6785945"/>
              <a:gd name="connsiteX209" fmla="*/ 3029592 w 8497013"/>
              <a:gd name="connsiteY209" fmla="*/ 6076640 h 6785945"/>
              <a:gd name="connsiteX210" fmla="*/ 3031888 w 8497013"/>
              <a:gd name="connsiteY210" fmla="*/ 6020620 h 6785945"/>
              <a:gd name="connsiteX211" fmla="*/ 3035877 w 8497013"/>
              <a:gd name="connsiteY211" fmla="*/ 5966915 h 6785945"/>
              <a:gd name="connsiteX212" fmla="*/ 3041690 w 8497013"/>
              <a:gd name="connsiteY212" fmla="*/ 5915609 h 6785945"/>
              <a:gd name="connsiteX213" fmla="*/ 3049463 w 8497013"/>
              <a:gd name="connsiteY213" fmla="*/ 5866781 h 6785945"/>
              <a:gd name="connsiteX214" fmla="*/ 3059326 w 8497013"/>
              <a:gd name="connsiteY214" fmla="*/ 5820513 h 6785945"/>
              <a:gd name="connsiteX215" fmla="*/ 3071412 w 8497013"/>
              <a:gd name="connsiteY215" fmla="*/ 5776887 h 6785945"/>
              <a:gd name="connsiteX216" fmla="*/ 3085855 w 8497013"/>
              <a:gd name="connsiteY216" fmla="*/ 5735985 h 6785945"/>
              <a:gd name="connsiteX217" fmla="*/ 3102787 w 8497013"/>
              <a:gd name="connsiteY217" fmla="*/ 5697887 h 6785945"/>
              <a:gd name="connsiteX218" fmla="*/ 3122341 w 8497013"/>
              <a:gd name="connsiteY218" fmla="*/ 5662675 h 6785945"/>
              <a:gd name="connsiteX219" fmla="*/ 3144649 w 8497013"/>
              <a:gd name="connsiteY219" fmla="*/ 5630430 h 6785945"/>
              <a:gd name="connsiteX220" fmla="*/ 3169844 w 8497013"/>
              <a:gd name="connsiteY220" fmla="*/ 5601234 h 6785945"/>
              <a:gd name="connsiteX221" fmla="*/ 3198060 w 8497013"/>
              <a:gd name="connsiteY221" fmla="*/ 5575168 h 6785945"/>
              <a:gd name="connsiteX222" fmla="*/ 3229427 w 8497013"/>
              <a:gd name="connsiteY222" fmla="*/ 5552313 h 6785945"/>
              <a:gd name="connsiteX223" fmla="*/ 3264079 w 8497013"/>
              <a:gd name="connsiteY223" fmla="*/ 5532752 h 6785945"/>
              <a:gd name="connsiteX224" fmla="*/ 3302151 w 8497013"/>
              <a:gd name="connsiteY224" fmla="*/ 5516564 h 6785945"/>
              <a:gd name="connsiteX225" fmla="*/ 3343773 w 8497013"/>
              <a:gd name="connsiteY225" fmla="*/ 5503832 h 6785945"/>
              <a:gd name="connsiteX226" fmla="*/ 3389078 w 8497013"/>
              <a:gd name="connsiteY226" fmla="*/ 5494637 h 6785945"/>
              <a:gd name="connsiteX227" fmla="*/ 3438196 w 8497013"/>
              <a:gd name="connsiteY227" fmla="*/ 5489060 h 6785945"/>
              <a:gd name="connsiteX228" fmla="*/ 5569411 w 8497013"/>
              <a:gd name="connsiteY228" fmla="*/ 5006403 h 6785945"/>
              <a:gd name="connsiteX229" fmla="*/ 5611640 w 8497013"/>
              <a:gd name="connsiteY229" fmla="*/ 5010081 h 6785945"/>
              <a:gd name="connsiteX230" fmla="*/ 5644323 w 8497013"/>
              <a:gd name="connsiteY230" fmla="*/ 5023305 h 6785945"/>
              <a:gd name="connsiteX231" fmla="*/ 5665424 w 8497013"/>
              <a:gd name="connsiteY231" fmla="*/ 5049363 h 6785945"/>
              <a:gd name="connsiteX232" fmla="*/ 5672910 w 8497013"/>
              <a:gd name="connsiteY232" fmla="*/ 5091541 h 6785945"/>
              <a:gd name="connsiteX233" fmla="*/ 5665424 w 8497013"/>
              <a:gd name="connsiteY233" fmla="*/ 5135648 h 6785945"/>
              <a:gd name="connsiteX234" fmla="*/ 5644323 w 8497013"/>
              <a:gd name="connsiteY234" fmla="*/ 5162697 h 6785945"/>
              <a:gd name="connsiteX235" fmla="*/ 5611640 w 8497013"/>
              <a:gd name="connsiteY235" fmla="*/ 5176287 h 6785945"/>
              <a:gd name="connsiteX236" fmla="*/ 5569411 w 8497013"/>
              <a:gd name="connsiteY236" fmla="*/ 5180017 h 6785945"/>
              <a:gd name="connsiteX237" fmla="*/ 5527181 w 8497013"/>
              <a:gd name="connsiteY237" fmla="*/ 5176287 h 6785945"/>
              <a:gd name="connsiteX238" fmla="*/ 5494498 w 8497013"/>
              <a:gd name="connsiteY238" fmla="*/ 5162697 h 6785945"/>
              <a:gd name="connsiteX239" fmla="*/ 5473397 w 8497013"/>
              <a:gd name="connsiteY239" fmla="*/ 5135648 h 6785945"/>
              <a:gd name="connsiteX240" fmla="*/ 5465911 w 8497013"/>
              <a:gd name="connsiteY240" fmla="*/ 5091541 h 6785945"/>
              <a:gd name="connsiteX241" fmla="*/ 5473631 w 8497013"/>
              <a:gd name="connsiteY241" fmla="*/ 5049363 h 6785945"/>
              <a:gd name="connsiteX242" fmla="*/ 5495125 w 8497013"/>
              <a:gd name="connsiteY242" fmla="*/ 5023305 h 6785945"/>
              <a:gd name="connsiteX243" fmla="*/ 5527886 w 8497013"/>
              <a:gd name="connsiteY243" fmla="*/ 5010081 h 6785945"/>
              <a:gd name="connsiteX244" fmla="*/ 4804116 w 8497013"/>
              <a:gd name="connsiteY244" fmla="*/ 5006403 h 6785945"/>
              <a:gd name="connsiteX245" fmla="*/ 4846346 w 8497013"/>
              <a:gd name="connsiteY245" fmla="*/ 5010081 h 6785945"/>
              <a:gd name="connsiteX246" fmla="*/ 4879028 w 8497013"/>
              <a:gd name="connsiteY246" fmla="*/ 5023305 h 6785945"/>
              <a:gd name="connsiteX247" fmla="*/ 4900130 w 8497013"/>
              <a:gd name="connsiteY247" fmla="*/ 5049363 h 6785945"/>
              <a:gd name="connsiteX248" fmla="*/ 4907615 w 8497013"/>
              <a:gd name="connsiteY248" fmla="*/ 5091541 h 6785945"/>
              <a:gd name="connsiteX249" fmla="*/ 4900130 w 8497013"/>
              <a:gd name="connsiteY249" fmla="*/ 5135648 h 6785945"/>
              <a:gd name="connsiteX250" fmla="*/ 4879028 w 8497013"/>
              <a:gd name="connsiteY250" fmla="*/ 5162697 h 6785945"/>
              <a:gd name="connsiteX251" fmla="*/ 4846346 w 8497013"/>
              <a:gd name="connsiteY251" fmla="*/ 5176287 h 6785945"/>
              <a:gd name="connsiteX252" fmla="*/ 4804116 w 8497013"/>
              <a:gd name="connsiteY252" fmla="*/ 5180017 h 6785945"/>
              <a:gd name="connsiteX253" fmla="*/ 4761886 w 8497013"/>
              <a:gd name="connsiteY253" fmla="*/ 5176287 h 6785945"/>
              <a:gd name="connsiteX254" fmla="*/ 4729203 w 8497013"/>
              <a:gd name="connsiteY254" fmla="*/ 5162697 h 6785945"/>
              <a:gd name="connsiteX255" fmla="*/ 4708102 w 8497013"/>
              <a:gd name="connsiteY255" fmla="*/ 5135648 h 6785945"/>
              <a:gd name="connsiteX256" fmla="*/ 4700616 w 8497013"/>
              <a:gd name="connsiteY256" fmla="*/ 5091541 h 6785945"/>
              <a:gd name="connsiteX257" fmla="*/ 4708336 w 8497013"/>
              <a:gd name="connsiteY257" fmla="*/ 5049363 h 6785945"/>
              <a:gd name="connsiteX258" fmla="*/ 4729830 w 8497013"/>
              <a:gd name="connsiteY258" fmla="*/ 5023305 h 6785945"/>
              <a:gd name="connsiteX259" fmla="*/ 4762591 w 8497013"/>
              <a:gd name="connsiteY259" fmla="*/ 5010081 h 6785945"/>
              <a:gd name="connsiteX260" fmla="*/ 2787004 w 8497013"/>
              <a:gd name="connsiteY260" fmla="*/ 4856173 h 6785945"/>
              <a:gd name="connsiteX261" fmla="*/ 3691793 w 8497013"/>
              <a:gd name="connsiteY261" fmla="*/ 4856173 h 6785945"/>
              <a:gd name="connsiteX262" fmla="*/ 3691793 w 8497013"/>
              <a:gd name="connsiteY262" fmla="*/ 4963011 h 6785945"/>
              <a:gd name="connsiteX263" fmla="*/ 2787004 w 8497013"/>
              <a:gd name="connsiteY263" fmla="*/ 4963011 h 6785945"/>
              <a:gd name="connsiteX264" fmla="*/ 1275095 w 8497013"/>
              <a:gd name="connsiteY264" fmla="*/ 4856173 h 6785945"/>
              <a:gd name="connsiteX265" fmla="*/ 2179887 w 8497013"/>
              <a:gd name="connsiteY265" fmla="*/ 4856173 h 6785945"/>
              <a:gd name="connsiteX266" fmla="*/ 2179887 w 8497013"/>
              <a:gd name="connsiteY266" fmla="*/ 4963011 h 6785945"/>
              <a:gd name="connsiteX267" fmla="*/ 1275095 w 8497013"/>
              <a:gd name="connsiteY267" fmla="*/ 4963011 h 6785945"/>
              <a:gd name="connsiteX268" fmla="*/ 2787004 w 8497013"/>
              <a:gd name="connsiteY268" fmla="*/ 4507276 h 6785945"/>
              <a:gd name="connsiteX269" fmla="*/ 3691793 w 8497013"/>
              <a:gd name="connsiteY269" fmla="*/ 4507276 h 6785945"/>
              <a:gd name="connsiteX270" fmla="*/ 3691793 w 8497013"/>
              <a:gd name="connsiteY270" fmla="*/ 4614114 h 6785945"/>
              <a:gd name="connsiteX271" fmla="*/ 2787004 w 8497013"/>
              <a:gd name="connsiteY271" fmla="*/ 4614114 h 6785945"/>
              <a:gd name="connsiteX272" fmla="*/ 1275095 w 8497013"/>
              <a:gd name="connsiteY272" fmla="*/ 4507276 h 6785945"/>
              <a:gd name="connsiteX273" fmla="*/ 2179887 w 8497013"/>
              <a:gd name="connsiteY273" fmla="*/ 4507276 h 6785945"/>
              <a:gd name="connsiteX274" fmla="*/ 2179887 w 8497013"/>
              <a:gd name="connsiteY274" fmla="*/ 4614114 h 6785945"/>
              <a:gd name="connsiteX275" fmla="*/ 1275095 w 8497013"/>
              <a:gd name="connsiteY275" fmla="*/ 4614114 h 6785945"/>
              <a:gd name="connsiteX276" fmla="*/ 5569411 w 8497013"/>
              <a:gd name="connsiteY276" fmla="*/ 4305272 h 6785945"/>
              <a:gd name="connsiteX277" fmla="*/ 5611640 w 8497013"/>
              <a:gd name="connsiteY277" fmla="*/ 4308741 h 6785945"/>
              <a:gd name="connsiteX278" fmla="*/ 5644323 w 8497013"/>
              <a:gd name="connsiteY278" fmla="*/ 4321757 h 6785945"/>
              <a:gd name="connsiteX279" fmla="*/ 5665424 w 8497013"/>
              <a:gd name="connsiteY279" fmla="*/ 4348232 h 6785945"/>
              <a:gd name="connsiteX280" fmla="*/ 5672910 w 8497013"/>
              <a:gd name="connsiteY280" fmla="*/ 4392078 h 6785945"/>
              <a:gd name="connsiteX281" fmla="*/ 5665424 w 8497013"/>
              <a:gd name="connsiteY281" fmla="*/ 4434517 h 6785945"/>
              <a:gd name="connsiteX282" fmla="*/ 5644323 w 8497013"/>
              <a:gd name="connsiteY282" fmla="*/ 4461148 h 6785945"/>
              <a:gd name="connsiteX283" fmla="*/ 5611640 w 8497013"/>
              <a:gd name="connsiteY283" fmla="*/ 4474946 h 6785945"/>
              <a:gd name="connsiteX284" fmla="*/ 5569411 w 8497013"/>
              <a:gd name="connsiteY284" fmla="*/ 4478885 h 6785945"/>
              <a:gd name="connsiteX285" fmla="*/ 5528147 w 8497013"/>
              <a:gd name="connsiteY285" fmla="*/ 4474946 h 6785945"/>
              <a:gd name="connsiteX286" fmla="*/ 5495959 w 8497013"/>
              <a:gd name="connsiteY286" fmla="*/ 4461148 h 6785945"/>
              <a:gd name="connsiteX287" fmla="*/ 5475040 w 8497013"/>
              <a:gd name="connsiteY287" fmla="*/ 4434517 h 6785945"/>
              <a:gd name="connsiteX288" fmla="*/ 5467580 w 8497013"/>
              <a:gd name="connsiteY288" fmla="*/ 4392078 h 6785945"/>
              <a:gd name="connsiteX289" fmla="*/ 5475040 w 8497013"/>
              <a:gd name="connsiteY289" fmla="*/ 4348232 h 6785945"/>
              <a:gd name="connsiteX290" fmla="*/ 5495959 w 8497013"/>
              <a:gd name="connsiteY290" fmla="*/ 4321757 h 6785945"/>
              <a:gd name="connsiteX291" fmla="*/ 5528147 w 8497013"/>
              <a:gd name="connsiteY291" fmla="*/ 4308741 h 6785945"/>
              <a:gd name="connsiteX292" fmla="*/ 4804116 w 8497013"/>
              <a:gd name="connsiteY292" fmla="*/ 4305272 h 6785945"/>
              <a:gd name="connsiteX293" fmla="*/ 4846346 w 8497013"/>
              <a:gd name="connsiteY293" fmla="*/ 4308741 h 6785945"/>
              <a:gd name="connsiteX294" fmla="*/ 4879028 w 8497013"/>
              <a:gd name="connsiteY294" fmla="*/ 4321757 h 6785945"/>
              <a:gd name="connsiteX295" fmla="*/ 4900130 w 8497013"/>
              <a:gd name="connsiteY295" fmla="*/ 4348232 h 6785945"/>
              <a:gd name="connsiteX296" fmla="*/ 4907615 w 8497013"/>
              <a:gd name="connsiteY296" fmla="*/ 4392078 h 6785945"/>
              <a:gd name="connsiteX297" fmla="*/ 4900130 w 8497013"/>
              <a:gd name="connsiteY297" fmla="*/ 4434517 h 6785945"/>
              <a:gd name="connsiteX298" fmla="*/ 4879028 w 8497013"/>
              <a:gd name="connsiteY298" fmla="*/ 4461148 h 6785945"/>
              <a:gd name="connsiteX299" fmla="*/ 4846346 w 8497013"/>
              <a:gd name="connsiteY299" fmla="*/ 4474946 h 6785945"/>
              <a:gd name="connsiteX300" fmla="*/ 4804116 w 8497013"/>
              <a:gd name="connsiteY300" fmla="*/ 4478885 h 6785945"/>
              <a:gd name="connsiteX301" fmla="*/ 4762852 w 8497013"/>
              <a:gd name="connsiteY301" fmla="*/ 4474946 h 6785945"/>
              <a:gd name="connsiteX302" fmla="*/ 4730664 w 8497013"/>
              <a:gd name="connsiteY302" fmla="*/ 4461148 h 6785945"/>
              <a:gd name="connsiteX303" fmla="*/ 4709745 w 8497013"/>
              <a:gd name="connsiteY303" fmla="*/ 4434517 h 6785945"/>
              <a:gd name="connsiteX304" fmla="*/ 4702285 w 8497013"/>
              <a:gd name="connsiteY304" fmla="*/ 4392078 h 6785945"/>
              <a:gd name="connsiteX305" fmla="*/ 4709745 w 8497013"/>
              <a:gd name="connsiteY305" fmla="*/ 4348232 h 6785945"/>
              <a:gd name="connsiteX306" fmla="*/ 4730664 w 8497013"/>
              <a:gd name="connsiteY306" fmla="*/ 4321757 h 6785945"/>
              <a:gd name="connsiteX307" fmla="*/ 4762852 w 8497013"/>
              <a:gd name="connsiteY307" fmla="*/ 4308741 h 6785945"/>
              <a:gd name="connsiteX308" fmla="*/ 7712987 w 8497013"/>
              <a:gd name="connsiteY308" fmla="*/ 3503986 h 6785945"/>
              <a:gd name="connsiteX309" fmla="*/ 7763122 w 8497013"/>
              <a:gd name="connsiteY309" fmla="*/ 3509568 h 6785945"/>
              <a:gd name="connsiteX310" fmla="*/ 7795147 w 8497013"/>
              <a:gd name="connsiteY310" fmla="*/ 3526208 h 6785945"/>
              <a:gd name="connsiteX311" fmla="*/ 7811787 w 8497013"/>
              <a:gd name="connsiteY311" fmla="*/ 3553746 h 6785945"/>
              <a:gd name="connsiteX312" fmla="*/ 7815767 w 8497013"/>
              <a:gd name="connsiteY312" fmla="*/ 3592021 h 6785945"/>
              <a:gd name="connsiteX313" fmla="*/ 7809810 w 8497013"/>
              <a:gd name="connsiteY313" fmla="*/ 3640873 h 6785945"/>
              <a:gd name="connsiteX314" fmla="*/ 7763068 w 8497013"/>
              <a:gd name="connsiteY314" fmla="*/ 3887939 h 6785945"/>
              <a:gd name="connsiteX315" fmla="*/ 7682939 w 8497013"/>
              <a:gd name="connsiteY315" fmla="*/ 3887939 h 6785945"/>
              <a:gd name="connsiteX316" fmla="*/ 7709648 w 8497013"/>
              <a:gd name="connsiteY316" fmla="*/ 3677600 h 6785945"/>
              <a:gd name="connsiteX317" fmla="*/ 7668644 w 8497013"/>
              <a:gd name="connsiteY317" fmla="*/ 3673635 h 6785945"/>
              <a:gd name="connsiteX318" fmla="*/ 7637031 w 8497013"/>
              <a:gd name="connsiteY318" fmla="*/ 3659654 h 6785945"/>
              <a:gd name="connsiteX319" fmla="*/ 7616686 w 8497013"/>
              <a:gd name="connsiteY319" fmla="*/ 3632527 h 6785945"/>
              <a:gd name="connsiteX320" fmla="*/ 7609487 w 8497013"/>
              <a:gd name="connsiteY320" fmla="*/ 3589124 h 6785945"/>
              <a:gd name="connsiteX321" fmla="*/ 7617207 w 8497013"/>
              <a:gd name="connsiteY321" fmla="*/ 3546946 h 6785945"/>
              <a:gd name="connsiteX322" fmla="*/ 7638700 w 8497013"/>
              <a:gd name="connsiteY322" fmla="*/ 3520888 h 6785945"/>
              <a:gd name="connsiteX323" fmla="*/ 7671461 w 8497013"/>
              <a:gd name="connsiteY323" fmla="*/ 3507664 h 6785945"/>
              <a:gd name="connsiteX324" fmla="*/ 4062097 w 8497013"/>
              <a:gd name="connsiteY324" fmla="*/ 3353744 h 6785945"/>
              <a:gd name="connsiteX325" fmla="*/ 4966889 w 8497013"/>
              <a:gd name="connsiteY325" fmla="*/ 3353744 h 6785945"/>
              <a:gd name="connsiteX326" fmla="*/ 4966889 w 8497013"/>
              <a:gd name="connsiteY326" fmla="*/ 3460582 h 6785945"/>
              <a:gd name="connsiteX327" fmla="*/ 4062097 w 8497013"/>
              <a:gd name="connsiteY327" fmla="*/ 3460582 h 6785945"/>
              <a:gd name="connsiteX328" fmla="*/ 2550201 w 8497013"/>
              <a:gd name="connsiteY328" fmla="*/ 3353744 h 6785945"/>
              <a:gd name="connsiteX329" fmla="*/ 3454992 w 8497013"/>
              <a:gd name="connsiteY329" fmla="*/ 3353744 h 6785945"/>
              <a:gd name="connsiteX330" fmla="*/ 3454992 w 8497013"/>
              <a:gd name="connsiteY330" fmla="*/ 3460582 h 6785945"/>
              <a:gd name="connsiteX331" fmla="*/ 2550201 w 8497013"/>
              <a:gd name="connsiteY331" fmla="*/ 3460582 h 6785945"/>
              <a:gd name="connsiteX332" fmla="*/ 4062097 w 8497013"/>
              <a:gd name="connsiteY332" fmla="*/ 3004848 h 6785945"/>
              <a:gd name="connsiteX333" fmla="*/ 4966889 w 8497013"/>
              <a:gd name="connsiteY333" fmla="*/ 3004848 h 6785945"/>
              <a:gd name="connsiteX334" fmla="*/ 4966889 w 8497013"/>
              <a:gd name="connsiteY334" fmla="*/ 3111686 h 6785945"/>
              <a:gd name="connsiteX335" fmla="*/ 4062097 w 8497013"/>
              <a:gd name="connsiteY335" fmla="*/ 3111686 h 6785945"/>
              <a:gd name="connsiteX336" fmla="*/ 2550201 w 8497013"/>
              <a:gd name="connsiteY336" fmla="*/ 3004848 h 6785945"/>
              <a:gd name="connsiteX337" fmla="*/ 3454992 w 8497013"/>
              <a:gd name="connsiteY337" fmla="*/ 3004848 h 6785945"/>
              <a:gd name="connsiteX338" fmla="*/ 3454992 w 8497013"/>
              <a:gd name="connsiteY338" fmla="*/ 3111686 h 6785945"/>
              <a:gd name="connsiteX339" fmla="*/ 2550201 w 8497013"/>
              <a:gd name="connsiteY339" fmla="*/ 3111686 h 6785945"/>
              <a:gd name="connsiteX340" fmla="*/ 7712987 w 8497013"/>
              <a:gd name="connsiteY340" fmla="*/ 2802855 h 6785945"/>
              <a:gd name="connsiteX341" fmla="*/ 7755217 w 8497013"/>
              <a:gd name="connsiteY341" fmla="*/ 2806324 h 6785945"/>
              <a:gd name="connsiteX342" fmla="*/ 7787900 w 8497013"/>
              <a:gd name="connsiteY342" fmla="*/ 2819339 h 6785945"/>
              <a:gd name="connsiteX343" fmla="*/ 7809002 w 8497013"/>
              <a:gd name="connsiteY343" fmla="*/ 2845814 h 6785945"/>
              <a:gd name="connsiteX344" fmla="*/ 7816489 w 8497013"/>
              <a:gd name="connsiteY344" fmla="*/ 2889661 h 6785945"/>
              <a:gd name="connsiteX345" fmla="*/ 7809002 w 8497013"/>
              <a:gd name="connsiteY345" fmla="*/ 2932099 h 6785945"/>
              <a:gd name="connsiteX346" fmla="*/ 7787900 w 8497013"/>
              <a:gd name="connsiteY346" fmla="*/ 2958731 h 6785945"/>
              <a:gd name="connsiteX347" fmla="*/ 7755217 w 8497013"/>
              <a:gd name="connsiteY347" fmla="*/ 2972529 h 6785945"/>
              <a:gd name="connsiteX348" fmla="*/ 7712987 w 8497013"/>
              <a:gd name="connsiteY348" fmla="*/ 2976468 h 6785945"/>
              <a:gd name="connsiteX349" fmla="*/ 7671722 w 8497013"/>
              <a:gd name="connsiteY349" fmla="*/ 2972529 h 6785945"/>
              <a:gd name="connsiteX350" fmla="*/ 7639535 w 8497013"/>
              <a:gd name="connsiteY350" fmla="*/ 2958731 h 6785945"/>
              <a:gd name="connsiteX351" fmla="*/ 7618615 w 8497013"/>
              <a:gd name="connsiteY351" fmla="*/ 2932099 h 6785945"/>
              <a:gd name="connsiteX352" fmla="*/ 7611156 w 8497013"/>
              <a:gd name="connsiteY352" fmla="*/ 2889661 h 6785945"/>
              <a:gd name="connsiteX353" fmla="*/ 7618615 w 8497013"/>
              <a:gd name="connsiteY353" fmla="*/ 2845814 h 6785945"/>
              <a:gd name="connsiteX354" fmla="*/ 7639535 w 8497013"/>
              <a:gd name="connsiteY354" fmla="*/ 2819339 h 6785945"/>
              <a:gd name="connsiteX355" fmla="*/ 7671722 w 8497013"/>
              <a:gd name="connsiteY355" fmla="*/ 2806324 h 6785945"/>
              <a:gd name="connsiteX356" fmla="*/ 6558381 w 8497013"/>
              <a:gd name="connsiteY356" fmla="*/ 2482346 h 6785945"/>
              <a:gd name="connsiteX357" fmla="*/ 6611451 w 8497013"/>
              <a:gd name="connsiteY357" fmla="*/ 2484222 h 6785945"/>
              <a:gd name="connsiteX358" fmla="*/ 6660572 w 8497013"/>
              <a:gd name="connsiteY358" fmla="*/ 2489799 h 6785945"/>
              <a:gd name="connsiteX359" fmla="*/ 6705877 w 8497013"/>
              <a:gd name="connsiteY359" fmla="*/ 2498994 h 6785945"/>
              <a:gd name="connsiteX360" fmla="*/ 6747499 w 8497013"/>
              <a:gd name="connsiteY360" fmla="*/ 2511726 h 6785945"/>
              <a:gd name="connsiteX361" fmla="*/ 6785570 w 8497013"/>
              <a:gd name="connsiteY361" fmla="*/ 2527914 h 6785945"/>
              <a:gd name="connsiteX362" fmla="*/ 6820223 w 8497013"/>
              <a:gd name="connsiteY362" fmla="*/ 2547475 h 6785945"/>
              <a:gd name="connsiteX363" fmla="*/ 6851590 w 8497013"/>
              <a:gd name="connsiteY363" fmla="*/ 2570330 h 6785945"/>
              <a:gd name="connsiteX364" fmla="*/ 6879805 w 8497013"/>
              <a:gd name="connsiteY364" fmla="*/ 2596396 h 6785945"/>
              <a:gd name="connsiteX365" fmla="*/ 6905001 w 8497013"/>
              <a:gd name="connsiteY365" fmla="*/ 2625592 h 6785945"/>
              <a:gd name="connsiteX366" fmla="*/ 6927309 w 8497013"/>
              <a:gd name="connsiteY366" fmla="*/ 2657837 h 6785945"/>
              <a:gd name="connsiteX367" fmla="*/ 6946862 w 8497013"/>
              <a:gd name="connsiteY367" fmla="*/ 2693049 h 6785945"/>
              <a:gd name="connsiteX368" fmla="*/ 6963794 w 8497013"/>
              <a:gd name="connsiteY368" fmla="*/ 2731147 h 6785945"/>
              <a:gd name="connsiteX369" fmla="*/ 6978237 w 8497013"/>
              <a:gd name="connsiteY369" fmla="*/ 2772049 h 6785945"/>
              <a:gd name="connsiteX370" fmla="*/ 6990324 w 8497013"/>
              <a:gd name="connsiteY370" fmla="*/ 2815675 h 6785945"/>
              <a:gd name="connsiteX371" fmla="*/ 7000187 w 8497013"/>
              <a:gd name="connsiteY371" fmla="*/ 2861942 h 6785945"/>
              <a:gd name="connsiteX372" fmla="*/ 7007959 w 8497013"/>
              <a:gd name="connsiteY372" fmla="*/ 2910770 h 6785945"/>
              <a:gd name="connsiteX373" fmla="*/ 7013773 w 8497013"/>
              <a:gd name="connsiteY373" fmla="*/ 2962076 h 6785945"/>
              <a:gd name="connsiteX374" fmla="*/ 7017761 w 8497013"/>
              <a:gd name="connsiteY374" fmla="*/ 3015781 h 6785945"/>
              <a:gd name="connsiteX375" fmla="*/ 7020057 w 8497013"/>
              <a:gd name="connsiteY375" fmla="*/ 3071801 h 6785945"/>
              <a:gd name="connsiteX376" fmla="*/ 7020793 w 8497013"/>
              <a:gd name="connsiteY376" fmla="*/ 3130057 h 6785945"/>
              <a:gd name="connsiteX377" fmla="*/ 7020093 w 8497013"/>
              <a:gd name="connsiteY377" fmla="*/ 3188562 h 6785945"/>
              <a:gd name="connsiteX378" fmla="*/ 7017896 w 8497013"/>
              <a:gd name="connsiteY378" fmla="*/ 3244832 h 6785945"/>
              <a:gd name="connsiteX379" fmla="*/ 7014060 w 8497013"/>
              <a:gd name="connsiteY379" fmla="*/ 3298782 h 6785945"/>
              <a:gd name="connsiteX380" fmla="*/ 7008439 w 8497013"/>
              <a:gd name="connsiteY380" fmla="*/ 3350332 h 6785945"/>
              <a:gd name="connsiteX381" fmla="*/ 7000891 w 8497013"/>
              <a:gd name="connsiteY381" fmla="*/ 3399397 h 6785945"/>
              <a:gd name="connsiteX382" fmla="*/ 6991270 w 8497013"/>
              <a:gd name="connsiteY382" fmla="*/ 3445896 h 6785945"/>
              <a:gd name="connsiteX383" fmla="*/ 6979433 w 8497013"/>
              <a:gd name="connsiteY383" fmla="*/ 3489745 h 6785945"/>
              <a:gd name="connsiteX384" fmla="*/ 6965236 w 8497013"/>
              <a:gd name="connsiteY384" fmla="*/ 3530863 h 6785945"/>
              <a:gd name="connsiteX385" fmla="*/ 6948536 w 8497013"/>
              <a:gd name="connsiteY385" fmla="*/ 3569166 h 6785945"/>
              <a:gd name="connsiteX386" fmla="*/ 6929187 w 8497013"/>
              <a:gd name="connsiteY386" fmla="*/ 3604572 h 6785945"/>
              <a:gd name="connsiteX387" fmla="*/ 6907046 w 8497013"/>
              <a:gd name="connsiteY387" fmla="*/ 3636998 h 6785945"/>
              <a:gd name="connsiteX388" fmla="*/ 6881969 w 8497013"/>
              <a:gd name="connsiteY388" fmla="*/ 3666361 h 6785945"/>
              <a:gd name="connsiteX389" fmla="*/ 6853812 w 8497013"/>
              <a:gd name="connsiteY389" fmla="*/ 3692580 h 6785945"/>
              <a:gd name="connsiteX390" fmla="*/ 6822431 w 8497013"/>
              <a:gd name="connsiteY390" fmla="*/ 3715570 h 6785945"/>
              <a:gd name="connsiteX391" fmla="*/ 6787683 w 8497013"/>
              <a:gd name="connsiteY391" fmla="*/ 3735251 h 6785945"/>
              <a:gd name="connsiteX392" fmla="*/ 6749422 w 8497013"/>
              <a:gd name="connsiteY392" fmla="*/ 3751538 h 6785945"/>
              <a:gd name="connsiteX393" fmla="*/ 6707505 w 8497013"/>
              <a:gd name="connsiteY393" fmla="*/ 3764350 h 6785945"/>
              <a:gd name="connsiteX394" fmla="*/ 6661789 w 8497013"/>
              <a:gd name="connsiteY394" fmla="*/ 3773604 h 6785945"/>
              <a:gd name="connsiteX395" fmla="*/ 6612129 w 8497013"/>
              <a:gd name="connsiteY395" fmla="*/ 3779217 h 6785945"/>
              <a:gd name="connsiteX396" fmla="*/ 6558381 w 8497013"/>
              <a:gd name="connsiteY396" fmla="*/ 3781106 h 6785945"/>
              <a:gd name="connsiteX397" fmla="*/ 6558381 w 8497013"/>
              <a:gd name="connsiteY397" fmla="*/ 3684284 h 6785945"/>
              <a:gd name="connsiteX398" fmla="*/ 6608066 w 8497013"/>
              <a:gd name="connsiteY398" fmla="*/ 3682051 h 6785945"/>
              <a:gd name="connsiteX399" fmla="*/ 6652986 w 8497013"/>
              <a:gd name="connsiteY399" fmla="*/ 3675430 h 6785945"/>
              <a:gd name="connsiteX400" fmla="*/ 6693369 w 8497013"/>
              <a:gd name="connsiteY400" fmla="*/ 3664541 h 6785945"/>
              <a:gd name="connsiteX401" fmla="*/ 6729440 w 8497013"/>
              <a:gd name="connsiteY401" fmla="*/ 3649501 h 6785945"/>
              <a:gd name="connsiteX402" fmla="*/ 6789551 w 8497013"/>
              <a:gd name="connsiteY402" fmla="*/ 3607441 h 6785945"/>
              <a:gd name="connsiteX403" fmla="*/ 6835130 w 8497013"/>
              <a:gd name="connsiteY403" fmla="*/ 3550197 h 6785945"/>
              <a:gd name="connsiteX404" fmla="*/ 6853036 w 8497013"/>
              <a:gd name="connsiteY404" fmla="*/ 3516176 h 6785945"/>
              <a:gd name="connsiteX405" fmla="*/ 6867988 w 8497013"/>
              <a:gd name="connsiteY405" fmla="*/ 3478715 h 6785945"/>
              <a:gd name="connsiteX406" fmla="*/ 6880212 w 8497013"/>
              <a:gd name="connsiteY406" fmla="*/ 3437930 h 6785945"/>
              <a:gd name="connsiteX407" fmla="*/ 6889935 w 8497013"/>
              <a:gd name="connsiteY407" fmla="*/ 3393940 h 6785945"/>
              <a:gd name="connsiteX408" fmla="*/ 6897382 w 8497013"/>
              <a:gd name="connsiteY408" fmla="*/ 3346863 h 6785945"/>
              <a:gd name="connsiteX409" fmla="*/ 6902781 w 8497013"/>
              <a:gd name="connsiteY409" fmla="*/ 3296819 h 6785945"/>
              <a:gd name="connsiteX410" fmla="*/ 6906357 w 8497013"/>
              <a:gd name="connsiteY410" fmla="*/ 3243924 h 6785945"/>
              <a:gd name="connsiteX411" fmla="*/ 6908336 w 8497013"/>
              <a:gd name="connsiteY411" fmla="*/ 3188297 h 6785945"/>
              <a:gd name="connsiteX412" fmla="*/ 6908946 w 8497013"/>
              <a:gd name="connsiteY412" fmla="*/ 3130057 h 6785945"/>
              <a:gd name="connsiteX413" fmla="*/ 6908304 w 8497013"/>
              <a:gd name="connsiteY413" fmla="*/ 3072388 h 6785945"/>
              <a:gd name="connsiteX414" fmla="*/ 6906234 w 8497013"/>
              <a:gd name="connsiteY414" fmla="*/ 3017299 h 6785945"/>
              <a:gd name="connsiteX415" fmla="*/ 6902524 w 8497013"/>
              <a:gd name="connsiteY415" fmla="*/ 2964906 h 6785945"/>
              <a:gd name="connsiteX416" fmla="*/ 6896958 w 8497013"/>
              <a:gd name="connsiteY416" fmla="*/ 2915330 h 6785945"/>
              <a:gd name="connsiteX417" fmla="*/ 6889323 w 8497013"/>
              <a:gd name="connsiteY417" fmla="*/ 2868686 h 6785945"/>
              <a:gd name="connsiteX418" fmla="*/ 6879405 w 8497013"/>
              <a:gd name="connsiteY418" fmla="*/ 2825095 h 6785945"/>
              <a:gd name="connsiteX419" fmla="*/ 6866989 w 8497013"/>
              <a:gd name="connsiteY419" fmla="*/ 2784674 h 6785945"/>
              <a:gd name="connsiteX420" fmla="*/ 6851862 w 8497013"/>
              <a:gd name="connsiteY420" fmla="*/ 2747542 h 6785945"/>
              <a:gd name="connsiteX421" fmla="*/ 6833809 w 8497013"/>
              <a:gd name="connsiteY421" fmla="*/ 2713816 h 6785945"/>
              <a:gd name="connsiteX422" fmla="*/ 6788071 w 8497013"/>
              <a:gd name="connsiteY422" fmla="*/ 2657057 h 6785945"/>
              <a:gd name="connsiteX423" fmla="*/ 6728062 w 8497013"/>
              <a:gd name="connsiteY423" fmla="*/ 2615344 h 6785945"/>
              <a:gd name="connsiteX424" fmla="*/ 6692170 w 8497013"/>
              <a:gd name="connsiteY424" fmla="*/ 2600425 h 6785945"/>
              <a:gd name="connsiteX425" fmla="*/ 6652069 w 8497013"/>
              <a:gd name="connsiteY425" fmla="*/ 2589622 h 6785945"/>
              <a:gd name="connsiteX426" fmla="*/ 6607544 w 8497013"/>
              <a:gd name="connsiteY426" fmla="*/ 2583054 h 6785945"/>
              <a:gd name="connsiteX427" fmla="*/ 6558381 w 8497013"/>
              <a:gd name="connsiteY427" fmla="*/ 2580838 h 6785945"/>
              <a:gd name="connsiteX428" fmla="*/ 6041510 w 8497013"/>
              <a:gd name="connsiteY428" fmla="*/ 2482346 h 6785945"/>
              <a:gd name="connsiteX429" fmla="*/ 6041510 w 8497013"/>
              <a:gd name="connsiteY429" fmla="*/ 2580838 h 6785945"/>
              <a:gd name="connsiteX430" fmla="*/ 5992624 w 8497013"/>
              <a:gd name="connsiteY430" fmla="*/ 2583054 h 6785945"/>
              <a:gd name="connsiteX431" fmla="*/ 5948343 w 8497013"/>
              <a:gd name="connsiteY431" fmla="*/ 2589622 h 6785945"/>
              <a:gd name="connsiteX432" fmla="*/ 5908457 w 8497013"/>
              <a:gd name="connsiteY432" fmla="*/ 2600425 h 6785945"/>
              <a:gd name="connsiteX433" fmla="*/ 5872751 w 8497013"/>
              <a:gd name="connsiteY433" fmla="*/ 2615344 h 6785945"/>
              <a:gd name="connsiteX434" fmla="*/ 5813036 w 8497013"/>
              <a:gd name="connsiteY434" fmla="*/ 2657057 h 6785945"/>
              <a:gd name="connsiteX435" fmla="*/ 5767502 w 8497013"/>
              <a:gd name="connsiteY435" fmla="*/ 2713816 h 6785945"/>
              <a:gd name="connsiteX436" fmla="*/ 5749523 w 8497013"/>
              <a:gd name="connsiteY436" fmla="*/ 2747542 h 6785945"/>
              <a:gd name="connsiteX437" fmla="*/ 5734453 w 8497013"/>
              <a:gd name="connsiteY437" fmla="*/ 2784674 h 6785945"/>
              <a:gd name="connsiteX438" fmla="*/ 5722081 w 8497013"/>
              <a:gd name="connsiteY438" fmla="*/ 2825095 h 6785945"/>
              <a:gd name="connsiteX439" fmla="*/ 5712193 w 8497013"/>
              <a:gd name="connsiteY439" fmla="*/ 2868686 h 6785945"/>
              <a:gd name="connsiteX440" fmla="*/ 5704579 w 8497013"/>
              <a:gd name="connsiteY440" fmla="*/ 2915330 h 6785945"/>
              <a:gd name="connsiteX441" fmla="*/ 5699026 w 8497013"/>
              <a:gd name="connsiteY441" fmla="*/ 2964906 h 6785945"/>
              <a:gd name="connsiteX442" fmla="*/ 5695322 w 8497013"/>
              <a:gd name="connsiteY442" fmla="*/ 3017299 h 6785945"/>
              <a:gd name="connsiteX443" fmla="*/ 5693255 w 8497013"/>
              <a:gd name="connsiteY443" fmla="*/ 3072388 h 6785945"/>
              <a:gd name="connsiteX444" fmla="*/ 5692613 w 8497013"/>
              <a:gd name="connsiteY444" fmla="*/ 3130057 h 6785945"/>
              <a:gd name="connsiteX445" fmla="*/ 5693239 w 8497013"/>
              <a:gd name="connsiteY445" fmla="*/ 3188297 h 6785945"/>
              <a:gd name="connsiteX446" fmla="*/ 5695261 w 8497013"/>
              <a:gd name="connsiteY446" fmla="*/ 3243924 h 6785945"/>
              <a:gd name="connsiteX447" fmla="*/ 5698898 w 8497013"/>
              <a:gd name="connsiteY447" fmla="*/ 3296819 h 6785945"/>
              <a:gd name="connsiteX448" fmla="*/ 5704367 w 8497013"/>
              <a:gd name="connsiteY448" fmla="*/ 3346863 h 6785945"/>
              <a:gd name="connsiteX449" fmla="*/ 5711888 w 8497013"/>
              <a:gd name="connsiteY449" fmla="*/ 3393940 h 6785945"/>
              <a:gd name="connsiteX450" fmla="*/ 5721677 w 8497013"/>
              <a:gd name="connsiteY450" fmla="*/ 3437930 h 6785945"/>
              <a:gd name="connsiteX451" fmla="*/ 5733954 w 8497013"/>
              <a:gd name="connsiteY451" fmla="*/ 3478715 h 6785945"/>
              <a:gd name="connsiteX452" fmla="*/ 5748936 w 8497013"/>
              <a:gd name="connsiteY452" fmla="*/ 3516176 h 6785945"/>
              <a:gd name="connsiteX453" fmla="*/ 5766842 w 8497013"/>
              <a:gd name="connsiteY453" fmla="*/ 3550197 h 6785945"/>
              <a:gd name="connsiteX454" fmla="*/ 5812296 w 8497013"/>
              <a:gd name="connsiteY454" fmla="*/ 3607441 h 6785945"/>
              <a:gd name="connsiteX455" fmla="*/ 5872062 w 8497013"/>
              <a:gd name="connsiteY455" fmla="*/ 3649501 h 6785945"/>
              <a:gd name="connsiteX456" fmla="*/ 5907857 w 8497013"/>
              <a:gd name="connsiteY456" fmla="*/ 3664541 h 6785945"/>
              <a:gd name="connsiteX457" fmla="*/ 5947885 w 8497013"/>
              <a:gd name="connsiteY457" fmla="*/ 3675430 h 6785945"/>
              <a:gd name="connsiteX458" fmla="*/ 5992363 w 8497013"/>
              <a:gd name="connsiteY458" fmla="*/ 3682051 h 6785945"/>
              <a:gd name="connsiteX459" fmla="*/ 6041510 w 8497013"/>
              <a:gd name="connsiteY459" fmla="*/ 3684284 h 6785945"/>
              <a:gd name="connsiteX460" fmla="*/ 6041510 w 8497013"/>
              <a:gd name="connsiteY460" fmla="*/ 3781106 h 6785945"/>
              <a:gd name="connsiteX461" fmla="*/ 5987987 w 8497013"/>
              <a:gd name="connsiteY461" fmla="*/ 3779217 h 6785945"/>
              <a:gd name="connsiteX462" fmla="*/ 5938507 w 8497013"/>
              <a:gd name="connsiteY462" fmla="*/ 3773604 h 6785945"/>
              <a:gd name="connsiteX463" fmla="*/ 5892927 w 8497013"/>
              <a:gd name="connsiteY463" fmla="*/ 3764350 h 6785945"/>
              <a:gd name="connsiteX464" fmla="*/ 5851109 w 8497013"/>
              <a:gd name="connsiteY464" fmla="*/ 3751538 h 6785945"/>
              <a:gd name="connsiteX465" fmla="*/ 5812912 w 8497013"/>
              <a:gd name="connsiteY465" fmla="*/ 3735251 h 6785945"/>
              <a:gd name="connsiteX466" fmla="*/ 5778195 w 8497013"/>
              <a:gd name="connsiteY466" fmla="*/ 3715570 h 6785945"/>
              <a:gd name="connsiteX467" fmla="*/ 5746818 w 8497013"/>
              <a:gd name="connsiteY467" fmla="*/ 3692580 h 6785945"/>
              <a:gd name="connsiteX468" fmla="*/ 5718642 w 8497013"/>
              <a:gd name="connsiteY468" fmla="*/ 3666361 h 6785945"/>
              <a:gd name="connsiteX469" fmla="*/ 5693526 w 8497013"/>
              <a:gd name="connsiteY469" fmla="*/ 3636998 h 6785945"/>
              <a:gd name="connsiteX470" fmla="*/ 5671329 w 8497013"/>
              <a:gd name="connsiteY470" fmla="*/ 3604572 h 6785945"/>
              <a:gd name="connsiteX471" fmla="*/ 5651912 w 8497013"/>
              <a:gd name="connsiteY471" fmla="*/ 3569166 h 6785945"/>
              <a:gd name="connsiteX472" fmla="*/ 5635134 w 8497013"/>
              <a:gd name="connsiteY472" fmla="*/ 3530863 h 6785945"/>
              <a:gd name="connsiteX473" fmla="*/ 5620855 w 8497013"/>
              <a:gd name="connsiteY473" fmla="*/ 3489745 h 6785945"/>
              <a:gd name="connsiteX474" fmla="*/ 5608935 w 8497013"/>
              <a:gd name="connsiteY474" fmla="*/ 3445896 h 6785945"/>
              <a:gd name="connsiteX475" fmla="*/ 5599234 w 8497013"/>
              <a:gd name="connsiteY475" fmla="*/ 3399397 h 6785945"/>
              <a:gd name="connsiteX476" fmla="*/ 5591611 w 8497013"/>
              <a:gd name="connsiteY476" fmla="*/ 3350332 h 6785945"/>
              <a:gd name="connsiteX477" fmla="*/ 5585926 w 8497013"/>
              <a:gd name="connsiteY477" fmla="*/ 3298782 h 6785945"/>
              <a:gd name="connsiteX478" fmla="*/ 5582039 w 8497013"/>
              <a:gd name="connsiteY478" fmla="*/ 3244832 h 6785945"/>
              <a:gd name="connsiteX479" fmla="*/ 5579809 w 8497013"/>
              <a:gd name="connsiteY479" fmla="*/ 3188562 h 6785945"/>
              <a:gd name="connsiteX480" fmla="*/ 5579098 w 8497013"/>
              <a:gd name="connsiteY480" fmla="*/ 3130057 h 6785945"/>
              <a:gd name="connsiteX481" fmla="*/ 5579833 w 8497013"/>
              <a:gd name="connsiteY481" fmla="*/ 3071801 h 6785945"/>
              <a:gd name="connsiteX482" fmla="*/ 5582129 w 8497013"/>
              <a:gd name="connsiteY482" fmla="*/ 3015781 h 6785945"/>
              <a:gd name="connsiteX483" fmla="*/ 5586118 w 8497013"/>
              <a:gd name="connsiteY483" fmla="*/ 2962076 h 6785945"/>
              <a:gd name="connsiteX484" fmla="*/ 5591931 w 8497013"/>
              <a:gd name="connsiteY484" fmla="*/ 2910770 h 6785945"/>
              <a:gd name="connsiteX485" fmla="*/ 5599704 w 8497013"/>
              <a:gd name="connsiteY485" fmla="*/ 2861942 h 6785945"/>
              <a:gd name="connsiteX486" fmla="*/ 5609567 w 8497013"/>
              <a:gd name="connsiteY486" fmla="*/ 2815675 h 6785945"/>
              <a:gd name="connsiteX487" fmla="*/ 5621653 w 8497013"/>
              <a:gd name="connsiteY487" fmla="*/ 2772049 h 6785945"/>
              <a:gd name="connsiteX488" fmla="*/ 5636096 w 8497013"/>
              <a:gd name="connsiteY488" fmla="*/ 2731147 h 6785945"/>
              <a:gd name="connsiteX489" fmla="*/ 5653028 w 8497013"/>
              <a:gd name="connsiteY489" fmla="*/ 2693049 h 6785945"/>
              <a:gd name="connsiteX490" fmla="*/ 5672581 w 8497013"/>
              <a:gd name="connsiteY490" fmla="*/ 2657837 h 6785945"/>
              <a:gd name="connsiteX491" fmla="*/ 5694889 w 8497013"/>
              <a:gd name="connsiteY491" fmla="*/ 2625592 h 6785945"/>
              <a:gd name="connsiteX492" fmla="*/ 5720085 w 8497013"/>
              <a:gd name="connsiteY492" fmla="*/ 2596396 h 6785945"/>
              <a:gd name="connsiteX493" fmla="*/ 5748300 w 8497013"/>
              <a:gd name="connsiteY493" fmla="*/ 2570330 h 6785945"/>
              <a:gd name="connsiteX494" fmla="*/ 5779667 w 8497013"/>
              <a:gd name="connsiteY494" fmla="*/ 2547475 h 6785945"/>
              <a:gd name="connsiteX495" fmla="*/ 5814320 w 8497013"/>
              <a:gd name="connsiteY495" fmla="*/ 2527914 h 6785945"/>
              <a:gd name="connsiteX496" fmla="*/ 5852391 w 8497013"/>
              <a:gd name="connsiteY496" fmla="*/ 2511726 h 6785945"/>
              <a:gd name="connsiteX497" fmla="*/ 5894013 w 8497013"/>
              <a:gd name="connsiteY497" fmla="*/ 2498994 h 6785945"/>
              <a:gd name="connsiteX498" fmla="*/ 5939318 w 8497013"/>
              <a:gd name="connsiteY498" fmla="*/ 2489799 h 6785945"/>
              <a:gd name="connsiteX499" fmla="*/ 5988439 w 8497013"/>
              <a:gd name="connsiteY499" fmla="*/ 2484222 h 6785945"/>
              <a:gd name="connsiteX500" fmla="*/ 5337245 w 8497013"/>
              <a:gd name="connsiteY500" fmla="*/ 1851325 h 6785945"/>
              <a:gd name="connsiteX501" fmla="*/ 6242037 w 8497013"/>
              <a:gd name="connsiteY501" fmla="*/ 1851325 h 6785945"/>
              <a:gd name="connsiteX502" fmla="*/ 6242037 w 8497013"/>
              <a:gd name="connsiteY502" fmla="*/ 1958164 h 6785945"/>
              <a:gd name="connsiteX503" fmla="*/ 5337245 w 8497013"/>
              <a:gd name="connsiteY503" fmla="*/ 1958164 h 6785945"/>
              <a:gd name="connsiteX504" fmla="*/ 3825296 w 8497013"/>
              <a:gd name="connsiteY504" fmla="*/ 1851325 h 6785945"/>
              <a:gd name="connsiteX505" fmla="*/ 4730088 w 8497013"/>
              <a:gd name="connsiteY505" fmla="*/ 1851325 h 6785945"/>
              <a:gd name="connsiteX506" fmla="*/ 4730088 w 8497013"/>
              <a:gd name="connsiteY506" fmla="*/ 1958164 h 6785945"/>
              <a:gd name="connsiteX507" fmla="*/ 3825296 w 8497013"/>
              <a:gd name="connsiteY507" fmla="*/ 1958164 h 6785945"/>
              <a:gd name="connsiteX508" fmla="*/ 6849172 w 8497013"/>
              <a:gd name="connsiteY508" fmla="*/ 1681043 h 6785945"/>
              <a:gd name="connsiteX509" fmla="*/ 7326608 w 8497013"/>
              <a:gd name="connsiteY509" fmla="*/ 1681043 h 6785945"/>
              <a:gd name="connsiteX510" fmla="*/ 7326608 w 8497013"/>
              <a:gd name="connsiteY510" fmla="*/ 1786212 h 6785945"/>
              <a:gd name="connsiteX511" fmla="*/ 6849172 w 8497013"/>
              <a:gd name="connsiteY511" fmla="*/ 1786212 h 6785945"/>
              <a:gd name="connsiteX512" fmla="*/ 5337245 w 8497013"/>
              <a:gd name="connsiteY512" fmla="*/ 1502429 h 6785945"/>
              <a:gd name="connsiteX513" fmla="*/ 6242037 w 8497013"/>
              <a:gd name="connsiteY513" fmla="*/ 1502429 h 6785945"/>
              <a:gd name="connsiteX514" fmla="*/ 6242037 w 8497013"/>
              <a:gd name="connsiteY514" fmla="*/ 1609267 h 6785945"/>
              <a:gd name="connsiteX515" fmla="*/ 5337245 w 8497013"/>
              <a:gd name="connsiteY515" fmla="*/ 1609267 h 6785945"/>
              <a:gd name="connsiteX516" fmla="*/ 3825296 w 8497013"/>
              <a:gd name="connsiteY516" fmla="*/ 1502429 h 6785945"/>
              <a:gd name="connsiteX517" fmla="*/ 4730088 w 8497013"/>
              <a:gd name="connsiteY517" fmla="*/ 1502429 h 6785945"/>
              <a:gd name="connsiteX518" fmla="*/ 4730088 w 8497013"/>
              <a:gd name="connsiteY518" fmla="*/ 1609267 h 6785945"/>
              <a:gd name="connsiteX519" fmla="*/ 3825296 w 8497013"/>
              <a:gd name="connsiteY519" fmla="*/ 1609267 h 6785945"/>
              <a:gd name="connsiteX520" fmla="*/ 7037373 w 8497013"/>
              <a:gd name="connsiteY520" fmla="*/ 348896 h 6785945"/>
              <a:gd name="connsiteX521" fmla="*/ 7942165 w 8497013"/>
              <a:gd name="connsiteY521" fmla="*/ 348896 h 6785945"/>
              <a:gd name="connsiteX522" fmla="*/ 7942165 w 8497013"/>
              <a:gd name="connsiteY522" fmla="*/ 455734 h 6785945"/>
              <a:gd name="connsiteX523" fmla="*/ 7037373 w 8497013"/>
              <a:gd name="connsiteY523" fmla="*/ 455734 h 6785945"/>
              <a:gd name="connsiteX524" fmla="*/ 5525404 w 8497013"/>
              <a:gd name="connsiteY524" fmla="*/ 348896 h 6785945"/>
              <a:gd name="connsiteX525" fmla="*/ 6430196 w 8497013"/>
              <a:gd name="connsiteY525" fmla="*/ 348896 h 6785945"/>
              <a:gd name="connsiteX526" fmla="*/ 6430196 w 8497013"/>
              <a:gd name="connsiteY526" fmla="*/ 455734 h 6785945"/>
              <a:gd name="connsiteX527" fmla="*/ 5525404 w 8497013"/>
              <a:gd name="connsiteY527" fmla="*/ 455734 h 6785945"/>
              <a:gd name="connsiteX528" fmla="*/ 7037373 w 8497013"/>
              <a:gd name="connsiteY528" fmla="*/ 0 h 6785945"/>
              <a:gd name="connsiteX529" fmla="*/ 7942165 w 8497013"/>
              <a:gd name="connsiteY529" fmla="*/ 0 h 6785945"/>
              <a:gd name="connsiteX530" fmla="*/ 7942165 w 8497013"/>
              <a:gd name="connsiteY530" fmla="*/ 106839 h 6785945"/>
              <a:gd name="connsiteX531" fmla="*/ 7037373 w 8497013"/>
              <a:gd name="connsiteY531" fmla="*/ 106839 h 6785945"/>
              <a:gd name="connsiteX532" fmla="*/ 5525404 w 8497013"/>
              <a:gd name="connsiteY532" fmla="*/ 0 h 6785945"/>
              <a:gd name="connsiteX533" fmla="*/ 6430196 w 8497013"/>
              <a:gd name="connsiteY533" fmla="*/ 0 h 6785945"/>
              <a:gd name="connsiteX534" fmla="*/ 6430196 w 8497013"/>
              <a:gd name="connsiteY534" fmla="*/ 106839 h 6785945"/>
              <a:gd name="connsiteX535" fmla="*/ 5525404 w 8497013"/>
              <a:gd name="connsiteY535" fmla="*/ 106839 h 678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Lst>
            <a:rect l="l" t="t" r="r" b="b"/>
            <a:pathLst>
              <a:path w="8497013" h="6785945">
                <a:moveTo>
                  <a:pt x="8393513" y="6508832"/>
                </a:moveTo>
                <a:lnTo>
                  <a:pt x="8435743" y="6512510"/>
                </a:lnTo>
                <a:lnTo>
                  <a:pt x="8468426" y="6525734"/>
                </a:lnTo>
                <a:lnTo>
                  <a:pt x="8489527" y="6551791"/>
                </a:lnTo>
                <a:lnTo>
                  <a:pt x="8497013" y="6593969"/>
                </a:lnTo>
                <a:lnTo>
                  <a:pt x="8489527" y="6638076"/>
                </a:lnTo>
                <a:lnTo>
                  <a:pt x="8468426" y="6665125"/>
                </a:lnTo>
                <a:lnTo>
                  <a:pt x="8435743" y="6678715"/>
                </a:lnTo>
                <a:lnTo>
                  <a:pt x="8393513" y="6682444"/>
                </a:lnTo>
                <a:lnTo>
                  <a:pt x="8351283" y="6678715"/>
                </a:lnTo>
                <a:lnTo>
                  <a:pt x="8318600" y="6665125"/>
                </a:lnTo>
                <a:lnTo>
                  <a:pt x="8297498" y="6638076"/>
                </a:lnTo>
                <a:lnTo>
                  <a:pt x="8290013" y="6593969"/>
                </a:lnTo>
                <a:lnTo>
                  <a:pt x="8297733" y="6551791"/>
                </a:lnTo>
                <a:lnTo>
                  <a:pt x="8319226" y="6525734"/>
                </a:lnTo>
                <a:lnTo>
                  <a:pt x="8351987" y="6512510"/>
                </a:lnTo>
                <a:close/>
                <a:moveTo>
                  <a:pt x="5162785" y="6508832"/>
                </a:moveTo>
                <a:lnTo>
                  <a:pt x="5205015" y="6512510"/>
                </a:lnTo>
                <a:lnTo>
                  <a:pt x="5237697" y="6525734"/>
                </a:lnTo>
                <a:lnTo>
                  <a:pt x="5258799" y="6551791"/>
                </a:lnTo>
                <a:lnTo>
                  <a:pt x="5266284" y="6593969"/>
                </a:lnTo>
                <a:lnTo>
                  <a:pt x="5258799" y="6638076"/>
                </a:lnTo>
                <a:lnTo>
                  <a:pt x="5237697" y="6665125"/>
                </a:lnTo>
                <a:lnTo>
                  <a:pt x="5205015" y="6678715"/>
                </a:lnTo>
                <a:lnTo>
                  <a:pt x="5162785" y="6682444"/>
                </a:lnTo>
                <a:lnTo>
                  <a:pt x="5120555" y="6678715"/>
                </a:lnTo>
                <a:lnTo>
                  <a:pt x="5087872" y="6665125"/>
                </a:lnTo>
                <a:lnTo>
                  <a:pt x="5066771" y="6638076"/>
                </a:lnTo>
                <a:lnTo>
                  <a:pt x="5059285" y="6593969"/>
                </a:lnTo>
                <a:lnTo>
                  <a:pt x="5067005" y="6551791"/>
                </a:lnTo>
                <a:lnTo>
                  <a:pt x="5088499" y="6525734"/>
                </a:lnTo>
                <a:lnTo>
                  <a:pt x="5121260" y="6512510"/>
                </a:lnTo>
                <a:close/>
                <a:moveTo>
                  <a:pt x="6674635" y="6508827"/>
                </a:moveTo>
                <a:lnTo>
                  <a:pt x="6881636" y="6508827"/>
                </a:lnTo>
                <a:lnTo>
                  <a:pt x="6881636" y="6682440"/>
                </a:lnTo>
                <a:lnTo>
                  <a:pt x="6674635" y="6682440"/>
                </a:lnTo>
                <a:close/>
                <a:moveTo>
                  <a:pt x="1511898" y="6358592"/>
                </a:moveTo>
                <a:lnTo>
                  <a:pt x="2416689" y="6358592"/>
                </a:lnTo>
                <a:lnTo>
                  <a:pt x="2416689" y="6465429"/>
                </a:lnTo>
                <a:lnTo>
                  <a:pt x="1511898" y="6465429"/>
                </a:lnTo>
                <a:close/>
                <a:moveTo>
                  <a:pt x="0" y="6358592"/>
                </a:moveTo>
                <a:lnTo>
                  <a:pt x="904792" y="6358592"/>
                </a:lnTo>
                <a:lnTo>
                  <a:pt x="904792" y="6465429"/>
                </a:lnTo>
                <a:lnTo>
                  <a:pt x="0" y="6465429"/>
                </a:lnTo>
                <a:close/>
                <a:moveTo>
                  <a:pt x="1511898" y="6009695"/>
                </a:moveTo>
                <a:lnTo>
                  <a:pt x="2416689" y="6009695"/>
                </a:lnTo>
                <a:lnTo>
                  <a:pt x="2416689" y="6116533"/>
                </a:lnTo>
                <a:lnTo>
                  <a:pt x="1511898" y="6116533"/>
                </a:lnTo>
                <a:close/>
                <a:moveTo>
                  <a:pt x="0" y="6009695"/>
                </a:moveTo>
                <a:lnTo>
                  <a:pt x="904792" y="6009695"/>
                </a:lnTo>
                <a:lnTo>
                  <a:pt x="904792" y="6116533"/>
                </a:lnTo>
                <a:lnTo>
                  <a:pt x="0" y="6116533"/>
                </a:lnTo>
                <a:close/>
                <a:moveTo>
                  <a:pt x="8393513" y="5807701"/>
                </a:moveTo>
                <a:lnTo>
                  <a:pt x="8435743" y="5811170"/>
                </a:lnTo>
                <a:lnTo>
                  <a:pt x="8468426" y="5824185"/>
                </a:lnTo>
                <a:lnTo>
                  <a:pt x="8489527" y="5850660"/>
                </a:lnTo>
                <a:lnTo>
                  <a:pt x="8497013" y="5894506"/>
                </a:lnTo>
                <a:lnTo>
                  <a:pt x="8489527" y="5936945"/>
                </a:lnTo>
                <a:lnTo>
                  <a:pt x="8468426" y="5963576"/>
                </a:lnTo>
                <a:lnTo>
                  <a:pt x="8435743" y="5977374"/>
                </a:lnTo>
                <a:lnTo>
                  <a:pt x="8393513" y="5981313"/>
                </a:lnTo>
                <a:lnTo>
                  <a:pt x="8352248" y="5977374"/>
                </a:lnTo>
                <a:lnTo>
                  <a:pt x="8320060" y="5963576"/>
                </a:lnTo>
                <a:lnTo>
                  <a:pt x="8299141" y="5936945"/>
                </a:lnTo>
                <a:lnTo>
                  <a:pt x="8291681" y="5894506"/>
                </a:lnTo>
                <a:lnTo>
                  <a:pt x="8299141" y="5850660"/>
                </a:lnTo>
                <a:lnTo>
                  <a:pt x="8320060" y="5824185"/>
                </a:lnTo>
                <a:lnTo>
                  <a:pt x="8352248" y="5811170"/>
                </a:lnTo>
                <a:close/>
                <a:moveTo>
                  <a:pt x="5162785" y="5807701"/>
                </a:moveTo>
                <a:lnTo>
                  <a:pt x="5205015" y="5811170"/>
                </a:lnTo>
                <a:lnTo>
                  <a:pt x="5237697" y="5824185"/>
                </a:lnTo>
                <a:lnTo>
                  <a:pt x="5258799" y="5850660"/>
                </a:lnTo>
                <a:lnTo>
                  <a:pt x="5266284" y="5894506"/>
                </a:lnTo>
                <a:lnTo>
                  <a:pt x="5258799" y="5936945"/>
                </a:lnTo>
                <a:lnTo>
                  <a:pt x="5237697" y="5963576"/>
                </a:lnTo>
                <a:lnTo>
                  <a:pt x="5205015" y="5977374"/>
                </a:lnTo>
                <a:lnTo>
                  <a:pt x="5162785" y="5981313"/>
                </a:lnTo>
                <a:lnTo>
                  <a:pt x="5121521" y="5977374"/>
                </a:lnTo>
                <a:lnTo>
                  <a:pt x="5089334" y="5963576"/>
                </a:lnTo>
                <a:lnTo>
                  <a:pt x="5068415" y="5936945"/>
                </a:lnTo>
                <a:lnTo>
                  <a:pt x="5060955" y="5894506"/>
                </a:lnTo>
                <a:lnTo>
                  <a:pt x="5068415" y="5850660"/>
                </a:lnTo>
                <a:lnTo>
                  <a:pt x="5089334" y="5824185"/>
                </a:lnTo>
                <a:lnTo>
                  <a:pt x="5121521" y="5811170"/>
                </a:lnTo>
                <a:close/>
                <a:moveTo>
                  <a:pt x="4008189" y="5487184"/>
                </a:moveTo>
                <a:lnTo>
                  <a:pt x="4061259" y="5489060"/>
                </a:lnTo>
                <a:lnTo>
                  <a:pt x="4110380" y="5494637"/>
                </a:lnTo>
                <a:lnTo>
                  <a:pt x="4155685" y="5503832"/>
                </a:lnTo>
                <a:lnTo>
                  <a:pt x="4197307" y="5516564"/>
                </a:lnTo>
                <a:lnTo>
                  <a:pt x="4235378" y="5532752"/>
                </a:lnTo>
                <a:lnTo>
                  <a:pt x="4270031" y="5552313"/>
                </a:lnTo>
                <a:lnTo>
                  <a:pt x="4301398" y="5575168"/>
                </a:lnTo>
                <a:lnTo>
                  <a:pt x="4329613" y="5601234"/>
                </a:lnTo>
                <a:lnTo>
                  <a:pt x="4354810" y="5630430"/>
                </a:lnTo>
                <a:lnTo>
                  <a:pt x="4377118" y="5662675"/>
                </a:lnTo>
                <a:lnTo>
                  <a:pt x="4396671" y="5697887"/>
                </a:lnTo>
                <a:lnTo>
                  <a:pt x="4413603" y="5735985"/>
                </a:lnTo>
                <a:lnTo>
                  <a:pt x="4428046" y="5776887"/>
                </a:lnTo>
                <a:lnTo>
                  <a:pt x="4440133" y="5820513"/>
                </a:lnTo>
                <a:lnTo>
                  <a:pt x="4449996" y="5866781"/>
                </a:lnTo>
                <a:lnTo>
                  <a:pt x="4457768" y="5915609"/>
                </a:lnTo>
                <a:lnTo>
                  <a:pt x="4463582" y="5966915"/>
                </a:lnTo>
                <a:lnTo>
                  <a:pt x="4467570" y="6020620"/>
                </a:lnTo>
                <a:lnTo>
                  <a:pt x="4469866" y="6076640"/>
                </a:lnTo>
                <a:lnTo>
                  <a:pt x="4470602" y="6134896"/>
                </a:lnTo>
                <a:lnTo>
                  <a:pt x="4469902" y="6193401"/>
                </a:lnTo>
                <a:lnTo>
                  <a:pt x="4467705" y="6249671"/>
                </a:lnTo>
                <a:lnTo>
                  <a:pt x="4463869" y="6303621"/>
                </a:lnTo>
                <a:lnTo>
                  <a:pt x="4458248" y="6355171"/>
                </a:lnTo>
                <a:lnTo>
                  <a:pt x="4450700" y="6404236"/>
                </a:lnTo>
                <a:lnTo>
                  <a:pt x="4441079" y="6450735"/>
                </a:lnTo>
                <a:lnTo>
                  <a:pt x="4429242" y="6494584"/>
                </a:lnTo>
                <a:lnTo>
                  <a:pt x="4415045" y="6535702"/>
                </a:lnTo>
                <a:lnTo>
                  <a:pt x="4398345" y="6574005"/>
                </a:lnTo>
                <a:lnTo>
                  <a:pt x="4378996" y="6609411"/>
                </a:lnTo>
                <a:lnTo>
                  <a:pt x="4356855" y="6641837"/>
                </a:lnTo>
                <a:lnTo>
                  <a:pt x="4331777" y="6671200"/>
                </a:lnTo>
                <a:lnTo>
                  <a:pt x="4303620" y="6697419"/>
                </a:lnTo>
                <a:lnTo>
                  <a:pt x="4272239" y="6720409"/>
                </a:lnTo>
                <a:lnTo>
                  <a:pt x="4237491" y="6740090"/>
                </a:lnTo>
                <a:lnTo>
                  <a:pt x="4199230" y="6756377"/>
                </a:lnTo>
                <a:lnTo>
                  <a:pt x="4157313" y="6769189"/>
                </a:lnTo>
                <a:lnTo>
                  <a:pt x="4111597" y="6778443"/>
                </a:lnTo>
                <a:lnTo>
                  <a:pt x="4061937" y="6784056"/>
                </a:lnTo>
                <a:lnTo>
                  <a:pt x="4008189" y="6785945"/>
                </a:lnTo>
                <a:lnTo>
                  <a:pt x="4008189" y="6689123"/>
                </a:lnTo>
                <a:lnTo>
                  <a:pt x="4057874" y="6686890"/>
                </a:lnTo>
                <a:lnTo>
                  <a:pt x="4102795" y="6680269"/>
                </a:lnTo>
                <a:lnTo>
                  <a:pt x="4143177" y="6669380"/>
                </a:lnTo>
                <a:lnTo>
                  <a:pt x="4179248" y="6654340"/>
                </a:lnTo>
                <a:lnTo>
                  <a:pt x="4239359" y="6612280"/>
                </a:lnTo>
                <a:lnTo>
                  <a:pt x="4284939" y="6555036"/>
                </a:lnTo>
                <a:lnTo>
                  <a:pt x="4302844" y="6521015"/>
                </a:lnTo>
                <a:lnTo>
                  <a:pt x="4317796" y="6483554"/>
                </a:lnTo>
                <a:lnTo>
                  <a:pt x="4330020" y="6442769"/>
                </a:lnTo>
                <a:lnTo>
                  <a:pt x="4339743" y="6398779"/>
                </a:lnTo>
                <a:lnTo>
                  <a:pt x="4347190" y="6351702"/>
                </a:lnTo>
                <a:lnTo>
                  <a:pt x="4352590" y="6301658"/>
                </a:lnTo>
                <a:lnTo>
                  <a:pt x="4356166" y="6248763"/>
                </a:lnTo>
                <a:lnTo>
                  <a:pt x="4358145" y="6193136"/>
                </a:lnTo>
                <a:lnTo>
                  <a:pt x="4358755" y="6134896"/>
                </a:lnTo>
                <a:lnTo>
                  <a:pt x="4358113" y="6077227"/>
                </a:lnTo>
                <a:lnTo>
                  <a:pt x="4356043" y="6022138"/>
                </a:lnTo>
                <a:lnTo>
                  <a:pt x="4352333" y="5969745"/>
                </a:lnTo>
                <a:lnTo>
                  <a:pt x="4346766" y="5920169"/>
                </a:lnTo>
                <a:lnTo>
                  <a:pt x="4339131" y="5873525"/>
                </a:lnTo>
                <a:lnTo>
                  <a:pt x="4329213" y="5829933"/>
                </a:lnTo>
                <a:lnTo>
                  <a:pt x="4316797" y="5789512"/>
                </a:lnTo>
                <a:lnTo>
                  <a:pt x="4301670" y="5752380"/>
                </a:lnTo>
                <a:lnTo>
                  <a:pt x="4283617" y="5718654"/>
                </a:lnTo>
                <a:lnTo>
                  <a:pt x="4237879" y="5661895"/>
                </a:lnTo>
                <a:lnTo>
                  <a:pt x="4177870" y="5620182"/>
                </a:lnTo>
                <a:lnTo>
                  <a:pt x="4141978" y="5605263"/>
                </a:lnTo>
                <a:lnTo>
                  <a:pt x="4101877" y="5594460"/>
                </a:lnTo>
                <a:lnTo>
                  <a:pt x="4057352" y="5587892"/>
                </a:lnTo>
                <a:lnTo>
                  <a:pt x="4008189" y="5585676"/>
                </a:lnTo>
                <a:close/>
                <a:moveTo>
                  <a:pt x="3491267" y="5487184"/>
                </a:moveTo>
                <a:lnTo>
                  <a:pt x="3491267" y="5585676"/>
                </a:lnTo>
                <a:lnTo>
                  <a:pt x="3442381" y="5587892"/>
                </a:lnTo>
                <a:lnTo>
                  <a:pt x="3398103" y="5594460"/>
                </a:lnTo>
                <a:lnTo>
                  <a:pt x="3358217" y="5605263"/>
                </a:lnTo>
                <a:lnTo>
                  <a:pt x="3322510" y="5620182"/>
                </a:lnTo>
                <a:lnTo>
                  <a:pt x="3262795" y="5661895"/>
                </a:lnTo>
                <a:lnTo>
                  <a:pt x="3217261" y="5718654"/>
                </a:lnTo>
                <a:lnTo>
                  <a:pt x="3199282" y="5752380"/>
                </a:lnTo>
                <a:lnTo>
                  <a:pt x="3184213" y="5789512"/>
                </a:lnTo>
                <a:lnTo>
                  <a:pt x="3171840" y="5829933"/>
                </a:lnTo>
                <a:lnTo>
                  <a:pt x="3161952" y="5873525"/>
                </a:lnTo>
                <a:lnTo>
                  <a:pt x="3154338" y="5920169"/>
                </a:lnTo>
                <a:lnTo>
                  <a:pt x="3148785" y="5969745"/>
                </a:lnTo>
                <a:lnTo>
                  <a:pt x="3145081" y="6022138"/>
                </a:lnTo>
                <a:lnTo>
                  <a:pt x="3143014" y="6077227"/>
                </a:lnTo>
                <a:lnTo>
                  <a:pt x="3142372" y="6134896"/>
                </a:lnTo>
                <a:lnTo>
                  <a:pt x="3142997" y="6193136"/>
                </a:lnTo>
                <a:lnTo>
                  <a:pt x="3145020" y="6248763"/>
                </a:lnTo>
                <a:lnTo>
                  <a:pt x="3148657" y="6301658"/>
                </a:lnTo>
                <a:lnTo>
                  <a:pt x="3154126" y="6351702"/>
                </a:lnTo>
                <a:lnTo>
                  <a:pt x="3161647" y="6398779"/>
                </a:lnTo>
                <a:lnTo>
                  <a:pt x="3171437" y="6442769"/>
                </a:lnTo>
                <a:lnTo>
                  <a:pt x="3183713" y="6483554"/>
                </a:lnTo>
                <a:lnTo>
                  <a:pt x="3198695" y="6521015"/>
                </a:lnTo>
                <a:lnTo>
                  <a:pt x="3216602" y="6555036"/>
                </a:lnTo>
                <a:lnTo>
                  <a:pt x="3262055" y="6612280"/>
                </a:lnTo>
                <a:lnTo>
                  <a:pt x="3321821" y="6654340"/>
                </a:lnTo>
                <a:lnTo>
                  <a:pt x="3357617" y="6669380"/>
                </a:lnTo>
                <a:lnTo>
                  <a:pt x="3397644" y="6680269"/>
                </a:lnTo>
                <a:lnTo>
                  <a:pt x="3442120" y="6686890"/>
                </a:lnTo>
                <a:lnTo>
                  <a:pt x="3491267" y="6689123"/>
                </a:lnTo>
                <a:lnTo>
                  <a:pt x="3491267" y="6785945"/>
                </a:lnTo>
                <a:lnTo>
                  <a:pt x="3437744" y="6784056"/>
                </a:lnTo>
                <a:lnTo>
                  <a:pt x="3388267" y="6778443"/>
                </a:lnTo>
                <a:lnTo>
                  <a:pt x="3342687" y="6769189"/>
                </a:lnTo>
                <a:lnTo>
                  <a:pt x="3300868" y="6756377"/>
                </a:lnTo>
                <a:lnTo>
                  <a:pt x="3262672" y="6740090"/>
                </a:lnTo>
                <a:lnTo>
                  <a:pt x="3227954" y="6720409"/>
                </a:lnTo>
                <a:lnTo>
                  <a:pt x="3196577" y="6697419"/>
                </a:lnTo>
                <a:lnTo>
                  <a:pt x="3168401" y="6671200"/>
                </a:lnTo>
                <a:lnTo>
                  <a:pt x="3143286" y="6641837"/>
                </a:lnTo>
                <a:lnTo>
                  <a:pt x="3121088" y="6609411"/>
                </a:lnTo>
                <a:lnTo>
                  <a:pt x="3101671" y="6574005"/>
                </a:lnTo>
                <a:lnTo>
                  <a:pt x="3084893" y="6535702"/>
                </a:lnTo>
                <a:lnTo>
                  <a:pt x="3070614" y="6494584"/>
                </a:lnTo>
                <a:lnTo>
                  <a:pt x="3058694" y="6450735"/>
                </a:lnTo>
                <a:lnTo>
                  <a:pt x="3048993" y="6404236"/>
                </a:lnTo>
                <a:lnTo>
                  <a:pt x="3041370" y="6355171"/>
                </a:lnTo>
                <a:lnTo>
                  <a:pt x="3035685" y="6303621"/>
                </a:lnTo>
                <a:lnTo>
                  <a:pt x="3031798" y="6249671"/>
                </a:lnTo>
                <a:lnTo>
                  <a:pt x="3029568" y="6193401"/>
                </a:lnTo>
                <a:lnTo>
                  <a:pt x="3028857" y="6134896"/>
                </a:lnTo>
                <a:lnTo>
                  <a:pt x="3029592" y="6076640"/>
                </a:lnTo>
                <a:lnTo>
                  <a:pt x="3031888" y="6020620"/>
                </a:lnTo>
                <a:lnTo>
                  <a:pt x="3035877" y="5966915"/>
                </a:lnTo>
                <a:lnTo>
                  <a:pt x="3041690" y="5915609"/>
                </a:lnTo>
                <a:lnTo>
                  <a:pt x="3049463" y="5866781"/>
                </a:lnTo>
                <a:lnTo>
                  <a:pt x="3059326" y="5820513"/>
                </a:lnTo>
                <a:lnTo>
                  <a:pt x="3071412" y="5776887"/>
                </a:lnTo>
                <a:lnTo>
                  <a:pt x="3085855" y="5735985"/>
                </a:lnTo>
                <a:lnTo>
                  <a:pt x="3102787" y="5697887"/>
                </a:lnTo>
                <a:lnTo>
                  <a:pt x="3122341" y="5662675"/>
                </a:lnTo>
                <a:lnTo>
                  <a:pt x="3144649" y="5630430"/>
                </a:lnTo>
                <a:lnTo>
                  <a:pt x="3169844" y="5601234"/>
                </a:lnTo>
                <a:lnTo>
                  <a:pt x="3198060" y="5575168"/>
                </a:lnTo>
                <a:lnTo>
                  <a:pt x="3229427" y="5552313"/>
                </a:lnTo>
                <a:lnTo>
                  <a:pt x="3264079" y="5532752"/>
                </a:lnTo>
                <a:lnTo>
                  <a:pt x="3302151" y="5516564"/>
                </a:lnTo>
                <a:lnTo>
                  <a:pt x="3343773" y="5503832"/>
                </a:lnTo>
                <a:lnTo>
                  <a:pt x="3389078" y="5494637"/>
                </a:lnTo>
                <a:lnTo>
                  <a:pt x="3438196" y="5489060"/>
                </a:lnTo>
                <a:close/>
                <a:moveTo>
                  <a:pt x="5569411" y="5006403"/>
                </a:moveTo>
                <a:lnTo>
                  <a:pt x="5611640" y="5010081"/>
                </a:lnTo>
                <a:lnTo>
                  <a:pt x="5644323" y="5023305"/>
                </a:lnTo>
                <a:lnTo>
                  <a:pt x="5665424" y="5049363"/>
                </a:lnTo>
                <a:lnTo>
                  <a:pt x="5672910" y="5091541"/>
                </a:lnTo>
                <a:lnTo>
                  <a:pt x="5665424" y="5135648"/>
                </a:lnTo>
                <a:lnTo>
                  <a:pt x="5644323" y="5162697"/>
                </a:lnTo>
                <a:lnTo>
                  <a:pt x="5611640" y="5176287"/>
                </a:lnTo>
                <a:lnTo>
                  <a:pt x="5569411" y="5180017"/>
                </a:lnTo>
                <a:lnTo>
                  <a:pt x="5527181" y="5176287"/>
                </a:lnTo>
                <a:lnTo>
                  <a:pt x="5494498" y="5162697"/>
                </a:lnTo>
                <a:lnTo>
                  <a:pt x="5473397" y="5135648"/>
                </a:lnTo>
                <a:lnTo>
                  <a:pt x="5465911" y="5091541"/>
                </a:lnTo>
                <a:lnTo>
                  <a:pt x="5473631" y="5049363"/>
                </a:lnTo>
                <a:lnTo>
                  <a:pt x="5495125" y="5023305"/>
                </a:lnTo>
                <a:lnTo>
                  <a:pt x="5527886" y="5010081"/>
                </a:lnTo>
                <a:close/>
                <a:moveTo>
                  <a:pt x="4804116" y="5006403"/>
                </a:moveTo>
                <a:lnTo>
                  <a:pt x="4846346" y="5010081"/>
                </a:lnTo>
                <a:lnTo>
                  <a:pt x="4879028" y="5023305"/>
                </a:lnTo>
                <a:lnTo>
                  <a:pt x="4900130" y="5049363"/>
                </a:lnTo>
                <a:lnTo>
                  <a:pt x="4907615" y="5091541"/>
                </a:lnTo>
                <a:lnTo>
                  <a:pt x="4900130" y="5135648"/>
                </a:lnTo>
                <a:lnTo>
                  <a:pt x="4879028" y="5162697"/>
                </a:lnTo>
                <a:lnTo>
                  <a:pt x="4846346" y="5176287"/>
                </a:lnTo>
                <a:lnTo>
                  <a:pt x="4804116" y="5180017"/>
                </a:lnTo>
                <a:lnTo>
                  <a:pt x="4761886" y="5176287"/>
                </a:lnTo>
                <a:lnTo>
                  <a:pt x="4729203" y="5162697"/>
                </a:lnTo>
                <a:lnTo>
                  <a:pt x="4708102" y="5135648"/>
                </a:lnTo>
                <a:lnTo>
                  <a:pt x="4700616" y="5091541"/>
                </a:lnTo>
                <a:lnTo>
                  <a:pt x="4708336" y="5049363"/>
                </a:lnTo>
                <a:lnTo>
                  <a:pt x="4729830" y="5023305"/>
                </a:lnTo>
                <a:lnTo>
                  <a:pt x="4762591" y="5010081"/>
                </a:lnTo>
                <a:close/>
                <a:moveTo>
                  <a:pt x="2787004" y="4856173"/>
                </a:moveTo>
                <a:lnTo>
                  <a:pt x="3691793" y="4856173"/>
                </a:lnTo>
                <a:lnTo>
                  <a:pt x="3691793" y="4963011"/>
                </a:lnTo>
                <a:lnTo>
                  <a:pt x="2787004" y="4963011"/>
                </a:lnTo>
                <a:close/>
                <a:moveTo>
                  <a:pt x="1275095" y="4856173"/>
                </a:moveTo>
                <a:lnTo>
                  <a:pt x="2179887" y="4856173"/>
                </a:lnTo>
                <a:lnTo>
                  <a:pt x="2179887" y="4963011"/>
                </a:lnTo>
                <a:lnTo>
                  <a:pt x="1275095" y="4963011"/>
                </a:lnTo>
                <a:close/>
                <a:moveTo>
                  <a:pt x="2787004" y="4507276"/>
                </a:moveTo>
                <a:lnTo>
                  <a:pt x="3691793" y="4507276"/>
                </a:lnTo>
                <a:lnTo>
                  <a:pt x="3691793" y="4614114"/>
                </a:lnTo>
                <a:lnTo>
                  <a:pt x="2787004" y="4614114"/>
                </a:lnTo>
                <a:close/>
                <a:moveTo>
                  <a:pt x="1275095" y="4507276"/>
                </a:moveTo>
                <a:lnTo>
                  <a:pt x="2179887" y="4507276"/>
                </a:lnTo>
                <a:lnTo>
                  <a:pt x="2179887" y="4614114"/>
                </a:lnTo>
                <a:lnTo>
                  <a:pt x="1275095" y="4614114"/>
                </a:lnTo>
                <a:close/>
                <a:moveTo>
                  <a:pt x="5569411" y="4305272"/>
                </a:moveTo>
                <a:lnTo>
                  <a:pt x="5611640" y="4308741"/>
                </a:lnTo>
                <a:lnTo>
                  <a:pt x="5644323" y="4321757"/>
                </a:lnTo>
                <a:lnTo>
                  <a:pt x="5665424" y="4348232"/>
                </a:lnTo>
                <a:lnTo>
                  <a:pt x="5672910" y="4392078"/>
                </a:lnTo>
                <a:lnTo>
                  <a:pt x="5665424" y="4434517"/>
                </a:lnTo>
                <a:lnTo>
                  <a:pt x="5644323" y="4461148"/>
                </a:lnTo>
                <a:lnTo>
                  <a:pt x="5611640" y="4474946"/>
                </a:lnTo>
                <a:lnTo>
                  <a:pt x="5569411" y="4478885"/>
                </a:lnTo>
                <a:lnTo>
                  <a:pt x="5528147" y="4474946"/>
                </a:lnTo>
                <a:lnTo>
                  <a:pt x="5495959" y="4461148"/>
                </a:lnTo>
                <a:lnTo>
                  <a:pt x="5475040" y="4434517"/>
                </a:lnTo>
                <a:lnTo>
                  <a:pt x="5467580" y="4392078"/>
                </a:lnTo>
                <a:lnTo>
                  <a:pt x="5475040" y="4348232"/>
                </a:lnTo>
                <a:lnTo>
                  <a:pt x="5495959" y="4321757"/>
                </a:lnTo>
                <a:lnTo>
                  <a:pt x="5528147" y="4308741"/>
                </a:lnTo>
                <a:close/>
                <a:moveTo>
                  <a:pt x="4804116" y="4305272"/>
                </a:moveTo>
                <a:lnTo>
                  <a:pt x="4846346" y="4308741"/>
                </a:lnTo>
                <a:lnTo>
                  <a:pt x="4879028" y="4321757"/>
                </a:lnTo>
                <a:lnTo>
                  <a:pt x="4900130" y="4348232"/>
                </a:lnTo>
                <a:lnTo>
                  <a:pt x="4907615" y="4392078"/>
                </a:lnTo>
                <a:lnTo>
                  <a:pt x="4900130" y="4434517"/>
                </a:lnTo>
                <a:lnTo>
                  <a:pt x="4879028" y="4461148"/>
                </a:lnTo>
                <a:lnTo>
                  <a:pt x="4846346" y="4474946"/>
                </a:lnTo>
                <a:lnTo>
                  <a:pt x="4804116" y="4478885"/>
                </a:lnTo>
                <a:lnTo>
                  <a:pt x="4762852" y="4474946"/>
                </a:lnTo>
                <a:lnTo>
                  <a:pt x="4730664" y="4461148"/>
                </a:lnTo>
                <a:lnTo>
                  <a:pt x="4709745" y="4434517"/>
                </a:lnTo>
                <a:lnTo>
                  <a:pt x="4702285" y="4392078"/>
                </a:lnTo>
                <a:lnTo>
                  <a:pt x="4709745" y="4348232"/>
                </a:lnTo>
                <a:lnTo>
                  <a:pt x="4730664" y="4321757"/>
                </a:lnTo>
                <a:lnTo>
                  <a:pt x="4762852" y="4308741"/>
                </a:lnTo>
                <a:close/>
                <a:moveTo>
                  <a:pt x="7712987" y="3503986"/>
                </a:moveTo>
                <a:lnTo>
                  <a:pt x="7763122" y="3509568"/>
                </a:lnTo>
                <a:lnTo>
                  <a:pt x="7795147" y="3526208"/>
                </a:lnTo>
                <a:lnTo>
                  <a:pt x="7811787" y="3553746"/>
                </a:lnTo>
                <a:lnTo>
                  <a:pt x="7815767" y="3592021"/>
                </a:lnTo>
                <a:lnTo>
                  <a:pt x="7809810" y="3640873"/>
                </a:lnTo>
                <a:lnTo>
                  <a:pt x="7763068" y="3887939"/>
                </a:lnTo>
                <a:lnTo>
                  <a:pt x="7682939" y="3887939"/>
                </a:lnTo>
                <a:lnTo>
                  <a:pt x="7709648" y="3677600"/>
                </a:lnTo>
                <a:lnTo>
                  <a:pt x="7668644" y="3673635"/>
                </a:lnTo>
                <a:lnTo>
                  <a:pt x="7637031" y="3659654"/>
                </a:lnTo>
                <a:lnTo>
                  <a:pt x="7616686" y="3632527"/>
                </a:lnTo>
                <a:lnTo>
                  <a:pt x="7609487" y="3589124"/>
                </a:lnTo>
                <a:lnTo>
                  <a:pt x="7617207" y="3546946"/>
                </a:lnTo>
                <a:lnTo>
                  <a:pt x="7638700" y="3520888"/>
                </a:lnTo>
                <a:lnTo>
                  <a:pt x="7671461" y="3507664"/>
                </a:lnTo>
                <a:close/>
                <a:moveTo>
                  <a:pt x="4062097" y="3353744"/>
                </a:moveTo>
                <a:lnTo>
                  <a:pt x="4966889" y="3353744"/>
                </a:lnTo>
                <a:lnTo>
                  <a:pt x="4966889" y="3460582"/>
                </a:lnTo>
                <a:lnTo>
                  <a:pt x="4062097" y="3460582"/>
                </a:lnTo>
                <a:close/>
                <a:moveTo>
                  <a:pt x="2550201" y="3353744"/>
                </a:moveTo>
                <a:lnTo>
                  <a:pt x="3454992" y="3353744"/>
                </a:lnTo>
                <a:lnTo>
                  <a:pt x="3454992" y="3460582"/>
                </a:lnTo>
                <a:lnTo>
                  <a:pt x="2550201" y="3460582"/>
                </a:lnTo>
                <a:close/>
                <a:moveTo>
                  <a:pt x="4062097" y="3004848"/>
                </a:moveTo>
                <a:lnTo>
                  <a:pt x="4966889" y="3004848"/>
                </a:lnTo>
                <a:lnTo>
                  <a:pt x="4966889" y="3111686"/>
                </a:lnTo>
                <a:lnTo>
                  <a:pt x="4062097" y="3111686"/>
                </a:lnTo>
                <a:close/>
                <a:moveTo>
                  <a:pt x="2550201" y="3004848"/>
                </a:moveTo>
                <a:lnTo>
                  <a:pt x="3454992" y="3004848"/>
                </a:lnTo>
                <a:lnTo>
                  <a:pt x="3454992" y="3111686"/>
                </a:lnTo>
                <a:lnTo>
                  <a:pt x="2550201" y="3111686"/>
                </a:lnTo>
                <a:close/>
                <a:moveTo>
                  <a:pt x="7712987" y="2802855"/>
                </a:moveTo>
                <a:lnTo>
                  <a:pt x="7755217" y="2806324"/>
                </a:lnTo>
                <a:lnTo>
                  <a:pt x="7787900" y="2819339"/>
                </a:lnTo>
                <a:lnTo>
                  <a:pt x="7809002" y="2845814"/>
                </a:lnTo>
                <a:lnTo>
                  <a:pt x="7816489" y="2889661"/>
                </a:lnTo>
                <a:lnTo>
                  <a:pt x="7809002" y="2932099"/>
                </a:lnTo>
                <a:lnTo>
                  <a:pt x="7787900" y="2958731"/>
                </a:lnTo>
                <a:lnTo>
                  <a:pt x="7755217" y="2972529"/>
                </a:lnTo>
                <a:lnTo>
                  <a:pt x="7712987" y="2976468"/>
                </a:lnTo>
                <a:lnTo>
                  <a:pt x="7671722" y="2972529"/>
                </a:lnTo>
                <a:lnTo>
                  <a:pt x="7639535" y="2958731"/>
                </a:lnTo>
                <a:lnTo>
                  <a:pt x="7618615" y="2932099"/>
                </a:lnTo>
                <a:lnTo>
                  <a:pt x="7611156" y="2889661"/>
                </a:lnTo>
                <a:lnTo>
                  <a:pt x="7618615" y="2845814"/>
                </a:lnTo>
                <a:lnTo>
                  <a:pt x="7639535" y="2819339"/>
                </a:lnTo>
                <a:lnTo>
                  <a:pt x="7671722" y="2806324"/>
                </a:lnTo>
                <a:close/>
                <a:moveTo>
                  <a:pt x="6558381" y="2482346"/>
                </a:moveTo>
                <a:lnTo>
                  <a:pt x="6611451" y="2484222"/>
                </a:lnTo>
                <a:lnTo>
                  <a:pt x="6660572" y="2489799"/>
                </a:lnTo>
                <a:lnTo>
                  <a:pt x="6705877" y="2498994"/>
                </a:lnTo>
                <a:lnTo>
                  <a:pt x="6747499" y="2511726"/>
                </a:lnTo>
                <a:lnTo>
                  <a:pt x="6785570" y="2527914"/>
                </a:lnTo>
                <a:lnTo>
                  <a:pt x="6820223" y="2547475"/>
                </a:lnTo>
                <a:lnTo>
                  <a:pt x="6851590" y="2570330"/>
                </a:lnTo>
                <a:lnTo>
                  <a:pt x="6879805" y="2596396"/>
                </a:lnTo>
                <a:lnTo>
                  <a:pt x="6905001" y="2625592"/>
                </a:lnTo>
                <a:lnTo>
                  <a:pt x="6927309" y="2657837"/>
                </a:lnTo>
                <a:lnTo>
                  <a:pt x="6946862" y="2693049"/>
                </a:lnTo>
                <a:lnTo>
                  <a:pt x="6963794" y="2731147"/>
                </a:lnTo>
                <a:lnTo>
                  <a:pt x="6978237" y="2772049"/>
                </a:lnTo>
                <a:lnTo>
                  <a:pt x="6990324" y="2815675"/>
                </a:lnTo>
                <a:lnTo>
                  <a:pt x="7000187" y="2861942"/>
                </a:lnTo>
                <a:lnTo>
                  <a:pt x="7007959" y="2910770"/>
                </a:lnTo>
                <a:lnTo>
                  <a:pt x="7013773" y="2962076"/>
                </a:lnTo>
                <a:lnTo>
                  <a:pt x="7017761" y="3015781"/>
                </a:lnTo>
                <a:lnTo>
                  <a:pt x="7020057" y="3071801"/>
                </a:lnTo>
                <a:lnTo>
                  <a:pt x="7020793" y="3130057"/>
                </a:lnTo>
                <a:lnTo>
                  <a:pt x="7020093" y="3188562"/>
                </a:lnTo>
                <a:lnTo>
                  <a:pt x="7017896" y="3244832"/>
                </a:lnTo>
                <a:lnTo>
                  <a:pt x="7014060" y="3298782"/>
                </a:lnTo>
                <a:lnTo>
                  <a:pt x="7008439" y="3350332"/>
                </a:lnTo>
                <a:lnTo>
                  <a:pt x="7000891" y="3399397"/>
                </a:lnTo>
                <a:lnTo>
                  <a:pt x="6991270" y="3445896"/>
                </a:lnTo>
                <a:lnTo>
                  <a:pt x="6979433" y="3489745"/>
                </a:lnTo>
                <a:lnTo>
                  <a:pt x="6965236" y="3530863"/>
                </a:lnTo>
                <a:lnTo>
                  <a:pt x="6948536" y="3569166"/>
                </a:lnTo>
                <a:lnTo>
                  <a:pt x="6929187" y="3604572"/>
                </a:lnTo>
                <a:lnTo>
                  <a:pt x="6907046" y="3636998"/>
                </a:lnTo>
                <a:lnTo>
                  <a:pt x="6881969" y="3666361"/>
                </a:lnTo>
                <a:lnTo>
                  <a:pt x="6853812" y="3692580"/>
                </a:lnTo>
                <a:lnTo>
                  <a:pt x="6822431" y="3715570"/>
                </a:lnTo>
                <a:lnTo>
                  <a:pt x="6787683" y="3735251"/>
                </a:lnTo>
                <a:lnTo>
                  <a:pt x="6749422" y="3751538"/>
                </a:lnTo>
                <a:lnTo>
                  <a:pt x="6707505" y="3764350"/>
                </a:lnTo>
                <a:lnTo>
                  <a:pt x="6661789" y="3773604"/>
                </a:lnTo>
                <a:lnTo>
                  <a:pt x="6612129" y="3779217"/>
                </a:lnTo>
                <a:lnTo>
                  <a:pt x="6558381" y="3781106"/>
                </a:lnTo>
                <a:lnTo>
                  <a:pt x="6558381" y="3684284"/>
                </a:lnTo>
                <a:lnTo>
                  <a:pt x="6608066" y="3682051"/>
                </a:lnTo>
                <a:lnTo>
                  <a:pt x="6652986" y="3675430"/>
                </a:lnTo>
                <a:lnTo>
                  <a:pt x="6693369" y="3664541"/>
                </a:lnTo>
                <a:lnTo>
                  <a:pt x="6729440" y="3649501"/>
                </a:lnTo>
                <a:lnTo>
                  <a:pt x="6789551" y="3607441"/>
                </a:lnTo>
                <a:lnTo>
                  <a:pt x="6835130" y="3550197"/>
                </a:lnTo>
                <a:lnTo>
                  <a:pt x="6853036" y="3516176"/>
                </a:lnTo>
                <a:lnTo>
                  <a:pt x="6867988" y="3478715"/>
                </a:lnTo>
                <a:lnTo>
                  <a:pt x="6880212" y="3437930"/>
                </a:lnTo>
                <a:lnTo>
                  <a:pt x="6889935" y="3393940"/>
                </a:lnTo>
                <a:lnTo>
                  <a:pt x="6897382" y="3346863"/>
                </a:lnTo>
                <a:lnTo>
                  <a:pt x="6902781" y="3296819"/>
                </a:lnTo>
                <a:lnTo>
                  <a:pt x="6906357" y="3243924"/>
                </a:lnTo>
                <a:lnTo>
                  <a:pt x="6908336" y="3188297"/>
                </a:lnTo>
                <a:lnTo>
                  <a:pt x="6908946" y="3130057"/>
                </a:lnTo>
                <a:lnTo>
                  <a:pt x="6908304" y="3072388"/>
                </a:lnTo>
                <a:lnTo>
                  <a:pt x="6906234" y="3017299"/>
                </a:lnTo>
                <a:lnTo>
                  <a:pt x="6902524" y="2964906"/>
                </a:lnTo>
                <a:lnTo>
                  <a:pt x="6896958" y="2915330"/>
                </a:lnTo>
                <a:lnTo>
                  <a:pt x="6889323" y="2868686"/>
                </a:lnTo>
                <a:lnTo>
                  <a:pt x="6879405" y="2825095"/>
                </a:lnTo>
                <a:lnTo>
                  <a:pt x="6866989" y="2784674"/>
                </a:lnTo>
                <a:lnTo>
                  <a:pt x="6851862" y="2747542"/>
                </a:lnTo>
                <a:lnTo>
                  <a:pt x="6833809" y="2713816"/>
                </a:lnTo>
                <a:lnTo>
                  <a:pt x="6788071" y="2657057"/>
                </a:lnTo>
                <a:lnTo>
                  <a:pt x="6728062" y="2615344"/>
                </a:lnTo>
                <a:lnTo>
                  <a:pt x="6692170" y="2600425"/>
                </a:lnTo>
                <a:lnTo>
                  <a:pt x="6652069" y="2589622"/>
                </a:lnTo>
                <a:lnTo>
                  <a:pt x="6607544" y="2583054"/>
                </a:lnTo>
                <a:lnTo>
                  <a:pt x="6558381" y="2580838"/>
                </a:lnTo>
                <a:close/>
                <a:moveTo>
                  <a:pt x="6041510" y="2482346"/>
                </a:moveTo>
                <a:lnTo>
                  <a:pt x="6041510" y="2580838"/>
                </a:lnTo>
                <a:lnTo>
                  <a:pt x="5992624" y="2583054"/>
                </a:lnTo>
                <a:lnTo>
                  <a:pt x="5948343" y="2589622"/>
                </a:lnTo>
                <a:lnTo>
                  <a:pt x="5908457" y="2600425"/>
                </a:lnTo>
                <a:lnTo>
                  <a:pt x="5872751" y="2615344"/>
                </a:lnTo>
                <a:lnTo>
                  <a:pt x="5813036" y="2657057"/>
                </a:lnTo>
                <a:lnTo>
                  <a:pt x="5767502" y="2713816"/>
                </a:lnTo>
                <a:lnTo>
                  <a:pt x="5749523" y="2747542"/>
                </a:lnTo>
                <a:lnTo>
                  <a:pt x="5734453" y="2784674"/>
                </a:lnTo>
                <a:lnTo>
                  <a:pt x="5722081" y="2825095"/>
                </a:lnTo>
                <a:lnTo>
                  <a:pt x="5712193" y="2868686"/>
                </a:lnTo>
                <a:lnTo>
                  <a:pt x="5704579" y="2915330"/>
                </a:lnTo>
                <a:lnTo>
                  <a:pt x="5699026" y="2964906"/>
                </a:lnTo>
                <a:lnTo>
                  <a:pt x="5695322" y="3017299"/>
                </a:lnTo>
                <a:lnTo>
                  <a:pt x="5693255" y="3072388"/>
                </a:lnTo>
                <a:lnTo>
                  <a:pt x="5692613" y="3130057"/>
                </a:lnTo>
                <a:lnTo>
                  <a:pt x="5693239" y="3188297"/>
                </a:lnTo>
                <a:lnTo>
                  <a:pt x="5695261" y="3243924"/>
                </a:lnTo>
                <a:lnTo>
                  <a:pt x="5698898" y="3296819"/>
                </a:lnTo>
                <a:lnTo>
                  <a:pt x="5704367" y="3346863"/>
                </a:lnTo>
                <a:lnTo>
                  <a:pt x="5711888" y="3393940"/>
                </a:lnTo>
                <a:lnTo>
                  <a:pt x="5721677" y="3437930"/>
                </a:lnTo>
                <a:lnTo>
                  <a:pt x="5733954" y="3478715"/>
                </a:lnTo>
                <a:lnTo>
                  <a:pt x="5748936" y="3516176"/>
                </a:lnTo>
                <a:lnTo>
                  <a:pt x="5766842" y="3550197"/>
                </a:lnTo>
                <a:lnTo>
                  <a:pt x="5812296" y="3607441"/>
                </a:lnTo>
                <a:lnTo>
                  <a:pt x="5872062" y="3649501"/>
                </a:lnTo>
                <a:lnTo>
                  <a:pt x="5907857" y="3664541"/>
                </a:lnTo>
                <a:lnTo>
                  <a:pt x="5947885" y="3675430"/>
                </a:lnTo>
                <a:lnTo>
                  <a:pt x="5992363" y="3682051"/>
                </a:lnTo>
                <a:lnTo>
                  <a:pt x="6041510" y="3684284"/>
                </a:lnTo>
                <a:lnTo>
                  <a:pt x="6041510" y="3781106"/>
                </a:lnTo>
                <a:lnTo>
                  <a:pt x="5987987" y="3779217"/>
                </a:lnTo>
                <a:lnTo>
                  <a:pt x="5938507" y="3773604"/>
                </a:lnTo>
                <a:lnTo>
                  <a:pt x="5892927" y="3764350"/>
                </a:lnTo>
                <a:lnTo>
                  <a:pt x="5851109" y="3751538"/>
                </a:lnTo>
                <a:lnTo>
                  <a:pt x="5812912" y="3735251"/>
                </a:lnTo>
                <a:lnTo>
                  <a:pt x="5778195" y="3715570"/>
                </a:lnTo>
                <a:lnTo>
                  <a:pt x="5746818" y="3692580"/>
                </a:lnTo>
                <a:lnTo>
                  <a:pt x="5718642" y="3666361"/>
                </a:lnTo>
                <a:lnTo>
                  <a:pt x="5693526" y="3636998"/>
                </a:lnTo>
                <a:lnTo>
                  <a:pt x="5671329" y="3604572"/>
                </a:lnTo>
                <a:lnTo>
                  <a:pt x="5651912" y="3569166"/>
                </a:lnTo>
                <a:lnTo>
                  <a:pt x="5635134" y="3530863"/>
                </a:lnTo>
                <a:lnTo>
                  <a:pt x="5620855" y="3489745"/>
                </a:lnTo>
                <a:lnTo>
                  <a:pt x="5608935" y="3445896"/>
                </a:lnTo>
                <a:lnTo>
                  <a:pt x="5599234" y="3399397"/>
                </a:lnTo>
                <a:lnTo>
                  <a:pt x="5591611" y="3350332"/>
                </a:lnTo>
                <a:lnTo>
                  <a:pt x="5585926" y="3298782"/>
                </a:lnTo>
                <a:lnTo>
                  <a:pt x="5582039" y="3244832"/>
                </a:lnTo>
                <a:lnTo>
                  <a:pt x="5579809" y="3188562"/>
                </a:lnTo>
                <a:lnTo>
                  <a:pt x="5579098" y="3130057"/>
                </a:lnTo>
                <a:lnTo>
                  <a:pt x="5579833" y="3071801"/>
                </a:lnTo>
                <a:lnTo>
                  <a:pt x="5582129" y="3015781"/>
                </a:lnTo>
                <a:lnTo>
                  <a:pt x="5586118" y="2962076"/>
                </a:lnTo>
                <a:lnTo>
                  <a:pt x="5591931" y="2910770"/>
                </a:lnTo>
                <a:lnTo>
                  <a:pt x="5599704" y="2861942"/>
                </a:lnTo>
                <a:lnTo>
                  <a:pt x="5609567" y="2815675"/>
                </a:lnTo>
                <a:lnTo>
                  <a:pt x="5621653" y="2772049"/>
                </a:lnTo>
                <a:lnTo>
                  <a:pt x="5636096" y="2731147"/>
                </a:lnTo>
                <a:lnTo>
                  <a:pt x="5653028" y="2693049"/>
                </a:lnTo>
                <a:lnTo>
                  <a:pt x="5672581" y="2657837"/>
                </a:lnTo>
                <a:lnTo>
                  <a:pt x="5694889" y="2625592"/>
                </a:lnTo>
                <a:lnTo>
                  <a:pt x="5720085" y="2596396"/>
                </a:lnTo>
                <a:lnTo>
                  <a:pt x="5748300" y="2570330"/>
                </a:lnTo>
                <a:lnTo>
                  <a:pt x="5779667" y="2547475"/>
                </a:lnTo>
                <a:lnTo>
                  <a:pt x="5814320" y="2527914"/>
                </a:lnTo>
                <a:lnTo>
                  <a:pt x="5852391" y="2511726"/>
                </a:lnTo>
                <a:lnTo>
                  <a:pt x="5894013" y="2498994"/>
                </a:lnTo>
                <a:lnTo>
                  <a:pt x="5939318" y="2489799"/>
                </a:lnTo>
                <a:lnTo>
                  <a:pt x="5988439" y="2484222"/>
                </a:lnTo>
                <a:close/>
                <a:moveTo>
                  <a:pt x="5337245" y="1851325"/>
                </a:moveTo>
                <a:lnTo>
                  <a:pt x="6242037" y="1851325"/>
                </a:lnTo>
                <a:lnTo>
                  <a:pt x="6242037" y="1958164"/>
                </a:lnTo>
                <a:lnTo>
                  <a:pt x="5337245" y="1958164"/>
                </a:lnTo>
                <a:close/>
                <a:moveTo>
                  <a:pt x="3825296" y="1851325"/>
                </a:moveTo>
                <a:lnTo>
                  <a:pt x="4730088" y="1851325"/>
                </a:lnTo>
                <a:lnTo>
                  <a:pt x="4730088" y="1958164"/>
                </a:lnTo>
                <a:lnTo>
                  <a:pt x="3825296" y="1958164"/>
                </a:lnTo>
                <a:close/>
                <a:moveTo>
                  <a:pt x="6849172" y="1681043"/>
                </a:moveTo>
                <a:lnTo>
                  <a:pt x="7326608" y="1681043"/>
                </a:lnTo>
                <a:lnTo>
                  <a:pt x="7326608" y="1786212"/>
                </a:lnTo>
                <a:lnTo>
                  <a:pt x="6849172" y="1786212"/>
                </a:lnTo>
                <a:close/>
                <a:moveTo>
                  <a:pt x="5337245" y="1502429"/>
                </a:moveTo>
                <a:lnTo>
                  <a:pt x="6242037" y="1502429"/>
                </a:lnTo>
                <a:lnTo>
                  <a:pt x="6242037" y="1609267"/>
                </a:lnTo>
                <a:lnTo>
                  <a:pt x="5337245" y="1609267"/>
                </a:lnTo>
                <a:close/>
                <a:moveTo>
                  <a:pt x="3825296" y="1502429"/>
                </a:moveTo>
                <a:lnTo>
                  <a:pt x="4730088" y="1502429"/>
                </a:lnTo>
                <a:lnTo>
                  <a:pt x="4730088" y="1609267"/>
                </a:lnTo>
                <a:lnTo>
                  <a:pt x="3825296" y="1609267"/>
                </a:lnTo>
                <a:close/>
                <a:moveTo>
                  <a:pt x="7037373" y="348896"/>
                </a:moveTo>
                <a:lnTo>
                  <a:pt x="7942165" y="348896"/>
                </a:lnTo>
                <a:lnTo>
                  <a:pt x="7942165" y="455734"/>
                </a:lnTo>
                <a:lnTo>
                  <a:pt x="7037373" y="455734"/>
                </a:lnTo>
                <a:close/>
                <a:moveTo>
                  <a:pt x="5525404" y="348896"/>
                </a:moveTo>
                <a:lnTo>
                  <a:pt x="6430196" y="348896"/>
                </a:lnTo>
                <a:lnTo>
                  <a:pt x="6430196" y="455734"/>
                </a:lnTo>
                <a:lnTo>
                  <a:pt x="5525404" y="455734"/>
                </a:lnTo>
                <a:close/>
                <a:moveTo>
                  <a:pt x="7037373" y="0"/>
                </a:moveTo>
                <a:lnTo>
                  <a:pt x="7942165" y="0"/>
                </a:lnTo>
                <a:lnTo>
                  <a:pt x="7942165" y="106839"/>
                </a:lnTo>
                <a:lnTo>
                  <a:pt x="7037373" y="106839"/>
                </a:lnTo>
                <a:close/>
                <a:moveTo>
                  <a:pt x="5525404" y="0"/>
                </a:moveTo>
                <a:lnTo>
                  <a:pt x="6430196" y="0"/>
                </a:lnTo>
                <a:lnTo>
                  <a:pt x="6430196" y="106839"/>
                </a:lnTo>
                <a:lnTo>
                  <a:pt x="5525404" y="106839"/>
                </a:lnTo>
                <a:close/>
              </a:path>
            </a:pathLst>
          </a:custGeom>
          <a:solidFill>
            <a:srgbClr val="4D7836"/>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175067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reaker H">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7326C215-F3F2-4DB9-8B13-8FADB0ABB2EE}" type="datetime2">
              <a:rPr lang="da-DK" smtClean="0"/>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6" name="Mikro grafik 1">
            <a:extLst>
              <a:ext uri="{FF2B5EF4-FFF2-40B4-BE49-F238E27FC236}">
                <a16:creationId xmlns:a16="http://schemas.microsoft.com/office/drawing/2014/main" id="{6CC62A60-7680-83DC-FF01-8D34130F5DA8}"/>
              </a:ext>
            </a:extLst>
          </p:cNvPr>
          <p:cNvSpPr/>
          <p:nvPr userDrawn="1"/>
        </p:nvSpPr>
        <p:spPr>
          <a:xfrm>
            <a:off x="346105" y="1028469"/>
            <a:ext cx="3864836" cy="3086563"/>
          </a:xfrm>
          <a:custGeom>
            <a:avLst/>
            <a:gdLst>
              <a:gd name="connsiteX0" fmla="*/ 8393513 w 8497013"/>
              <a:gd name="connsiteY0" fmla="*/ 6508832 h 6785945"/>
              <a:gd name="connsiteX1" fmla="*/ 8435743 w 8497013"/>
              <a:gd name="connsiteY1" fmla="*/ 6512510 h 6785945"/>
              <a:gd name="connsiteX2" fmla="*/ 8468426 w 8497013"/>
              <a:gd name="connsiteY2" fmla="*/ 6525734 h 6785945"/>
              <a:gd name="connsiteX3" fmla="*/ 8489527 w 8497013"/>
              <a:gd name="connsiteY3" fmla="*/ 6551791 h 6785945"/>
              <a:gd name="connsiteX4" fmla="*/ 8497013 w 8497013"/>
              <a:gd name="connsiteY4" fmla="*/ 6593969 h 6785945"/>
              <a:gd name="connsiteX5" fmla="*/ 8489527 w 8497013"/>
              <a:gd name="connsiteY5" fmla="*/ 6638076 h 6785945"/>
              <a:gd name="connsiteX6" fmla="*/ 8468426 w 8497013"/>
              <a:gd name="connsiteY6" fmla="*/ 6665125 h 6785945"/>
              <a:gd name="connsiteX7" fmla="*/ 8435743 w 8497013"/>
              <a:gd name="connsiteY7" fmla="*/ 6678715 h 6785945"/>
              <a:gd name="connsiteX8" fmla="*/ 8393513 w 8497013"/>
              <a:gd name="connsiteY8" fmla="*/ 6682444 h 6785945"/>
              <a:gd name="connsiteX9" fmla="*/ 8351283 w 8497013"/>
              <a:gd name="connsiteY9" fmla="*/ 6678715 h 6785945"/>
              <a:gd name="connsiteX10" fmla="*/ 8318600 w 8497013"/>
              <a:gd name="connsiteY10" fmla="*/ 6665125 h 6785945"/>
              <a:gd name="connsiteX11" fmla="*/ 8297498 w 8497013"/>
              <a:gd name="connsiteY11" fmla="*/ 6638076 h 6785945"/>
              <a:gd name="connsiteX12" fmla="*/ 8290013 w 8497013"/>
              <a:gd name="connsiteY12" fmla="*/ 6593969 h 6785945"/>
              <a:gd name="connsiteX13" fmla="*/ 8297733 w 8497013"/>
              <a:gd name="connsiteY13" fmla="*/ 6551791 h 6785945"/>
              <a:gd name="connsiteX14" fmla="*/ 8319226 w 8497013"/>
              <a:gd name="connsiteY14" fmla="*/ 6525734 h 6785945"/>
              <a:gd name="connsiteX15" fmla="*/ 8351987 w 8497013"/>
              <a:gd name="connsiteY15" fmla="*/ 6512510 h 6785945"/>
              <a:gd name="connsiteX16" fmla="*/ 5162785 w 8497013"/>
              <a:gd name="connsiteY16" fmla="*/ 6508832 h 6785945"/>
              <a:gd name="connsiteX17" fmla="*/ 5205015 w 8497013"/>
              <a:gd name="connsiteY17" fmla="*/ 6512510 h 6785945"/>
              <a:gd name="connsiteX18" fmla="*/ 5237697 w 8497013"/>
              <a:gd name="connsiteY18" fmla="*/ 6525734 h 6785945"/>
              <a:gd name="connsiteX19" fmla="*/ 5258799 w 8497013"/>
              <a:gd name="connsiteY19" fmla="*/ 6551791 h 6785945"/>
              <a:gd name="connsiteX20" fmla="*/ 5266284 w 8497013"/>
              <a:gd name="connsiteY20" fmla="*/ 6593969 h 6785945"/>
              <a:gd name="connsiteX21" fmla="*/ 5258799 w 8497013"/>
              <a:gd name="connsiteY21" fmla="*/ 6638076 h 6785945"/>
              <a:gd name="connsiteX22" fmla="*/ 5237697 w 8497013"/>
              <a:gd name="connsiteY22" fmla="*/ 6665125 h 6785945"/>
              <a:gd name="connsiteX23" fmla="*/ 5205015 w 8497013"/>
              <a:gd name="connsiteY23" fmla="*/ 6678715 h 6785945"/>
              <a:gd name="connsiteX24" fmla="*/ 5162785 w 8497013"/>
              <a:gd name="connsiteY24" fmla="*/ 6682444 h 6785945"/>
              <a:gd name="connsiteX25" fmla="*/ 5120555 w 8497013"/>
              <a:gd name="connsiteY25" fmla="*/ 6678715 h 6785945"/>
              <a:gd name="connsiteX26" fmla="*/ 5087872 w 8497013"/>
              <a:gd name="connsiteY26" fmla="*/ 6665125 h 6785945"/>
              <a:gd name="connsiteX27" fmla="*/ 5066771 w 8497013"/>
              <a:gd name="connsiteY27" fmla="*/ 6638076 h 6785945"/>
              <a:gd name="connsiteX28" fmla="*/ 5059285 w 8497013"/>
              <a:gd name="connsiteY28" fmla="*/ 6593969 h 6785945"/>
              <a:gd name="connsiteX29" fmla="*/ 5067005 w 8497013"/>
              <a:gd name="connsiteY29" fmla="*/ 6551791 h 6785945"/>
              <a:gd name="connsiteX30" fmla="*/ 5088499 w 8497013"/>
              <a:gd name="connsiteY30" fmla="*/ 6525734 h 6785945"/>
              <a:gd name="connsiteX31" fmla="*/ 5121260 w 8497013"/>
              <a:gd name="connsiteY31" fmla="*/ 6512510 h 6785945"/>
              <a:gd name="connsiteX32" fmla="*/ 6674635 w 8497013"/>
              <a:gd name="connsiteY32" fmla="*/ 6508827 h 6785945"/>
              <a:gd name="connsiteX33" fmla="*/ 6881636 w 8497013"/>
              <a:gd name="connsiteY33" fmla="*/ 6508827 h 6785945"/>
              <a:gd name="connsiteX34" fmla="*/ 6881636 w 8497013"/>
              <a:gd name="connsiteY34" fmla="*/ 6682440 h 6785945"/>
              <a:gd name="connsiteX35" fmla="*/ 6674635 w 8497013"/>
              <a:gd name="connsiteY35" fmla="*/ 6682440 h 6785945"/>
              <a:gd name="connsiteX36" fmla="*/ 1511898 w 8497013"/>
              <a:gd name="connsiteY36" fmla="*/ 6358592 h 6785945"/>
              <a:gd name="connsiteX37" fmla="*/ 2416689 w 8497013"/>
              <a:gd name="connsiteY37" fmla="*/ 6358592 h 6785945"/>
              <a:gd name="connsiteX38" fmla="*/ 2416689 w 8497013"/>
              <a:gd name="connsiteY38" fmla="*/ 6465429 h 6785945"/>
              <a:gd name="connsiteX39" fmla="*/ 1511898 w 8497013"/>
              <a:gd name="connsiteY39" fmla="*/ 6465429 h 6785945"/>
              <a:gd name="connsiteX40" fmla="*/ 0 w 8497013"/>
              <a:gd name="connsiteY40" fmla="*/ 6358592 h 6785945"/>
              <a:gd name="connsiteX41" fmla="*/ 904792 w 8497013"/>
              <a:gd name="connsiteY41" fmla="*/ 6358592 h 6785945"/>
              <a:gd name="connsiteX42" fmla="*/ 904792 w 8497013"/>
              <a:gd name="connsiteY42" fmla="*/ 6465429 h 6785945"/>
              <a:gd name="connsiteX43" fmla="*/ 0 w 8497013"/>
              <a:gd name="connsiteY43" fmla="*/ 6465429 h 6785945"/>
              <a:gd name="connsiteX44" fmla="*/ 1511898 w 8497013"/>
              <a:gd name="connsiteY44" fmla="*/ 6009695 h 6785945"/>
              <a:gd name="connsiteX45" fmla="*/ 2416689 w 8497013"/>
              <a:gd name="connsiteY45" fmla="*/ 6009695 h 6785945"/>
              <a:gd name="connsiteX46" fmla="*/ 2416689 w 8497013"/>
              <a:gd name="connsiteY46" fmla="*/ 6116533 h 6785945"/>
              <a:gd name="connsiteX47" fmla="*/ 1511898 w 8497013"/>
              <a:gd name="connsiteY47" fmla="*/ 6116533 h 6785945"/>
              <a:gd name="connsiteX48" fmla="*/ 0 w 8497013"/>
              <a:gd name="connsiteY48" fmla="*/ 6009695 h 6785945"/>
              <a:gd name="connsiteX49" fmla="*/ 904792 w 8497013"/>
              <a:gd name="connsiteY49" fmla="*/ 6009695 h 6785945"/>
              <a:gd name="connsiteX50" fmla="*/ 904792 w 8497013"/>
              <a:gd name="connsiteY50" fmla="*/ 6116533 h 6785945"/>
              <a:gd name="connsiteX51" fmla="*/ 0 w 8497013"/>
              <a:gd name="connsiteY51" fmla="*/ 6116533 h 6785945"/>
              <a:gd name="connsiteX52" fmla="*/ 8393513 w 8497013"/>
              <a:gd name="connsiteY52" fmla="*/ 5807701 h 6785945"/>
              <a:gd name="connsiteX53" fmla="*/ 8435743 w 8497013"/>
              <a:gd name="connsiteY53" fmla="*/ 5811170 h 6785945"/>
              <a:gd name="connsiteX54" fmla="*/ 8468426 w 8497013"/>
              <a:gd name="connsiteY54" fmla="*/ 5824185 h 6785945"/>
              <a:gd name="connsiteX55" fmla="*/ 8489527 w 8497013"/>
              <a:gd name="connsiteY55" fmla="*/ 5850660 h 6785945"/>
              <a:gd name="connsiteX56" fmla="*/ 8497013 w 8497013"/>
              <a:gd name="connsiteY56" fmla="*/ 5894506 h 6785945"/>
              <a:gd name="connsiteX57" fmla="*/ 8489527 w 8497013"/>
              <a:gd name="connsiteY57" fmla="*/ 5936945 h 6785945"/>
              <a:gd name="connsiteX58" fmla="*/ 8468426 w 8497013"/>
              <a:gd name="connsiteY58" fmla="*/ 5963576 h 6785945"/>
              <a:gd name="connsiteX59" fmla="*/ 8435743 w 8497013"/>
              <a:gd name="connsiteY59" fmla="*/ 5977374 h 6785945"/>
              <a:gd name="connsiteX60" fmla="*/ 8393513 w 8497013"/>
              <a:gd name="connsiteY60" fmla="*/ 5981313 h 6785945"/>
              <a:gd name="connsiteX61" fmla="*/ 8352248 w 8497013"/>
              <a:gd name="connsiteY61" fmla="*/ 5977374 h 6785945"/>
              <a:gd name="connsiteX62" fmla="*/ 8320060 w 8497013"/>
              <a:gd name="connsiteY62" fmla="*/ 5963576 h 6785945"/>
              <a:gd name="connsiteX63" fmla="*/ 8299141 w 8497013"/>
              <a:gd name="connsiteY63" fmla="*/ 5936945 h 6785945"/>
              <a:gd name="connsiteX64" fmla="*/ 8291681 w 8497013"/>
              <a:gd name="connsiteY64" fmla="*/ 5894506 h 6785945"/>
              <a:gd name="connsiteX65" fmla="*/ 8299141 w 8497013"/>
              <a:gd name="connsiteY65" fmla="*/ 5850660 h 6785945"/>
              <a:gd name="connsiteX66" fmla="*/ 8320060 w 8497013"/>
              <a:gd name="connsiteY66" fmla="*/ 5824185 h 6785945"/>
              <a:gd name="connsiteX67" fmla="*/ 8352248 w 8497013"/>
              <a:gd name="connsiteY67" fmla="*/ 5811170 h 6785945"/>
              <a:gd name="connsiteX68" fmla="*/ 5162785 w 8497013"/>
              <a:gd name="connsiteY68" fmla="*/ 5807701 h 6785945"/>
              <a:gd name="connsiteX69" fmla="*/ 5205015 w 8497013"/>
              <a:gd name="connsiteY69" fmla="*/ 5811170 h 6785945"/>
              <a:gd name="connsiteX70" fmla="*/ 5237697 w 8497013"/>
              <a:gd name="connsiteY70" fmla="*/ 5824185 h 6785945"/>
              <a:gd name="connsiteX71" fmla="*/ 5258799 w 8497013"/>
              <a:gd name="connsiteY71" fmla="*/ 5850660 h 6785945"/>
              <a:gd name="connsiteX72" fmla="*/ 5266284 w 8497013"/>
              <a:gd name="connsiteY72" fmla="*/ 5894506 h 6785945"/>
              <a:gd name="connsiteX73" fmla="*/ 5258799 w 8497013"/>
              <a:gd name="connsiteY73" fmla="*/ 5936945 h 6785945"/>
              <a:gd name="connsiteX74" fmla="*/ 5237697 w 8497013"/>
              <a:gd name="connsiteY74" fmla="*/ 5963576 h 6785945"/>
              <a:gd name="connsiteX75" fmla="*/ 5205015 w 8497013"/>
              <a:gd name="connsiteY75" fmla="*/ 5977374 h 6785945"/>
              <a:gd name="connsiteX76" fmla="*/ 5162785 w 8497013"/>
              <a:gd name="connsiteY76" fmla="*/ 5981313 h 6785945"/>
              <a:gd name="connsiteX77" fmla="*/ 5121521 w 8497013"/>
              <a:gd name="connsiteY77" fmla="*/ 5977374 h 6785945"/>
              <a:gd name="connsiteX78" fmla="*/ 5089334 w 8497013"/>
              <a:gd name="connsiteY78" fmla="*/ 5963576 h 6785945"/>
              <a:gd name="connsiteX79" fmla="*/ 5068415 w 8497013"/>
              <a:gd name="connsiteY79" fmla="*/ 5936945 h 6785945"/>
              <a:gd name="connsiteX80" fmla="*/ 5060955 w 8497013"/>
              <a:gd name="connsiteY80" fmla="*/ 5894506 h 6785945"/>
              <a:gd name="connsiteX81" fmla="*/ 5068415 w 8497013"/>
              <a:gd name="connsiteY81" fmla="*/ 5850660 h 6785945"/>
              <a:gd name="connsiteX82" fmla="*/ 5089334 w 8497013"/>
              <a:gd name="connsiteY82" fmla="*/ 5824185 h 6785945"/>
              <a:gd name="connsiteX83" fmla="*/ 5121521 w 8497013"/>
              <a:gd name="connsiteY83" fmla="*/ 5811170 h 6785945"/>
              <a:gd name="connsiteX84" fmla="*/ 4008189 w 8497013"/>
              <a:gd name="connsiteY84" fmla="*/ 5487184 h 6785945"/>
              <a:gd name="connsiteX85" fmla="*/ 4061259 w 8497013"/>
              <a:gd name="connsiteY85" fmla="*/ 5489060 h 6785945"/>
              <a:gd name="connsiteX86" fmla="*/ 4110380 w 8497013"/>
              <a:gd name="connsiteY86" fmla="*/ 5494637 h 6785945"/>
              <a:gd name="connsiteX87" fmla="*/ 4155685 w 8497013"/>
              <a:gd name="connsiteY87" fmla="*/ 5503832 h 6785945"/>
              <a:gd name="connsiteX88" fmla="*/ 4197307 w 8497013"/>
              <a:gd name="connsiteY88" fmla="*/ 5516564 h 6785945"/>
              <a:gd name="connsiteX89" fmla="*/ 4235378 w 8497013"/>
              <a:gd name="connsiteY89" fmla="*/ 5532752 h 6785945"/>
              <a:gd name="connsiteX90" fmla="*/ 4270031 w 8497013"/>
              <a:gd name="connsiteY90" fmla="*/ 5552313 h 6785945"/>
              <a:gd name="connsiteX91" fmla="*/ 4301398 w 8497013"/>
              <a:gd name="connsiteY91" fmla="*/ 5575168 h 6785945"/>
              <a:gd name="connsiteX92" fmla="*/ 4329613 w 8497013"/>
              <a:gd name="connsiteY92" fmla="*/ 5601234 h 6785945"/>
              <a:gd name="connsiteX93" fmla="*/ 4354810 w 8497013"/>
              <a:gd name="connsiteY93" fmla="*/ 5630430 h 6785945"/>
              <a:gd name="connsiteX94" fmla="*/ 4377118 w 8497013"/>
              <a:gd name="connsiteY94" fmla="*/ 5662675 h 6785945"/>
              <a:gd name="connsiteX95" fmla="*/ 4396671 w 8497013"/>
              <a:gd name="connsiteY95" fmla="*/ 5697887 h 6785945"/>
              <a:gd name="connsiteX96" fmla="*/ 4413603 w 8497013"/>
              <a:gd name="connsiteY96" fmla="*/ 5735985 h 6785945"/>
              <a:gd name="connsiteX97" fmla="*/ 4428046 w 8497013"/>
              <a:gd name="connsiteY97" fmla="*/ 5776887 h 6785945"/>
              <a:gd name="connsiteX98" fmla="*/ 4440133 w 8497013"/>
              <a:gd name="connsiteY98" fmla="*/ 5820513 h 6785945"/>
              <a:gd name="connsiteX99" fmla="*/ 4449996 w 8497013"/>
              <a:gd name="connsiteY99" fmla="*/ 5866781 h 6785945"/>
              <a:gd name="connsiteX100" fmla="*/ 4457768 w 8497013"/>
              <a:gd name="connsiteY100" fmla="*/ 5915609 h 6785945"/>
              <a:gd name="connsiteX101" fmla="*/ 4463582 w 8497013"/>
              <a:gd name="connsiteY101" fmla="*/ 5966915 h 6785945"/>
              <a:gd name="connsiteX102" fmla="*/ 4467570 w 8497013"/>
              <a:gd name="connsiteY102" fmla="*/ 6020620 h 6785945"/>
              <a:gd name="connsiteX103" fmla="*/ 4469866 w 8497013"/>
              <a:gd name="connsiteY103" fmla="*/ 6076640 h 6785945"/>
              <a:gd name="connsiteX104" fmla="*/ 4470602 w 8497013"/>
              <a:gd name="connsiteY104" fmla="*/ 6134896 h 6785945"/>
              <a:gd name="connsiteX105" fmla="*/ 4469902 w 8497013"/>
              <a:gd name="connsiteY105" fmla="*/ 6193401 h 6785945"/>
              <a:gd name="connsiteX106" fmla="*/ 4467705 w 8497013"/>
              <a:gd name="connsiteY106" fmla="*/ 6249671 h 6785945"/>
              <a:gd name="connsiteX107" fmla="*/ 4463869 w 8497013"/>
              <a:gd name="connsiteY107" fmla="*/ 6303621 h 6785945"/>
              <a:gd name="connsiteX108" fmla="*/ 4458248 w 8497013"/>
              <a:gd name="connsiteY108" fmla="*/ 6355171 h 6785945"/>
              <a:gd name="connsiteX109" fmla="*/ 4450700 w 8497013"/>
              <a:gd name="connsiteY109" fmla="*/ 6404236 h 6785945"/>
              <a:gd name="connsiteX110" fmla="*/ 4441079 w 8497013"/>
              <a:gd name="connsiteY110" fmla="*/ 6450735 h 6785945"/>
              <a:gd name="connsiteX111" fmla="*/ 4429242 w 8497013"/>
              <a:gd name="connsiteY111" fmla="*/ 6494584 h 6785945"/>
              <a:gd name="connsiteX112" fmla="*/ 4415045 w 8497013"/>
              <a:gd name="connsiteY112" fmla="*/ 6535702 h 6785945"/>
              <a:gd name="connsiteX113" fmla="*/ 4398345 w 8497013"/>
              <a:gd name="connsiteY113" fmla="*/ 6574005 h 6785945"/>
              <a:gd name="connsiteX114" fmla="*/ 4378996 w 8497013"/>
              <a:gd name="connsiteY114" fmla="*/ 6609411 h 6785945"/>
              <a:gd name="connsiteX115" fmla="*/ 4356855 w 8497013"/>
              <a:gd name="connsiteY115" fmla="*/ 6641837 h 6785945"/>
              <a:gd name="connsiteX116" fmla="*/ 4331777 w 8497013"/>
              <a:gd name="connsiteY116" fmla="*/ 6671200 h 6785945"/>
              <a:gd name="connsiteX117" fmla="*/ 4303620 w 8497013"/>
              <a:gd name="connsiteY117" fmla="*/ 6697419 h 6785945"/>
              <a:gd name="connsiteX118" fmla="*/ 4272239 w 8497013"/>
              <a:gd name="connsiteY118" fmla="*/ 6720409 h 6785945"/>
              <a:gd name="connsiteX119" fmla="*/ 4237491 w 8497013"/>
              <a:gd name="connsiteY119" fmla="*/ 6740090 h 6785945"/>
              <a:gd name="connsiteX120" fmla="*/ 4199230 w 8497013"/>
              <a:gd name="connsiteY120" fmla="*/ 6756377 h 6785945"/>
              <a:gd name="connsiteX121" fmla="*/ 4157313 w 8497013"/>
              <a:gd name="connsiteY121" fmla="*/ 6769189 h 6785945"/>
              <a:gd name="connsiteX122" fmla="*/ 4111597 w 8497013"/>
              <a:gd name="connsiteY122" fmla="*/ 6778443 h 6785945"/>
              <a:gd name="connsiteX123" fmla="*/ 4061937 w 8497013"/>
              <a:gd name="connsiteY123" fmla="*/ 6784056 h 6785945"/>
              <a:gd name="connsiteX124" fmla="*/ 4008189 w 8497013"/>
              <a:gd name="connsiteY124" fmla="*/ 6785945 h 6785945"/>
              <a:gd name="connsiteX125" fmla="*/ 4008189 w 8497013"/>
              <a:gd name="connsiteY125" fmla="*/ 6689123 h 6785945"/>
              <a:gd name="connsiteX126" fmla="*/ 4057874 w 8497013"/>
              <a:gd name="connsiteY126" fmla="*/ 6686890 h 6785945"/>
              <a:gd name="connsiteX127" fmla="*/ 4102795 w 8497013"/>
              <a:gd name="connsiteY127" fmla="*/ 6680269 h 6785945"/>
              <a:gd name="connsiteX128" fmla="*/ 4143177 w 8497013"/>
              <a:gd name="connsiteY128" fmla="*/ 6669380 h 6785945"/>
              <a:gd name="connsiteX129" fmla="*/ 4179248 w 8497013"/>
              <a:gd name="connsiteY129" fmla="*/ 6654340 h 6785945"/>
              <a:gd name="connsiteX130" fmla="*/ 4239359 w 8497013"/>
              <a:gd name="connsiteY130" fmla="*/ 6612280 h 6785945"/>
              <a:gd name="connsiteX131" fmla="*/ 4284939 w 8497013"/>
              <a:gd name="connsiteY131" fmla="*/ 6555036 h 6785945"/>
              <a:gd name="connsiteX132" fmla="*/ 4302844 w 8497013"/>
              <a:gd name="connsiteY132" fmla="*/ 6521015 h 6785945"/>
              <a:gd name="connsiteX133" fmla="*/ 4317796 w 8497013"/>
              <a:gd name="connsiteY133" fmla="*/ 6483554 h 6785945"/>
              <a:gd name="connsiteX134" fmla="*/ 4330020 w 8497013"/>
              <a:gd name="connsiteY134" fmla="*/ 6442769 h 6785945"/>
              <a:gd name="connsiteX135" fmla="*/ 4339743 w 8497013"/>
              <a:gd name="connsiteY135" fmla="*/ 6398779 h 6785945"/>
              <a:gd name="connsiteX136" fmla="*/ 4347190 w 8497013"/>
              <a:gd name="connsiteY136" fmla="*/ 6351702 h 6785945"/>
              <a:gd name="connsiteX137" fmla="*/ 4352590 w 8497013"/>
              <a:gd name="connsiteY137" fmla="*/ 6301658 h 6785945"/>
              <a:gd name="connsiteX138" fmla="*/ 4356166 w 8497013"/>
              <a:gd name="connsiteY138" fmla="*/ 6248763 h 6785945"/>
              <a:gd name="connsiteX139" fmla="*/ 4358145 w 8497013"/>
              <a:gd name="connsiteY139" fmla="*/ 6193136 h 6785945"/>
              <a:gd name="connsiteX140" fmla="*/ 4358755 w 8497013"/>
              <a:gd name="connsiteY140" fmla="*/ 6134896 h 6785945"/>
              <a:gd name="connsiteX141" fmla="*/ 4358113 w 8497013"/>
              <a:gd name="connsiteY141" fmla="*/ 6077227 h 6785945"/>
              <a:gd name="connsiteX142" fmla="*/ 4356043 w 8497013"/>
              <a:gd name="connsiteY142" fmla="*/ 6022138 h 6785945"/>
              <a:gd name="connsiteX143" fmla="*/ 4352333 w 8497013"/>
              <a:gd name="connsiteY143" fmla="*/ 5969745 h 6785945"/>
              <a:gd name="connsiteX144" fmla="*/ 4346766 w 8497013"/>
              <a:gd name="connsiteY144" fmla="*/ 5920169 h 6785945"/>
              <a:gd name="connsiteX145" fmla="*/ 4339131 w 8497013"/>
              <a:gd name="connsiteY145" fmla="*/ 5873525 h 6785945"/>
              <a:gd name="connsiteX146" fmla="*/ 4329213 w 8497013"/>
              <a:gd name="connsiteY146" fmla="*/ 5829933 h 6785945"/>
              <a:gd name="connsiteX147" fmla="*/ 4316797 w 8497013"/>
              <a:gd name="connsiteY147" fmla="*/ 5789512 h 6785945"/>
              <a:gd name="connsiteX148" fmla="*/ 4301670 w 8497013"/>
              <a:gd name="connsiteY148" fmla="*/ 5752380 h 6785945"/>
              <a:gd name="connsiteX149" fmla="*/ 4283617 w 8497013"/>
              <a:gd name="connsiteY149" fmla="*/ 5718654 h 6785945"/>
              <a:gd name="connsiteX150" fmla="*/ 4237879 w 8497013"/>
              <a:gd name="connsiteY150" fmla="*/ 5661895 h 6785945"/>
              <a:gd name="connsiteX151" fmla="*/ 4177870 w 8497013"/>
              <a:gd name="connsiteY151" fmla="*/ 5620182 h 6785945"/>
              <a:gd name="connsiteX152" fmla="*/ 4141978 w 8497013"/>
              <a:gd name="connsiteY152" fmla="*/ 5605263 h 6785945"/>
              <a:gd name="connsiteX153" fmla="*/ 4101877 w 8497013"/>
              <a:gd name="connsiteY153" fmla="*/ 5594460 h 6785945"/>
              <a:gd name="connsiteX154" fmla="*/ 4057352 w 8497013"/>
              <a:gd name="connsiteY154" fmla="*/ 5587892 h 6785945"/>
              <a:gd name="connsiteX155" fmla="*/ 4008189 w 8497013"/>
              <a:gd name="connsiteY155" fmla="*/ 5585676 h 6785945"/>
              <a:gd name="connsiteX156" fmla="*/ 3491267 w 8497013"/>
              <a:gd name="connsiteY156" fmla="*/ 5487184 h 6785945"/>
              <a:gd name="connsiteX157" fmla="*/ 3491267 w 8497013"/>
              <a:gd name="connsiteY157" fmla="*/ 5585676 h 6785945"/>
              <a:gd name="connsiteX158" fmla="*/ 3442381 w 8497013"/>
              <a:gd name="connsiteY158" fmla="*/ 5587892 h 6785945"/>
              <a:gd name="connsiteX159" fmla="*/ 3398103 w 8497013"/>
              <a:gd name="connsiteY159" fmla="*/ 5594460 h 6785945"/>
              <a:gd name="connsiteX160" fmla="*/ 3358217 w 8497013"/>
              <a:gd name="connsiteY160" fmla="*/ 5605263 h 6785945"/>
              <a:gd name="connsiteX161" fmla="*/ 3322510 w 8497013"/>
              <a:gd name="connsiteY161" fmla="*/ 5620182 h 6785945"/>
              <a:gd name="connsiteX162" fmla="*/ 3262795 w 8497013"/>
              <a:gd name="connsiteY162" fmla="*/ 5661895 h 6785945"/>
              <a:gd name="connsiteX163" fmla="*/ 3217261 w 8497013"/>
              <a:gd name="connsiteY163" fmla="*/ 5718654 h 6785945"/>
              <a:gd name="connsiteX164" fmla="*/ 3199282 w 8497013"/>
              <a:gd name="connsiteY164" fmla="*/ 5752380 h 6785945"/>
              <a:gd name="connsiteX165" fmla="*/ 3184213 w 8497013"/>
              <a:gd name="connsiteY165" fmla="*/ 5789512 h 6785945"/>
              <a:gd name="connsiteX166" fmla="*/ 3171840 w 8497013"/>
              <a:gd name="connsiteY166" fmla="*/ 5829933 h 6785945"/>
              <a:gd name="connsiteX167" fmla="*/ 3161952 w 8497013"/>
              <a:gd name="connsiteY167" fmla="*/ 5873525 h 6785945"/>
              <a:gd name="connsiteX168" fmla="*/ 3154338 w 8497013"/>
              <a:gd name="connsiteY168" fmla="*/ 5920169 h 6785945"/>
              <a:gd name="connsiteX169" fmla="*/ 3148785 w 8497013"/>
              <a:gd name="connsiteY169" fmla="*/ 5969745 h 6785945"/>
              <a:gd name="connsiteX170" fmla="*/ 3145081 w 8497013"/>
              <a:gd name="connsiteY170" fmla="*/ 6022138 h 6785945"/>
              <a:gd name="connsiteX171" fmla="*/ 3143014 w 8497013"/>
              <a:gd name="connsiteY171" fmla="*/ 6077227 h 6785945"/>
              <a:gd name="connsiteX172" fmla="*/ 3142372 w 8497013"/>
              <a:gd name="connsiteY172" fmla="*/ 6134896 h 6785945"/>
              <a:gd name="connsiteX173" fmla="*/ 3142997 w 8497013"/>
              <a:gd name="connsiteY173" fmla="*/ 6193136 h 6785945"/>
              <a:gd name="connsiteX174" fmla="*/ 3145020 w 8497013"/>
              <a:gd name="connsiteY174" fmla="*/ 6248763 h 6785945"/>
              <a:gd name="connsiteX175" fmla="*/ 3148657 w 8497013"/>
              <a:gd name="connsiteY175" fmla="*/ 6301658 h 6785945"/>
              <a:gd name="connsiteX176" fmla="*/ 3154126 w 8497013"/>
              <a:gd name="connsiteY176" fmla="*/ 6351702 h 6785945"/>
              <a:gd name="connsiteX177" fmla="*/ 3161647 w 8497013"/>
              <a:gd name="connsiteY177" fmla="*/ 6398779 h 6785945"/>
              <a:gd name="connsiteX178" fmla="*/ 3171437 w 8497013"/>
              <a:gd name="connsiteY178" fmla="*/ 6442769 h 6785945"/>
              <a:gd name="connsiteX179" fmla="*/ 3183713 w 8497013"/>
              <a:gd name="connsiteY179" fmla="*/ 6483554 h 6785945"/>
              <a:gd name="connsiteX180" fmla="*/ 3198695 w 8497013"/>
              <a:gd name="connsiteY180" fmla="*/ 6521015 h 6785945"/>
              <a:gd name="connsiteX181" fmla="*/ 3216602 w 8497013"/>
              <a:gd name="connsiteY181" fmla="*/ 6555036 h 6785945"/>
              <a:gd name="connsiteX182" fmla="*/ 3262055 w 8497013"/>
              <a:gd name="connsiteY182" fmla="*/ 6612280 h 6785945"/>
              <a:gd name="connsiteX183" fmla="*/ 3321821 w 8497013"/>
              <a:gd name="connsiteY183" fmla="*/ 6654340 h 6785945"/>
              <a:gd name="connsiteX184" fmla="*/ 3357617 w 8497013"/>
              <a:gd name="connsiteY184" fmla="*/ 6669380 h 6785945"/>
              <a:gd name="connsiteX185" fmla="*/ 3397644 w 8497013"/>
              <a:gd name="connsiteY185" fmla="*/ 6680269 h 6785945"/>
              <a:gd name="connsiteX186" fmla="*/ 3442120 w 8497013"/>
              <a:gd name="connsiteY186" fmla="*/ 6686890 h 6785945"/>
              <a:gd name="connsiteX187" fmla="*/ 3491267 w 8497013"/>
              <a:gd name="connsiteY187" fmla="*/ 6689123 h 6785945"/>
              <a:gd name="connsiteX188" fmla="*/ 3491267 w 8497013"/>
              <a:gd name="connsiteY188" fmla="*/ 6785945 h 6785945"/>
              <a:gd name="connsiteX189" fmla="*/ 3437744 w 8497013"/>
              <a:gd name="connsiteY189" fmla="*/ 6784056 h 6785945"/>
              <a:gd name="connsiteX190" fmla="*/ 3388267 w 8497013"/>
              <a:gd name="connsiteY190" fmla="*/ 6778443 h 6785945"/>
              <a:gd name="connsiteX191" fmla="*/ 3342687 w 8497013"/>
              <a:gd name="connsiteY191" fmla="*/ 6769189 h 6785945"/>
              <a:gd name="connsiteX192" fmla="*/ 3300868 w 8497013"/>
              <a:gd name="connsiteY192" fmla="*/ 6756377 h 6785945"/>
              <a:gd name="connsiteX193" fmla="*/ 3262672 w 8497013"/>
              <a:gd name="connsiteY193" fmla="*/ 6740090 h 6785945"/>
              <a:gd name="connsiteX194" fmla="*/ 3227954 w 8497013"/>
              <a:gd name="connsiteY194" fmla="*/ 6720409 h 6785945"/>
              <a:gd name="connsiteX195" fmla="*/ 3196577 w 8497013"/>
              <a:gd name="connsiteY195" fmla="*/ 6697419 h 6785945"/>
              <a:gd name="connsiteX196" fmla="*/ 3168401 w 8497013"/>
              <a:gd name="connsiteY196" fmla="*/ 6671200 h 6785945"/>
              <a:gd name="connsiteX197" fmla="*/ 3143286 w 8497013"/>
              <a:gd name="connsiteY197" fmla="*/ 6641837 h 6785945"/>
              <a:gd name="connsiteX198" fmla="*/ 3121088 w 8497013"/>
              <a:gd name="connsiteY198" fmla="*/ 6609411 h 6785945"/>
              <a:gd name="connsiteX199" fmla="*/ 3101671 w 8497013"/>
              <a:gd name="connsiteY199" fmla="*/ 6574005 h 6785945"/>
              <a:gd name="connsiteX200" fmla="*/ 3084893 w 8497013"/>
              <a:gd name="connsiteY200" fmla="*/ 6535702 h 6785945"/>
              <a:gd name="connsiteX201" fmla="*/ 3070614 w 8497013"/>
              <a:gd name="connsiteY201" fmla="*/ 6494584 h 6785945"/>
              <a:gd name="connsiteX202" fmla="*/ 3058694 w 8497013"/>
              <a:gd name="connsiteY202" fmla="*/ 6450735 h 6785945"/>
              <a:gd name="connsiteX203" fmla="*/ 3048993 w 8497013"/>
              <a:gd name="connsiteY203" fmla="*/ 6404236 h 6785945"/>
              <a:gd name="connsiteX204" fmla="*/ 3041370 w 8497013"/>
              <a:gd name="connsiteY204" fmla="*/ 6355171 h 6785945"/>
              <a:gd name="connsiteX205" fmla="*/ 3035685 w 8497013"/>
              <a:gd name="connsiteY205" fmla="*/ 6303621 h 6785945"/>
              <a:gd name="connsiteX206" fmla="*/ 3031798 w 8497013"/>
              <a:gd name="connsiteY206" fmla="*/ 6249671 h 6785945"/>
              <a:gd name="connsiteX207" fmla="*/ 3029568 w 8497013"/>
              <a:gd name="connsiteY207" fmla="*/ 6193401 h 6785945"/>
              <a:gd name="connsiteX208" fmla="*/ 3028857 w 8497013"/>
              <a:gd name="connsiteY208" fmla="*/ 6134896 h 6785945"/>
              <a:gd name="connsiteX209" fmla="*/ 3029592 w 8497013"/>
              <a:gd name="connsiteY209" fmla="*/ 6076640 h 6785945"/>
              <a:gd name="connsiteX210" fmla="*/ 3031888 w 8497013"/>
              <a:gd name="connsiteY210" fmla="*/ 6020620 h 6785945"/>
              <a:gd name="connsiteX211" fmla="*/ 3035877 w 8497013"/>
              <a:gd name="connsiteY211" fmla="*/ 5966915 h 6785945"/>
              <a:gd name="connsiteX212" fmla="*/ 3041690 w 8497013"/>
              <a:gd name="connsiteY212" fmla="*/ 5915609 h 6785945"/>
              <a:gd name="connsiteX213" fmla="*/ 3049463 w 8497013"/>
              <a:gd name="connsiteY213" fmla="*/ 5866781 h 6785945"/>
              <a:gd name="connsiteX214" fmla="*/ 3059326 w 8497013"/>
              <a:gd name="connsiteY214" fmla="*/ 5820513 h 6785945"/>
              <a:gd name="connsiteX215" fmla="*/ 3071412 w 8497013"/>
              <a:gd name="connsiteY215" fmla="*/ 5776887 h 6785945"/>
              <a:gd name="connsiteX216" fmla="*/ 3085855 w 8497013"/>
              <a:gd name="connsiteY216" fmla="*/ 5735985 h 6785945"/>
              <a:gd name="connsiteX217" fmla="*/ 3102787 w 8497013"/>
              <a:gd name="connsiteY217" fmla="*/ 5697887 h 6785945"/>
              <a:gd name="connsiteX218" fmla="*/ 3122341 w 8497013"/>
              <a:gd name="connsiteY218" fmla="*/ 5662675 h 6785945"/>
              <a:gd name="connsiteX219" fmla="*/ 3144649 w 8497013"/>
              <a:gd name="connsiteY219" fmla="*/ 5630430 h 6785945"/>
              <a:gd name="connsiteX220" fmla="*/ 3169844 w 8497013"/>
              <a:gd name="connsiteY220" fmla="*/ 5601234 h 6785945"/>
              <a:gd name="connsiteX221" fmla="*/ 3198060 w 8497013"/>
              <a:gd name="connsiteY221" fmla="*/ 5575168 h 6785945"/>
              <a:gd name="connsiteX222" fmla="*/ 3229427 w 8497013"/>
              <a:gd name="connsiteY222" fmla="*/ 5552313 h 6785945"/>
              <a:gd name="connsiteX223" fmla="*/ 3264079 w 8497013"/>
              <a:gd name="connsiteY223" fmla="*/ 5532752 h 6785945"/>
              <a:gd name="connsiteX224" fmla="*/ 3302151 w 8497013"/>
              <a:gd name="connsiteY224" fmla="*/ 5516564 h 6785945"/>
              <a:gd name="connsiteX225" fmla="*/ 3343773 w 8497013"/>
              <a:gd name="connsiteY225" fmla="*/ 5503832 h 6785945"/>
              <a:gd name="connsiteX226" fmla="*/ 3389078 w 8497013"/>
              <a:gd name="connsiteY226" fmla="*/ 5494637 h 6785945"/>
              <a:gd name="connsiteX227" fmla="*/ 3438196 w 8497013"/>
              <a:gd name="connsiteY227" fmla="*/ 5489060 h 6785945"/>
              <a:gd name="connsiteX228" fmla="*/ 5569411 w 8497013"/>
              <a:gd name="connsiteY228" fmla="*/ 5006403 h 6785945"/>
              <a:gd name="connsiteX229" fmla="*/ 5611640 w 8497013"/>
              <a:gd name="connsiteY229" fmla="*/ 5010081 h 6785945"/>
              <a:gd name="connsiteX230" fmla="*/ 5644323 w 8497013"/>
              <a:gd name="connsiteY230" fmla="*/ 5023305 h 6785945"/>
              <a:gd name="connsiteX231" fmla="*/ 5665424 w 8497013"/>
              <a:gd name="connsiteY231" fmla="*/ 5049363 h 6785945"/>
              <a:gd name="connsiteX232" fmla="*/ 5672910 w 8497013"/>
              <a:gd name="connsiteY232" fmla="*/ 5091541 h 6785945"/>
              <a:gd name="connsiteX233" fmla="*/ 5665424 w 8497013"/>
              <a:gd name="connsiteY233" fmla="*/ 5135648 h 6785945"/>
              <a:gd name="connsiteX234" fmla="*/ 5644323 w 8497013"/>
              <a:gd name="connsiteY234" fmla="*/ 5162697 h 6785945"/>
              <a:gd name="connsiteX235" fmla="*/ 5611640 w 8497013"/>
              <a:gd name="connsiteY235" fmla="*/ 5176287 h 6785945"/>
              <a:gd name="connsiteX236" fmla="*/ 5569411 w 8497013"/>
              <a:gd name="connsiteY236" fmla="*/ 5180017 h 6785945"/>
              <a:gd name="connsiteX237" fmla="*/ 5527181 w 8497013"/>
              <a:gd name="connsiteY237" fmla="*/ 5176287 h 6785945"/>
              <a:gd name="connsiteX238" fmla="*/ 5494498 w 8497013"/>
              <a:gd name="connsiteY238" fmla="*/ 5162697 h 6785945"/>
              <a:gd name="connsiteX239" fmla="*/ 5473397 w 8497013"/>
              <a:gd name="connsiteY239" fmla="*/ 5135648 h 6785945"/>
              <a:gd name="connsiteX240" fmla="*/ 5465911 w 8497013"/>
              <a:gd name="connsiteY240" fmla="*/ 5091541 h 6785945"/>
              <a:gd name="connsiteX241" fmla="*/ 5473631 w 8497013"/>
              <a:gd name="connsiteY241" fmla="*/ 5049363 h 6785945"/>
              <a:gd name="connsiteX242" fmla="*/ 5495125 w 8497013"/>
              <a:gd name="connsiteY242" fmla="*/ 5023305 h 6785945"/>
              <a:gd name="connsiteX243" fmla="*/ 5527886 w 8497013"/>
              <a:gd name="connsiteY243" fmla="*/ 5010081 h 6785945"/>
              <a:gd name="connsiteX244" fmla="*/ 4804116 w 8497013"/>
              <a:gd name="connsiteY244" fmla="*/ 5006403 h 6785945"/>
              <a:gd name="connsiteX245" fmla="*/ 4846346 w 8497013"/>
              <a:gd name="connsiteY245" fmla="*/ 5010081 h 6785945"/>
              <a:gd name="connsiteX246" fmla="*/ 4879028 w 8497013"/>
              <a:gd name="connsiteY246" fmla="*/ 5023305 h 6785945"/>
              <a:gd name="connsiteX247" fmla="*/ 4900130 w 8497013"/>
              <a:gd name="connsiteY247" fmla="*/ 5049363 h 6785945"/>
              <a:gd name="connsiteX248" fmla="*/ 4907615 w 8497013"/>
              <a:gd name="connsiteY248" fmla="*/ 5091541 h 6785945"/>
              <a:gd name="connsiteX249" fmla="*/ 4900130 w 8497013"/>
              <a:gd name="connsiteY249" fmla="*/ 5135648 h 6785945"/>
              <a:gd name="connsiteX250" fmla="*/ 4879028 w 8497013"/>
              <a:gd name="connsiteY250" fmla="*/ 5162697 h 6785945"/>
              <a:gd name="connsiteX251" fmla="*/ 4846346 w 8497013"/>
              <a:gd name="connsiteY251" fmla="*/ 5176287 h 6785945"/>
              <a:gd name="connsiteX252" fmla="*/ 4804116 w 8497013"/>
              <a:gd name="connsiteY252" fmla="*/ 5180017 h 6785945"/>
              <a:gd name="connsiteX253" fmla="*/ 4761886 w 8497013"/>
              <a:gd name="connsiteY253" fmla="*/ 5176287 h 6785945"/>
              <a:gd name="connsiteX254" fmla="*/ 4729203 w 8497013"/>
              <a:gd name="connsiteY254" fmla="*/ 5162697 h 6785945"/>
              <a:gd name="connsiteX255" fmla="*/ 4708102 w 8497013"/>
              <a:gd name="connsiteY255" fmla="*/ 5135648 h 6785945"/>
              <a:gd name="connsiteX256" fmla="*/ 4700616 w 8497013"/>
              <a:gd name="connsiteY256" fmla="*/ 5091541 h 6785945"/>
              <a:gd name="connsiteX257" fmla="*/ 4708336 w 8497013"/>
              <a:gd name="connsiteY257" fmla="*/ 5049363 h 6785945"/>
              <a:gd name="connsiteX258" fmla="*/ 4729830 w 8497013"/>
              <a:gd name="connsiteY258" fmla="*/ 5023305 h 6785945"/>
              <a:gd name="connsiteX259" fmla="*/ 4762591 w 8497013"/>
              <a:gd name="connsiteY259" fmla="*/ 5010081 h 6785945"/>
              <a:gd name="connsiteX260" fmla="*/ 2787004 w 8497013"/>
              <a:gd name="connsiteY260" fmla="*/ 4856173 h 6785945"/>
              <a:gd name="connsiteX261" fmla="*/ 3691793 w 8497013"/>
              <a:gd name="connsiteY261" fmla="*/ 4856173 h 6785945"/>
              <a:gd name="connsiteX262" fmla="*/ 3691793 w 8497013"/>
              <a:gd name="connsiteY262" fmla="*/ 4963011 h 6785945"/>
              <a:gd name="connsiteX263" fmla="*/ 2787004 w 8497013"/>
              <a:gd name="connsiteY263" fmla="*/ 4963011 h 6785945"/>
              <a:gd name="connsiteX264" fmla="*/ 1275095 w 8497013"/>
              <a:gd name="connsiteY264" fmla="*/ 4856173 h 6785945"/>
              <a:gd name="connsiteX265" fmla="*/ 2179887 w 8497013"/>
              <a:gd name="connsiteY265" fmla="*/ 4856173 h 6785945"/>
              <a:gd name="connsiteX266" fmla="*/ 2179887 w 8497013"/>
              <a:gd name="connsiteY266" fmla="*/ 4963011 h 6785945"/>
              <a:gd name="connsiteX267" fmla="*/ 1275095 w 8497013"/>
              <a:gd name="connsiteY267" fmla="*/ 4963011 h 6785945"/>
              <a:gd name="connsiteX268" fmla="*/ 2787004 w 8497013"/>
              <a:gd name="connsiteY268" fmla="*/ 4507276 h 6785945"/>
              <a:gd name="connsiteX269" fmla="*/ 3691793 w 8497013"/>
              <a:gd name="connsiteY269" fmla="*/ 4507276 h 6785945"/>
              <a:gd name="connsiteX270" fmla="*/ 3691793 w 8497013"/>
              <a:gd name="connsiteY270" fmla="*/ 4614114 h 6785945"/>
              <a:gd name="connsiteX271" fmla="*/ 2787004 w 8497013"/>
              <a:gd name="connsiteY271" fmla="*/ 4614114 h 6785945"/>
              <a:gd name="connsiteX272" fmla="*/ 1275095 w 8497013"/>
              <a:gd name="connsiteY272" fmla="*/ 4507276 h 6785945"/>
              <a:gd name="connsiteX273" fmla="*/ 2179887 w 8497013"/>
              <a:gd name="connsiteY273" fmla="*/ 4507276 h 6785945"/>
              <a:gd name="connsiteX274" fmla="*/ 2179887 w 8497013"/>
              <a:gd name="connsiteY274" fmla="*/ 4614114 h 6785945"/>
              <a:gd name="connsiteX275" fmla="*/ 1275095 w 8497013"/>
              <a:gd name="connsiteY275" fmla="*/ 4614114 h 6785945"/>
              <a:gd name="connsiteX276" fmla="*/ 5569411 w 8497013"/>
              <a:gd name="connsiteY276" fmla="*/ 4305272 h 6785945"/>
              <a:gd name="connsiteX277" fmla="*/ 5611640 w 8497013"/>
              <a:gd name="connsiteY277" fmla="*/ 4308741 h 6785945"/>
              <a:gd name="connsiteX278" fmla="*/ 5644323 w 8497013"/>
              <a:gd name="connsiteY278" fmla="*/ 4321757 h 6785945"/>
              <a:gd name="connsiteX279" fmla="*/ 5665424 w 8497013"/>
              <a:gd name="connsiteY279" fmla="*/ 4348232 h 6785945"/>
              <a:gd name="connsiteX280" fmla="*/ 5672910 w 8497013"/>
              <a:gd name="connsiteY280" fmla="*/ 4392078 h 6785945"/>
              <a:gd name="connsiteX281" fmla="*/ 5665424 w 8497013"/>
              <a:gd name="connsiteY281" fmla="*/ 4434517 h 6785945"/>
              <a:gd name="connsiteX282" fmla="*/ 5644323 w 8497013"/>
              <a:gd name="connsiteY282" fmla="*/ 4461148 h 6785945"/>
              <a:gd name="connsiteX283" fmla="*/ 5611640 w 8497013"/>
              <a:gd name="connsiteY283" fmla="*/ 4474946 h 6785945"/>
              <a:gd name="connsiteX284" fmla="*/ 5569411 w 8497013"/>
              <a:gd name="connsiteY284" fmla="*/ 4478885 h 6785945"/>
              <a:gd name="connsiteX285" fmla="*/ 5528147 w 8497013"/>
              <a:gd name="connsiteY285" fmla="*/ 4474946 h 6785945"/>
              <a:gd name="connsiteX286" fmla="*/ 5495959 w 8497013"/>
              <a:gd name="connsiteY286" fmla="*/ 4461148 h 6785945"/>
              <a:gd name="connsiteX287" fmla="*/ 5475040 w 8497013"/>
              <a:gd name="connsiteY287" fmla="*/ 4434517 h 6785945"/>
              <a:gd name="connsiteX288" fmla="*/ 5467580 w 8497013"/>
              <a:gd name="connsiteY288" fmla="*/ 4392078 h 6785945"/>
              <a:gd name="connsiteX289" fmla="*/ 5475040 w 8497013"/>
              <a:gd name="connsiteY289" fmla="*/ 4348232 h 6785945"/>
              <a:gd name="connsiteX290" fmla="*/ 5495959 w 8497013"/>
              <a:gd name="connsiteY290" fmla="*/ 4321757 h 6785945"/>
              <a:gd name="connsiteX291" fmla="*/ 5528147 w 8497013"/>
              <a:gd name="connsiteY291" fmla="*/ 4308741 h 6785945"/>
              <a:gd name="connsiteX292" fmla="*/ 4804116 w 8497013"/>
              <a:gd name="connsiteY292" fmla="*/ 4305272 h 6785945"/>
              <a:gd name="connsiteX293" fmla="*/ 4846346 w 8497013"/>
              <a:gd name="connsiteY293" fmla="*/ 4308741 h 6785945"/>
              <a:gd name="connsiteX294" fmla="*/ 4879028 w 8497013"/>
              <a:gd name="connsiteY294" fmla="*/ 4321757 h 6785945"/>
              <a:gd name="connsiteX295" fmla="*/ 4900130 w 8497013"/>
              <a:gd name="connsiteY295" fmla="*/ 4348232 h 6785945"/>
              <a:gd name="connsiteX296" fmla="*/ 4907615 w 8497013"/>
              <a:gd name="connsiteY296" fmla="*/ 4392078 h 6785945"/>
              <a:gd name="connsiteX297" fmla="*/ 4900130 w 8497013"/>
              <a:gd name="connsiteY297" fmla="*/ 4434517 h 6785945"/>
              <a:gd name="connsiteX298" fmla="*/ 4879028 w 8497013"/>
              <a:gd name="connsiteY298" fmla="*/ 4461148 h 6785945"/>
              <a:gd name="connsiteX299" fmla="*/ 4846346 w 8497013"/>
              <a:gd name="connsiteY299" fmla="*/ 4474946 h 6785945"/>
              <a:gd name="connsiteX300" fmla="*/ 4804116 w 8497013"/>
              <a:gd name="connsiteY300" fmla="*/ 4478885 h 6785945"/>
              <a:gd name="connsiteX301" fmla="*/ 4762852 w 8497013"/>
              <a:gd name="connsiteY301" fmla="*/ 4474946 h 6785945"/>
              <a:gd name="connsiteX302" fmla="*/ 4730664 w 8497013"/>
              <a:gd name="connsiteY302" fmla="*/ 4461148 h 6785945"/>
              <a:gd name="connsiteX303" fmla="*/ 4709745 w 8497013"/>
              <a:gd name="connsiteY303" fmla="*/ 4434517 h 6785945"/>
              <a:gd name="connsiteX304" fmla="*/ 4702285 w 8497013"/>
              <a:gd name="connsiteY304" fmla="*/ 4392078 h 6785945"/>
              <a:gd name="connsiteX305" fmla="*/ 4709745 w 8497013"/>
              <a:gd name="connsiteY305" fmla="*/ 4348232 h 6785945"/>
              <a:gd name="connsiteX306" fmla="*/ 4730664 w 8497013"/>
              <a:gd name="connsiteY306" fmla="*/ 4321757 h 6785945"/>
              <a:gd name="connsiteX307" fmla="*/ 4762852 w 8497013"/>
              <a:gd name="connsiteY307" fmla="*/ 4308741 h 6785945"/>
              <a:gd name="connsiteX308" fmla="*/ 7712987 w 8497013"/>
              <a:gd name="connsiteY308" fmla="*/ 3503986 h 6785945"/>
              <a:gd name="connsiteX309" fmla="*/ 7763122 w 8497013"/>
              <a:gd name="connsiteY309" fmla="*/ 3509568 h 6785945"/>
              <a:gd name="connsiteX310" fmla="*/ 7795147 w 8497013"/>
              <a:gd name="connsiteY310" fmla="*/ 3526208 h 6785945"/>
              <a:gd name="connsiteX311" fmla="*/ 7811787 w 8497013"/>
              <a:gd name="connsiteY311" fmla="*/ 3553746 h 6785945"/>
              <a:gd name="connsiteX312" fmla="*/ 7815767 w 8497013"/>
              <a:gd name="connsiteY312" fmla="*/ 3592021 h 6785945"/>
              <a:gd name="connsiteX313" fmla="*/ 7809810 w 8497013"/>
              <a:gd name="connsiteY313" fmla="*/ 3640873 h 6785945"/>
              <a:gd name="connsiteX314" fmla="*/ 7763068 w 8497013"/>
              <a:gd name="connsiteY314" fmla="*/ 3887939 h 6785945"/>
              <a:gd name="connsiteX315" fmla="*/ 7682939 w 8497013"/>
              <a:gd name="connsiteY315" fmla="*/ 3887939 h 6785945"/>
              <a:gd name="connsiteX316" fmla="*/ 7709648 w 8497013"/>
              <a:gd name="connsiteY316" fmla="*/ 3677600 h 6785945"/>
              <a:gd name="connsiteX317" fmla="*/ 7668644 w 8497013"/>
              <a:gd name="connsiteY317" fmla="*/ 3673635 h 6785945"/>
              <a:gd name="connsiteX318" fmla="*/ 7637031 w 8497013"/>
              <a:gd name="connsiteY318" fmla="*/ 3659654 h 6785945"/>
              <a:gd name="connsiteX319" fmla="*/ 7616686 w 8497013"/>
              <a:gd name="connsiteY319" fmla="*/ 3632527 h 6785945"/>
              <a:gd name="connsiteX320" fmla="*/ 7609487 w 8497013"/>
              <a:gd name="connsiteY320" fmla="*/ 3589124 h 6785945"/>
              <a:gd name="connsiteX321" fmla="*/ 7617207 w 8497013"/>
              <a:gd name="connsiteY321" fmla="*/ 3546946 h 6785945"/>
              <a:gd name="connsiteX322" fmla="*/ 7638700 w 8497013"/>
              <a:gd name="connsiteY322" fmla="*/ 3520888 h 6785945"/>
              <a:gd name="connsiteX323" fmla="*/ 7671461 w 8497013"/>
              <a:gd name="connsiteY323" fmla="*/ 3507664 h 6785945"/>
              <a:gd name="connsiteX324" fmla="*/ 4062097 w 8497013"/>
              <a:gd name="connsiteY324" fmla="*/ 3353744 h 6785945"/>
              <a:gd name="connsiteX325" fmla="*/ 4966889 w 8497013"/>
              <a:gd name="connsiteY325" fmla="*/ 3353744 h 6785945"/>
              <a:gd name="connsiteX326" fmla="*/ 4966889 w 8497013"/>
              <a:gd name="connsiteY326" fmla="*/ 3460582 h 6785945"/>
              <a:gd name="connsiteX327" fmla="*/ 4062097 w 8497013"/>
              <a:gd name="connsiteY327" fmla="*/ 3460582 h 6785945"/>
              <a:gd name="connsiteX328" fmla="*/ 2550201 w 8497013"/>
              <a:gd name="connsiteY328" fmla="*/ 3353744 h 6785945"/>
              <a:gd name="connsiteX329" fmla="*/ 3454992 w 8497013"/>
              <a:gd name="connsiteY329" fmla="*/ 3353744 h 6785945"/>
              <a:gd name="connsiteX330" fmla="*/ 3454992 w 8497013"/>
              <a:gd name="connsiteY330" fmla="*/ 3460582 h 6785945"/>
              <a:gd name="connsiteX331" fmla="*/ 2550201 w 8497013"/>
              <a:gd name="connsiteY331" fmla="*/ 3460582 h 6785945"/>
              <a:gd name="connsiteX332" fmla="*/ 4062097 w 8497013"/>
              <a:gd name="connsiteY332" fmla="*/ 3004848 h 6785945"/>
              <a:gd name="connsiteX333" fmla="*/ 4966889 w 8497013"/>
              <a:gd name="connsiteY333" fmla="*/ 3004848 h 6785945"/>
              <a:gd name="connsiteX334" fmla="*/ 4966889 w 8497013"/>
              <a:gd name="connsiteY334" fmla="*/ 3111686 h 6785945"/>
              <a:gd name="connsiteX335" fmla="*/ 4062097 w 8497013"/>
              <a:gd name="connsiteY335" fmla="*/ 3111686 h 6785945"/>
              <a:gd name="connsiteX336" fmla="*/ 2550201 w 8497013"/>
              <a:gd name="connsiteY336" fmla="*/ 3004848 h 6785945"/>
              <a:gd name="connsiteX337" fmla="*/ 3454992 w 8497013"/>
              <a:gd name="connsiteY337" fmla="*/ 3004848 h 6785945"/>
              <a:gd name="connsiteX338" fmla="*/ 3454992 w 8497013"/>
              <a:gd name="connsiteY338" fmla="*/ 3111686 h 6785945"/>
              <a:gd name="connsiteX339" fmla="*/ 2550201 w 8497013"/>
              <a:gd name="connsiteY339" fmla="*/ 3111686 h 6785945"/>
              <a:gd name="connsiteX340" fmla="*/ 7712987 w 8497013"/>
              <a:gd name="connsiteY340" fmla="*/ 2802855 h 6785945"/>
              <a:gd name="connsiteX341" fmla="*/ 7755217 w 8497013"/>
              <a:gd name="connsiteY341" fmla="*/ 2806324 h 6785945"/>
              <a:gd name="connsiteX342" fmla="*/ 7787900 w 8497013"/>
              <a:gd name="connsiteY342" fmla="*/ 2819339 h 6785945"/>
              <a:gd name="connsiteX343" fmla="*/ 7809002 w 8497013"/>
              <a:gd name="connsiteY343" fmla="*/ 2845814 h 6785945"/>
              <a:gd name="connsiteX344" fmla="*/ 7816489 w 8497013"/>
              <a:gd name="connsiteY344" fmla="*/ 2889661 h 6785945"/>
              <a:gd name="connsiteX345" fmla="*/ 7809002 w 8497013"/>
              <a:gd name="connsiteY345" fmla="*/ 2932099 h 6785945"/>
              <a:gd name="connsiteX346" fmla="*/ 7787900 w 8497013"/>
              <a:gd name="connsiteY346" fmla="*/ 2958731 h 6785945"/>
              <a:gd name="connsiteX347" fmla="*/ 7755217 w 8497013"/>
              <a:gd name="connsiteY347" fmla="*/ 2972529 h 6785945"/>
              <a:gd name="connsiteX348" fmla="*/ 7712987 w 8497013"/>
              <a:gd name="connsiteY348" fmla="*/ 2976468 h 6785945"/>
              <a:gd name="connsiteX349" fmla="*/ 7671722 w 8497013"/>
              <a:gd name="connsiteY349" fmla="*/ 2972529 h 6785945"/>
              <a:gd name="connsiteX350" fmla="*/ 7639535 w 8497013"/>
              <a:gd name="connsiteY350" fmla="*/ 2958731 h 6785945"/>
              <a:gd name="connsiteX351" fmla="*/ 7618615 w 8497013"/>
              <a:gd name="connsiteY351" fmla="*/ 2932099 h 6785945"/>
              <a:gd name="connsiteX352" fmla="*/ 7611156 w 8497013"/>
              <a:gd name="connsiteY352" fmla="*/ 2889661 h 6785945"/>
              <a:gd name="connsiteX353" fmla="*/ 7618615 w 8497013"/>
              <a:gd name="connsiteY353" fmla="*/ 2845814 h 6785945"/>
              <a:gd name="connsiteX354" fmla="*/ 7639535 w 8497013"/>
              <a:gd name="connsiteY354" fmla="*/ 2819339 h 6785945"/>
              <a:gd name="connsiteX355" fmla="*/ 7671722 w 8497013"/>
              <a:gd name="connsiteY355" fmla="*/ 2806324 h 6785945"/>
              <a:gd name="connsiteX356" fmla="*/ 6558381 w 8497013"/>
              <a:gd name="connsiteY356" fmla="*/ 2482346 h 6785945"/>
              <a:gd name="connsiteX357" fmla="*/ 6611451 w 8497013"/>
              <a:gd name="connsiteY357" fmla="*/ 2484222 h 6785945"/>
              <a:gd name="connsiteX358" fmla="*/ 6660572 w 8497013"/>
              <a:gd name="connsiteY358" fmla="*/ 2489799 h 6785945"/>
              <a:gd name="connsiteX359" fmla="*/ 6705877 w 8497013"/>
              <a:gd name="connsiteY359" fmla="*/ 2498994 h 6785945"/>
              <a:gd name="connsiteX360" fmla="*/ 6747499 w 8497013"/>
              <a:gd name="connsiteY360" fmla="*/ 2511726 h 6785945"/>
              <a:gd name="connsiteX361" fmla="*/ 6785570 w 8497013"/>
              <a:gd name="connsiteY361" fmla="*/ 2527914 h 6785945"/>
              <a:gd name="connsiteX362" fmla="*/ 6820223 w 8497013"/>
              <a:gd name="connsiteY362" fmla="*/ 2547475 h 6785945"/>
              <a:gd name="connsiteX363" fmla="*/ 6851590 w 8497013"/>
              <a:gd name="connsiteY363" fmla="*/ 2570330 h 6785945"/>
              <a:gd name="connsiteX364" fmla="*/ 6879805 w 8497013"/>
              <a:gd name="connsiteY364" fmla="*/ 2596396 h 6785945"/>
              <a:gd name="connsiteX365" fmla="*/ 6905001 w 8497013"/>
              <a:gd name="connsiteY365" fmla="*/ 2625592 h 6785945"/>
              <a:gd name="connsiteX366" fmla="*/ 6927309 w 8497013"/>
              <a:gd name="connsiteY366" fmla="*/ 2657837 h 6785945"/>
              <a:gd name="connsiteX367" fmla="*/ 6946862 w 8497013"/>
              <a:gd name="connsiteY367" fmla="*/ 2693049 h 6785945"/>
              <a:gd name="connsiteX368" fmla="*/ 6963794 w 8497013"/>
              <a:gd name="connsiteY368" fmla="*/ 2731147 h 6785945"/>
              <a:gd name="connsiteX369" fmla="*/ 6978237 w 8497013"/>
              <a:gd name="connsiteY369" fmla="*/ 2772049 h 6785945"/>
              <a:gd name="connsiteX370" fmla="*/ 6990324 w 8497013"/>
              <a:gd name="connsiteY370" fmla="*/ 2815675 h 6785945"/>
              <a:gd name="connsiteX371" fmla="*/ 7000187 w 8497013"/>
              <a:gd name="connsiteY371" fmla="*/ 2861942 h 6785945"/>
              <a:gd name="connsiteX372" fmla="*/ 7007959 w 8497013"/>
              <a:gd name="connsiteY372" fmla="*/ 2910770 h 6785945"/>
              <a:gd name="connsiteX373" fmla="*/ 7013773 w 8497013"/>
              <a:gd name="connsiteY373" fmla="*/ 2962076 h 6785945"/>
              <a:gd name="connsiteX374" fmla="*/ 7017761 w 8497013"/>
              <a:gd name="connsiteY374" fmla="*/ 3015781 h 6785945"/>
              <a:gd name="connsiteX375" fmla="*/ 7020057 w 8497013"/>
              <a:gd name="connsiteY375" fmla="*/ 3071801 h 6785945"/>
              <a:gd name="connsiteX376" fmla="*/ 7020793 w 8497013"/>
              <a:gd name="connsiteY376" fmla="*/ 3130057 h 6785945"/>
              <a:gd name="connsiteX377" fmla="*/ 7020093 w 8497013"/>
              <a:gd name="connsiteY377" fmla="*/ 3188562 h 6785945"/>
              <a:gd name="connsiteX378" fmla="*/ 7017896 w 8497013"/>
              <a:gd name="connsiteY378" fmla="*/ 3244832 h 6785945"/>
              <a:gd name="connsiteX379" fmla="*/ 7014060 w 8497013"/>
              <a:gd name="connsiteY379" fmla="*/ 3298782 h 6785945"/>
              <a:gd name="connsiteX380" fmla="*/ 7008439 w 8497013"/>
              <a:gd name="connsiteY380" fmla="*/ 3350332 h 6785945"/>
              <a:gd name="connsiteX381" fmla="*/ 7000891 w 8497013"/>
              <a:gd name="connsiteY381" fmla="*/ 3399397 h 6785945"/>
              <a:gd name="connsiteX382" fmla="*/ 6991270 w 8497013"/>
              <a:gd name="connsiteY382" fmla="*/ 3445896 h 6785945"/>
              <a:gd name="connsiteX383" fmla="*/ 6979433 w 8497013"/>
              <a:gd name="connsiteY383" fmla="*/ 3489745 h 6785945"/>
              <a:gd name="connsiteX384" fmla="*/ 6965236 w 8497013"/>
              <a:gd name="connsiteY384" fmla="*/ 3530863 h 6785945"/>
              <a:gd name="connsiteX385" fmla="*/ 6948536 w 8497013"/>
              <a:gd name="connsiteY385" fmla="*/ 3569166 h 6785945"/>
              <a:gd name="connsiteX386" fmla="*/ 6929187 w 8497013"/>
              <a:gd name="connsiteY386" fmla="*/ 3604572 h 6785945"/>
              <a:gd name="connsiteX387" fmla="*/ 6907046 w 8497013"/>
              <a:gd name="connsiteY387" fmla="*/ 3636998 h 6785945"/>
              <a:gd name="connsiteX388" fmla="*/ 6881969 w 8497013"/>
              <a:gd name="connsiteY388" fmla="*/ 3666361 h 6785945"/>
              <a:gd name="connsiteX389" fmla="*/ 6853812 w 8497013"/>
              <a:gd name="connsiteY389" fmla="*/ 3692580 h 6785945"/>
              <a:gd name="connsiteX390" fmla="*/ 6822431 w 8497013"/>
              <a:gd name="connsiteY390" fmla="*/ 3715570 h 6785945"/>
              <a:gd name="connsiteX391" fmla="*/ 6787683 w 8497013"/>
              <a:gd name="connsiteY391" fmla="*/ 3735251 h 6785945"/>
              <a:gd name="connsiteX392" fmla="*/ 6749422 w 8497013"/>
              <a:gd name="connsiteY392" fmla="*/ 3751538 h 6785945"/>
              <a:gd name="connsiteX393" fmla="*/ 6707505 w 8497013"/>
              <a:gd name="connsiteY393" fmla="*/ 3764350 h 6785945"/>
              <a:gd name="connsiteX394" fmla="*/ 6661789 w 8497013"/>
              <a:gd name="connsiteY394" fmla="*/ 3773604 h 6785945"/>
              <a:gd name="connsiteX395" fmla="*/ 6612129 w 8497013"/>
              <a:gd name="connsiteY395" fmla="*/ 3779217 h 6785945"/>
              <a:gd name="connsiteX396" fmla="*/ 6558381 w 8497013"/>
              <a:gd name="connsiteY396" fmla="*/ 3781106 h 6785945"/>
              <a:gd name="connsiteX397" fmla="*/ 6558381 w 8497013"/>
              <a:gd name="connsiteY397" fmla="*/ 3684284 h 6785945"/>
              <a:gd name="connsiteX398" fmla="*/ 6608066 w 8497013"/>
              <a:gd name="connsiteY398" fmla="*/ 3682051 h 6785945"/>
              <a:gd name="connsiteX399" fmla="*/ 6652986 w 8497013"/>
              <a:gd name="connsiteY399" fmla="*/ 3675430 h 6785945"/>
              <a:gd name="connsiteX400" fmla="*/ 6693369 w 8497013"/>
              <a:gd name="connsiteY400" fmla="*/ 3664541 h 6785945"/>
              <a:gd name="connsiteX401" fmla="*/ 6729440 w 8497013"/>
              <a:gd name="connsiteY401" fmla="*/ 3649501 h 6785945"/>
              <a:gd name="connsiteX402" fmla="*/ 6789551 w 8497013"/>
              <a:gd name="connsiteY402" fmla="*/ 3607441 h 6785945"/>
              <a:gd name="connsiteX403" fmla="*/ 6835130 w 8497013"/>
              <a:gd name="connsiteY403" fmla="*/ 3550197 h 6785945"/>
              <a:gd name="connsiteX404" fmla="*/ 6853036 w 8497013"/>
              <a:gd name="connsiteY404" fmla="*/ 3516176 h 6785945"/>
              <a:gd name="connsiteX405" fmla="*/ 6867988 w 8497013"/>
              <a:gd name="connsiteY405" fmla="*/ 3478715 h 6785945"/>
              <a:gd name="connsiteX406" fmla="*/ 6880212 w 8497013"/>
              <a:gd name="connsiteY406" fmla="*/ 3437930 h 6785945"/>
              <a:gd name="connsiteX407" fmla="*/ 6889935 w 8497013"/>
              <a:gd name="connsiteY407" fmla="*/ 3393940 h 6785945"/>
              <a:gd name="connsiteX408" fmla="*/ 6897382 w 8497013"/>
              <a:gd name="connsiteY408" fmla="*/ 3346863 h 6785945"/>
              <a:gd name="connsiteX409" fmla="*/ 6902781 w 8497013"/>
              <a:gd name="connsiteY409" fmla="*/ 3296819 h 6785945"/>
              <a:gd name="connsiteX410" fmla="*/ 6906357 w 8497013"/>
              <a:gd name="connsiteY410" fmla="*/ 3243924 h 6785945"/>
              <a:gd name="connsiteX411" fmla="*/ 6908336 w 8497013"/>
              <a:gd name="connsiteY411" fmla="*/ 3188297 h 6785945"/>
              <a:gd name="connsiteX412" fmla="*/ 6908946 w 8497013"/>
              <a:gd name="connsiteY412" fmla="*/ 3130057 h 6785945"/>
              <a:gd name="connsiteX413" fmla="*/ 6908304 w 8497013"/>
              <a:gd name="connsiteY413" fmla="*/ 3072388 h 6785945"/>
              <a:gd name="connsiteX414" fmla="*/ 6906234 w 8497013"/>
              <a:gd name="connsiteY414" fmla="*/ 3017299 h 6785945"/>
              <a:gd name="connsiteX415" fmla="*/ 6902524 w 8497013"/>
              <a:gd name="connsiteY415" fmla="*/ 2964906 h 6785945"/>
              <a:gd name="connsiteX416" fmla="*/ 6896958 w 8497013"/>
              <a:gd name="connsiteY416" fmla="*/ 2915330 h 6785945"/>
              <a:gd name="connsiteX417" fmla="*/ 6889323 w 8497013"/>
              <a:gd name="connsiteY417" fmla="*/ 2868686 h 6785945"/>
              <a:gd name="connsiteX418" fmla="*/ 6879405 w 8497013"/>
              <a:gd name="connsiteY418" fmla="*/ 2825095 h 6785945"/>
              <a:gd name="connsiteX419" fmla="*/ 6866989 w 8497013"/>
              <a:gd name="connsiteY419" fmla="*/ 2784674 h 6785945"/>
              <a:gd name="connsiteX420" fmla="*/ 6851862 w 8497013"/>
              <a:gd name="connsiteY420" fmla="*/ 2747542 h 6785945"/>
              <a:gd name="connsiteX421" fmla="*/ 6833809 w 8497013"/>
              <a:gd name="connsiteY421" fmla="*/ 2713816 h 6785945"/>
              <a:gd name="connsiteX422" fmla="*/ 6788071 w 8497013"/>
              <a:gd name="connsiteY422" fmla="*/ 2657057 h 6785945"/>
              <a:gd name="connsiteX423" fmla="*/ 6728062 w 8497013"/>
              <a:gd name="connsiteY423" fmla="*/ 2615344 h 6785945"/>
              <a:gd name="connsiteX424" fmla="*/ 6692170 w 8497013"/>
              <a:gd name="connsiteY424" fmla="*/ 2600425 h 6785945"/>
              <a:gd name="connsiteX425" fmla="*/ 6652069 w 8497013"/>
              <a:gd name="connsiteY425" fmla="*/ 2589622 h 6785945"/>
              <a:gd name="connsiteX426" fmla="*/ 6607544 w 8497013"/>
              <a:gd name="connsiteY426" fmla="*/ 2583054 h 6785945"/>
              <a:gd name="connsiteX427" fmla="*/ 6558381 w 8497013"/>
              <a:gd name="connsiteY427" fmla="*/ 2580838 h 6785945"/>
              <a:gd name="connsiteX428" fmla="*/ 6041510 w 8497013"/>
              <a:gd name="connsiteY428" fmla="*/ 2482346 h 6785945"/>
              <a:gd name="connsiteX429" fmla="*/ 6041510 w 8497013"/>
              <a:gd name="connsiteY429" fmla="*/ 2580838 h 6785945"/>
              <a:gd name="connsiteX430" fmla="*/ 5992624 w 8497013"/>
              <a:gd name="connsiteY430" fmla="*/ 2583054 h 6785945"/>
              <a:gd name="connsiteX431" fmla="*/ 5948343 w 8497013"/>
              <a:gd name="connsiteY431" fmla="*/ 2589622 h 6785945"/>
              <a:gd name="connsiteX432" fmla="*/ 5908457 w 8497013"/>
              <a:gd name="connsiteY432" fmla="*/ 2600425 h 6785945"/>
              <a:gd name="connsiteX433" fmla="*/ 5872751 w 8497013"/>
              <a:gd name="connsiteY433" fmla="*/ 2615344 h 6785945"/>
              <a:gd name="connsiteX434" fmla="*/ 5813036 w 8497013"/>
              <a:gd name="connsiteY434" fmla="*/ 2657057 h 6785945"/>
              <a:gd name="connsiteX435" fmla="*/ 5767502 w 8497013"/>
              <a:gd name="connsiteY435" fmla="*/ 2713816 h 6785945"/>
              <a:gd name="connsiteX436" fmla="*/ 5749523 w 8497013"/>
              <a:gd name="connsiteY436" fmla="*/ 2747542 h 6785945"/>
              <a:gd name="connsiteX437" fmla="*/ 5734453 w 8497013"/>
              <a:gd name="connsiteY437" fmla="*/ 2784674 h 6785945"/>
              <a:gd name="connsiteX438" fmla="*/ 5722081 w 8497013"/>
              <a:gd name="connsiteY438" fmla="*/ 2825095 h 6785945"/>
              <a:gd name="connsiteX439" fmla="*/ 5712193 w 8497013"/>
              <a:gd name="connsiteY439" fmla="*/ 2868686 h 6785945"/>
              <a:gd name="connsiteX440" fmla="*/ 5704579 w 8497013"/>
              <a:gd name="connsiteY440" fmla="*/ 2915330 h 6785945"/>
              <a:gd name="connsiteX441" fmla="*/ 5699026 w 8497013"/>
              <a:gd name="connsiteY441" fmla="*/ 2964906 h 6785945"/>
              <a:gd name="connsiteX442" fmla="*/ 5695322 w 8497013"/>
              <a:gd name="connsiteY442" fmla="*/ 3017299 h 6785945"/>
              <a:gd name="connsiteX443" fmla="*/ 5693255 w 8497013"/>
              <a:gd name="connsiteY443" fmla="*/ 3072388 h 6785945"/>
              <a:gd name="connsiteX444" fmla="*/ 5692613 w 8497013"/>
              <a:gd name="connsiteY444" fmla="*/ 3130057 h 6785945"/>
              <a:gd name="connsiteX445" fmla="*/ 5693239 w 8497013"/>
              <a:gd name="connsiteY445" fmla="*/ 3188297 h 6785945"/>
              <a:gd name="connsiteX446" fmla="*/ 5695261 w 8497013"/>
              <a:gd name="connsiteY446" fmla="*/ 3243924 h 6785945"/>
              <a:gd name="connsiteX447" fmla="*/ 5698898 w 8497013"/>
              <a:gd name="connsiteY447" fmla="*/ 3296819 h 6785945"/>
              <a:gd name="connsiteX448" fmla="*/ 5704367 w 8497013"/>
              <a:gd name="connsiteY448" fmla="*/ 3346863 h 6785945"/>
              <a:gd name="connsiteX449" fmla="*/ 5711888 w 8497013"/>
              <a:gd name="connsiteY449" fmla="*/ 3393940 h 6785945"/>
              <a:gd name="connsiteX450" fmla="*/ 5721677 w 8497013"/>
              <a:gd name="connsiteY450" fmla="*/ 3437930 h 6785945"/>
              <a:gd name="connsiteX451" fmla="*/ 5733954 w 8497013"/>
              <a:gd name="connsiteY451" fmla="*/ 3478715 h 6785945"/>
              <a:gd name="connsiteX452" fmla="*/ 5748936 w 8497013"/>
              <a:gd name="connsiteY452" fmla="*/ 3516176 h 6785945"/>
              <a:gd name="connsiteX453" fmla="*/ 5766842 w 8497013"/>
              <a:gd name="connsiteY453" fmla="*/ 3550197 h 6785945"/>
              <a:gd name="connsiteX454" fmla="*/ 5812296 w 8497013"/>
              <a:gd name="connsiteY454" fmla="*/ 3607441 h 6785945"/>
              <a:gd name="connsiteX455" fmla="*/ 5872062 w 8497013"/>
              <a:gd name="connsiteY455" fmla="*/ 3649501 h 6785945"/>
              <a:gd name="connsiteX456" fmla="*/ 5907857 w 8497013"/>
              <a:gd name="connsiteY456" fmla="*/ 3664541 h 6785945"/>
              <a:gd name="connsiteX457" fmla="*/ 5947885 w 8497013"/>
              <a:gd name="connsiteY457" fmla="*/ 3675430 h 6785945"/>
              <a:gd name="connsiteX458" fmla="*/ 5992363 w 8497013"/>
              <a:gd name="connsiteY458" fmla="*/ 3682051 h 6785945"/>
              <a:gd name="connsiteX459" fmla="*/ 6041510 w 8497013"/>
              <a:gd name="connsiteY459" fmla="*/ 3684284 h 6785945"/>
              <a:gd name="connsiteX460" fmla="*/ 6041510 w 8497013"/>
              <a:gd name="connsiteY460" fmla="*/ 3781106 h 6785945"/>
              <a:gd name="connsiteX461" fmla="*/ 5987987 w 8497013"/>
              <a:gd name="connsiteY461" fmla="*/ 3779217 h 6785945"/>
              <a:gd name="connsiteX462" fmla="*/ 5938507 w 8497013"/>
              <a:gd name="connsiteY462" fmla="*/ 3773604 h 6785945"/>
              <a:gd name="connsiteX463" fmla="*/ 5892927 w 8497013"/>
              <a:gd name="connsiteY463" fmla="*/ 3764350 h 6785945"/>
              <a:gd name="connsiteX464" fmla="*/ 5851109 w 8497013"/>
              <a:gd name="connsiteY464" fmla="*/ 3751538 h 6785945"/>
              <a:gd name="connsiteX465" fmla="*/ 5812912 w 8497013"/>
              <a:gd name="connsiteY465" fmla="*/ 3735251 h 6785945"/>
              <a:gd name="connsiteX466" fmla="*/ 5778195 w 8497013"/>
              <a:gd name="connsiteY466" fmla="*/ 3715570 h 6785945"/>
              <a:gd name="connsiteX467" fmla="*/ 5746818 w 8497013"/>
              <a:gd name="connsiteY467" fmla="*/ 3692580 h 6785945"/>
              <a:gd name="connsiteX468" fmla="*/ 5718642 w 8497013"/>
              <a:gd name="connsiteY468" fmla="*/ 3666361 h 6785945"/>
              <a:gd name="connsiteX469" fmla="*/ 5693526 w 8497013"/>
              <a:gd name="connsiteY469" fmla="*/ 3636998 h 6785945"/>
              <a:gd name="connsiteX470" fmla="*/ 5671329 w 8497013"/>
              <a:gd name="connsiteY470" fmla="*/ 3604572 h 6785945"/>
              <a:gd name="connsiteX471" fmla="*/ 5651912 w 8497013"/>
              <a:gd name="connsiteY471" fmla="*/ 3569166 h 6785945"/>
              <a:gd name="connsiteX472" fmla="*/ 5635134 w 8497013"/>
              <a:gd name="connsiteY472" fmla="*/ 3530863 h 6785945"/>
              <a:gd name="connsiteX473" fmla="*/ 5620855 w 8497013"/>
              <a:gd name="connsiteY473" fmla="*/ 3489745 h 6785945"/>
              <a:gd name="connsiteX474" fmla="*/ 5608935 w 8497013"/>
              <a:gd name="connsiteY474" fmla="*/ 3445896 h 6785945"/>
              <a:gd name="connsiteX475" fmla="*/ 5599234 w 8497013"/>
              <a:gd name="connsiteY475" fmla="*/ 3399397 h 6785945"/>
              <a:gd name="connsiteX476" fmla="*/ 5591611 w 8497013"/>
              <a:gd name="connsiteY476" fmla="*/ 3350332 h 6785945"/>
              <a:gd name="connsiteX477" fmla="*/ 5585926 w 8497013"/>
              <a:gd name="connsiteY477" fmla="*/ 3298782 h 6785945"/>
              <a:gd name="connsiteX478" fmla="*/ 5582039 w 8497013"/>
              <a:gd name="connsiteY478" fmla="*/ 3244832 h 6785945"/>
              <a:gd name="connsiteX479" fmla="*/ 5579809 w 8497013"/>
              <a:gd name="connsiteY479" fmla="*/ 3188562 h 6785945"/>
              <a:gd name="connsiteX480" fmla="*/ 5579098 w 8497013"/>
              <a:gd name="connsiteY480" fmla="*/ 3130057 h 6785945"/>
              <a:gd name="connsiteX481" fmla="*/ 5579833 w 8497013"/>
              <a:gd name="connsiteY481" fmla="*/ 3071801 h 6785945"/>
              <a:gd name="connsiteX482" fmla="*/ 5582129 w 8497013"/>
              <a:gd name="connsiteY482" fmla="*/ 3015781 h 6785945"/>
              <a:gd name="connsiteX483" fmla="*/ 5586118 w 8497013"/>
              <a:gd name="connsiteY483" fmla="*/ 2962076 h 6785945"/>
              <a:gd name="connsiteX484" fmla="*/ 5591931 w 8497013"/>
              <a:gd name="connsiteY484" fmla="*/ 2910770 h 6785945"/>
              <a:gd name="connsiteX485" fmla="*/ 5599704 w 8497013"/>
              <a:gd name="connsiteY485" fmla="*/ 2861942 h 6785945"/>
              <a:gd name="connsiteX486" fmla="*/ 5609567 w 8497013"/>
              <a:gd name="connsiteY486" fmla="*/ 2815675 h 6785945"/>
              <a:gd name="connsiteX487" fmla="*/ 5621653 w 8497013"/>
              <a:gd name="connsiteY487" fmla="*/ 2772049 h 6785945"/>
              <a:gd name="connsiteX488" fmla="*/ 5636096 w 8497013"/>
              <a:gd name="connsiteY488" fmla="*/ 2731147 h 6785945"/>
              <a:gd name="connsiteX489" fmla="*/ 5653028 w 8497013"/>
              <a:gd name="connsiteY489" fmla="*/ 2693049 h 6785945"/>
              <a:gd name="connsiteX490" fmla="*/ 5672581 w 8497013"/>
              <a:gd name="connsiteY490" fmla="*/ 2657837 h 6785945"/>
              <a:gd name="connsiteX491" fmla="*/ 5694889 w 8497013"/>
              <a:gd name="connsiteY491" fmla="*/ 2625592 h 6785945"/>
              <a:gd name="connsiteX492" fmla="*/ 5720085 w 8497013"/>
              <a:gd name="connsiteY492" fmla="*/ 2596396 h 6785945"/>
              <a:gd name="connsiteX493" fmla="*/ 5748300 w 8497013"/>
              <a:gd name="connsiteY493" fmla="*/ 2570330 h 6785945"/>
              <a:gd name="connsiteX494" fmla="*/ 5779667 w 8497013"/>
              <a:gd name="connsiteY494" fmla="*/ 2547475 h 6785945"/>
              <a:gd name="connsiteX495" fmla="*/ 5814320 w 8497013"/>
              <a:gd name="connsiteY495" fmla="*/ 2527914 h 6785945"/>
              <a:gd name="connsiteX496" fmla="*/ 5852391 w 8497013"/>
              <a:gd name="connsiteY496" fmla="*/ 2511726 h 6785945"/>
              <a:gd name="connsiteX497" fmla="*/ 5894013 w 8497013"/>
              <a:gd name="connsiteY497" fmla="*/ 2498994 h 6785945"/>
              <a:gd name="connsiteX498" fmla="*/ 5939318 w 8497013"/>
              <a:gd name="connsiteY498" fmla="*/ 2489799 h 6785945"/>
              <a:gd name="connsiteX499" fmla="*/ 5988439 w 8497013"/>
              <a:gd name="connsiteY499" fmla="*/ 2484222 h 6785945"/>
              <a:gd name="connsiteX500" fmla="*/ 5337245 w 8497013"/>
              <a:gd name="connsiteY500" fmla="*/ 1851325 h 6785945"/>
              <a:gd name="connsiteX501" fmla="*/ 6242037 w 8497013"/>
              <a:gd name="connsiteY501" fmla="*/ 1851325 h 6785945"/>
              <a:gd name="connsiteX502" fmla="*/ 6242037 w 8497013"/>
              <a:gd name="connsiteY502" fmla="*/ 1958164 h 6785945"/>
              <a:gd name="connsiteX503" fmla="*/ 5337245 w 8497013"/>
              <a:gd name="connsiteY503" fmla="*/ 1958164 h 6785945"/>
              <a:gd name="connsiteX504" fmla="*/ 3825296 w 8497013"/>
              <a:gd name="connsiteY504" fmla="*/ 1851325 h 6785945"/>
              <a:gd name="connsiteX505" fmla="*/ 4730088 w 8497013"/>
              <a:gd name="connsiteY505" fmla="*/ 1851325 h 6785945"/>
              <a:gd name="connsiteX506" fmla="*/ 4730088 w 8497013"/>
              <a:gd name="connsiteY506" fmla="*/ 1958164 h 6785945"/>
              <a:gd name="connsiteX507" fmla="*/ 3825296 w 8497013"/>
              <a:gd name="connsiteY507" fmla="*/ 1958164 h 6785945"/>
              <a:gd name="connsiteX508" fmla="*/ 6849172 w 8497013"/>
              <a:gd name="connsiteY508" fmla="*/ 1681043 h 6785945"/>
              <a:gd name="connsiteX509" fmla="*/ 7326608 w 8497013"/>
              <a:gd name="connsiteY509" fmla="*/ 1681043 h 6785945"/>
              <a:gd name="connsiteX510" fmla="*/ 7326608 w 8497013"/>
              <a:gd name="connsiteY510" fmla="*/ 1786212 h 6785945"/>
              <a:gd name="connsiteX511" fmla="*/ 6849172 w 8497013"/>
              <a:gd name="connsiteY511" fmla="*/ 1786212 h 6785945"/>
              <a:gd name="connsiteX512" fmla="*/ 5337245 w 8497013"/>
              <a:gd name="connsiteY512" fmla="*/ 1502429 h 6785945"/>
              <a:gd name="connsiteX513" fmla="*/ 6242037 w 8497013"/>
              <a:gd name="connsiteY513" fmla="*/ 1502429 h 6785945"/>
              <a:gd name="connsiteX514" fmla="*/ 6242037 w 8497013"/>
              <a:gd name="connsiteY514" fmla="*/ 1609267 h 6785945"/>
              <a:gd name="connsiteX515" fmla="*/ 5337245 w 8497013"/>
              <a:gd name="connsiteY515" fmla="*/ 1609267 h 6785945"/>
              <a:gd name="connsiteX516" fmla="*/ 3825296 w 8497013"/>
              <a:gd name="connsiteY516" fmla="*/ 1502429 h 6785945"/>
              <a:gd name="connsiteX517" fmla="*/ 4730088 w 8497013"/>
              <a:gd name="connsiteY517" fmla="*/ 1502429 h 6785945"/>
              <a:gd name="connsiteX518" fmla="*/ 4730088 w 8497013"/>
              <a:gd name="connsiteY518" fmla="*/ 1609267 h 6785945"/>
              <a:gd name="connsiteX519" fmla="*/ 3825296 w 8497013"/>
              <a:gd name="connsiteY519" fmla="*/ 1609267 h 6785945"/>
              <a:gd name="connsiteX520" fmla="*/ 7037373 w 8497013"/>
              <a:gd name="connsiteY520" fmla="*/ 348896 h 6785945"/>
              <a:gd name="connsiteX521" fmla="*/ 7942165 w 8497013"/>
              <a:gd name="connsiteY521" fmla="*/ 348896 h 6785945"/>
              <a:gd name="connsiteX522" fmla="*/ 7942165 w 8497013"/>
              <a:gd name="connsiteY522" fmla="*/ 455734 h 6785945"/>
              <a:gd name="connsiteX523" fmla="*/ 7037373 w 8497013"/>
              <a:gd name="connsiteY523" fmla="*/ 455734 h 6785945"/>
              <a:gd name="connsiteX524" fmla="*/ 5525404 w 8497013"/>
              <a:gd name="connsiteY524" fmla="*/ 348896 h 6785945"/>
              <a:gd name="connsiteX525" fmla="*/ 6430196 w 8497013"/>
              <a:gd name="connsiteY525" fmla="*/ 348896 h 6785945"/>
              <a:gd name="connsiteX526" fmla="*/ 6430196 w 8497013"/>
              <a:gd name="connsiteY526" fmla="*/ 455734 h 6785945"/>
              <a:gd name="connsiteX527" fmla="*/ 5525404 w 8497013"/>
              <a:gd name="connsiteY527" fmla="*/ 455734 h 6785945"/>
              <a:gd name="connsiteX528" fmla="*/ 7037373 w 8497013"/>
              <a:gd name="connsiteY528" fmla="*/ 0 h 6785945"/>
              <a:gd name="connsiteX529" fmla="*/ 7942165 w 8497013"/>
              <a:gd name="connsiteY529" fmla="*/ 0 h 6785945"/>
              <a:gd name="connsiteX530" fmla="*/ 7942165 w 8497013"/>
              <a:gd name="connsiteY530" fmla="*/ 106839 h 6785945"/>
              <a:gd name="connsiteX531" fmla="*/ 7037373 w 8497013"/>
              <a:gd name="connsiteY531" fmla="*/ 106839 h 6785945"/>
              <a:gd name="connsiteX532" fmla="*/ 5525404 w 8497013"/>
              <a:gd name="connsiteY532" fmla="*/ 0 h 6785945"/>
              <a:gd name="connsiteX533" fmla="*/ 6430196 w 8497013"/>
              <a:gd name="connsiteY533" fmla="*/ 0 h 6785945"/>
              <a:gd name="connsiteX534" fmla="*/ 6430196 w 8497013"/>
              <a:gd name="connsiteY534" fmla="*/ 106839 h 6785945"/>
              <a:gd name="connsiteX535" fmla="*/ 5525404 w 8497013"/>
              <a:gd name="connsiteY535" fmla="*/ 106839 h 678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Lst>
            <a:rect l="l" t="t" r="r" b="b"/>
            <a:pathLst>
              <a:path w="8497013" h="6785945">
                <a:moveTo>
                  <a:pt x="8393513" y="6508832"/>
                </a:moveTo>
                <a:lnTo>
                  <a:pt x="8435743" y="6512510"/>
                </a:lnTo>
                <a:lnTo>
                  <a:pt x="8468426" y="6525734"/>
                </a:lnTo>
                <a:lnTo>
                  <a:pt x="8489527" y="6551791"/>
                </a:lnTo>
                <a:lnTo>
                  <a:pt x="8497013" y="6593969"/>
                </a:lnTo>
                <a:lnTo>
                  <a:pt x="8489527" y="6638076"/>
                </a:lnTo>
                <a:lnTo>
                  <a:pt x="8468426" y="6665125"/>
                </a:lnTo>
                <a:lnTo>
                  <a:pt x="8435743" y="6678715"/>
                </a:lnTo>
                <a:lnTo>
                  <a:pt x="8393513" y="6682444"/>
                </a:lnTo>
                <a:lnTo>
                  <a:pt x="8351283" y="6678715"/>
                </a:lnTo>
                <a:lnTo>
                  <a:pt x="8318600" y="6665125"/>
                </a:lnTo>
                <a:lnTo>
                  <a:pt x="8297498" y="6638076"/>
                </a:lnTo>
                <a:lnTo>
                  <a:pt x="8290013" y="6593969"/>
                </a:lnTo>
                <a:lnTo>
                  <a:pt x="8297733" y="6551791"/>
                </a:lnTo>
                <a:lnTo>
                  <a:pt x="8319226" y="6525734"/>
                </a:lnTo>
                <a:lnTo>
                  <a:pt x="8351987" y="6512510"/>
                </a:lnTo>
                <a:close/>
                <a:moveTo>
                  <a:pt x="5162785" y="6508832"/>
                </a:moveTo>
                <a:lnTo>
                  <a:pt x="5205015" y="6512510"/>
                </a:lnTo>
                <a:lnTo>
                  <a:pt x="5237697" y="6525734"/>
                </a:lnTo>
                <a:lnTo>
                  <a:pt x="5258799" y="6551791"/>
                </a:lnTo>
                <a:lnTo>
                  <a:pt x="5266284" y="6593969"/>
                </a:lnTo>
                <a:lnTo>
                  <a:pt x="5258799" y="6638076"/>
                </a:lnTo>
                <a:lnTo>
                  <a:pt x="5237697" y="6665125"/>
                </a:lnTo>
                <a:lnTo>
                  <a:pt x="5205015" y="6678715"/>
                </a:lnTo>
                <a:lnTo>
                  <a:pt x="5162785" y="6682444"/>
                </a:lnTo>
                <a:lnTo>
                  <a:pt x="5120555" y="6678715"/>
                </a:lnTo>
                <a:lnTo>
                  <a:pt x="5087872" y="6665125"/>
                </a:lnTo>
                <a:lnTo>
                  <a:pt x="5066771" y="6638076"/>
                </a:lnTo>
                <a:lnTo>
                  <a:pt x="5059285" y="6593969"/>
                </a:lnTo>
                <a:lnTo>
                  <a:pt x="5067005" y="6551791"/>
                </a:lnTo>
                <a:lnTo>
                  <a:pt x="5088499" y="6525734"/>
                </a:lnTo>
                <a:lnTo>
                  <a:pt x="5121260" y="6512510"/>
                </a:lnTo>
                <a:close/>
                <a:moveTo>
                  <a:pt x="6674635" y="6508827"/>
                </a:moveTo>
                <a:lnTo>
                  <a:pt x="6881636" y="6508827"/>
                </a:lnTo>
                <a:lnTo>
                  <a:pt x="6881636" y="6682440"/>
                </a:lnTo>
                <a:lnTo>
                  <a:pt x="6674635" y="6682440"/>
                </a:lnTo>
                <a:close/>
                <a:moveTo>
                  <a:pt x="1511898" y="6358592"/>
                </a:moveTo>
                <a:lnTo>
                  <a:pt x="2416689" y="6358592"/>
                </a:lnTo>
                <a:lnTo>
                  <a:pt x="2416689" y="6465429"/>
                </a:lnTo>
                <a:lnTo>
                  <a:pt x="1511898" y="6465429"/>
                </a:lnTo>
                <a:close/>
                <a:moveTo>
                  <a:pt x="0" y="6358592"/>
                </a:moveTo>
                <a:lnTo>
                  <a:pt x="904792" y="6358592"/>
                </a:lnTo>
                <a:lnTo>
                  <a:pt x="904792" y="6465429"/>
                </a:lnTo>
                <a:lnTo>
                  <a:pt x="0" y="6465429"/>
                </a:lnTo>
                <a:close/>
                <a:moveTo>
                  <a:pt x="1511898" y="6009695"/>
                </a:moveTo>
                <a:lnTo>
                  <a:pt x="2416689" y="6009695"/>
                </a:lnTo>
                <a:lnTo>
                  <a:pt x="2416689" y="6116533"/>
                </a:lnTo>
                <a:lnTo>
                  <a:pt x="1511898" y="6116533"/>
                </a:lnTo>
                <a:close/>
                <a:moveTo>
                  <a:pt x="0" y="6009695"/>
                </a:moveTo>
                <a:lnTo>
                  <a:pt x="904792" y="6009695"/>
                </a:lnTo>
                <a:lnTo>
                  <a:pt x="904792" y="6116533"/>
                </a:lnTo>
                <a:lnTo>
                  <a:pt x="0" y="6116533"/>
                </a:lnTo>
                <a:close/>
                <a:moveTo>
                  <a:pt x="8393513" y="5807701"/>
                </a:moveTo>
                <a:lnTo>
                  <a:pt x="8435743" y="5811170"/>
                </a:lnTo>
                <a:lnTo>
                  <a:pt x="8468426" y="5824185"/>
                </a:lnTo>
                <a:lnTo>
                  <a:pt x="8489527" y="5850660"/>
                </a:lnTo>
                <a:lnTo>
                  <a:pt x="8497013" y="5894506"/>
                </a:lnTo>
                <a:lnTo>
                  <a:pt x="8489527" y="5936945"/>
                </a:lnTo>
                <a:lnTo>
                  <a:pt x="8468426" y="5963576"/>
                </a:lnTo>
                <a:lnTo>
                  <a:pt x="8435743" y="5977374"/>
                </a:lnTo>
                <a:lnTo>
                  <a:pt x="8393513" y="5981313"/>
                </a:lnTo>
                <a:lnTo>
                  <a:pt x="8352248" y="5977374"/>
                </a:lnTo>
                <a:lnTo>
                  <a:pt x="8320060" y="5963576"/>
                </a:lnTo>
                <a:lnTo>
                  <a:pt x="8299141" y="5936945"/>
                </a:lnTo>
                <a:lnTo>
                  <a:pt x="8291681" y="5894506"/>
                </a:lnTo>
                <a:lnTo>
                  <a:pt x="8299141" y="5850660"/>
                </a:lnTo>
                <a:lnTo>
                  <a:pt x="8320060" y="5824185"/>
                </a:lnTo>
                <a:lnTo>
                  <a:pt x="8352248" y="5811170"/>
                </a:lnTo>
                <a:close/>
                <a:moveTo>
                  <a:pt x="5162785" y="5807701"/>
                </a:moveTo>
                <a:lnTo>
                  <a:pt x="5205015" y="5811170"/>
                </a:lnTo>
                <a:lnTo>
                  <a:pt x="5237697" y="5824185"/>
                </a:lnTo>
                <a:lnTo>
                  <a:pt x="5258799" y="5850660"/>
                </a:lnTo>
                <a:lnTo>
                  <a:pt x="5266284" y="5894506"/>
                </a:lnTo>
                <a:lnTo>
                  <a:pt x="5258799" y="5936945"/>
                </a:lnTo>
                <a:lnTo>
                  <a:pt x="5237697" y="5963576"/>
                </a:lnTo>
                <a:lnTo>
                  <a:pt x="5205015" y="5977374"/>
                </a:lnTo>
                <a:lnTo>
                  <a:pt x="5162785" y="5981313"/>
                </a:lnTo>
                <a:lnTo>
                  <a:pt x="5121521" y="5977374"/>
                </a:lnTo>
                <a:lnTo>
                  <a:pt x="5089334" y="5963576"/>
                </a:lnTo>
                <a:lnTo>
                  <a:pt x="5068415" y="5936945"/>
                </a:lnTo>
                <a:lnTo>
                  <a:pt x="5060955" y="5894506"/>
                </a:lnTo>
                <a:lnTo>
                  <a:pt x="5068415" y="5850660"/>
                </a:lnTo>
                <a:lnTo>
                  <a:pt x="5089334" y="5824185"/>
                </a:lnTo>
                <a:lnTo>
                  <a:pt x="5121521" y="5811170"/>
                </a:lnTo>
                <a:close/>
                <a:moveTo>
                  <a:pt x="4008189" y="5487184"/>
                </a:moveTo>
                <a:lnTo>
                  <a:pt x="4061259" y="5489060"/>
                </a:lnTo>
                <a:lnTo>
                  <a:pt x="4110380" y="5494637"/>
                </a:lnTo>
                <a:lnTo>
                  <a:pt x="4155685" y="5503832"/>
                </a:lnTo>
                <a:lnTo>
                  <a:pt x="4197307" y="5516564"/>
                </a:lnTo>
                <a:lnTo>
                  <a:pt x="4235378" y="5532752"/>
                </a:lnTo>
                <a:lnTo>
                  <a:pt x="4270031" y="5552313"/>
                </a:lnTo>
                <a:lnTo>
                  <a:pt x="4301398" y="5575168"/>
                </a:lnTo>
                <a:lnTo>
                  <a:pt x="4329613" y="5601234"/>
                </a:lnTo>
                <a:lnTo>
                  <a:pt x="4354810" y="5630430"/>
                </a:lnTo>
                <a:lnTo>
                  <a:pt x="4377118" y="5662675"/>
                </a:lnTo>
                <a:lnTo>
                  <a:pt x="4396671" y="5697887"/>
                </a:lnTo>
                <a:lnTo>
                  <a:pt x="4413603" y="5735985"/>
                </a:lnTo>
                <a:lnTo>
                  <a:pt x="4428046" y="5776887"/>
                </a:lnTo>
                <a:lnTo>
                  <a:pt x="4440133" y="5820513"/>
                </a:lnTo>
                <a:lnTo>
                  <a:pt x="4449996" y="5866781"/>
                </a:lnTo>
                <a:lnTo>
                  <a:pt x="4457768" y="5915609"/>
                </a:lnTo>
                <a:lnTo>
                  <a:pt x="4463582" y="5966915"/>
                </a:lnTo>
                <a:lnTo>
                  <a:pt x="4467570" y="6020620"/>
                </a:lnTo>
                <a:lnTo>
                  <a:pt x="4469866" y="6076640"/>
                </a:lnTo>
                <a:lnTo>
                  <a:pt x="4470602" y="6134896"/>
                </a:lnTo>
                <a:lnTo>
                  <a:pt x="4469902" y="6193401"/>
                </a:lnTo>
                <a:lnTo>
                  <a:pt x="4467705" y="6249671"/>
                </a:lnTo>
                <a:lnTo>
                  <a:pt x="4463869" y="6303621"/>
                </a:lnTo>
                <a:lnTo>
                  <a:pt x="4458248" y="6355171"/>
                </a:lnTo>
                <a:lnTo>
                  <a:pt x="4450700" y="6404236"/>
                </a:lnTo>
                <a:lnTo>
                  <a:pt x="4441079" y="6450735"/>
                </a:lnTo>
                <a:lnTo>
                  <a:pt x="4429242" y="6494584"/>
                </a:lnTo>
                <a:lnTo>
                  <a:pt x="4415045" y="6535702"/>
                </a:lnTo>
                <a:lnTo>
                  <a:pt x="4398345" y="6574005"/>
                </a:lnTo>
                <a:lnTo>
                  <a:pt x="4378996" y="6609411"/>
                </a:lnTo>
                <a:lnTo>
                  <a:pt x="4356855" y="6641837"/>
                </a:lnTo>
                <a:lnTo>
                  <a:pt x="4331777" y="6671200"/>
                </a:lnTo>
                <a:lnTo>
                  <a:pt x="4303620" y="6697419"/>
                </a:lnTo>
                <a:lnTo>
                  <a:pt x="4272239" y="6720409"/>
                </a:lnTo>
                <a:lnTo>
                  <a:pt x="4237491" y="6740090"/>
                </a:lnTo>
                <a:lnTo>
                  <a:pt x="4199230" y="6756377"/>
                </a:lnTo>
                <a:lnTo>
                  <a:pt x="4157313" y="6769189"/>
                </a:lnTo>
                <a:lnTo>
                  <a:pt x="4111597" y="6778443"/>
                </a:lnTo>
                <a:lnTo>
                  <a:pt x="4061937" y="6784056"/>
                </a:lnTo>
                <a:lnTo>
                  <a:pt x="4008189" y="6785945"/>
                </a:lnTo>
                <a:lnTo>
                  <a:pt x="4008189" y="6689123"/>
                </a:lnTo>
                <a:lnTo>
                  <a:pt x="4057874" y="6686890"/>
                </a:lnTo>
                <a:lnTo>
                  <a:pt x="4102795" y="6680269"/>
                </a:lnTo>
                <a:lnTo>
                  <a:pt x="4143177" y="6669380"/>
                </a:lnTo>
                <a:lnTo>
                  <a:pt x="4179248" y="6654340"/>
                </a:lnTo>
                <a:lnTo>
                  <a:pt x="4239359" y="6612280"/>
                </a:lnTo>
                <a:lnTo>
                  <a:pt x="4284939" y="6555036"/>
                </a:lnTo>
                <a:lnTo>
                  <a:pt x="4302844" y="6521015"/>
                </a:lnTo>
                <a:lnTo>
                  <a:pt x="4317796" y="6483554"/>
                </a:lnTo>
                <a:lnTo>
                  <a:pt x="4330020" y="6442769"/>
                </a:lnTo>
                <a:lnTo>
                  <a:pt x="4339743" y="6398779"/>
                </a:lnTo>
                <a:lnTo>
                  <a:pt x="4347190" y="6351702"/>
                </a:lnTo>
                <a:lnTo>
                  <a:pt x="4352590" y="6301658"/>
                </a:lnTo>
                <a:lnTo>
                  <a:pt x="4356166" y="6248763"/>
                </a:lnTo>
                <a:lnTo>
                  <a:pt x="4358145" y="6193136"/>
                </a:lnTo>
                <a:lnTo>
                  <a:pt x="4358755" y="6134896"/>
                </a:lnTo>
                <a:lnTo>
                  <a:pt x="4358113" y="6077227"/>
                </a:lnTo>
                <a:lnTo>
                  <a:pt x="4356043" y="6022138"/>
                </a:lnTo>
                <a:lnTo>
                  <a:pt x="4352333" y="5969745"/>
                </a:lnTo>
                <a:lnTo>
                  <a:pt x="4346766" y="5920169"/>
                </a:lnTo>
                <a:lnTo>
                  <a:pt x="4339131" y="5873525"/>
                </a:lnTo>
                <a:lnTo>
                  <a:pt x="4329213" y="5829933"/>
                </a:lnTo>
                <a:lnTo>
                  <a:pt x="4316797" y="5789512"/>
                </a:lnTo>
                <a:lnTo>
                  <a:pt x="4301670" y="5752380"/>
                </a:lnTo>
                <a:lnTo>
                  <a:pt x="4283617" y="5718654"/>
                </a:lnTo>
                <a:lnTo>
                  <a:pt x="4237879" y="5661895"/>
                </a:lnTo>
                <a:lnTo>
                  <a:pt x="4177870" y="5620182"/>
                </a:lnTo>
                <a:lnTo>
                  <a:pt x="4141978" y="5605263"/>
                </a:lnTo>
                <a:lnTo>
                  <a:pt x="4101877" y="5594460"/>
                </a:lnTo>
                <a:lnTo>
                  <a:pt x="4057352" y="5587892"/>
                </a:lnTo>
                <a:lnTo>
                  <a:pt x="4008189" y="5585676"/>
                </a:lnTo>
                <a:close/>
                <a:moveTo>
                  <a:pt x="3491267" y="5487184"/>
                </a:moveTo>
                <a:lnTo>
                  <a:pt x="3491267" y="5585676"/>
                </a:lnTo>
                <a:lnTo>
                  <a:pt x="3442381" y="5587892"/>
                </a:lnTo>
                <a:lnTo>
                  <a:pt x="3398103" y="5594460"/>
                </a:lnTo>
                <a:lnTo>
                  <a:pt x="3358217" y="5605263"/>
                </a:lnTo>
                <a:lnTo>
                  <a:pt x="3322510" y="5620182"/>
                </a:lnTo>
                <a:lnTo>
                  <a:pt x="3262795" y="5661895"/>
                </a:lnTo>
                <a:lnTo>
                  <a:pt x="3217261" y="5718654"/>
                </a:lnTo>
                <a:lnTo>
                  <a:pt x="3199282" y="5752380"/>
                </a:lnTo>
                <a:lnTo>
                  <a:pt x="3184213" y="5789512"/>
                </a:lnTo>
                <a:lnTo>
                  <a:pt x="3171840" y="5829933"/>
                </a:lnTo>
                <a:lnTo>
                  <a:pt x="3161952" y="5873525"/>
                </a:lnTo>
                <a:lnTo>
                  <a:pt x="3154338" y="5920169"/>
                </a:lnTo>
                <a:lnTo>
                  <a:pt x="3148785" y="5969745"/>
                </a:lnTo>
                <a:lnTo>
                  <a:pt x="3145081" y="6022138"/>
                </a:lnTo>
                <a:lnTo>
                  <a:pt x="3143014" y="6077227"/>
                </a:lnTo>
                <a:lnTo>
                  <a:pt x="3142372" y="6134896"/>
                </a:lnTo>
                <a:lnTo>
                  <a:pt x="3142997" y="6193136"/>
                </a:lnTo>
                <a:lnTo>
                  <a:pt x="3145020" y="6248763"/>
                </a:lnTo>
                <a:lnTo>
                  <a:pt x="3148657" y="6301658"/>
                </a:lnTo>
                <a:lnTo>
                  <a:pt x="3154126" y="6351702"/>
                </a:lnTo>
                <a:lnTo>
                  <a:pt x="3161647" y="6398779"/>
                </a:lnTo>
                <a:lnTo>
                  <a:pt x="3171437" y="6442769"/>
                </a:lnTo>
                <a:lnTo>
                  <a:pt x="3183713" y="6483554"/>
                </a:lnTo>
                <a:lnTo>
                  <a:pt x="3198695" y="6521015"/>
                </a:lnTo>
                <a:lnTo>
                  <a:pt x="3216602" y="6555036"/>
                </a:lnTo>
                <a:lnTo>
                  <a:pt x="3262055" y="6612280"/>
                </a:lnTo>
                <a:lnTo>
                  <a:pt x="3321821" y="6654340"/>
                </a:lnTo>
                <a:lnTo>
                  <a:pt x="3357617" y="6669380"/>
                </a:lnTo>
                <a:lnTo>
                  <a:pt x="3397644" y="6680269"/>
                </a:lnTo>
                <a:lnTo>
                  <a:pt x="3442120" y="6686890"/>
                </a:lnTo>
                <a:lnTo>
                  <a:pt x="3491267" y="6689123"/>
                </a:lnTo>
                <a:lnTo>
                  <a:pt x="3491267" y="6785945"/>
                </a:lnTo>
                <a:lnTo>
                  <a:pt x="3437744" y="6784056"/>
                </a:lnTo>
                <a:lnTo>
                  <a:pt x="3388267" y="6778443"/>
                </a:lnTo>
                <a:lnTo>
                  <a:pt x="3342687" y="6769189"/>
                </a:lnTo>
                <a:lnTo>
                  <a:pt x="3300868" y="6756377"/>
                </a:lnTo>
                <a:lnTo>
                  <a:pt x="3262672" y="6740090"/>
                </a:lnTo>
                <a:lnTo>
                  <a:pt x="3227954" y="6720409"/>
                </a:lnTo>
                <a:lnTo>
                  <a:pt x="3196577" y="6697419"/>
                </a:lnTo>
                <a:lnTo>
                  <a:pt x="3168401" y="6671200"/>
                </a:lnTo>
                <a:lnTo>
                  <a:pt x="3143286" y="6641837"/>
                </a:lnTo>
                <a:lnTo>
                  <a:pt x="3121088" y="6609411"/>
                </a:lnTo>
                <a:lnTo>
                  <a:pt x="3101671" y="6574005"/>
                </a:lnTo>
                <a:lnTo>
                  <a:pt x="3084893" y="6535702"/>
                </a:lnTo>
                <a:lnTo>
                  <a:pt x="3070614" y="6494584"/>
                </a:lnTo>
                <a:lnTo>
                  <a:pt x="3058694" y="6450735"/>
                </a:lnTo>
                <a:lnTo>
                  <a:pt x="3048993" y="6404236"/>
                </a:lnTo>
                <a:lnTo>
                  <a:pt x="3041370" y="6355171"/>
                </a:lnTo>
                <a:lnTo>
                  <a:pt x="3035685" y="6303621"/>
                </a:lnTo>
                <a:lnTo>
                  <a:pt x="3031798" y="6249671"/>
                </a:lnTo>
                <a:lnTo>
                  <a:pt x="3029568" y="6193401"/>
                </a:lnTo>
                <a:lnTo>
                  <a:pt x="3028857" y="6134896"/>
                </a:lnTo>
                <a:lnTo>
                  <a:pt x="3029592" y="6076640"/>
                </a:lnTo>
                <a:lnTo>
                  <a:pt x="3031888" y="6020620"/>
                </a:lnTo>
                <a:lnTo>
                  <a:pt x="3035877" y="5966915"/>
                </a:lnTo>
                <a:lnTo>
                  <a:pt x="3041690" y="5915609"/>
                </a:lnTo>
                <a:lnTo>
                  <a:pt x="3049463" y="5866781"/>
                </a:lnTo>
                <a:lnTo>
                  <a:pt x="3059326" y="5820513"/>
                </a:lnTo>
                <a:lnTo>
                  <a:pt x="3071412" y="5776887"/>
                </a:lnTo>
                <a:lnTo>
                  <a:pt x="3085855" y="5735985"/>
                </a:lnTo>
                <a:lnTo>
                  <a:pt x="3102787" y="5697887"/>
                </a:lnTo>
                <a:lnTo>
                  <a:pt x="3122341" y="5662675"/>
                </a:lnTo>
                <a:lnTo>
                  <a:pt x="3144649" y="5630430"/>
                </a:lnTo>
                <a:lnTo>
                  <a:pt x="3169844" y="5601234"/>
                </a:lnTo>
                <a:lnTo>
                  <a:pt x="3198060" y="5575168"/>
                </a:lnTo>
                <a:lnTo>
                  <a:pt x="3229427" y="5552313"/>
                </a:lnTo>
                <a:lnTo>
                  <a:pt x="3264079" y="5532752"/>
                </a:lnTo>
                <a:lnTo>
                  <a:pt x="3302151" y="5516564"/>
                </a:lnTo>
                <a:lnTo>
                  <a:pt x="3343773" y="5503832"/>
                </a:lnTo>
                <a:lnTo>
                  <a:pt x="3389078" y="5494637"/>
                </a:lnTo>
                <a:lnTo>
                  <a:pt x="3438196" y="5489060"/>
                </a:lnTo>
                <a:close/>
                <a:moveTo>
                  <a:pt x="5569411" y="5006403"/>
                </a:moveTo>
                <a:lnTo>
                  <a:pt x="5611640" y="5010081"/>
                </a:lnTo>
                <a:lnTo>
                  <a:pt x="5644323" y="5023305"/>
                </a:lnTo>
                <a:lnTo>
                  <a:pt x="5665424" y="5049363"/>
                </a:lnTo>
                <a:lnTo>
                  <a:pt x="5672910" y="5091541"/>
                </a:lnTo>
                <a:lnTo>
                  <a:pt x="5665424" y="5135648"/>
                </a:lnTo>
                <a:lnTo>
                  <a:pt x="5644323" y="5162697"/>
                </a:lnTo>
                <a:lnTo>
                  <a:pt x="5611640" y="5176287"/>
                </a:lnTo>
                <a:lnTo>
                  <a:pt x="5569411" y="5180017"/>
                </a:lnTo>
                <a:lnTo>
                  <a:pt x="5527181" y="5176287"/>
                </a:lnTo>
                <a:lnTo>
                  <a:pt x="5494498" y="5162697"/>
                </a:lnTo>
                <a:lnTo>
                  <a:pt x="5473397" y="5135648"/>
                </a:lnTo>
                <a:lnTo>
                  <a:pt x="5465911" y="5091541"/>
                </a:lnTo>
                <a:lnTo>
                  <a:pt x="5473631" y="5049363"/>
                </a:lnTo>
                <a:lnTo>
                  <a:pt x="5495125" y="5023305"/>
                </a:lnTo>
                <a:lnTo>
                  <a:pt x="5527886" y="5010081"/>
                </a:lnTo>
                <a:close/>
                <a:moveTo>
                  <a:pt x="4804116" y="5006403"/>
                </a:moveTo>
                <a:lnTo>
                  <a:pt x="4846346" y="5010081"/>
                </a:lnTo>
                <a:lnTo>
                  <a:pt x="4879028" y="5023305"/>
                </a:lnTo>
                <a:lnTo>
                  <a:pt x="4900130" y="5049363"/>
                </a:lnTo>
                <a:lnTo>
                  <a:pt x="4907615" y="5091541"/>
                </a:lnTo>
                <a:lnTo>
                  <a:pt x="4900130" y="5135648"/>
                </a:lnTo>
                <a:lnTo>
                  <a:pt x="4879028" y="5162697"/>
                </a:lnTo>
                <a:lnTo>
                  <a:pt x="4846346" y="5176287"/>
                </a:lnTo>
                <a:lnTo>
                  <a:pt x="4804116" y="5180017"/>
                </a:lnTo>
                <a:lnTo>
                  <a:pt x="4761886" y="5176287"/>
                </a:lnTo>
                <a:lnTo>
                  <a:pt x="4729203" y="5162697"/>
                </a:lnTo>
                <a:lnTo>
                  <a:pt x="4708102" y="5135648"/>
                </a:lnTo>
                <a:lnTo>
                  <a:pt x="4700616" y="5091541"/>
                </a:lnTo>
                <a:lnTo>
                  <a:pt x="4708336" y="5049363"/>
                </a:lnTo>
                <a:lnTo>
                  <a:pt x="4729830" y="5023305"/>
                </a:lnTo>
                <a:lnTo>
                  <a:pt x="4762591" y="5010081"/>
                </a:lnTo>
                <a:close/>
                <a:moveTo>
                  <a:pt x="2787004" y="4856173"/>
                </a:moveTo>
                <a:lnTo>
                  <a:pt x="3691793" y="4856173"/>
                </a:lnTo>
                <a:lnTo>
                  <a:pt x="3691793" y="4963011"/>
                </a:lnTo>
                <a:lnTo>
                  <a:pt x="2787004" y="4963011"/>
                </a:lnTo>
                <a:close/>
                <a:moveTo>
                  <a:pt x="1275095" y="4856173"/>
                </a:moveTo>
                <a:lnTo>
                  <a:pt x="2179887" y="4856173"/>
                </a:lnTo>
                <a:lnTo>
                  <a:pt x="2179887" y="4963011"/>
                </a:lnTo>
                <a:lnTo>
                  <a:pt x="1275095" y="4963011"/>
                </a:lnTo>
                <a:close/>
                <a:moveTo>
                  <a:pt x="2787004" y="4507276"/>
                </a:moveTo>
                <a:lnTo>
                  <a:pt x="3691793" y="4507276"/>
                </a:lnTo>
                <a:lnTo>
                  <a:pt x="3691793" y="4614114"/>
                </a:lnTo>
                <a:lnTo>
                  <a:pt x="2787004" y="4614114"/>
                </a:lnTo>
                <a:close/>
                <a:moveTo>
                  <a:pt x="1275095" y="4507276"/>
                </a:moveTo>
                <a:lnTo>
                  <a:pt x="2179887" y="4507276"/>
                </a:lnTo>
                <a:lnTo>
                  <a:pt x="2179887" y="4614114"/>
                </a:lnTo>
                <a:lnTo>
                  <a:pt x="1275095" y="4614114"/>
                </a:lnTo>
                <a:close/>
                <a:moveTo>
                  <a:pt x="5569411" y="4305272"/>
                </a:moveTo>
                <a:lnTo>
                  <a:pt x="5611640" y="4308741"/>
                </a:lnTo>
                <a:lnTo>
                  <a:pt x="5644323" y="4321757"/>
                </a:lnTo>
                <a:lnTo>
                  <a:pt x="5665424" y="4348232"/>
                </a:lnTo>
                <a:lnTo>
                  <a:pt x="5672910" y="4392078"/>
                </a:lnTo>
                <a:lnTo>
                  <a:pt x="5665424" y="4434517"/>
                </a:lnTo>
                <a:lnTo>
                  <a:pt x="5644323" y="4461148"/>
                </a:lnTo>
                <a:lnTo>
                  <a:pt x="5611640" y="4474946"/>
                </a:lnTo>
                <a:lnTo>
                  <a:pt x="5569411" y="4478885"/>
                </a:lnTo>
                <a:lnTo>
                  <a:pt x="5528147" y="4474946"/>
                </a:lnTo>
                <a:lnTo>
                  <a:pt x="5495959" y="4461148"/>
                </a:lnTo>
                <a:lnTo>
                  <a:pt x="5475040" y="4434517"/>
                </a:lnTo>
                <a:lnTo>
                  <a:pt x="5467580" y="4392078"/>
                </a:lnTo>
                <a:lnTo>
                  <a:pt x="5475040" y="4348232"/>
                </a:lnTo>
                <a:lnTo>
                  <a:pt x="5495959" y="4321757"/>
                </a:lnTo>
                <a:lnTo>
                  <a:pt x="5528147" y="4308741"/>
                </a:lnTo>
                <a:close/>
                <a:moveTo>
                  <a:pt x="4804116" y="4305272"/>
                </a:moveTo>
                <a:lnTo>
                  <a:pt x="4846346" y="4308741"/>
                </a:lnTo>
                <a:lnTo>
                  <a:pt x="4879028" y="4321757"/>
                </a:lnTo>
                <a:lnTo>
                  <a:pt x="4900130" y="4348232"/>
                </a:lnTo>
                <a:lnTo>
                  <a:pt x="4907615" y="4392078"/>
                </a:lnTo>
                <a:lnTo>
                  <a:pt x="4900130" y="4434517"/>
                </a:lnTo>
                <a:lnTo>
                  <a:pt x="4879028" y="4461148"/>
                </a:lnTo>
                <a:lnTo>
                  <a:pt x="4846346" y="4474946"/>
                </a:lnTo>
                <a:lnTo>
                  <a:pt x="4804116" y="4478885"/>
                </a:lnTo>
                <a:lnTo>
                  <a:pt x="4762852" y="4474946"/>
                </a:lnTo>
                <a:lnTo>
                  <a:pt x="4730664" y="4461148"/>
                </a:lnTo>
                <a:lnTo>
                  <a:pt x="4709745" y="4434517"/>
                </a:lnTo>
                <a:lnTo>
                  <a:pt x="4702285" y="4392078"/>
                </a:lnTo>
                <a:lnTo>
                  <a:pt x="4709745" y="4348232"/>
                </a:lnTo>
                <a:lnTo>
                  <a:pt x="4730664" y="4321757"/>
                </a:lnTo>
                <a:lnTo>
                  <a:pt x="4762852" y="4308741"/>
                </a:lnTo>
                <a:close/>
                <a:moveTo>
                  <a:pt x="7712987" y="3503986"/>
                </a:moveTo>
                <a:lnTo>
                  <a:pt x="7763122" y="3509568"/>
                </a:lnTo>
                <a:lnTo>
                  <a:pt x="7795147" y="3526208"/>
                </a:lnTo>
                <a:lnTo>
                  <a:pt x="7811787" y="3553746"/>
                </a:lnTo>
                <a:lnTo>
                  <a:pt x="7815767" y="3592021"/>
                </a:lnTo>
                <a:lnTo>
                  <a:pt x="7809810" y="3640873"/>
                </a:lnTo>
                <a:lnTo>
                  <a:pt x="7763068" y="3887939"/>
                </a:lnTo>
                <a:lnTo>
                  <a:pt x="7682939" y="3887939"/>
                </a:lnTo>
                <a:lnTo>
                  <a:pt x="7709648" y="3677600"/>
                </a:lnTo>
                <a:lnTo>
                  <a:pt x="7668644" y="3673635"/>
                </a:lnTo>
                <a:lnTo>
                  <a:pt x="7637031" y="3659654"/>
                </a:lnTo>
                <a:lnTo>
                  <a:pt x="7616686" y="3632527"/>
                </a:lnTo>
                <a:lnTo>
                  <a:pt x="7609487" y="3589124"/>
                </a:lnTo>
                <a:lnTo>
                  <a:pt x="7617207" y="3546946"/>
                </a:lnTo>
                <a:lnTo>
                  <a:pt x="7638700" y="3520888"/>
                </a:lnTo>
                <a:lnTo>
                  <a:pt x="7671461" y="3507664"/>
                </a:lnTo>
                <a:close/>
                <a:moveTo>
                  <a:pt x="4062097" y="3353744"/>
                </a:moveTo>
                <a:lnTo>
                  <a:pt x="4966889" y="3353744"/>
                </a:lnTo>
                <a:lnTo>
                  <a:pt x="4966889" y="3460582"/>
                </a:lnTo>
                <a:lnTo>
                  <a:pt x="4062097" y="3460582"/>
                </a:lnTo>
                <a:close/>
                <a:moveTo>
                  <a:pt x="2550201" y="3353744"/>
                </a:moveTo>
                <a:lnTo>
                  <a:pt x="3454992" y="3353744"/>
                </a:lnTo>
                <a:lnTo>
                  <a:pt x="3454992" y="3460582"/>
                </a:lnTo>
                <a:lnTo>
                  <a:pt x="2550201" y="3460582"/>
                </a:lnTo>
                <a:close/>
                <a:moveTo>
                  <a:pt x="4062097" y="3004848"/>
                </a:moveTo>
                <a:lnTo>
                  <a:pt x="4966889" y="3004848"/>
                </a:lnTo>
                <a:lnTo>
                  <a:pt x="4966889" y="3111686"/>
                </a:lnTo>
                <a:lnTo>
                  <a:pt x="4062097" y="3111686"/>
                </a:lnTo>
                <a:close/>
                <a:moveTo>
                  <a:pt x="2550201" y="3004848"/>
                </a:moveTo>
                <a:lnTo>
                  <a:pt x="3454992" y="3004848"/>
                </a:lnTo>
                <a:lnTo>
                  <a:pt x="3454992" y="3111686"/>
                </a:lnTo>
                <a:lnTo>
                  <a:pt x="2550201" y="3111686"/>
                </a:lnTo>
                <a:close/>
                <a:moveTo>
                  <a:pt x="7712987" y="2802855"/>
                </a:moveTo>
                <a:lnTo>
                  <a:pt x="7755217" y="2806324"/>
                </a:lnTo>
                <a:lnTo>
                  <a:pt x="7787900" y="2819339"/>
                </a:lnTo>
                <a:lnTo>
                  <a:pt x="7809002" y="2845814"/>
                </a:lnTo>
                <a:lnTo>
                  <a:pt x="7816489" y="2889661"/>
                </a:lnTo>
                <a:lnTo>
                  <a:pt x="7809002" y="2932099"/>
                </a:lnTo>
                <a:lnTo>
                  <a:pt x="7787900" y="2958731"/>
                </a:lnTo>
                <a:lnTo>
                  <a:pt x="7755217" y="2972529"/>
                </a:lnTo>
                <a:lnTo>
                  <a:pt x="7712987" y="2976468"/>
                </a:lnTo>
                <a:lnTo>
                  <a:pt x="7671722" y="2972529"/>
                </a:lnTo>
                <a:lnTo>
                  <a:pt x="7639535" y="2958731"/>
                </a:lnTo>
                <a:lnTo>
                  <a:pt x="7618615" y="2932099"/>
                </a:lnTo>
                <a:lnTo>
                  <a:pt x="7611156" y="2889661"/>
                </a:lnTo>
                <a:lnTo>
                  <a:pt x="7618615" y="2845814"/>
                </a:lnTo>
                <a:lnTo>
                  <a:pt x="7639535" y="2819339"/>
                </a:lnTo>
                <a:lnTo>
                  <a:pt x="7671722" y="2806324"/>
                </a:lnTo>
                <a:close/>
                <a:moveTo>
                  <a:pt x="6558381" y="2482346"/>
                </a:moveTo>
                <a:lnTo>
                  <a:pt x="6611451" y="2484222"/>
                </a:lnTo>
                <a:lnTo>
                  <a:pt x="6660572" y="2489799"/>
                </a:lnTo>
                <a:lnTo>
                  <a:pt x="6705877" y="2498994"/>
                </a:lnTo>
                <a:lnTo>
                  <a:pt x="6747499" y="2511726"/>
                </a:lnTo>
                <a:lnTo>
                  <a:pt x="6785570" y="2527914"/>
                </a:lnTo>
                <a:lnTo>
                  <a:pt x="6820223" y="2547475"/>
                </a:lnTo>
                <a:lnTo>
                  <a:pt x="6851590" y="2570330"/>
                </a:lnTo>
                <a:lnTo>
                  <a:pt x="6879805" y="2596396"/>
                </a:lnTo>
                <a:lnTo>
                  <a:pt x="6905001" y="2625592"/>
                </a:lnTo>
                <a:lnTo>
                  <a:pt x="6927309" y="2657837"/>
                </a:lnTo>
                <a:lnTo>
                  <a:pt x="6946862" y="2693049"/>
                </a:lnTo>
                <a:lnTo>
                  <a:pt x="6963794" y="2731147"/>
                </a:lnTo>
                <a:lnTo>
                  <a:pt x="6978237" y="2772049"/>
                </a:lnTo>
                <a:lnTo>
                  <a:pt x="6990324" y="2815675"/>
                </a:lnTo>
                <a:lnTo>
                  <a:pt x="7000187" y="2861942"/>
                </a:lnTo>
                <a:lnTo>
                  <a:pt x="7007959" y="2910770"/>
                </a:lnTo>
                <a:lnTo>
                  <a:pt x="7013773" y="2962076"/>
                </a:lnTo>
                <a:lnTo>
                  <a:pt x="7017761" y="3015781"/>
                </a:lnTo>
                <a:lnTo>
                  <a:pt x="7020057" y="3071801"/>
                </a:lnTo>
                <a:lnTo>
                  <a:pt x="7020793" y="3130057"/>
                </a:lnTo>
                <a:lnTo>
                  <a:pt x="7020093" y="3188562"/>
                </a:lnTo>
                <a:lnTo>
                  <a:pt x="7017896" y="3244832"/>
                </a:lnTo>
                <a:lnTo>
                  <a:pt x="7014060" y="3298782"/>
                </a:lnTo>
                <a:lnTo>
                  <a:pt x="7008439" y="3350332"/>
                </a:lnTo>
                <a:lnTo>
                  <a:pt x="7000891" y="3399397"/>
                </a:lnTo>
                <a:lnTo>
                  <a:pt x="6991270" y="3445896"/>
                </a:lnTo>
                <a:lnTo>
                  <a:pt x="6979433" y="3489745"/>
                </a:lnTo>
                <a:lnTo>
                  <a:pt x="6965236" y="3530863"/>
                </a:lnTo>
                <a:lnTo>
                  <a:pt x="6948536" y="3569166"/>
                </a:lnTo>
                <a:lnTo>
                  <a:pt x="6929187" y="3604572"/>
                </a:lnTo>
                <a:lnTo>
                  <a:pt x="6907046" y="3636998"/>
                </a:lnTo>
                <a:lnTo>
                  <a:pt x="6881969" y="3666361"/>
                </a:lnTo>
                <a:lnTo>
                  <a:pt x="6853812" y="3692580"/>
                </a:lnTo>
                <a:lnTo>
                  <a:pt x="6822431" y="3715570"/>
                </a:lnTo>
                <a:lnTo>
                  <a:pt x="6787683" y="3735251"/>
                </a:lnTo>
                <a:lnTo>
                  <a:pt x="6749422" y="3751538"/>
                </a:lnTo>
                <a:lnTo>
                  <a:pt x="6707505" y="3764350"/>
                </a:lnTo>
                <a:lnTo>
                  <a:pt x="6661789" y="3773604"/>
                </a:lnTo>
                <a:lnTo>
                  <a:pt x="6612129" y="3779217"/>
                </a:lnTo>
                <a:lnTo>
                  <a:pt x="6558381" y="3781106"/>
                </a:lnTo>
                <a:lnTo>
                  <a:pt x="6558381" y="3684284"/>
                </a:lnTo>
                <a:lnTo>
                  <a:pt x="6608066" y="3682051"/>
                </a:lnTo>
                <a:lnTo>
                  <a:pt x="6652986" y="3675430"/>
                </a:lnTo>
                <a:lnTo>
                  <a:pt x="6693369" y="3664541"/>
                </a:lnTo>
                <a:lnTo>
                  <a:pt x="6729440" y="3649501"/>
                </a:lnTo>
                <a:lnTo>
                  <a:pt x="6789551" y="3607441"/>
                </a:lnTo>
                <a:lnTo>
                  <a:pt x="6835130" y="3550197"/>
                </a:lnTo>
                <a:lnTo>
                  <a:pt x="6853036" y="3516176"/>
                </a:lnTo>
                <a:lnTo>
                  <a:pt x="6867988" y="3478715"/>
                </a:lnTo>
                <a:lnTo>
                  <a:pt x="6880212" y="3437930"/>
                </a:lnTo>
                <a:lnTo>
                  <a:pt x="6889935" y="3393940"/>
                </a:lnTo>
                <a:lnTo>
                  <a:pt x="6897382" y="3346863"/>
                </a:lnTo>
                <a:lnTo>
                  <a:pt x="6902781" y="3296819"/>
                </a:lnTo>
                <a:lnTo>
                  <a:pt x="6906357" y="3243924"/>
                </a:lnTo>
                <a:lnTo>
                  <a:pt x="6908336" y="3188297"/>
                </a:lnTo>
                <a:lnTo>
                  <a:pt x="6908946" y="3130057"/>
                </a:lnTo>
                <a:lnTo>
                  <a:pt x="6908304" y="3072388"/>
                </a:lnTo>
                <a:lnTo>
                  <a:pt x="6906234" y="3017299"/>
                </a:lnTo>
                <a:lnTo>
                  <a:pt x="6902524" y="2964906"/>
                </a:lnTo>
                <a:lnTo>
                  <a:pt x="6896958" y="2915330"/>
                </a:lnTo>
                <a:lnTo>
                  <a:pt x="6889323" y="2868686"/>
                </a:lnTo>
                <a:lnTo>
                  <a:pt x="6879405" y="2825095"/>
                </a:lnTo>
                <a:lnTo>
                  <a:pt x="6866989" y="2784674"/>
                </a:lnTo>
                <a:lnTo>
                  <a:pt x="6851862" y="2747542"/>
                </a:lnTo>
                <a:lnTo>
                  <a:pt x="6833809" y="2713816"/>
                </a:lnTo>
                <a:lnTo>
                  <a:pt x="6788071" y="2657057"/>
                </a:lnTo>
                <a:lnTo>
                  <a:pt x="6728062" y="2615344"/>
                </a:lnTo>
                <a:lnTo>
                  <a:pt x="6692170" y="2600425"/>
                </a:lnTo>
                <a:lnTo>
                  <a:pt x="6652069" y="2589622"/>
                </a:lnTo>
                <a:lnTo>
                  <a:pt x="6607544" y="2583054"/>
                </a:lnTo>
                <a:lnTo>
                  <a:pt x="6558381" y="2580838"/>
                </a:lnTo>
                <a:close/>
                <a:moveTo>
                  <a:pt x="6041510" y="2482346"/>
                </a:moveTo>
                <a:lnTo>
                  <a:pt x="6041510" y="2580838"/>
                </a:lnTo>
                <a:lnTo>
                  <a:pt x="5992624" y="2583054"/>
                </a:lnTo>
                <a:lnTo>
                  <a:pt x="5948343" y="2589622"/>
                </a:lnTo>
                <a:lnTo>
                  <a:pt x="5908457" y="2600425"/>
                </a:lnTo>
                <a:lnTo>
                  <a:pt x="5872751" y="2615344"/>
                </a:lnTo>
                <a:lnTo>
                  <a:pt x="5813036" y="2657057"/>
                </a:lnTo>
                <a:lnTo>
                  <a:pt x="5767502" y="2713816"/>
                </a:lnTo>
                <a:lnTo>
                  <a:pt x="5749523" y="2747542"/>
                </a:lnTo>
                <a:lnTo>
                  <a:pt x="5734453" y="2784674"/>
                </a:lnTo>
                <a:lnTo>
                  <a:pt x="5722081" y="2825095"/>
                </a:lnTo>
                <a:lnTo>
                  <a:pt x="5712193" y="2868686"/>
                </a:lnTo>
                <a:lnTo>
                  <a:pt x="5704579" y="2915330"/>
                </a:lnTo>
                <a:lnTo>
                  <a:pt x="5699026" y="2964906"/>
                </a:lnTo>
                <a:lnTo>
                  <a:pt x="5695322" y="3017299"/>
                </a:lnTo>
                <a:lnTo>
                  <a:pt x="5693255" y="3072388"/>
                </a:lnTo>
                <a:lnTo>
                  <a:pt x="5692613" y="3130057"/>
                </a:lnTo>
                <a:lnTo>
                  <a:pt x="5693239" y="3188297"/>
                </a:lnTo>
                <a:lnTo>
                  <a:pt x="5695261" y="3243924"/>
                </a:lnTo>
                <a:lnTo>
                  <a:pt x="5698898" y="3296819"/>
                </a:lnTo>
                <a:lnTo>
                  <a:pt x="5704367" y="3346863"/>
                </a:lnTo>
                <a:lnTo>
                  <a:pt x="5711888" y="3393940"/>
                </a:lnTo>
                <a:lnTo>
                  <a:pt x="5721677" y="3437930"/>
                </a:lnTo>
                <a:lnTo>
                  <a:pt x="5733954" y="3478715"/>
                </a:lnTo>
                <a:lnTo>
                  <a:pt x="5748936" y="3516176"/>
                </a:lnTo>
                <a:lnTo>
                  <a:pt x="5766842" y="3550197"/>
                </a:lnTo>
                <a:lnTo>
                  <a:pt x="5812296" y="3607441"/>
                </a:lnTo>
                <a:lnTo>
                  <a:pt x="5872062" y="3649501"/>
                </a:lnTo>
                <a:lnTo>
                  <a:pt x="5907857" y="3664541"/>
                </a:lnTo>
                <a:lnTo>
                  <a:pt x="5947885" y="3675430"/>
                </a:lnTo>
                <a:lnTo>
                  <a:pt x="5992363" y="3682051"/>
                </a:lnTo>
                <a:lnTo>
                  <a:pt x="6041510" y="3684284"/>
                </a:lnTo>
                <a:lnTo>
                  <a:pt x="6041510" y="3781106"/>
                </a:lnTo>
                <a:lnTo>
                  <a:pt x="5987987" y="3779217"/>
                </a:lnTo>
                <a:lnTo>
                  <a:pt x="5938507" y="3773604"/>
                </a:lnTo>
                <a:lnTo>
                  <a:pt x="5892927" y="3764350"/>
                </a:lnTo>
                <a:lnTo>
                  <a:pt x="5851109" y="3751538"/>
                </a:lnTo>
                <a:lnTo>
                  <a:pt x="5812912" y="3735251"/>
                </a:lnTo>
                <a:lnTo>
                  <a:pt x="5778195" y="3715570"/>
                </a:lnTo>
                <a:lnTo>
                  <a:pt x="5746818" y="3692580"/>
                </a:lnTo>
                <a:lnTo>
                  <a:pt x="5718642" y="3666361"/>
                </a:lnTo>
                <a:lnTo>
                  <a:pt x="5693526" y="3636998"/>
                </a:lnTo>
                <a:lnTo>
                  <a:pt x="5671329" y="3604572"/>
                </a:lnTo>
                <a:lnTo>
                  <a:pt x="5651912" y="3569166"/>
                </a:lnTo>
                <a:lnTo>
                  <a:pt x="5635134" y="3530863"/>
                </a:lnTo>
                <a:lnTo>
                  <a:pt x="5620855" y="3489745"/>
                </a:lnTo>
                <a:lnTo>
                  <a:pt x="5608935" y="3445896"/>
                </a:lnTo>
                <a:lnTo>
                  <a:pt x="5599234" y="3399397"/>
                </a:lnTo>
                <a:lnTo>
                  <a:pt x="5591611" y="3350332"/>
                </a:lnTo>
                <a:lnTo>
                  <a:pt x="5585926" y="3298782"/>
                </a:lnTo>
                <a:lnTo>
                  <a:pt x="5582039" y="3244832"/>
                </a:lnTo>
                <a:lnTo>
                  <a:pt x="5579809" y="3188562"/>
                </a:lnTo>
                <a:lnTo>
                  <a:pt x="5579098" y="3130057"/>
                </a:lnTo>
                <a:lnTo>
                  <a:pt x="5579833" y="3071801"/>
                </a:lnTo>
                <a:lnTo>
                  <a:pt x="5582129" y="3015781"/>
                </a:lnTo>
                <a:lnTo>
                  <a:pt x="5586118" y="2962076"/>
                </a:lnTo>
                <a:lnTo>
                  <a:pt x="5591931" y="2910770"/>
                </a:lnTo>
                <a:lnTo>
                  <a:pt x="5599704" y="2861942"/>
                </a:lnTo>
                <a:lnTo>
                  <a:pt x="5609567" y="2815675"/>
                </a:lnTo>
                <a:lnTo>
                  <a:pt x="5621653" y="2772049"/>
                </a:lnTo>
                <a:lnTo>
                  <a:pt x="5636096" y="2731147"/>
                </a:lnTo>
                <a:lnTo>
                  <a:pt x="5653028" y="2693049"/>
                </a:lnTo>
                <a:lnTo>
                  <a:pt x="5672581" y="2657837"/>
                </a:lnTo>
                <a:lnTo>
                  <a:pt x="5694889" y="2625592"/>
                </a:lnTo>
                <a:lnTo>
                  <a:pt x="5720085" y="2596396"/>
                </a:lnTo>
                <a:lnTo>
                  <a:pt x="5748300" y="2570330"/>
                </a:lnTo>
                <a:lnTo>
                  <a:pt x="5779667" y="2547475"/>
                </a:lnTo>
                <a:lnTo>
                  <a:pt x="5814320" y="2527914"/>
                </a:lnTo>
                <a:lnTo>
                  <a:pt x="5852391" y="2511726"/>
                </a:lnTo>
                <a:lnTo>
                  <a:pt x="5894013" y="2498994"/>
                </a:lnTo>
                <a:lnTo>
                  <a:pt x="5939318" y="2489799"/>
                </a:lnTo>
                <a:lnTo>
                  <a:pt x="5988439" y="2484222"/>
                </a:lnTo>
                <a:close/>
                <a:moveTo>
                  <a:pt x="5337245" y="1851325"/>
                </a:moveTo>
                <a:lnTo>
                  <a:pt x="6242037" y="1851325"/>
                </a:lnTo>
                <a:lnTo>
                  <a:pt x="6242037" y="1958164"/>
                </a:lnTo>
                <a:lnTo>
                  <a:pt x="5337245" y="1958164"/>
                </a:lnTo>
                <a:close/>
                <a:moveTo>
                  <a:pt x="3825296" y="1851325"/>
                </a:moveTo>
                <a:lnTo>
                  <a:pt x="4730088" y="1851325"/>
                </a:lnTo>
                <a:lnTo>
                  <a:pt x="4730088" y="1958164"/>
                </a:lnTo>
                <a:lnTo>
                  <a:pt x="3825296" y="1958164"/>
                </a:lnTo>
                <a:close/>
                <a:moveTo>
                  <a:pt x="6849172" y="1681043"/>
                </a:moveTo>
                <a:lnTo>
                  <a:pt x="7326608" y="1681043"/>
                </a:lnTo>
                <a:lnTo>
                  <a:pt x="7326608" y="1786212"/>
                </a:lnTo>
                <a:lnTo>
                  <a:pt x="6849172" y="1786212"/>
                </a:lnTo>
                <a:close/>
                <a:moveTo>
                  <a:pt x="5337245" y="1502429"/>
                </a:moveTo>
                <a:lnTo>
                  <a:pt x="6242037" y="1502429"/>
                </a:lnTo>
                <a:lnTo>
                  <a:pt x="6242037" y="1609267"/>
                </a:lnTo>
                <a:lnTo>
                  <a:pt x="5337245" y="1609267"/>
                </a:lnTo>
                <a:close/>
                <a:moveTo>
                  <a:pt x="3825296" y="1502429"/>
                </a:moveTo>
                <a:lnTo>
                  <a:pt x="4730088" y="1502429"/>
                </a:lnTo>
                <a:lnTo>
                  <a:pt x="4730088" y="1609267"/>
                </a:lnTo>
                <a:lnTo>
                  <a:pt x="3825296" y="1609267"/>
                </a:lnTo>
                <a:close/>
                <a:moveTo>
                  <a:pt x="7037373" y="348896"/>
                </a:moveTo>
                <a:lnTo>
                  <a:pt x="7942165" y="348896"/>
                </a:lnTo>
                <a:lnTo>
                  <a:pt x="7942165" y="455734"/>
                </a:lnTo>
                <a:lnTo>
                  <a:pt x="7037373" y="455734"/>
                </a:lnTo>
                <a:close/>
                <a:moveTo>
                  <a:pt x="5525404" y="348896"/>
                </a:moveTo>
                <a:lnTo>
                  <a:pt x="6430196" y="348896"/>
                </a:lnTo>
                <a:lnTo>
                  <a:pt x="6430196" y="455734"/>
                </a:lnTo>
                <a:lnTo>
                  <a:pt x="5525404" y="455734"/>
                </a:lnTo>
                <a:close/>
                <a:moveTo>
                  <a:pt x="7037373" y="0"/>
                </a:moveTo>
                <a:lnTo>
                  <a:pt x="7942165" y="0"/>
                </a:lnTo>
                <a:lnTo>
                  <a:pt x="7942165" y="106839"/>
                </a:lnTo>
                <a:lnTo>
                  <a:pt x="7037373" y="106839"/>
                </a:lnTo>
                <a:close/>
                <a:moveTo>
                  <a:pt x="5525404" y="0"/>
                </a:moveTo>
                <a:lnTo>
                  <a:pt x="6430196" y="0"/>
                </a:lnTo>
                <a:lnTo>
                  <a:pt x="6430196" y="106839"/>
                </a:lnTo>
                <a:lnTo>
                  <a:pt x="5525404" y="106839"/>
                </a:lnTo>
                <a:close/>
              </a:path>
            </a:pathLst>
          </a:custGeom>
          <a:solidFill>
            <a:srgbClr val="88C66D"/>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574536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reaker I">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rgbClr val="21212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rgbClr val="21212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rgbClr val="212121"/>
                </a:solidFill>
              </a:defRPr>
            </a:lvl1pPr>
          </a:lstStyle>
          <a:p>
            <a:fld id="{C478D43B-6DB1-49ED-A3EC-43DFBB246817}" type="datetime2">
              <a:rPr lang="da-DK" smtClean="0"/>
              <a:pPr/>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rgbClr val="21212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rgbClr val="212121"/>
                </a:solidFill>
              </a:defRPr>
            </a:lvl1pPr>
          </a:lstStyle>
          <a:p>
            <a:fld id="{24C8C45C-947F-4981-8B3F-4F32E973C901}" type="slidenum">
              <a:rPr lang="da-DK" smtClean="0"/>
              <a:pPr/>
              <a:t>‹nr.›</a:t>
            </a:fld>
            <a:endParaRPr lang="da-DK"/>
          </a:p>
        </p:txBody>
      </p:sp>
      <p:sp>
        <p:nvSpPr>
          <p:cNvPr id="5" name="Mikro grafik 1">
            <a:extLst>
              <a:ext uri="{FF2B5EF4-FFF2-40B4-BE49-F238E27FC236}">
                <a16:creationId xmlns:a16="http://schemas.microsoft.com/office/drawing/2014/main" id="{8E8246C8-AEEC-66A0-3B85-75D6EBE031F7}"/>
              </a:ext>
            </a:extLst>
          </p:cNvPr>
          <p:cNvSpPr/>
          <p:nvPr userDrawn="1"/>
        </p:nvSpPr>
        <p:spPr>
          <a:xfrm>
            <a:off x="405001" y="915672"/>
            <a:ext cx="3748256" cy="3312156"/>
          </a:xfrm>
          <a:custGeom>
            <a:avLst/>
            <a:gdLst>
              <a:gd name="connsiteX0" fmla="*/ 5241587 w 8266922"/>
              <a:gd name="connsiteY0" fmla="*/ 7031344 h 7305087"/>
              <a:gd name="connsiteX1" fmla="*/ 5448586 w 8266922"/>
              <a:gd name="connsiteY1" fmla="*/ 7031344 h 7305087"/>
              <a:gd name="connsiteX2" fmla="*/ 5448586 w 8266922"/>
              <a:gd name="connsiteY2" fmla="*/ 7204957 h 7305087"/>
              <a:gd name="connsiteX3" fmla="*/ 5241587 w 8266922"/>
              <a:gd name="connsiteY3" fmla="*/ 7204957 h 7305087"/>
              <a:gd name="connsiteX4" fmla="*/ 2946862 w 8266922"/>
              <a:gd name="connsiteY4" fmla="*/ 7031344 h 7305087"/>
              <a:gd name="connsiteX5" fmla="*/ 3153861 w 8266922"/>
              <a:gd name="connsiteY5" fmla="*/ 7031344 h 7305087"/>
              <a:gd name="connsiteX6" fmla="*/ 3153861 w 8266922"/>
              <a:gd name="connsiteY6" fmla="*/ 7204957 h 7305087"/>
              <a:gd name="connsiteX7" fmla="*/ 2946862 w 8266922"/>
              <a:gd name="connsiteY7" fmla="*/ 7204957 h 7305087"/>
              <a:gd name="connsiteX8" fmla="*/ 4247643 w 8266922"/>
              <a:gd name="connsiteY8" fmla="*/ 6016037 h 7305087"/>
              <a:gd name="connsiteX9" fmla="*/ 4621582 w 8266922"/>
              <a:gd name="connsiteY9" fmla="*/ 6016037 h 7305087"/>
              <a:gd name="connsiteX10" fmla="*/ 4621582 w 8266922"/>
              <a:gd name="connsiteY10" fmla="*/ 6111287 h 7305087"/>
              <a:gd name="connsiteX11" fmla="*/ 4621582 w 8266922"/>
              <a:gd name="connsiteY11" fmla="*/ 7209837 h 7305087"/>
              <a:gd name="connsiteX12" fmla="*/ 4621582 w 8266922"/>
              <a:gd name="connsiteY12" fmla="*/ 7305087 h 7305087"/>
              <a:gd name="connsiteX13" fmla="*/ 4247643 w 8266922"/>
              <a:gd name="connsiteY13" fmla="*/ 7305087 h 7305087"/>
              <a:gd name="connsiteX14" fmla="*/ 4247643 w 8266922"/>
              <a:gd name="connsiteY14" fmla="*/ 7209837 h 7305087"/>
              <a:gd name="connsiteX15" fmla="*/ 4506393 w 8266922"/>
              <a:gd name="connsiteY15" fmla="*/ 7209837 h 7305087"/>
              <a:gd name="connsiteX16" fmla="*/ 4506393 w 8266922"/>
              <a:gd name="connsiteY16" fmla="*/ 6111287 h 7305087"/>
              <a:gd name="connsiteX17" fmla="*/ 4247643 w 8266922"/>
              <a:gd name="connsiteY17" fmla="*/ 6111287 h 7305087"/>
              <a:gd name="connsiteX18" fmla="*/ 3773921 w 8266922"/>
              <a:gd name="connsiteY18" fmla="*/ 6016037 h 7305087"/>
              <a:gd name="connsiteX19" fmla="*/ 4147860 w 8266922"/>
              <a:gd name="connsiteY19" fmla="*/ 6016037 h 7305087"/>
              <a:gd name="connsiteX20" fmla="*/ 4147860 w 8266922"/>
              <a:gd name="connsiteY20" fmla="*/ 6111287 h 7305087"/>
              <a:gd name="connsiteX21" fmla="*/ 3889111 w 8266922"/>
              <a:gd name="connsiteY21" fmla="*/ 6111287 h 7305087"/>
              <a:gd name="connsiteX22" fmla="*/ 3889111 w 8266922"/>
              <a:gd name="connsiteY22" fmla="*/ 7209837 h 7305087"/>
              <a:gd name="connsiteX23" fmla="*/ 4147860 w 8266922"/>
              <a:gd name="connsiteY23" fmla="*/ 7209837 h 7305087"/>
              <a:gd name="connsiteX24" fmla="*/ 4147860 w 8266922"/>
              <a:gd name="connsiteY24" fmla="*/ 7305087 h 7305087"/>
              <a:gd name="connsiteX25" fmla="*/ 3773921 w 8266922"/>
              <a:gd name="connsiteY25" fmla="*/ 7305087 h 7305087"/>
              <a:gd name="connsiteX26" fmla="*/ 3773921 w 8266922"/>
              <a:gd name="connsiteY26" fmla="*/ 7209837 h 7305087"/>
              <a:gd name="connsiteX27" fmla="*/ 3773921 w 8266922"/>
              <a:gd name="connsiteY27" fmla="*/ 6111287 h 7305087"/>
              <a:gd name="connsiteX28" fmla="*/ 6688042 w 8266922"/>
              <a:gd name="connsiteY28" fmla="*/ 5528924 h 7305087"/>
              <a:gd name="connsiteX29" fmla="*/ 6895043 w 8266922"/>
              <a:gd name="connsiteY29" fmla="*/ 5528924 h 7305087"/>
              <a:gd name="connsiteX30" fmla="*/ 6895043 w 8266922"/>
              <a:gd name="connsiteY30" fmla="*/ 5702536 h 7305087"/>
              <a:gd name="connsiteX31" fmla="*/ 6688042 w 8266922"/>
              <a:gd name="connsiteY31" fmla="*/ 5702536 h 7305087"/>
              <a:gd name="connsiteX32" fmla="*/ 3990746 w 8266922"/>
              <a:gd name="connsiteY32" fmla="*/ 5378675 h 7305087"/>
              <a:gd name="connsiteX33" fmla="*/ 4895538 w 8266922"/>
              <a:gd name="connsiteY33" fmla="*/ 5378675 h 7305087"/>
              <a:gd name="connsiteX34" fmla="*/ 4895538 w 8266922"/>
              <a:gd name="connsiteY34" fmla="*/ 5485512 h 7305087"/>
              <a:gd name="connsiteX35" fmla="*/ 3990746 w 8266922"/>
              <a:gd name="connsiteY35" fmla="*/ 5485512 h 7305087"/>
              <a:gd name="connsiteX36" fmla="*/ 1270097 w 8266922"/>
              <a:gd name="connsiteY36" fmla="*/ 5378675 h 7305087"/>
              <a:gd name="connsiteX37" fmla="*/ 2174890 w 8266922"/>
              <a:gd name="connsiteY37" fmla="*/ 5378675 h 7305087"/>
              <a:gd name="connsiteX38" fmla="*/ 2174890 w 8266922"/>
              <a:gd name="connsiteY38" fmla="*/ 5485512 h 7305087"/>
              <a:gd name="connsiteX39" fmla="*/ 1270097 w 8266922"/>
              <a:gd name="connsiteY39" fmla="*/ 5485512 h 7305087"/>
              <a:gd name="connsiteX40" fmla="*/ 3990746 w 8266922"/>
              <a:gd name="connsiteY40" fmla="*/ 5029777 h 7305087"/>
              <a:gd name="connsiteX41" fmla="*/ 4895538 w 8266922"/>
              <a:gd name="connsiteY41" fmla="*/ 5029777 h 7305087"/>
              <a:gd name="connsiteX42" fmla="*/ 4895538 w 8266922"/>
              <a:gd name="connsiteY42" fmla="*/ 5136615 h 7305087"/>
              <a:gd name="connsiteX43" fmla="*/ 3990746 w 8266922"/>
              <a:gd name="connsiteY43" fmla="*/ 5136615 h 7305087"/>
              <a:gd name="connsiteX44" fmla="*/ 1270097 w 8266922"/>
              <a:gd name="connsiteY44" fmla="*/ 5029777 h 7305087"/>
              <a:gd name="connsiteX45" fmla="*/ 2174890 w 8266922"/>
              <a:gd name="connsiteY45" fmla="*/ 5029777 h 7305087"/>
              <a:gd name="connsiteX46" fmla="*/ 2174890 w 8266922"/>
              <a:gd name="connsiteY46" fmla="*/ 5136615 h 7305087"/>
              <a:gd name="connsiteX47" fmla="*/ 1270097 w 8266922"/>
              <a:gd name="connsiteY47" fmla="*/ 5136615 h 7305087"/>
              <a:gd name="connsiteX48" fmla="*/ 6062007 w 8266922"/>
              <a:gd name="connsiteY48" fmla="*/ 4507277 h 7305087"/>
              <a:gd name="connsiteX49" fmla="*/ 6115077 w 8266922"/>
              <a:gd name="connsiteY49" fmla="*/ 4509153 h 7305087"/>
              <a:gd name="connsiteX50" fmla="*/ 6164198 w 8266922"/>
              <a:gd name="connsiteY50" fmla="*/ 4514730 h 7305087"/>
              <a:gd name="connsiteX51" fmla="*/ 6209503 w 8266922"/>
              <a:gd name="connsiteY51" fmla="*/ 4523925 h 7305087"/>
              <a:gd name="connsiteX52" fmla="*/ 6251125 w 8266922"/>
              <a:gd name="connsiteY52" fmla="*/ 4536657 h 7305087"/>
              <a:gd name="connsiteX53" fmla="*/ 6289196 w 8266922"/>
              <a:gd name="connsiteY53" fmla="*/ 4552845 h 7305087"/>
              <a:gd name="connsiteX54" fmla="*/ 6323849 w 8266922"/>
              <a:gd name="connsiteY54" fmla="*/ 4572406 h 7305087"/>
              <a:gd name="connsiteX55" fmla="*/ 6355216 w 8266922"/>
              <a:gd name="connsiteY55" fmla="*/ 4595261 h 7305087"/>
              <a:gd name="connsiteX56" fmla="*/ 6383431 w 8266922"/>
              <a:gd name="connsiteY56" fmla="*/ 4621327 h 7305087"/>
              <a:gd name="connsiteX57" fmla="*/ 6408627 w 8266922"/>
              <a:gd name="connsiteY57" fmla="*/ 4650523 h 7305087"/>
              <a:gd name="connsiteX58" fmla="*/ 6430935 w 8266922"/>
              <a:gd name="connsiteY58" fmla="*/ 4682768 h 7305087"/>
              <a:gd name="connsiteX59" fmla="*/ 6450488 w 8266922"/>
              <a:gd name="connsiteY59" fmla="*/ 4717980 h 7305087"/>
              <a:gd name="connsiteX60" fmla="*/ 6467420 w 8266922"/>
              <a:gd name="connsiteY60" fmla="*/ 4756077 h 7305087"/>
              <a:gd name="connsiteX61" fmla="*/ 6481863 w 8266922"/>
              <a:gd name="connsiteY61" fmla="*/ 4796980 h 7305087"/>
              <a:gd name="connsiteX62" fmla="*/ 6493950 w 8266922"/>
              <a:gd name="connsiteY62" fmla="*/ 4840605 h 7305087"/>
              <a:gd name="connsiteX63" fmla="*/ 6503813 w 8266922"/>
              <a:gd name="connsiteY63" fmla="*/ 4886873 h 7305087"/>
              <a:gd name="connsiteX64" fmla="*/ 6511585 w 8266922"/>
              <a:gd name="connsiteY64" fmla="*/ 4935701 h 7305087"/>
              <a:gd name="connsiteX65" fmla="*/ 6517399 w 8266922"/>
              <a:gd name="connsiteY65" fmla="*/ 4987008 h 7305087"/>
              <a:gd name="connsiteX66" fmla="*/ 6521387 w 8266922"/>
              <a:gd name="connsiteY66" fmla="*/ 5040712 h 7305087"/>
              <a:gd name="connsiteX67" fmla="*/ 6523683 w 8266922"/>
              <a:gd name="connsiteY67" fmla="*/ 5096732 h 7305087"/>
              <a:gd name="connsiteX68" fmla="*/ 6524419 w 8266922"/>
              <a:gd name="connsiteY68" fmla="*/ 5154988 h 7305087"/>
              <a:gd name="connsiteX69" fmla="*/ 6523719 w 8266922"/>
              <a:gd name="connsiteY69" fmla="*/ 5213493 h 7305087"/>
              <a:gd name="connsiteX70" fmla="*/ 6521522 w 8266922"/>
              <a:gd name="connsiteY70" fmla="*/ 5269763 h 7305087"/>
              <a:gd name="connsiteX71" fmla="*/ 6517686 w 8266922"/>
              <a:gd name="connsiteY71" fmla="*/ 5323713 h 7305087"/>
              <a:gd name="connsiteX72" fmla="*/ 6512065 w 8266922"/>
              <a:gd name="connsiteY72" fmla="*/ 5375263 h 7305087"/>
              <a:gd name="connsiteX73" fmla="*/ 6504517 w 8266922"/>
              <a:gd name="connsiteY73" fmla="*/ 5424328 h 7305087"/>
              <a:gd name="connsiteX74" fmla="*/ 6494896 w 8266922"/>
              <a:gd name="connsiteY74" fmla="*/ 5470827 h 7305087"/>
              <a:gd name="connsiteX75" fmla="*/ 6483059 w 8266922"/>
              <a:gd name="connsiteY75" fmla="*/ 5514676 h 7305087"/>
              <a:gd name="connsiteX76" fmla="*/ 6468862 w 8266922"/>
              <a:gd name="connsiteY76" fmla="*/ 5555794 h 7305087"/>
              <a:gd name="connsiteX77" fmla="*/ 6452162 w 8266922"/>
              <a:gd name="connsiteY77" fmla="*/ 5594097 h 7305087"/>
              <a:gd name="connsiteX78" fmla="*/ 6432813 w 8266922"/>
              <a:gd name="connsiteY78" fmla="*/ 5629503 h 7305087"/>
              <a:gd name="connsiteX79" fmla="*/ 6410672 w 8266922"/>
              <a:gd name="connsiteY79" fmla="*/ 5661929 h 7305087"/>
              <a:gd name="connsiteX80" fmla="*/ 6385595 w 8266922"/>
              <a:gd name="connsiteY80" fmla="*/ 5691293 h 7305087"/>
              <a:gd name="connsiteX81" fmla="*/ 6357438 w 8266922"/>
              <a:gd name="connsiteY81" fmla="*/ 5717511 h 7305087"/>
              <a:gd name="connsiteX82" fmla="*/ 6326057 w 8266922"/>
              <a:gd name="connsiteY82" fmla="*/ 5740502 h 7305087"/>
              <a:gd name="connsiteX83" fmla="*/ 6291309 w 8266922"/>
              <a:gd name="connsiteY83" fmla="*/ 5760183 h 7305087"/>
              <a:gd name="connsiteX84" fmla="*/ 6253048 w 8266922"/>
              <a:gd name="connsiteY84" fmla="*/ 5776470 h 7305087"/>
              <a:gd name="connsiteX85" fmla="*/ 6211131 w 8266922"/>
              <a:gd name="connsiteY85" fmla="*/ 5789282 h 7305087"/>
              <a:gd name="connsiteX86" fmla="*/ 6165415 w 8266922"/>
              <a:gd name="connsiteY86" fmla="*/ 5798536 h 7305087"/>
              <a:gd name="connsiteX87" fmla="*/ 6115755 w 8266922"/>
              <a:gd name="connsiteY87" fmla="*/ 5804149 h 7305087"/>
              <a:gd name="connsiteX88" fmla="*/ 6062007 w 8266922"/>
              <a:gd name="connsiteY88" fmla="*/ 5806038 h 7305087"/>
              <a:gd name="connsiteX89" fmla="*/ 6062007 w 8266922"/>
              <a:gd name="connsiteY89" fmla="*/ 5709215 h 7305087"/>
              <a:gd name="connsiteX90" fmla="*/ 6111692 w 8266922"/>
              <a:gd name="connsiteY90" fmla="*/ 5706982 h 7305087"/>
              <a:gd name="connsiteX91" fmla="*/ 6156613 w 8266922"/>
              <a:gd name="connsiteY91" fmla="*/ 5700361 h 7305087"/>
              <a:gd name="connsiteX92" fmla="*/ 6196995 w 8266922"/>
              <a:gd name="connsiteY92" fmla="*/ 5689472 h 7305087"/>
              <a:gd name="connsiteX93" fmla="*/ 6233066 w 8266922"/>
              <a:gd name="connsiteY93" fmla="*/ 5674432 h 7305087"/>
              <a:gd name="connsiteX94" fmla="*/ 6293177 w 8266922"/>
              <a:gd name="connsiteY94" fmla="*/ 5632372 h 7305087"/>
              <a:gd name="connsiteX95" fmla="*/ 6338757 w 8266922"/>
              <a:gd name="connsiteY95" fmla="*/ 5575128 h 7305087"/>
              <a:gd name="connsiteX96" fmla="*/ 6356662 w 8266922"/>
              <a:gd name="connsiteY96" fmla="*/ 5541107 h 7305087"/>
              <a:gd name="connsiteX97" fmla="*/ 6371614 w 8266922"/>
              <a:gd name="connsiteY97" fmla="*/ 5503645 h 7305087"/>
              <a:gd name="connsiteX98" fmla="*/ 6383838 w 8266922"/>
              <a:gd name="connsiteY98" fmla="*/ 5462861 h 7305087"/>
              <a:gd name="connsiteX99" fmla="*/ 6393561 w 8266922"/>
              <a:gd name="connsiteY99" fmla="*/ 5418871 h 7305087"/>
              <a:gd name="connsiteX100" fmla="*/ 6401008 w 8266922"/>
              <a:gd name="connsiteY100" fmla="*/ 5371794 h 7305087"/>
              <a:gd name="connsiteX101" fmla="*/ 6406407 w 8266922"/>
              <a:gd name="connsiteY101" fmla="*/ 5321750 h 7305087"/>
              <a:gd name="connsiteX102" fmla="*/ 6409983 w 8266922"/>
              <a:gd name="connsiteY102" fmla="*/ 5268855 h 7305087"/>
              <a:gd name="connsiteX103" fmla="*/ 6411962 w 8266922"/>
              <a:gd name="connsiteY103" fmla="*/ 5213228 h 7305087"/>
              <a:gd name="connsiteX104" fmla="*/ 6412572 w 8266922"/>
              <a:gd name="connsiteY104" fmla="*/ 5154988 h 7305087"/>
              <a:gd name="connsiteX105" fmla="*/ 6411930 w 8266922"/>
              <a:gd name="connsiteY105" fmla="*/ 5097319 h 7305087"/>
              <a:gd name="connsiteX106" fmla="*/ 6409860 w 8266922"/>
              <a:gd name="connsiteY106" fmla="*/ 5042230 h 7305087"/>
              <a:gd name="connsiteX107" fmla="*/ 6406150 w 8266922"/>
              <a:gd name="connsiteY107" fmla="*/ 4989837 h 7305087"/>
              <a:gd name="connsiteX108" fmla="*/ 6400584 w 8266922"/>
              <a:gd name="connsiteY108" fmla="*/ 4940261 h 7305087"/>
              <a:gd name="connsiteX109" fmla="*/ 6392949 w 8266922"/>
              <a:gd name="connsiteY109" fmla="*/ 4893617 h 7305087"/>
              <a:gd name="connsiteX110" fmla="*/ 6383031 w 8266922"/>
              <a:gd name="connsiteY110" fmla="*/ 4850025 h 7305087"/>
              <a:gd name="connsiteX111" fmla="*/ 6370615 w 8266922"/>
              <a:gd name="connsiteY111" fmla="*/ 4809604 h 7305087"/>
              <a:gd name="connsiteX112" fmla="*/ 6355488 w 8266922"/>
              <a:gd name="connsiteY112" fmla="*/ 4772472 h 7305087"/>
              <a:gd name="connsiteX113" fmla="*/ 6337435 w 8266922"/>
              <a:gd name="connsiteY113" fmla="*/ 4738746 h 7305087"/>
              <a:gd name="connsiteX114" fmla="*/ 6291697 w 8266922"/>
              <a:gd name="connsiteY114" fmla="*/ 4681987 h 7305087"/>
              <a:gd name="connsiteX115" fmla="*/ 6231688 w 8266922"/>
              <a:gd name="connsiteY115" fmla="*/ 4640273 h 7305087"/>
              <a:gd name="connsiteX116" fmla="*/ 6195796 w 8266922"/>
              <a:gd name="connsiteY116" fmla="*/ 4625355 h 7305087"/>
              <a:gd name="connsiteX117" fmla="*/ 6155695 w 8266922"/>
              <a:gd name="connsiteY117" fmla="*/ 4614552 h 7305087"/>
              <a:gd name="connsiteX118" fmla="*/ 6111170 w 8266922"/>
              <a:gd name="connsiteY118" fmla="*/ 4607983 h 7305087"/>
              <a:gd name="connsiteX119" fmla="*/ 6062007 w 8266922"/>
              <a:gd name="connsiteY119" fmla="*/ 4605768 h 7305087"/>
              <a:gd name="connsiteX120" fmla="*/ 5970138 w 8266922"/>
              <a:gd name="connsiteY120" fmla="*/ 4507277 h 7305087"/>
              <a:gd name="connsiteX121" fmla="*/ 5970138 w 8266922"/>
              <a:gd name="connsiteY121" fmla="*/ 4605768 h 7305087"/>
              <a:gd name="connsiteX122" fmla="*/ 5921252 w 8266922"/>
              <a:gd name="connsiteY122" fmla="*/ 4607983 h 7305087"/>
              <a:gd name="connsiteX123" fmla="*/ 5876971 w 8266922"/>
              <a:gd name="connsiteY123" fmla="*/ 4614552 h 7305087"/>
              <a:gd name="connsiteX124" fmla="*/ 5837085 w 8266922"/>
              <a:gd name="connsiteY124" fmla="*/ 4625355 h 7305087"/>
              <a:gd name="connsiteX125" fmla="*/ 5801379 w 8266922"/>
              <a:gd name="connsiteY125" fmla="*/ 4640273 h 7305087"/>
              <a:gd name="connsiteX126" fmla="*/ 5741664 w 8266922"/>
              <a:gd name="connsiteY126" fmla="*/ 4681987 h 7305087"/>
              <a:gd name="connsiteX127" fmla="*/ 5696130 w 8266922"/>
              <a:gd name="connsiteY127" fmla="*/ 4738746 h 7305087"/>
              <a:gd name="connsiteX128" fmla="*/ 5678151 w 8266922"/>
              <a:gd name="connsiteY128" fmla="*/ 4772472 h 7305087"/>
              <a:gd name="connsiteX129" fmla="*/ 5663081 w 8266922"/>
              <a:gd name="connsiteY129" fmla="*/ 4809604 h 7305087"/>
              <a:gd name="connsiteX130" fmla="*/ 5650709 w 8266922"/>
              <a:gd name="connsiteY130" fmla="*/ 4850025 h 7305087"/>
              <a:gd name="connsiteX131" fmla="*/ 5640821 w 8266922"/>
              <a:gd name="connsiteY131" fmla="*/ 4893617 h 7305087"/>
              <a:gd name="connsiteX132" fmla="*/ 5633207 w 8266922"/>
              <a:gd name="connsiteY132" fmla="*/ 4940261 h 7305087"/>
              <a:gd name="connsiteX133" fmla="*/ 5627654 w 8266922"/>
              <a:gd name="connsiteY133" fmla="*/ 4989837 h 7305087"/>
              <a:gd name="connsiteX134" fmla="*/ 5623950 w 8266922"/>
              <a:gd name="connsiteY134" fmla="*/ 5042230 h 7305087"/>
              <a:gd name="connsiteX135" fmla="*/ 5621883 w 8266922"/>
              <a:gd name="connsiteY135" fmla="*/ 5097319 h 7305087"/>
              <a:gd name="connsiteX136" fmla="*/ 5621241 w 8266922"/>
              <a:gd name="connsiteY136" fmla="*/ 5154988 h 7305087"/>
              <a:gd name="connsiteX137" fmla="*/ 5621867 w 8266922"/>
              <a:gd name="connsiteY137" fmla="*/ 5213228 h 7305087"/>
              <a:gd name="connsiteX138" fmla="*/ 5623889 w 8266922"/>
              <a:gd name="connsiteY138" fmla="*/ 5268855 h 7305087"/>
              <a:gd name="connsiteX139" fmla="*/ 5627526 w 8266922"/>
              <a:gd name="connsiteY139" fmla="*/ 5321750 h 7305087"/>
              <a:gd name="connsiteX140" fmla="*/ 5632995 w 8266922"/>
              <a:gd name="connsiteY140" fmla="*/ 5371794 h 7305087"/>
              <a:gd name="connsiteX141" fmla="*/ 5640516 w 8266922"/>
              <a:gd name="connsiteY141" fmla="*/ 5418871 h 7305087"/>
              <a:gd name="connsiteX142" fmla="*/ 5650305 w 8266922"/>
              <a:gd name="connsiteY142" fmla="*/ 5462861 h 7305087"/>
              <a:gd name="connsiteX143" fmla="*/ 5662582 w 8266922"/>
              <a:gd name="connsiteY143" fmla="*/ 5503645 h 7305087"/>
              <a:gd name="connsiteX144" fmla="*/ 5677564 w 8266922"/>
              <a:gd name="connsiteY144" fmla="*/ 5541107 h 7305087"/>
              <a:gd name="connsiteX145" fmla="*/ 5695470 w 8266922"/>
              <a:gd name="connsiteY145" fmla="*/ 5575128 h 7305087"/>
              <a:gd name="connsiteX146" fmla="*/ 5740924 w 8266922"/>
              <a:gd name="connsiteY146" fmla="*/ 5632372 h 7305087"/>
              <a:gd name="connsiteX147" fmla="*/ 5800690 w 8266922"/>
              <a:gd name="connsiteY147" fmla="*/ 5674432 h 7305087"/>
              <a:gd name="connsiteX148" fmla="*/ 5836485 w 8266922"/>
              <a:gd name="connsiteY148" fmla="*/ 5689472 h 7305087"/>
              <a:gd name="connsiteX149" fmla="*/ 5876513 w 8266922"/>
              <a:gd name="connsiteY149" fmla="*/ 5700361 h 7305087"/>
              <a:gd name="connsiteX150" fmla="*/ 5920991 w 8266922"/>
              <a:gd name="connsiteY150" fmla="*/ 5706982 h 7305087"/>
              <a:gd name="connsiteX151" fmla="*/ 5970138 w 8266922"/>
              <a:gd name="connsiteY151" fmla="*/ 5709215 h 7305087"/>
              <a:gd name="connsiteX152" fmla="*/ 5970138 w 8266922"/>
              <a:gd name="connsiteY152" fmla="*/ 5806038 h 7305087"/>
              <a:gd name="connsiteX153" fmla="*/ 5916615 w 8266922"/>
              <a:gd name="connsiteY153" fmla="*/ 5804149 h 7305087"/>
              <a:gd name="connsiteX154" fmla="*/ 5867135 w 8266922"/>
              <a:gd name="connsiteY154" fmla="*/ 5798536 h 7305087"/>
              <a:gd name="connsiteX155" fmla="*/ 5821555 w 8266922"/>
              <a:gd name="connsiteY155" fmla="*/ 5789282 h 7305087"/>
              <a:gd name="connsiteX156" fmla="*/ 5779737 w 8266922"/>
              <a:gd name="connsiteY156" fmla="*/ 5776470 h 7305087"/>
              <a:gd name="connsiteX157" fmla="*/ 5741540 w 8266922"/>
              <a:gd name="connsiteY157" fmla="*/ 5760183 h 7305087"/>
              <a:gd name="connsiteX158" fmla="*/ 5706823 w 8266922"/>
              <a:gd name="connsiteY158" fmla="*/ 5740502 h 7305087"/>
              <a:gd name="connsiteX159" fmla="*/ 5675446 w 8266922"/>
              <a:gd name="connsiteY159" fmla="*/ 5717511 h 7305087"/>
              <a:gd name="connsiteX160" fmla="*/ 5647270 w 8266922"/>
              <a:gd name="connsiteY160" fmla="*/ 5691293 h 7305087"/>
              <a:gd name="connsiteX161" fmla="*/ 5622154 w 8266922"/>
              <a:gd name="connsiteY161" fmla="*/ 5661929 h 7305087"/>
              <a:gd name="connsiteX162" fmla="*/ 5599957 w 8266922"/>
              <a:gd name="connsiteY162" fmla="*/ 5629503 h 7305087"/>
              <a:gd name="connsiteX163" fmla="*/ 5580540 w 8266922"/>
              <a:gd name="connsiteY163" fmla="*/ 5594097 h 7305087"/>
              <a:gd name="connsiteX164" fmla="*/ 5563762 w 8266922"/>
              <a:gd name="connsiteY164" fmla="*/ 5555794 h 7305087"/>
              <a:gd name="connsiteX165" fmla="*/ 5549483 w 8266922"/>
              <a:gd name="connsiteY165" fmla="*/ 5514676 h 7305087"/>
              <a:gd name="connsiteX166" fmla="*/ 5537563 w 8266922"/>
              <a:gd name="connsiteY166" fmla="*/ 5470827 h 7305087"/>
              <a:gd name="connsiteX167" fmla="*/ 5527862 w 8266922"/>
              <a:gd name="connsiteY167" fmla="*/ 5424328 h 7305087"/>
              <a:gd name="connsiteX168" fmla="*/ 5520239 w 8266922"/>
              <a:gd name="connsiteY168" fmla="*/ 5375263 h 7305087"/>
              <a:gd name="connsiteX169" fmla="*/ 5514554 w 8266922"/>
              <a:gd name="connsiteY169" fmla="*/ 5323713 h 7305087"/>
              <a:gd name="connsiteX170" fmla="*/ 5510667 w 8266922"/>
              <a:gd name="connsiteY170" fmla="*/ 5269763 h 7305087"/>
              <a:gd name="connsiteX171" fmla="*/ 5508437 w 8266922"/>
              <a:gd name="connsiteY171" fmla="*/ 5213493 h 7305087"/>
              <a:gd name="connsiteX172" fmla="*/ 5507726 w 8266922"/>
              <a:gd name="connsiteY172" fmla="*/ 5154988 h 7305087"/>
              <a:gd name="connsiteX173" fmla="*/ 5508461 w 8266922"/>
              <a:gd name="connsiteY173" fmla="*/ 5096732 h 7305087"/>
              <a:gd name="connsiteX174" fmla="*/ 5510757 w 8266922"/>
              <a:gd name="connsiteY174" fmla="*/ 5040712 h 7305087"/>
              <a:gd name="connsiteX175" fmla="*/ 5514746 w 8266922"/>
              <a:gd name="connsiteY175" fmla="*/ 4987008 h 7305087"/>
              <a:gd name="connsiteX176" fmla="*/ 5520559 w 8266922"/>
              <a:gd name="connsiteY176" fmla="*/ 4935701 h 7305087"/>
              <a:gd name="connsiteX177" fmla="*/ 5528332 w 8266922"/>
              <a:gd name="connsiteY177" fmla="*/ 4886873 h 7305087"/>
              <a:gd name="connsiteX178" fmla="*/ 5538195 w 8266922"/>
              <a:gd name="connsiteY178" fmla="*/ 4840605 h 7305087"/>
              <a:gd name="connsiteX179" fmla="*/ 5550281 w 8266922"/>
              <a:gd name="connsiteY179" fmla="*/ 4796980 h 7305087"/>
              <a:gd name="connsiteX180" fmla="*/ 5564724 w 8266922"/>
              <a:gd name="connsiteY180" fmla="*/ 4756077 h 7305087"/>
              <a:gd name="connsiteX181" fmla="*/ 5581656 w 8266922"/>
              <a:gd name="connsiteY181" fmla="*/ 4717980 h 7305087"/>
              <a:gd name="connsiteX182" fmla="*/ 5601209 w 8266922"/>
              <a:gd name="connsiteY182" fmla="*/ 4682768 h 7305087"/>
              <a:gd name="connsiteX183" fmla="*/ 5623517 w 8266922"/>
              <a:gd name="connsiteY183" fmla="*/ 4650523 h 7305087"/>
              <a:gd name="connsiteX184" fmla="*/ 5648713 w 8266922"/>
              <a:gd name="connsiteY184" fmla="*/ 4621327 h 7305087"/>
              <a:gd name="connsiteX185" fmla="*/ 5676928 w 8266922"/>
              <a:gd name="connsiteY185" fmla="*/ 4595261 h 7305087"/>
              <a:gd name="connsiteX186" fmla="*/ 5708295 w 8266922"/>
              <a:gd name="connsiteY186" fmla="*/ 4572406 h 7305087"/>
              <a:gd name="connsiteX187" fmla="*/ 5742948 w 8266922"/>
              <a:gd name="connsiteY187" fmla="*/ 4552845 h 7305087"/>
              <a:gd name="connsiteX188" fmla="*/ 5781019 w 8266922"/>
              <a:gd name="connsiteY188" fmla="*/ 4536657 h 7305087"/>
              <a:gd name="connsiteX189" fmla="*/ 5822641 w 8266922"/>
              <a:gd name="connsiteY189" fmla="*/ 4523925 h 7305087"/>
              <a:gd name="connsiteX190" fmla="*/ 5867946 w 8266922"/>
              <a:gd name="connsiteY190" fmla="*/ 4514730 h 7305087"/>
              <a:gd name="connsiteX191" fmla="*/ 5917067 w 8266922"/>
              <a:gd name="connsiteY191" fmla="*/ 4509153 h 7305087"/>
              <a:gd name="connsiteX192" fmla="*/ 2916306 w 8266922"/>
              <a:gd name="connsiteY192" fmla="*/ 4507277 h 7305087"/>
              <a:gd name="connsiteX193" fmla="*/ 2969376 w 8266922"/>
              <a:gd name="connsiteY193" fmla="*/ 4509153 h 7305087"/>
              <a:gd name="connsiteX194" fmla="*/ 3018497 w 8266922"/>
              <a:gd name="connsiteY194" fmla="*/ 4514730 h 7305087"/>
              <a:gd name="connsiteX195" fmla="*/ 3063803 w 8266922"/>
              <a:gd name="connsiteY195" fmla="*/ 4523925 h 7305087"/>
              <a:gd name="connsiteX196" fmla="*/ 3105426 w 8266922"/>
              <a:gd name="connsiteY196" fmla="*/ 4536657 h 7305087"/>
              <a:gd name="connsiteX197" fmla="*/ 3143497 w 8266922"/>
              <a:gd name="connsiteY197" fmla="*/ 4552845 h 7305087"/>
              <a:gd name="connsiteX198" fmla="*/ 3178150 w 8266922"/>
              <a:gd name="connsiteY198" fmla="*/ 4572406 h 7305087"/>
              <a:gd name="connsiteX199" fmla="*/ 3209516 w 8266922"/>
              <a:gd name="connsiteY199" fmla="*/ 4595261 h 7305087"/>
              <a:gd name="connsiteX200" fmla="*/ 3237732 w 8266922"/>
              <a:gd name="connsiteY200" fmla="*/ 4621327 h 7305087"/>
              <a:gd name="connsiteX201" fmla="*/ 3262928 w 8266922"/>
              <a:gd name="connsiteY201" fmla="*/ 4650523 h 7305087"/>
              <a:gd name="connsiteX202" fmla="*/ 3285236 w 8266922"/>
              <a:gd name="connsiteY202" fmla="*/ 4682768 h 7305087"/>
              <a:gd name="connsiteX203" fmla="*/ 3304789 w 8266922"/>
              <a:gd name="connsiteY203" fmla="*/ 4717980 h 7305087"/>
              <a:gd name="connsiteX204" fmla="*/ 3321718 w 8266922"/>
              <a:gd name="connsiteY204" fmla="*/ 4756077 h 7305087"/>
              <a:gd name="connsiteX205" fmla="*/ 3336161 w 8266922"/>
              <a:gd name="connsiteY205" fmla="*/ 4796980 h 7305087"/>
              <a:gd name="connsiteX206" fmla="*/ 3348248 w 8266922"/>
              <a:gd name="connsiteY206" fmla="*/ 4840605 h 7305087"/>
              <a:gd name="connsiteX207" fmla="*/ 3358111 w 8266922"/>
              <a:gd name="connsiteY207" fmla="*/ 4886873 h 7305087"/>
              <a:gd name="connsiteX208" fmla="*/ 3365883 w 8266922"/>
              <a:gd name="connsiteY208" fmla="*/ 4935701 h 7305087"/>
              <a:gd name="connsiteX209" fmla="*/ 3371697 w 8266922"/>
              <a:gd name="connsiteY209" fmla="*/ 4987008 h 7305087"/>
              <a:gd name="connsiteX210" fmla="*/ 3375685 w 8266922"/>
              <a:gd name="connsiteY210" fmla="*/ 5040712 h 7305087"/>
              <a:gd name="connsiteX211" fmla="*/ 3377981 w 8266922"/>
              <a:gd name="connsiteY211" fmla="*/ 5096732 h 7305087"/>
              <a:gd name="connsiteX212" fmla="*/ 3378717 w 8266922"/>
              <a:gd name="connsiteY212" fmla="*/ 5154988 h 7305087"/>
              <a:gd name="connsiteX213" fmla="*/ 3378017 w 8266922"/>
              <a:gd name="connsiteY213" fmla="*/ 5213493 h 7305087"/>
              <a:gd name="connsiteX214" fmla="*/ 3375820 w 8266922"/>
              <a:gd name="connsiteY214" fmla="*/ 5269763 h 7305087"/>
              <a:gd name="connsiteX215" fmla="*/ 3371984 w 8266922"/>
              <a:gd name="connsiteY215" fmla="*/ 5323713 h 7305087"/>
              <a:gd name="connsiteX216" fmla="*/ 3366363 w 8266922"/>
              <a:gd name="connsiteY216" fmla="*/ 5375263 h 7305087"/>
              <a:gd name="connsiteX217" fmla="*/ 3358815 w 8266922"/>
              <a:gd name="connsiteY217" fmla="*/ 5424328 h 7305087"/>
              <a:gd name="connsiteX218" fmla="*/ 3349194 w 8266922"/>
              <a:gd name="connsiteY218" fmla="*/ 5470827 h 7305087"/>
              <a:gd name="connsiteX219" fmla="*/ 3337357 w 8266922"/>
              <a:gd name="connsiteY219" fmla="*/ 5514676 h 7305087"/>
              <a:gd name="connsiteX220" fmla="*/ 3323160 w 8266922"/>
              <a:gd name="connsiteY220" fmla="*/ 5555794 h 7305087"/>
              <a:gd name="connsiteX221" fmla="*/ 3306462 w 8266922"/>
              <a:gd name="connsiteY221" fmla="*/ 5594097 h 7305087"/>
              <a:gd name="connsiteX222" fmla="*/ 3287114 w 8266922"/>
              <a:gd name="connsiteY222" fmla="*/ 5629503 h 7305087"/>
              <a:gd name="connsiteX223" fmla="*/ 3264973 w 8266922"/>
              <a:gd name="connsiteY223" fmla="*/ 5661929 h 7305087"/>
              <a:gd name="connsiteX224" fmla="*/ 3239895 w 8266922"/>
              <a:gd name="connsiteY224" fmla="*/ 5691293 h 7305087"/>
              <a:gd name="connsiteX225" fmla="*/ 3211738 w 8266922"/>
              <a:gd name="connsiteY225" fmla="*/ 5717511 h 7305087"/>
              <a:gd name="connsiteX226" fmla="*/ 3180357 w 8266922"/>
              <a:gd name="connsiteY226" fmla="*/ 5740502 h 7305087"/>
              <a:gd name="connsiteX227" fmla="*/ 3145609 w 8266922"/>
              <a:gd name="connsiteY227" fmla="*/ 5760183 h 7305087"/>
              <a:gd name="connsiteX228" fmla="*/ 3107348 w 8266922"/>
              <a:gd name="connsiteY228" fmla="*/ 5776470 h 7305087"/>
              <a:gd name="connsiteX229" fmla="*/ 3065431 w 8266922"/>
              <a:gd name="connsiteY229" fmla="*/ 5789282 h 7305087"/>
              <a:gd name="connsiteX230" fmla="*/ 3019716 w 8266922"/>
              <a:gd name="connsiteY230" fmla="*/ 5798536 h 7305087"/>
              <a:gd name="connsiteX231" fmla="*/ 2970054 w 8266922"/>
              <a:gd name="connsiteY231" fmla="*/ 5804149 h 7305087"/>
              <a:gd name="connsiteX232" fmla="*/ 2916306 w 8266922"/>
              <a:gd name="connsiteY232" fmla="*/ 5806038 h 7305087"/>
              <a:gd name="connsiteX233" fmla="*/ 2916306 w 8266922"/>
              <a:gd name="connsiteY233" fmla="*/ 5709215 h 7305087"/>
              <a:gd name="connsiteX234" fmla="*/ 2965992 w 8266922"/>
              <a:gd name="connsiteY234" fmla="*/ 5706982 h 7305087"/>
              <a:gd name="connsiteX235" fmla="*/ 3010913 w 8266922"/>
              <a:gd name="connsiteY235" fmla="*/ 5700361 h 7305087"/>
              <a:gd name="connsiteX236" fmla="*/ 3051294 w 8266922"/>
              <a:gd name="connsiteY236" fmla="*/ 5689472 h 7305087"/>
              <a:gd name="connsiteX237" fmla="*/ 3087367 w 8266922"/>
              <a:gd name="connsiteY237" fmla="*/ 5674432 h 7305087"/>
              <a:gd name="connsiteX238" fmla="*/ 3147477 w 8266922"/>
              <a:gd name="connsiteY238" fmla="*/ 5632372 h 7305087"/>
              <a:gd name="connsiteX239" fmla="*/ 3193057 w 8266922"/>
              <a:gd name="connsiteY239" fmla="*/ 5575128 h 7305087"/>
              <a:gd name="connsiteX240" fmla="*/ 3210963 w 8266922"/>
              <a:gd name="connsiteY240" fmla="*/ 5541107 h 7305087"/>
              <a:gd name="connsiteX241" fmla="*/ 3225916 w 8266922"/>
              <a:gd name="connsiteY241" fmla="*/ 5503645 h 7305087"/>
              <a:gd name="connsiteX242" fmla="*/ 3238139 w 8266922"/>
              <a:gd name="connsiteY242" fmla="*/ 5462861 h 7305087"/>
              <a:gd name="connsiteX243" fmla="*/ 3247862 w 8266922"/>
              <a:gd name="connsiteY243" fmla="*/ 5418871 h 7305087"/>
              <a:gd name="connsiteX244" fmla="*/ 3255309 w 8266922"/>
              <a:gd name="connsiteY244" fmla="*/ 5371794 h 7305087"/>
              <a:gd name="connsiteX245" fmla="*/ 3260708 w 8266922"/>
              <a:gd name="connsiteY245" fmla="*/ 5321750 h 7305087"/>
              <a:gd name="connsiteX246" fmla="*/ 3264284 w 8266922"/>
              <a:gd name="connsiteY246" fmla="*/ 5268855 h 7305087"/>
              <a:gd name="connsiteX247" fmla="*/ 3266263 w 8266922"/>
              <a:gd name="connsiteY247" fmla="*/ 5213228 h 7305087"/>
              <a:gd name="connsiteX248" fmla="*/ 3266872 w 8266922"/>
              <a:gd name="connsiteY248" fmla="*/ 5154988 h 7305087"/>
              <a:gd name="connsiteX249" fmla="*/ 3266231 w 8266922"/>
              <a:gd name="connsiteY249" fmla="*/ 5097319 h 7305087"/>
              <a:gd name="connsiteX250" fmla="*/ 3264161 w 8266922"/>
              <a:gd name="connsiteY250" fmla="*/ 5042230 h 7305087"/>
              <a:gd name="connsiteX251" fmla="*/ 3260451 w 8266922"/>
              <a:gd name="connsiteY251" fmla="*/ 4989837 h 7305087"/>
              <a:gd name="connsiteX252" fmla="*/ 3254885 w 8266922"/>
              <a:gd name="connsiteY252" fmla="*/ 4940261 h 7305087"/>
              <a:gd name="connsiteX253" fmla="*/ 3247250 w 8266922"/>
              <a:gd name="connsiteY253" fmla="*/ 4893617 h 7305087"/>
              <a:gd name="connsiteX254" fmla="*/ 3237332 w 8266922"/>
              <a:gd name="connsiteY254" fmla="*/ 4850025 h 7305087"/>
              <a:gd name="connsiteX255" fmla="*/ 3224916 w 8266922"/>
              <a:gd name="connsiteY255" fmla="*/ 4809604 h 7305087"/>
              <a:gd name="connsiteX256" fmla="*/ 3209789 w 8266922"/>
              <a:gd name="connsiteY256" fmla="*/ 4772472 h 7305087"/>
              <a:gd name="connsiteX257" fmla="*/ 3191735 w 8266922"/>
              <a:gd name="connsiteY257" fmla="*/ 4738746 h 7305087"/>
              <a:gd name="connsiteX258" fmla="*/ 3145998 w 8266922"/>
              <a:gd name="connsiteY258" fmla="*/ 4681987 h 7305087"/>
              <a:gd name="connsiteX259" fmla="*/ 3085988 w 8266922"/>
              <a:gd name="connsiteY259" fmla="*/ 4640273 h 7305087"/>
              <a:gd name="connsiteX260" fmla="*/ 3050095 w 8266922"/>
              <a:gd name="connsiteY260" fmla="*/ 4625355 h 7305087"/>
              <a:gd name="connsiteX261" fmla="*/ 3009995 w 8266922"/>
              <a:gd name="connsiteY261" fmla="*/ 4614552 h 7305087"/>
              <a:gd name="connsiteX262" fmla="*/ 2965470 w 8266922"/>
              <a:gd name="connsiteY262" fmla="*/ 4607983 h 7305087"/>
              <a:gd name="connsiteX263" fmla="*/ 2916306 w 8266922"/>
              <a:gd name="connsiteY263" fmla="*/ 4605768 h 7305087"/>
              <a:gd name="connsiteX264" fmla="*/ 2824439 w 8266922"/>
              <a:gd name="connsiteY264" fmla="*/ 4507277 h 7305087"/>
              <a:gd name="connsiteX265" fmla="*/ 2824439 w 8266922"/>
              <a:gd name="connsiteY265" fmla="*/ 4605768 h 7305087"/>
              <a:gd name="connsiteX266" fmla="*/ 2775553 w 8266922"/>
              <a:gd name="connsiteY266" fmla="*/ 4607983 h 7305087"/>
              <a:gd name="connsiteX267" fmla="*/ 2731271 w 8266922"/>
              <a:gd name="connsiteY267" fmla="*/ 4614552 h 7305087"/>
              <a:gd name="connsiteX268" fmla="*/ 2691385 w 8266922"/>
              <a:gd name="connsiteY268" fmla="*/ 4625355 h 7305087"/>
              <a:gd name="connsiteX269" fmla="*/ 2655680 w 8266922"/>
              <a:gd name="connsiteY269" fmla="*/ 4640273 h 7305087"/>
              <a:gd name="connsiteX270" fmla="*/ 2595965 w 8266922"/>
              <a:gd name="connsiteY270" fmla="*/ 4681987 h 7305087"/>
              <a:gd name="connsiteX271" fmla="*/ 2550430 w 8266922"/>
              <a:gd name="connsiteY271" fmla="*/ 4738746 h 7305087"/>
              <a:gd name="connsiteX272" fmla="*/ 2532451 w 8266922"/>
              <a:gd name="connsiteY272" fmla="*/ 4772472 h 7305087"/>
              <a:gd name="connsiteX273" fmla="*/ 2517381 w 8266922"/>
              <a:gd name="connsiteY273" fmla="*/ 4809604 h 7305087"/>
              <a:gd name="connsiteX274" fmla="*/ 2505009 w 8266922"/>
              <a:gd name="connsiteY274" fmla="*/ 4850025 h 7305087"/>
              <a:gd name="connsiteX275" fmla="*/ 2495121 w 8266922"/>
              <a:gd name="connsiteY275" fmla="*/ 4893617 h 7305087"/>
              <a:gd name="connsiteX276" fmla="*/ 2487508 w 8266922"/>
              <a:gd name="connsiteY276" fmla="*/ 4940261 h 7305087"/>
              <a:gd name="connsiteX277" fmla="*/ 2481955 w 8266922"/>
              <a:gd name="connsiteY277" fmla="*/ 4989837 h 7305087"/>
              <a:gd name="connsiteX278" fmla="*/ 2478251 w 8266922"/>
              <a:gd name="connsiteY278" fmla="*/ 5042230 h 7305087"/>
              <a:gd name="connsiteX279" fmla="*/ 2476183 w 8266922"/>
              <a:gd name="connsiteY279" fmla="*/ 5097319 h 7305087"/>
              <a:gd name="connsiteX280" fmla="*/ 2475541 w 8266922"/>
              <a:gd name="connsiteY280" fmla="*/ 5154988 h 7305087"/>
              <a:gd name="connsiteX281" fmla="*/ 2476168 w 8266922"/>
              <a:gd name="connsiteY281" fmla="*/ 5213228 h 7305087"/>
              <a:gd name="connsiteX282" fmla="*/ 2478189 w 8266922"/>
              <a:gd name="connsiteY282" fmla="*/ 5268855 h 7305087"/>
              <a:gd name="connsiteX283" fmla="*/ 2481827 w 8266922"/>
              <a:gd name="connsiteY283" fmla="*/ 5321750 h 7305087"/>
              <a:gd name="connsiteX284" fmla="*/ 2487296 w 8266922"/>
              <a:gd name="connsiteY284" fmla="*/ 5371794 h 7305087"/>
              <a:gd name="connsiteX285" fmla="*/ 2494816 w 8266922"/>
              <a:gd name="connsiteY285" fmla="*/ 5418871 h 7305087"/>
              <a:gd name="connsiteX286" fmla="*/ 2504605 w 8266922"/>
              <a:gd name="connsiteY286" fmla="*/ 5462861 h 7305087"/>
              <a:gd name="connsiteX287" fmla="*/ 2516882 w 8266922"/>
              <a:gd name="connsiteY287" fmla="*/ 5503645 h 7305087"/>
              <a:gd name="connsiteX288" fmla="*/ 2531865 w 8266922"/>
              <a:gd name="connsiteY288" fmla="*/ 5541107 h 7305087"/>
              <a:gd name="connsiteX289" fmla="*/ 2549770 w 8266922"/>
              <a:gd name="connsiteY289" fmla="*/ 5575128 h 7305087"/>
              <a:gd name="connsiteX290" fmla="*/ 2595224 w 8266922"/>
              <a:gd name="connsiteY290" fmla="*/ 5632372 h 7305087"/>
              <a:gd name="connsiteX291" fmla="*/ 2654990 w 8266922"/>
              <a:gd name="connsiteY291" fmla="*/ 5674432 h 7305087"/>
              <a:gd name="connsiteX292" fmla="*/ 2690785 w 8266922"/>
              <a:gd name="connsiteY292" fmla="*/ 5689472 h 7305087"/>
              <a:gd name="connsiteX293" fmla="*/ 2730814 w 8266922"/>
              <a:gd name="connsiteY293" fmla="*/ 5700361 h 7305087"/>
              <a:gd name="connsiteX294" fmla="*/ 2775291 w 8266922"/>
              <a:gd name="connsiteY294" fmla="*/ 5706982 h 7305087"/>
              <a:gd name="connsiteX295" fmla="*/ 2824439 w 8266922"/>
              <a:gd name="connsiteY295" fmla="*/ 5709215 h 7305087"/>
              <a:gd name="connsiteX296" fmla="*/ 2824439 w 8266922"/>
              <a:gd name="connsiteY296" fmla="*/ 5806038 h 7305087"/>
              <a:gd name="connsiteX297" fmla="*/ 2770915 w 8266922"/>
              <a:gd name="connsiteY297" fmla="*/ 5804149 h 7305087"/>
              <a:gd name="connsiteX298" fmla="*/ 2721436 w 8266922"/>
              <a:gd name="connsiteY298" fmla="*/ 5798536 h 7305087"/>
              <a:gd name="connsiteX299" fmla="*/ 2675855 w 8266922"/>
              <a:gd name="connsiteY299" fmla="*/ 5789282 h 7305087"/>
              <a:gd name="connsiteX300" fmla="*/ 2634037 w 8266922"/>
              <a:gd name="connsiteY300" fmla="*/ 5776470 h 7305087"/>
              <a:gd name="connsiteX301" fmla="*/ 2595840 w 8266922"/>
              <a:gd name="connsiteY301" fmla="*/ 5760183 h 7305087"/>
              <a:gd name="connsiteX302" fmla="*/ 2561122 w 8266922"/>
              <a:gd name="connsiteY302" fmla="*/ 5740502 h 7305087"/>
              <a:gd name="connsiteX303" fmla="*/ 2529747 w 8266922"/>
              <a:gd name="connsiteY303" fmla="*/ 5717511 h 7305087"/>
              <a:gd name="connsiteX304" fmla="*/ 2501571 w 8266922"/>
              <a:gd name="connsiteY304" fmla="*/ 5691293 h 7305087"/>
              <a:gd name="connsiteX305" fmla="*/ 2476454 w 8266922"/>
              <a:gd name="connsiteY305" fmla="*/ 5661929 h 7305087"/>
              <a:gd name="connsiteX306" fmla="*/ 2454257 w 8266922"/>
              <a:gd name="connsiteY306" fmla="*/ 5629503 h 7305087"/>
              <a:gd name="connsiteX307" fmla="*/ 2434840 w 8266922"/>
              <a:gd name="connsiteY307" fmla="*/ 5594097 h 7305087"/>
              <a:gd name="connsiteX308" fmla="*/ 2418062 w 8266922"/>
              <a:gd name="connsiteY308" fmla="*/ 5555794 h 7305087"/>
              <a:gd name="connsiteX309" fmla="*/ 2403783 w 8266922"/>
              <a:gd name="connsiteY309" fmla="*/ 5514676 h 7305087"/>
              <a:gd name="connsiteX310" fmla="*/ 2391863 w 8266922"/>
              <a:gd name="connsiteY310" fmla="*/ 5470827 h 7305087"/>
              <a:gd name="connsiteX311" fmla="*/ 2382162 w 8266922"/>
              <a:gd name="connsiteY311" fmla="*/ 5424328 h 7305087"/>
              <a:gd name="connsiteX312" fmla="*/ 2374539 w 8266922"/>
              <a:gd name="connsiteY312" fmla="*/ 5375263 h 7305087"/>
              <a:gd name="connsiteX313" fmla="*/ 2368854 w 8266922"/>
              <a:gd name="connsiteY313" fmla="*/ 5323713 h 7305087"/>
              <a:gd name="connsiteX314" fmla="*/ 2364967 w 8266922"/>
              <a:gd name="connsiteY314" fmla="*/ 5269763 h 7305087"/>
              <a:gd name="connsiteX315" fmla="*/ 2362736 w 8266922"/>
              <a:gd name="connsiteY315" fmla="*/ 5213493 h 7305087"/>
              <a:gd name="connsiteX316" fmla="*/ 2362026 w 8266922"/>
              <a:gd name="connsiteY316" fmla="*/ 5154988 h 7305087"/>
              <a:gd name="connsiteX317" fmla="*/ 2362760 w 8266922"/>
              <a:gd name="connsiteY317" fmla="*/ 5096732 h 7305087"/>
              <a:gd name="connsiteX318" fmla="*/ 2365057 w 8266922"/>
              <a:gd name="connsiteY318" fmla="*/ 5040712 h 7305087"/>
              <a:gd name="connsiteX319" fmla="*/ 2369046 w 8266922"/>
              <a:gd name="connsiteY319" fmla="*/ 4987008 h 7305087"/>
              <a:gd name="connsiteX320" fmla="*/ 2374859 w 8266922"/>
              <a:gd name="connsiteY320" fmla="*/ 4935701 h 7305087"/>
              <a:gd name="connsiteX321" fmla="*/ 2382632 w 8266922"/>
              <a:gd name="connsiteY321" fmla="*/ 4886873 h 7305087"/>
              <a:gd name="connsiteX322" fmla="*/ 2392495 w 8266922"/>
              <a:gd name="connsiteY322" fmla="*/ 4840605 h 7305087"/>
              <a:gd name="connsiteX323" fmla="*/ 2404581 w 8266922"/>
              <a:gd name="connsiteY323" fmla="*/ 4796980 h 7305087"/>
              <a:gd name="connsiteX324" fmla="*/ 2419024 w 8266922"/>
              <a:gd name="connsiteY324" fmla="*/ 4756077 h 7305087"/>
              <a:gd name="connsiteX325" fmla="*/ 2435956 w 8266922"/>
              <a:gd name="connsiteY325" fmla="*/ 4717980 h 7305087"/>
              <a:gd name="connsiteX326" fmla="*/ 2455509 w 8266922"/>
              <a:gd name="connsiteY326" fmla="*/ 4682768 h 7305087"/>
              <a:gd name="connsiteX327" fmla="*/ 2477817 w 8266922"/>
              <a:gd name="connsiteY327" fmla="*/ 4650523 h 7305087"/>
              <a:gd name="connsiteX328" fmla="*/ 2503013 w 8266922"/>
              <a:gd name="connsiteY328" fmla="*/ 4621327 h 7305087"/>
              <a:gd name="connsiteX329" fmla="*/ 2531228 w 8266922"/>
              <a:gd name="connsiteY329" fmla="*/ 4595261 h 7305087"/>
              <a:gd name="connsiteX330" fmla="*/ 2562596 w 8266922"/>
              <a:gd name="connsiteY330" fmla="*/ 4572406 h 7305087"/>
              <a:gd name="connsiteX331" fmla="*/ 2597248 w 8266922"/>
              <a:gd name="connsiteY331" fmla="*/ 4552845 h 7305087"/>
              <a:gd name="connsiteX332" fmla="*/ 2635318 w 8266922"/>
              <a:gd name="connsiteY332" fmla="*/ 4536657 h 7305087"/>
              <a:gd name="connsiteX333" fmla="*/ 2676942 w 8266922"/>
              <a:gd name="connsiteY333" fmla="*/ 4523925 h 7305087"/>
              <a:gd name="connsiteX334" fmla="*/ 2722247 w 8266922"/>
              <a:gd name="connsiteY334" fmla="*/ 4514730 h 7305087"/>
              <a:gd name="connsiteX335" fmla="*/ 2771367 w 8266922"/>
              <a:gd name="connsiteY335" fmla="*/ 4509153 h 7305087"/>
              <a:gd name="connsiteX336" fmla="*/ 2506783 w 8266922"/>
              <a:gd name="connsiteY336" fmla="*/ 4026496 h 7305087"/>
              <a:gd name="connsiteX337" fmla="*/ 2549012 w 8266922"/>
              <a:gd name="connsiteY337" fmla="*/ 4030174 h 7305087"/>
              <a:gd name="connsiteX338" fmla="*/ 2581695 w 8266922"/>
              <a:gd name="connsiteY338" fmla="*/ 4043398 h 7305087"/>
              <a:gd name="connsiteX339" fmla="*/ 2602796 w 8266922"/>
              <a:gd name="connsiteY339" fmla="*/ 4069456 h 7305087"/>
              <a:gd name="connsiteX340" fmla="*/ 2610283 w 8266922"/>
              <a:gd name="connsiteY340" fmla="*/ 4111633 h 7305087"/>
              <a:gd name="connsiteX341" fmla="*/ 2602796 w 8266922"/>
              <a:gd name="connsiteY341" fmla="*/ 4155741 h 7305087"/>
              <a:gd name="connsiteX342" fmla="*/ 2581695 w 8266922"/>
              <a:gd name="connsiteY342" fmla="*/ 4182790 h 7305087"/>
              <a:gd name="connsiteX343" fmla="*/ 2549012 w 8266922"/>
              <a:gd name="connsiteY343" fmla="*/ 4196380 h 7305087"/>
              <a:gd name="connsiteX344" fmla="*/ 2506783 w 8266922"/>
              <a:gd name="connsiteY344" fmla="*/ 4200110 h 7305087"/>
              <a:gd name="connsiteX345" fmla="*/ 2464554 w 8266922"/>
              <a:gd name="connsiteY345" fmla="*/ 4196380 h 7305087"/>
              <a:gd name="connsiteX346" fmla="*/ 2431870 w 8266922"/>
              <a:gd name="connsiteY346" fmla="*/ 4182790 h 7305087"/>
              <a:gd name="connsiteX347" fmla="*/ 2410769 w 8266922"/>
              <a:gd name="connsiteY347" fmla="*/ 4155741 h 7305087"/>
              <a:gd name="connsiteX348" fmla="*/ 2403283 w 8266922"/>
              <a:gd name="connsiteY348" fmla="*/ 4111633 h 7305087"/>
              <a:gd name="connsiteX349" fmla="*/ 2411003 w 8266922"/>
              <a:gd name="connsiteY349" fmla="*/ 4069456 h 7305087"/>
              <a:gd name="connsiteX350" fmla="*/ 2432496 w 8266922"/>
              <a:gd name="connsiteY350" fmla="*/ 4043398 h 7305087"/>
              <a:gd name="connsiteX351" fmla="*/ 2465257 w 8266922"/>
              <a:gd name="connsiteY351" fmla="*/ 4030174 h 7305087"/>
              <a:gd name="connsiteX352" fmla="*/ 2506783 w 8266922"/>
              <a:gd name="connsiteY352" fmla="*/ 3325365 h 7305087"/>
              <a:gd name="connsiteX353" fmla="*/ 2549012 w 8266922"/>
              <a:gd name="connsiteY353" fmla="*/ 3328834 h 7305087"/>
              <a:gd name="connsiteX354" fmla="*/ 2581695 w 8266922"/>
              <a:gd name="connsiteY354" fmla="*/ 3341849 h 7305087"/>
              <a:gd name="connsiteX355" fmla="*/ 2602796 w 8266922"/>
              <a:gd name="connsiteY355" fmla="*/ 3368324 h 7305087"/>
              <a:gd name="connsiteX356" fmla="*/ 2610283 w 8266922"/>
              <a:gd name="connsiteY356" fmla="*/ 3412171 h 7305087"/>
              <a:gd name="connsiteX357" fmla="*/ 2602796 w 8266922"/>
              <a:gd name="connsiteY357" fmla="*/ 3454609 h 7305087"/>
              <a:gd name="connsiteX358" fmla="*/ 2581695 w 8266922"/>
              <a:gd name="connsiteY358" fmla="*/ 3481240 h 7305087"/>
              <a:gd name="connsiteX359" fmla="*/ 2549012 w 8266922"/>
              <a:gd name="connsiteY359" fmla="*/ 3495038 h 7305087"/>
              <a:gd name="connsiteX360" fmla="*/ 2506783 w 8266922"/>
              <a:gd name="connsiteY360" fmla="*/ 3498977 h 7305087"/>
              <a:gd name="connsiteX361" fmla="*/ 2465519 w 8266922"/>
              <a:gd name="connsiteY361" fmla="*/ 3495038 h 7305087"/>
              <a:gd name="connsiteX362" fmla="*/ 2433331 w 8266922"/>
              <a:gd name="connsiteY362" fmla="*/ 3481240 h 7305087"/>
              <a:gd name="connsiteX363" fmla="*/ 2412411 w 8266922"/>
              <a:gd name="connsiteY363" fmla="*/ 3454609 h 7305087"/>
              <a:gd name="connsiteX364" fmla="*/ 2404952 w 8266922"/>
              <a:gd name="connsiteY364" fmla="*/ 3412171 h 7305087"/>
              <a:gd name="connsiteX365" fmla="*/ 2412411 w 8266922"/>
              <a:gd name="connsiteY365" fmla="*/ 3368324 h 7305087"/>
              <a:gd name="connsiteX366" fmla="*/ 2433331 w 8266922"/>
              <a:gd name="connsiteY366" fmla="*/ 3341849 h 7305087"/>
              <a:gd name="connsiteX367" fmla="*/ 2465519 w 8266922"/>
              <a:gd name="connsiteY367" fmla="*/ 3328834 h 7305087"/>
              <a:gd name="connsiteX368" fmla="*/ 3576931 w 8266922"/>
              <a:gd name="connsiteY368" fmla="*/ 3011218 h 7305087"/>
              <a:gd name="connsiteX369" fmla="*/ 3950858 w 8266922"/>
              <a:gd name="connsiteY369" fmla="*/ 3011218 h 7305087"/>
              <a:gd name="connsiteX370" fmla="*/ 3950858 w 8266922"/>
              <a:gd name="connsiteY370" fmla="*/ 3106468 h 7305087"/>
              <a:gd name="connsiteX371" fmla="*/ 3950858 w 8266922"/>
              <a:gd name="connsiteY371" fmla="*/ 4205018 h 7305087"/>
              <a:gd name="connsiteX372" fmla="*/ 3950858 w 8266922"/>
              <a:gd name="connsiteY372" fmla="*/ 4300268 h 7305087"/>
              <a:gd name="connsiteX373" fmla="*/ 3576931 w 8266922"/>
              <a:gd name="connsiteY373" fmla="*/ 4300268 h 7305087"/>
              <a:gd name="connsiteX374" fmla="*/ 3576931 w 8266922"/>
              <a:gd name="connsiteY374" fmla="*/ 4205018 h 7305087"/>
              <a:gd name="connsiteX375" fmla="*/ 3835681 w 8266922"/>
              <a:gd name="connsiteY375" fmla="*/ 4205018 h 7305087"/>
              <a:gd name="connsiteX376" fmla="*/ 3835681 w 8266922"/>
              <a:gd name="connsiteY376" fmla="*/ 3106468 h 7305087"/>
              <a:gd name="connsiteX377" fmla="*/ 3576931 w 8266922"/>
              <a:gd name="connsiteY377" fmla="*/ 3106468 h 7305087"/>
              <a:gd name="connsiteX378" fmla="*/ 1487809 w 8266922"/>
              <a:gd name="connsiteY378" fmla="*/ 3011218 h 7305087"/>
              <a:gd name="connsiteX379" fmla="*/ 1861748 w 8266922"/>
              <a:gd name="connsiteY379" fmla="*/ 3011218 h 7305087"/>
              <a:gd name="connsiteX380" fmla="*/ 1861748 w 8266922"/>
              <a:gd name="connsiteY380" fmla="*/ 3106468 h 7305087"/>
              <a:gd name="connsiteX381" fmla="*/ 1602998 w 8266922"/>
              <a:gd name="connsiteY381" fmla="*/ 3106468 h 7305087"/>
              <a:gd name="connsiteX382" fmla="*/ 1602998 w 8266922"/>
              <a:gd name="connsiteY382" fmla="*/ 4205018 h 7305087"/>
              <a:gd name="connsiteX383" fmla="*/ 1861748 w 8266922"/>
              <a:gd name="connsiteY383" fmla="*/ 4205018 h 7305087"/>
              <a:gd name="connsiteX384" fmla="*/ 1861748 w 8266922"/>
              <a:gd name="connsiteY384" fmla="*/ 4300268 h 7305087"/>
              <a:gd name="connsiteX385" fmla="*/ 1487809 w 8266922"/>
              <a:gd name="connsiteY385" fmla="*/ 4300268 h 7305087"/>
              <a:gd name="connsiteX386" fmla="*/ 1487809 w 8266922"/>
              <a:gd name="connsiteY386" fmla="*/ 4205018 h 7305087"/>
              <a:gd name="connsiteX387" fmla="*/ 1487809 w 8266922"/>
              <a:gd name="connsiteY387" fmla="*/ 3106468 h 7305087"/>
              <a:gd name="connsiteX388" fmla="*/ 7212302 w 8266922"/>
              <a:gd name="connsiteY388" fmla="*/ 3004847 h 7305087"/>
              <a:gd name="connsiteX389" fmla="*/ 7265372 w 8266922"/>
              <a:gd name="connsiteY389" fmla="*/ 3006723 h 7305087"/>
              <a:gd name="connsiteX390" fmla="*/ 7314493 w 8266922"/>
              <a:gd name="connsiteY390" fmla="*/ 3012300 h 7305087"/>
              <a:gd name="connsiteX391" fmla="*/ 7359798 w 8266922"/>
              <a:gd name="connsiteY391" fmla="*/ 3021495 h 7305087"/>
              <a:gd name="connsiteX392" fmla="*/ 7401420 w 8266922"/>
              <a:gd name="connsiteY392" fmla="*/ 3034227 h 7305087"/>
              <a:gd name="connsiteX393" fmla="*/ 7439491 w 8266922"/>
              <a:gd name="connsiteY393" fmla="*/ 3050415 h 7305087"/>
              <a:gd name="connsiteX394" fmla="*/ 7474144 w 8266922"/>
              <a:gd name="connsiteY394" fmla="*/ 3069977 h 7305087"/>
              <a:gd name="connsiteX395" fmla="*/ 7505511 w 8266922"/>
              <a:gd name="connsiteY395" fmla="*/ 3092831 h 7305087"/>
              <a:gd name="connsiteX396" fmla="*/ 7533726 w 8266922"/>
              <a:gd name="connsiteY396" fmla="*/ 3118897 h 7305087"/>
              <a:gd name="connsiteX397" fmla="*/ 7558922 w 8266922"/>
              <a:gd name="connsiteY397" fmla="*/ 3148093 h 7305087"/>
              <a:gd name="connsiteX398" fmla="*/ 7581230 w 8266922"/>
              <a:gd name="connsiteY398" fmla="*/ 3180338 h 7305087"/>
              <a:gd name="connsiteX399" fmla="*/ 7600783 w 8266922"/>
              <a:gd name="connsiteY399" fmla="*/ 3215550 h 7305087"/>
              <a:gd name="connsiteX400" fmla="*/ 7617715 w 8266922"/>
              <a:gd name="connsiteY400" fmla="*/ 3253648 h 7305087"/>
              <a:gd name="connsiteX401" fmla="*/ 7632158 w 8266922"/>
              <a:gd name="connsiteY401" fmla="*/ 3294551 h 7305087"/>
              <a:gd name="connsiteX402" fmla="*/ 7644245 w 8266922"/>
              <a:gd name="connsiteY402" fmla="*/ 3338176 h 7305087"/>
              <a:gd name="connsiteX403" fmla="*/ 7654108 w 8266922"/>
              <a:gd name="connsiteY403" fmla="*/ 3384443 h 7305087"/>
              <a:gd name="connsiteX404" fmla="*/ 7661880 w 8266922"/>
              <a:gd name="connsiteY404" fmla="*/ 3433271 h 7305087"/>
              <a:gd name="connsiteX405" fmla="*/ 7667694 w 8266922"/>
              <a:gd name="connsiteY405" fmla="*/ 3484578 h 7305087"/>
              <a:gd name="connsiteX406" fmla="*/ 7671682 w 8266922"/>
              <a:gd name="connsiteY406" fmla="*/ 3538282 h 7305087"/>
              <a:gd name="connsiteX407" fmla="*/ 7673978 w 8266922"/>
              <a:gd name="connsiteY407" fmla="*/ 3594302 h 7305087"/>
              <a:gd name="connsiteX408" fmla="*/ 7674714 w 8266922"/>
              <a:gd name="connsiteY408" fmla="*/ 3652558 h 7305087"/>
              <a:gd name="connsiteX409" fmla="*/ 7674014 w 8266922"/>
              <a:gd name="connsiteY409" fmla="*/ 3711063 h 7305087"/>
              <a:gd name="connsiteX410" fmla="*/ 7671817 w 8266922"/>
              <a:gd name="connsiteY410" fmla="*/ 3767333 h 7305087"/>
              <a:gd name="connsiteX411" fmla="*/ 7667981 w 8266922"/>
              <a:gd name="connsiteY411" fmla="*/ 3821283 h 7305087"/>
              <a:gd name="connsiteX412" fmla="*/ 7662360 w 8266922"/>
              <a:gd name="connsiteY412" fmla="*/ 3872833 h 7305087"/>
              <a:gd name="connsiteX413" fmla="*/ 7654812 w 8266922"/>
              <a:gd name="connsiteY413" fmla="*/ 3921898 h 7305087"/>
              <a:gd name="connsiteX414" fmla="*/ 7645191 w 8266922"/>
              <a:gd name="connsiteY414" fmla="*/ 3968397 h 7305087"/>
              <a:gd name="connsiteX415" fmla="*/ 7633354 w 8266922"/>
              <a:gd name="connsiteY415" fmla="*/ 4012246 h 7305087"/>
              <a:gd name="connsiteX416" fmla="*/ 7619157 w 8266922"/>
              <a:gd name="connsiteY416" fmla="*/ 4053364 h 7305087"/>
              <a:gd name="connsiteX417" fmla="*/ 7602457 w 8266922"/>
              <a:gd name="connsiteY417" fmla="*/ 4091667 h 7305087"/>
              <a:gd name="connsiteX418" fmla="*/ 7583108 w 8266922"/>
              <a:gd name="connsiteY418" fmla="*/ 4127073 h 7305087"/>
              <a:gd name="connsiteX419" fmla="*/ 7560967 w 8266922"/>
              <a:gd name="connsiteY419" fmla="*/ 4159499 h 7305087"/>
              <a:gd name="connsiteX420" fmla="*/ 7535890 w 8266922"/>
              <a:gd name="connsiteY420" fmla="*/ 4188862 h 7305087"/>
              <a:gd name="connsiteX421" fmla="*/ 7507733 w 8266922"/>
              <a:gd name="connsiteY421" fmla="*/ 4215081 h 7305087"/>
              <a:gd name="connsiteX422" fmla="*/ 7476352 w 8266922"/>
              <a:gd name="connsiteY422" fmla="*/ 4238071 h 7305087"/>
              <a:gd name="connsiteX423" fmla="*/ 7441604 w 8266922"/>
              <a:gd name="connsiteY423" fmla="*/ 4257752 h 7305087"/>
              <a:gd name="connsiteX424" fmla="*/ 7403343 w 8266922"/>
              <a:gd name="connsiteY424" fmla="*/ 4274039 h 7305087"/>
              <a:gd name="connsiteX425" fmla="*/ 7361426 w 8266922"/>
              <a:gd name="connsiteY425" fmla="*/ 4286851 h 7305087"/>
              <a:gd name="connsiteX426" fmla="*/ 7315710 w 8266922"/>
              <a:gd name="connsiteY426" fmla="*/ 4296105 h 7305087"/>
              <a:gd name="connsiteX427" fmla="*/ 7266050 w 8266922"/>
              <a:gd name="connsiteY427" fmla="*/ 4301718 h 7305087"/>
              <a:gd name="connsiteX428" fmla="*/ 7212302 w 8266922"/>
              <a:gd name="connsiteY428" fmla="*/ 4303607 h 7305087"/>
              <a:gd name="connsiteX429" fmla="*/ 7212302 w 8266922"/>
              <a:gd name="connsiteY429" fmla="*/ 4206785 h 7305087"/>
              <a:gd name="connsiteX430" fmla="*/ 7261987 w 8266922"/>
              <a:gd name="connsiteY430" fmla="*/ 4204552 h 7305087"/>
              <a:gd name="connsiteX431" fmla="*/ 7306907 w 8266922"/>
              <a:gd name="connsiteY431" fmla="*/ 4197931 h 7305087"/>
              <a:gd name="connsiteX432" fmla="*/ 7347290 w 8266922"/>
              <a:gd name="connsiteY432" fmla="*/ 4187042 h 7305087"/>
              <a:gd name="connsiteX433" fmla="*/ 7383361 w 8266922"/>
              <a:gd name="connsiteY433" fmla="*/ 4172002 h 7305087"/>
              <a:gd name="connsiteX434" fmla="*/ 7443472 w 8266922"/>
              <a:gd name="connsiteY434" fmla="*/ 4129942 h 7305087"/>
              <a:gd name="connsiteX435" fmla="*/ 7489051 w 8266922"/>
              <a:gd name="connsiteY435" fmla="*/ 4072698 h 7305087"/>
              <a:gd name="connsiteX436" fmla="*/ 7506957 w 8266922"/>
              <a:gd name="connsiteY436" fmla="*/ 4038677 h 7305087"/>
              <a:gd name="connsiteX437" fmla="*/ 7521909 w 8266922"/>
              <a:gd name="connsiteY437" fmla="*/ 4001216 h 7305087"/>
              <a:gd name="connsiteX438" fmla="*/ 7534133 w 8266922"/>
              <a:gd name="connsiteY438" fmla="*/ 3960431 h 7305087"/>
              <a:gd name="connsiteX439" fmla="*/ 7543856 w 8266922"/>
              <a:gd name="connsiteY439" fmla="*/ 3916441 h 7305087"/>
              <a:gd name="connsiteX440" fmla="*/ 7551303 w 8266922"/>
              <a:gd name="connsiteY440" fmla="*/ 3869364 h 7305087"/>
              <a:gd name="connsiteX441" fmla="*/ 7556702 w 8266922"/>
              <a:gd name="connsiteY441" fmla="*/ 3819320 h 7305087"/>
              <a:gd name="connsiteX442" fmla="*/ 7560278 w 8266922"/>
              <a:gd name="connsiteY442" fmla="*/ 3766425 h 7305087"/>
              <a:gd name="connsiteX443" fmla="*/ 7562257 w 8266922"/>
              <a:gd name="connsiteY443" fmla="*/ 3710798 h 7305087"/>
              <a:gd name="connsiteX444" fmla="*/ 7562867 w 8266922"/>
              <a:gd name="connsiteY444" fmla="*/ 3652558 h 7305087"/>
              <a:gd name="connsiteX445" fmla="*/ 7562225 w 8266922"/>
              <a:gd name="connsiteY445" fmla="*/ 3594889 h 7305087"/>
              <a:gd name="connsiteX446" fmla="*/ 7560155 w 8266922"/>
              <a:gd name="connsiteY446" fmla="*/ 3539800 h 7305087"/>
              <a:gd name="connsiteX447" fmla="*/ 7556445 w 8266922"/>
              <a:gd name="connsiteY447" fmla="*/ 3487407 h 7305087"/>
              <a:gd name="connsiteX448" fmla="*/ 7550879 w 8266922"/>
              <a:gd name="connsiteY448" fmla="*/ 3437831 h 7305087"/>
              <a:gd name="connsiteX449" fmla="*/ 7543244 w 8266922"/>
              <a:gd name="connsiteY449" fmla="*/ 3391187 h 7305087"/>
              <a:gd name="connsiteX450" fmla="*/ 7533326 w 8266922"/>
              <a:gd name="connsiteY450" fmla="*/ 3347596 h 7305087"/>
              <a:gd name="connsiteX451" fmla="*/ 7520910 w 8266922"/>
              <a:gd name="connsiteY451" fmla="*/ 3307175 h 7305087"/>
              <a:gd name="connsiteX452" fmla="*/ 7505783 w 8266922"/>
              <a:gd name="connsiteY452" fmla="*/ 3270043 h 7305087"/>
              <a:gd name="connsiteX453" fmla="*/ 7487730 w 8266922"/>
              <a:gd name="connsiteY453" fmla="*/ 3236317 h 7305087"/>
              <a:gd name="connsiteX454" fmla="*/ 7441992 w 8266922"/>
              <a:gd name="connsiteY454" fmla="*/ 3179558 h 7305087"/>
              <a:gd name="connsiteX455" fmla="*/ 7381983 w 8266922"/>
              <a:gd name="connsiteY455" fmla="*/ 3137845 h 7305087"/>
              <a:gd name="connsiteX456" fmla="*/ 7346091 w 8266922"/>
              <a:gd name="connsiteY456" fmla="*/ 3122926 h 7305087"/>
              <a:gd name="connsiteX457" fmla="*/ 7305990 w 8266922"/>
              <a:gd name="connsiteY457" fmla="*/ 3112123 h 7305087"/>
              <a:gd name="connsiteX458" fmla="*/ 7261465 w 8266922"/>
              <a:gd name="connsiteY458" fmla="*/ 3105555 h 7305087"/>
              <a:gd name="connsiteX459" fmla="*/ 7212302 w 8266922"/>
              <a:gd name="connsiteY459" fmla="*/ 3103339 h 7305087"/>
              <a:gd name="connsiteX460" fmla="*/ 6695380 w 8266922"/>
              <a:gd name="connsiteY460" fmla="*/ 3004847 h 7305087"/>
              <a:gd name="connsiteX461" fmla="*/ 6695380 w 8266922"/>
              <a:gd name="connsiteY461" fmla="*/ 3103339 h 7305087"/>
              <a:gd name="connsiteX462" fmla="*/ 6646494 w 8266922"/>
              <a:gd name="connsiteY462" fmla="*/ 3105555 h 7305087"/>
              <a:gd name="connsiteX463" fmla="*/ 6602213 w 8266922"/>
              <a:gd name="connsiteY463" fmla="*/ 3112123 h 7305087"/>
              <a:gd name="connsiteX464" fmla="*/ 6562327 w 8266922"/>
              <a:gd name="connsiteY464" fmla="*/ 3122926 h 7305087"/>
              <a:gd name="connsiteX465" fmla="*/ 6526621 w 8266922"/>
              <a:gd name="connsiteY465" fmla="*/ 3137845 h 7305087"/>
              <a:gd name="connsiteX466" fmla="*/ 6466906 w 8266922"/>
              <a:gd name="connsiteY466" fmla="*/ 3179558 h 7305087"/>
              <a:gd name="connsiteX467" fmla="*/ 6421372 w 8266922"/>
              <a:gd name="connsiteY467" fmla="*/ 3236317 h 7305087"/>
              <a:gd name="connsiteX468" fmla="*/ 6403393 w 8266922"/>
              <a:gd name="connsiteY468" fmla="*/ 3270043 h 7305087"/>
              <a:gd name="connsiteX469" fmla="*/ 6388323 w 8266922"/>
              <a:gd name="connsiteY469" fmla="*/ 3307175 h 7305087"/>
              <a:gd name="connsiteX470" fmla="*/ 6375951 w 8266922"/>
              <a:gd name="connsiteY470" fmla="*/ 3347596 h 7305087"/>
              <a:gd name="connsiteX471" fmla="*/ 6366063 w 8266922"/>
              <a:gd name="connsiteY471" fmla="*/ 3391187 h 7305087"/>
              <a:gd name="connsiteX472" fmla="*/ 6358449 w 8266922"/>
              <a:gd name="connsiteY472" fmla="*/ 3437831 h 7305087"/>
              <a:gd name="connsiteX473" fmla="*/ 6352896 w 8266922"/>
              <a:gd name="connsiteY473" fmla="*/ 3487407 h 7305087"/>
              <a:gd name="connsiteX474" fmla="*/ 6349192 w 8266922"/>
              <a:gd name="connsiteY474" fmla="*/ 3539800 h 7305087"/>
              <a:gd name="connsiteX475" fmla="*/ 6347125 w 8266922"/>
              <a:gd name="connsiteY475" fmla="*/ 3594889 h 7305087"/>
              <a:gd name="connsiteX476" fmla="*/ 6346483 w 8266922"/>
              <a:gd name="connsiteY476" fmla="*/ 3652558 h 7305087"/>
              <a:gd name="connsiteX477" fmla="*/ 6347109 w 8266922"/>
              <a:gd name="connsiteY477" fmla="*/ 3710798 h 7305087"/>
              <a:gd name="connsiteX478" fmla="*/ 6349131 w 8266922"/>
              <a:gd name="connsiteY478" fmla="*/ 3766425 h 7305087"/>
              <a:gd name="connsiteX479" fmla="*/ 6352768 w 8266922"/>
              <a:gd name="connsiteY479" fmla="*/ 3819320 h 7305087"/>
              <a:gd name="connsiteX480" fmla="*/ 6358237 w 8266922"/>
              <a:gd name="connsiteY480" fmla="*/ 3869364 h 7305087"/>
              <a:gd name="connsiteX481" fmla="*/ 6365758 w 8266922"/>
              <a:gd name="connsiteY481" fmla="*/ 3916441 h 7305087"/>
              <a:gd name="connsiteX482" fmla="*/ 6375547 w 8266922"/>
              <a:gd name="connsiteY482" fmla="*/ 3960431 h 7305087"/>
              <a:gd name="connsiteX483" fmla="*/ 6387824 w 8266922"/>
              <a:gd name="connsiteY483" fmla="*/ 4001216 h 7305087"/>
              <a:gd name="connsiteX484" fmla="*/ 6402806 w 8266922"/>
              <a:gd name="connsiteY484" fmla="*/ 4038677 h 7305087"/>
              <a:gd name="connsiteX485" fmla="*/ 6420712 w 8266922"/>
              <a:gd name="connsiteY485" fmla="*/ 4072698 h 7305087"/>
              <a:gd name="connsiteX486" fmla="*/ 6466166 w 8266922"/>
              <a:gd name="connsiteY486" fmla="*/ 4129942 h 7305087"/>
              <a:gd name="connsiteX487" fmla="*/ 6525932 w 8266922"/>
              <a:gd name="connsiteY487" fmla="*/ 4172002 h 7305087"/>
              <a:gd name="connsiteX488" fmla="*/ 6561727 w 8266922"/>
              <a:gd name="connsiteY488" fmla="*/ 4187042 h 7305087"/>
              <a:gd name="connsiteX489" fmla="*/ 6601755 w 8266922"/>
              <a:gd name="connsiteY489" fmla="*/ 4197931 h 7305087"/>
              <a:gd name="connsiteX490" fmla="*/ 6646233 w 8266922"/>
              <a:gd name="connsiteY490" fmla="*/ 4204552 h 7305087"/>
              <a:gd name="connsiteX491" fmla="*/ 6695380 w 8266922"/>
              <a:gd name="connsiteY491" fmla="*/ 4206785 h 7305087"/>
              <a:gd name="connsiteX492" fmla="*/ 6695380 w 8266922"/>
              <a:gd name="connsiteY492" fmla="*/ 4303607 h 7305087"/>
              <a:gd name="connsiteX493" fmla="*/ 6641857 w 8266922"/>
              <a:gd name="connsiteY493" fmla="*/ 4301718 h 7305087"/>
              <a:gd name="connsiteX494" fmla="*/ 6592377 w 8266922"/>
              <a:gd name="connsiteY494" fmla="*/ 4296105 h 7305087"/>
              <a:gd name="connsiteX495" fmla="*/ 6546797 w 8266922"/>
              <a:gd name="connsiteY495" fmla="*/ 4286851 h 7305087"/>
              <a:gd name="connsiteX496" fmla="*/ 6504979 w 8266922"/>
              <a:gd name="connsiteY496" fmla="*/ 4274039 h 7305087"/>
              <a:gd name="connsiteX497" fmla="*/ 6466782 w 8266922"/>
              <a:gd name="connsiteY497" fmla="*/ 4257752 h 7305087"/>
              <a:gd name="connsiteX498" fmla="*/ 6432065 w 8266922"/>
              <a:gd name="connsiteY498" fmla="*/ 4238071 h 7305087"/>
              <a:gd name="connsiteX499" fmla="*/ 6400688 w 8266922"/>
              <a:gd name="connsiteY499" fmla="*/ 4215081 h 7305087"/>
              <a:gd name="connsiteX500" fmla="*/ 6372512 w 8266922"/>
              <a:gd name="connsiteY500" fmla="*/ 4188862 h 7305087"/>
              <a:gd name="connsiteX501" fmla="*/ 6347396 w 8266922"/>
              <a:gd name="connsiteY501" fmla="*/ 4159499 h 7305087"/>
              <a:gd name="connsiteX502" fmla="*/ 6325199 w 8266922"/>
              <a:gd name="connsiteY502" fmla="*/ 4127073 h 7305087"/>
              <a:gd name="connsiteX503" fmla="*/ 6305782 w 8266922"/>
              <a:gd name="connsiteY503" fmla="*/ 4091667 h 7305087"/>
              <a:gd name="connsiteX504" fmla="*/ 6289004 w 8266922"/>
              <a:gd name="connsiteY504" fmla="*/ 4053364 h 7305087"/>
              <a:gd name="connsiteX505" fmla="*/ 6274725 w 8266922"/>
              <a:gd name="connsiteY505" fmla="*/ 4012246 h 7305087"/>
              <a:gd name="connsiteX506" fmla="*/ 6262805 w 8266922"/>
              <a:gd name="connsiteY506" fmla="*/ 3968397 h 7305087"/>
              <a:gd name="connsiteX507" fmla="*/ 6253104 w 8266922"/>
              <a:gd name="connsiteY507" fmla="*/ 3921898 h 7305087"/>
              <a:gd name="connsiteX508" fmla="*/ 6245481 w 8266922"/>
              <a:gd name="connsiteY508" fmla="*/ 3872833 h 7305087"/>
              <a:gd name="connsiteX509" fmla="*/ 6239796 w 8266922"/>
              <a:gd name="connsiteY509" fmla="*/ 3821283 h 7305087"/>
              <a:gd name="connsiteX510" fmla="*/ 6235909 w 8266922"/>
              <a:gd name="connsiteY510" fmla="*/ 3767333 h 7305087"/>
              <a:gd name="connsiteX511" fmla="*/ 6233679 w 8266922"/>
              <a:gd name="connsiteY511" fmla="*/ 3711063 h 7305087"/>
              <a:gd name="connsiteX512" fmla="*/ 6232968 w 8266922"/>
              <a:gd name="connsiteY512" fmla="*/ 3652558 h 7305087"/>
              <a:gd name="connsiteX513" fmla="*/ 6233703 w 8266922"/>
              <a:gd name="connsiteY513" fmla="*/ 3594302 h 7305087"/>
              <a:gd name="connsiteX514" fmla="*/ 6235999 w 8266922"/>
              <a:gd name="connsiteY514" fmla="*/ 3538282 h 7305087"/>
              <a:gd name="connsiteX515" fmla="*/ 6239988 w 8266922"/>
              <a:gd name="connsiteY515" fmla="*/ 3484578 h 7305087"/>
              <a:gd name="connsiteX516" fmla="*/ 6245801 w 8266922"/>
              <a:gd name="connsiteY516" fmla="*/ 3433271 h 7305087"/>
              <a:gd name="connsiteX517" fmla="*/ 6253574 w 8266922"/>
              <a:gd name="connsiteY517" fmla="*/ 3384443 h 7305087"/>
              <a:gd name="connsiteX518" fmla="*/ 6263437 w 8266922"/>
              <a:gd name="connsiteY518" fmla="*/ 3338176 h 7305087"/>
              <a:gd name="connsiteX519" fmla="*/ 6275523 w 8266922"/>
              <a:gd name="connsiteY519" fmla="*/ 3294551 h 7305087"/>
              <a:gd name="connsiteX520" fmla="*/ 6289966 w 8266922"/>
              <a:gd name="connsiteY520" fmla="*/ 3253648 h 7305087"/>
              <a:gd name="connsiteX521" fmla="*/ 6306898 w 8266922"/>
              <a:gd name="connsiteY521" fmla="*/ 3215550 h 7305087"/>
              <a:gd name="connsiteX522" fmla="*/ 6326451 w 8266922"/>
              <a:gd name="connsiteY522" fmla="*/ 3180338 h 7305087"/>
              <a:gd name="connsiteX523" fmla="*/ 6348759 w 8266922"/>
              <a:gd name="connsiteY523" fmla="*/ 3148093 h 7305087"/>
              <a:gd name="connsiteX524" fmla="*/ 6373955 w 8266922"/>
              <a:gd name="connsiteY524" fmla="*/ 3118897 h 7305087"/>
              <a:gd name="connsiteX525" fmla="*/ 6402170 w 8266922"/>
              <a:gd name="connsiteY525" fmla="*/ 3092831 h 7305087"/>
              <a:gd name="connsiteX526" fmla="*/ 6433537 w 8266922"/>
              <a:gd name="connsiteY526" fmla="*/ 3069977 h 7305087"/>
              <a:gd name="connsiteX527" fmla="*/ 6468190 w 8266922"/>
              <a:gd name="connsiteY527" fmla="*/ 3050415 h 7305087"/>
              <a:gd name="connsiteX528" fmla="*/ 6506261 w 8266922"/>
              <a:gd name="connsiteY528" fmla="*/ 3034227 h 7305087"/>
              <a:gd name="connsiteX529" fmla="*/ 6547883 w 8266922"/>
              <a:gd name="connsiteY529" fmla="*/ 3021495 h 7305087"/>
              <a:gd name="connsiteX530" fmla="*/ 6593188 w 8266922"/>
              <a:gd name="connsiteY530" fmla="*/ 3012300 h 7305087"/>
              <a:gd name="connsiteX531" fmla="*/ 6642309 w 8266922"/>
              <a:gd name="connsiteY531" fmla="*/ 3006723 h 7305087"/>
              <a:gd name="connsiteX532" fmla="*/ 5578527 w 8266922"/>
              <a:gd name="connsiteY532" fmla="*/ 3004847 h 7305087"/>
              <a:gd name="connsiteX533" fmla="*/ 5631597 w 8266922"/>
              <a:gd name="connsiteY533" fmla="*/ 3006723 h 7305087"/>
              <a:gd name="connsiteX534" fmla="*/ 5680718 w 8266922"/>
              <a:gd name="connsiteY534" fmla="*/ 3012300 h 7305087"/>
              <a:gd name="connsiteX535" fmla="*/ 5726023 w 8266922"/>
              <a:gd name="connsiteY535" fmla="*/ 3021495 h 7305087"/>
              <a:gd name="connsiteX536" fmla="*/ 5767645 w 8266922"/>
              <a:gd name="connsiteY536" fmla="*/ 3034227 h 7305087"/>
              <a:gd name="connsiteX537" fmla="*/ 5805716 w 8266922"/>
              <a:gd name="connsiteY537" fmla="*/ 3050415 h 7305087"/>
              <a:gd name="connsiteX538" fmla="*/ 5840369 w 8266922"/>
              <a:gd name="connsiteY538" fmla="*/ 3069977 h 7305087"/>
              <a:gd name="connsiteX539" fmla="*/ 5871736 w 8266922"/>
              <a:gd name="connsiteY539" fmla="*/ 3092831 h 7305087"/>
              <a:gd name="connsiteX540" fmla="*/ 5899951 w 8266922"/>
              <a:gd name="connsiteY540" fmla="*/ 3118897 h 7305087"/>
              <a:gd name="connsiteX541" fmla="*/ 5925147 w 8266922"/>
              <a:gd name="connsiteY541" fmla="*/ 3148093 h 7305087"/>
              <a:gd name="connsiteX542" fmla="*/ 5947455 w 8266922"/>
              <a:gd name="connsiteY542" fmla="*/ 3180338 h 7305087"/>
              <a:gd name="connsiteX543" fmla="*/ 5967008 w 8266922"/>
              <a:gd name="connsiteY543" fmla="*/ 3215550 h 7305087"/>
              <a:gd name="connsiteX544" fmla="*/ 5983940 w 8266922"/>
              <a:gd name="connsiteY544" fmla="*/ 3253648 h 7305087"/>
              <a:gd name="connsiteX545" fmla="*/ 5998383 w 8266922"/>
              <a:gd name="connsiteY545" fmla="*/ 3294551 h 7305087"/>
              <a:gd name="connsiteX546" fmla="*/ 6010470 w 8266922"/>
              <a:gd name="connsiteY546" fmla="*/ 3338176 h 7305087"/>
              <a:gd name="connsiteX547" fmla="*/ 6020333 w 8266922"/>
              <a:gd name="connsiteY547" fmla="*/ 3384443 h 7305087"/>
              <a:gd name="connsiteX548" fmla="*/ 6028105 w 8266922"/>
              <a:gd name="connsiteY548" fmla="*/ 3433271 h 7305087"/>
              <a:gd name="connsiteX549" fmla="*/ 6033919 w 8266922"/>
              <a:gd name="connsiteY549" fmla="*/ 3484578 h 7305087"/>
              <a:gd name="connsiteX550" fmla="*/ 6037907 w 8266922"/>
              <a:gd name="connsiteY550" fmla="*/ 3538282 h 7305087"/>
              <a:gd name="connsiteX551" fmla="*/ 6040203 w 8266922"/>
              <a:gd name="connsiteY551" fmla="*/ 3594302 h 7305087"/>
              <a:gd name="connsiteX552" fmla="*/ 6040939 w 8266922"/>
              <a:gd name="connsiteY552" fmla="*/ 3652558 h 7305087"/>
              <a:gd name="connsiteX553" fmla="*/ 6040239 w 8266922"/>
              <a:gd name="connsiteY553" fmla="*/ 3711063 h 7305087"/>
              <a:gd name="connsiteX554" fmla="*/ 6038042 w 8266922"/>
              <a:gd name="connsiteY554" fmla="*/ 3767333 h 7305087"/>
              <a:gd name="connsiteX555" fmla="*/ 6034206 w 8266922"/>
              <a:gd name="connsiteY555" fmla="*/ 3821283 h 7305087"/>
              <a:gd name="connsiteX556" fmla="*/ 6028585 w 8266922"/>
              <a:gd name="connsiteY556" fmla="*/ 3872833 h 7305087"/>
              <a:gd name="connsiteX557" fmla="*/ 6021037 w 8266922"/>
              <a:gd name="connsiteY557" fmla="*/ 3921898 h 7305087"/>
              <a:gd name="connsiteX558" fmla="*/ 6011416 w 8266922"/>
              <a:gd name="connsiteY558" fmla="*/ 3968397 h 7305087"/>
              <a:gd name="connsiteX559" fmla="*/ 5999579 w 8266922"/>
              <a:gd name="connsiteY559" fmla="*/ 4012246 h 7305087"/>
              <a:gd name="connsiteX560" fmla="*/ 5985382 w 8266922"/>
              <a:gd name="connsiteY560" fmla="*/ 4053364 h 7305087"/>
              <a:gd name="connsiteX561" fmla="*/ 5968682 w 8266922"/>
              <a:gd name="connsiteY561" fmla="*/ 4091667 h 7305087"/>
              <a:gd name="connsiteX562" fmla="*/ 5949333 w 8266922"/>
              <a:gd name="connsiteY562" fmla="*/ 4127073 h 7305087"/>
              <a:gd name="connsiteX563" fmla="*/ 5927192 w 8266922"/>
              <a:gd name="connsiteY563" fmla="*/ 4159499 h 7305087"/>
              <a:gd name="connsiteX564" fmla="*/ 5902115 w 8266922"/>
              <a:gd name="connsiteY564" fmla="*/ 4188862 h 7305087"/>
              <a:gd name="connsiteX565" fmla="*/ 5873958 w 8266922"/>
              <a:gd name="connsiteY565" fmla="*/ 4215081 h 7305087"/>
              <a:gd name="connsiteX566" fmla="*/ 5842577 w 8266922"/>
              <a:gd name="connsiteY566" fmla="*/ 4238071 h 7305087"/>
              <a:gd name="connsiteX567" fmla="*/ 5807829 w 8266922"/>
              <a:gd name="connsiteY567" fmla="*/ 4257752 h 7305087"/>
              <a:gd name="connsiteX568" fmla="*/ 5769568 w 8266922"/>
              <a:gd name="connsiteY568" fmla="*/ 4274039 h 7305087"/>
              <a:gd name="connsiteX569" fmla="*/ 5727651 w 8266922"/>
              <a:gd name="connsiteY569" fmla="*/ 4286851 h 7305087"/>
              <a:gd name="connsiteX570" fmla="*/ 5681935 w 8266922"/>
              <a:gd name="connsiteY570" fmla="*/ 4296105 h 7305087"/>
              <a:gd name="connsiteX571" fmla="*/ 5632275 w 8266922"/>
              <a:gd name="connsiteY571" fmla="*/ 4301718 h 7305087"/>
              <a:gd name="connsiteX572" fmla="*/ 5578527 w 8266922"/>
              <a:gd name="connsiteY572" fmla="*/ 4303607 h 7305087"/>
              <a:gd name="connsiteX573" fmla="*/ 5578527 w 8266922"/>
              <a:gd name="connsiteY573" fmla="*/ 4206785 h 7305087"/>
              <a:gd name="connsiteX574" fmla="*/ 5628212 w 8266922"/>
              <a:gd name="connsiteY574" fmla="*/ 4204552 h 7305087"/>
              <a:gd name="connsiteX575" fmla="*/ 5673133 w 8266922"/>
              <a:gd name="connsiteY575" fmla="*/ 4197931 h 7305087"/>
              <a:gd name="connsiteX576" fmla="*/ 5713515 w 8266922"/>
              <a:gd name="connsiteY576" fmla="*/ 4187042 h 7305087"/>
              <a:gd name="connsiteX577" fmla="*/ 5749586 w 8266922"/>
              <a:gd name="connsiteY577" fmla="*/ 4172002 h 7305087"/>
              <a:gd name="connsiteX578" fmla="*/ 5809697 w 8266922"/>
              <a:gd name="connsiteY578" fmla="*/ 4129942 h 7305087"/>
              <a:gd name="connsiteX579" fmla="*/ 5855277 w 8266922"/>
              <a:gd name="connsiteY579" fmla="*/ 4072698 h 7305087"/>
              <a:gd name="connsiteX580" fmla="*/ 5873182 w 8266922"/>
              <a:gd name="connsiteY580" fmla="*/ 4038677 h 7305087"/>
              <a:gd name="connsiteX581" fmla="*/ 5888134 w 8266922"/>
              <a:gd name="connsiteY581" fmla="*/ 4001216 h 7305087"/>
              <a:gd name="connsiteX582" fmla="*/ 5900358 w 8266922"/>
              <a:gd name="connsiteY582" fmla="*/ 3960431 h 7305087"/>
              <a:gd name="connsiteX583" fmla="*/ 5910081 w 8266922"/>
              <a:gd name="connsiteY583" fmla="*/ 3916441 h 7305087"/>
              <a:gd name="connsiteX584" fmla="*/ 5917528 w 8266922"/>
              <a:gd name="connsiteY584" fmla="*/ 3869364 h 7305087"/>
              <a:gd name="connsiteX585" fmla="*/ 5922927 w 8266922"/>
              <a:gd name="connsiteY585" fmla="*/ 3819320 h 7305087"/>
              <a:gd name="connsiteX586" fmla="*/ 5926503 w 8266922"/>
              <a:gd name="connsiteY586" fmla="*/ 3766425 h 7305087"/>
              <a:gd name="connsiteX587" fmla="*/ 5928482 w 8266922"/>
              <a:gd name="connsiteY587" fmla="*/ 3710798 h 7305087"/>
              <a:gd name="connsiteX588" fmla="*/ 5929092 w 8266922"/>
              <a:gd name="connsiteY588" fmla="*/ 3652558 h 7305087"/>
              <a:gd name="connsiteX589" fmla="*/ 5928450 w 8266922"/>
              <a:gd name="connsiteY589" fmla="*/ 3594889 h 7305087"/>
              <a:gd name="connsiteX590" fmla="*/ 5926380 w 8266922"/>
              <a:gd name="connsiteY590" fmla="*/ 3539800 h 7305087"/>
              <a:gd name="connsiteX591" fmla="*/ 5922670 w 8266922"/>
              <a:gd name="connsiteY591" fmla="*/ 3487407 h 7305087"/>
              <a:gd name="connsiteX592" fmla="*/ 5917104 w 8266922"/>
              <a:gd name="connsiteY592" fmla="*/ 3437831 h 7305087"/>
              <a:gd name="connsiteX593" fmla="*/ 5909469 w 8266922"/>
              <a:gd name="connsiteY593" fmla="*/ 3391187 h 7305087"/>
              <a:gd name="connsiteX594" fmla="*/ 5899551 w 8266922"/>
              <a:gd name="connsiteY594" fmla="*/ 3347596 h 7305087"/>
              <a:gd name="connsiteX595" fmla="*/ 5887135 w 8266922"/>
              <a:gd name="connsiteY595" fmla="*/ 3307175 h 7305087"/>
              <a:gd name="connsiteX596" fmla="*/ 5872008 w 8266922"/>
              <a:gd name="connsiteY596" fmla="*/ 3270043 h 7305087"/>
              <a:gd name="connsiteX597" fmla="*/ 5853955 w 8266922"/>
              <a:gd name="connsiteY597" fmla="*/ 3236317 h 7305087"/>
              <a:gd name="connsiteX598" fmla="*/ 5808217 w 8266922"/>
              <a:gd name="connsiteY598" fmla="*/ 3179558 h 7305087"/>
              <a:gd name="connsiteX599" fmla="*/ 5748208 w 8266922"/>
              <a:gd name="connsiteY599" fmla="*/ 3137845 h 7305087"/>
              <a:gd name="connsiteX600" fmla="*/ 5712316 w 8266922"/>
              <a:gd name="connsiteY600" fmla="*/ 3122926 h 7305087"/>
              <a:gd name="connsiteX601" fmla="*/ 5672215 w 8266922"/>
              <a:gd name="connsiteY601" fmla="*/ 3112123 h 7305087"/>
              <a:gd name="connsiteX602" fmla="*/ 5627690 w 8266922"/>
              <a:gd name="connsiteY602" fmla="*/ 3105555 h 7305087"/>
              <a:gd name="connsiteX603" fmla="*/ 5578527 w 8266922"/>
              <a:gd name="connsiteY603" fmla="*/ 3103339 h 7305087"/>
              <a:gd name="connsiteX604" fmla="*/ 5061625 w 8266922"/>
              <a:gd name="connsiteY604" fmla="*/ 3004847 h 7305087"/>
              <a:gd name="connsiteX605" fmla="*/ 5061625 w 8266922"/>
              <a:gd name="connsiteY605" fmla="*/ 3103339 h 7305087"/>
              <a:gd name="connsiteX606" fmla="*/ 5012739 w 8266922"/>
              <a:gd name="connsiteY606" fmla="*/ 3105555 h 7305087"/>
              <a:gd name="connsiteX607" fmla="*/ 4968459 w 8266922"/>
              <a:gd name="connsiteY607" fmla="*/ 3112123 h 7305087"/>
              <a:gd name="connsiteX608" fmla="*/ 4928572 w 8266922"/>
              <a:gd name="connsiteY608" fmla="*/ 3122926 h 7305087"/>
              <a:gd name="connsiteX609" fmla="*/ 4892867 w 8266922"/>
              <a:gd name="connsiteY609" fmla="*/ 3137845 h 7305087"/>
              <a:gd name="connsiteX610" fmla="*/ 4833152 w 8266922"/>
              <a:gd name="connsiteY610" fmla="*/ 3179558 h 7305087"/>
              <a:gd name="connsiteX611" fmla="*/ 4787618 w 8266922"/>
              <a:gd name="connsiteY611" fmla="*/ 3236317 h 7305087"/>
              <a:gd name="connsiteX612" fmla="*/ 4769639 w 8266922"/>
              <a:gd name="connsiteY612" fmla="*/ 3270043 h 7305087"/>
              <a:gd name="connsiteX613" fmla="*/ 4754569 w 8266922"/>
              <a:gd name="connsiteY613" fmla="*/ 3307175 h 7305087"/>
              <a:gd name="connsiteX614" fmla="*/ 4742197 w 8266922"/>
              <a:gd name="connsiteY614" fmla="*/ 3347596 h 7305087"/>
              <a:gd name="connsiteX615" fmla="*/ 4732309 w 8266922"/>
              <a:gd name="connsiteY615" fmla="*/ 3391187 h 7305087"/>
              <a:gd name="connsiteX616" fmla="*/ 4724695 w 8266922"/>
              <a:gd name="connsiteY616" fmla="*/ 3437831 h 7305087"/>
              <a:gd name="connsiteX617" fmla="*/ 4719142 w 8266922"/>
              <a:gd name="connsiteY617" fmla="*/ 3487407 h 7305087"/>
              <a:gd name="connsiteX618" fmla="*/ 4715437 w 8266922"/>
              <a:gd name="connsiteY618" fmla="*/ 3539800 h 7305087"/>
              <a:gd name="connsiteX619" fmla="*/ 4713370 w 8266922"/>
              <a:gd name="connsiteY619" fmla="*/ 3594889 h 7305087"/>
              <a:gd name="connsiteX620" fmla="*/ 4712728 w 8266922"/>
              <a:gd name="connsiteY620" fmla="*/ 3652558 h 7305087"/>
              <a:gd name="connsiteX621" fmla="*/ 4713354 w 8266922"/>
              <a:gd name="connsiteY621" fmla="*/ 3710798 h 7305087"/>
              <a:gd name="connsiteX622" fmla="*/ 4715376 w 8266922"/>
              <a:gd name="connsiteY622" fmla="*/ 3766425 h 7305087"/>
              <a:gd name="connsiteX623" fmla="*/ 4719014 w 8266922"/>
              <a:gd name="connsiteY623" fmla="*/ 3819320 h 7305087"/>
              <a:gd name="connsiteX624" fmla="*/ 4724483 w 8266922"/>
              <a:gd name="connsiteY624" fmla="*/ 3869364 h 7305087"/>
              <a:gd name="connsiteX625" fmla="*/ 4732004 w 8266922"/>
              <a:gd name="connsiteY625" fmla="*/ 3916441 h 7305087"/>
              <a:gd name="connsiteX626" fmla="*/ 4741793 w 8266922"/>
              <a:gd name="connsiteY626" fmla="*/ 3960431 h 7305087"/>
              <a:gd name="connsiteX627" fmla="*/ 4754070 w 8266922"/>
              <a:gd name="connsiteY627" fmla="*/ 4001216 h 7305087"/>
              <a:gd name="connsiteX628" fmla="*/ 4769052 w 8266922"/>
              <a:gd name="connsiteY628" fmla="*/ 4038677 h 7305087"/>
              <a:gd name="connsiteX629" fmla="*/ 4786958 w 8266922"/>
              <a:gd name="connsiteY629" fmla="*/ 4072698 h 7305087"/>
              <a:gd name="connsiteX630" fmla="*/ 4832412 w 8266922"/>
              <a:gd name="connsiteY630" fmla="*/ 4129942 h 7305087"/>
              <a:gd name="connsiteX631" fmla="*/ 4892178 w 8266922"/>
              <a:gd name="connsiteY631" fmla="*/ 4172002 h 7305087"/>
              <a:gd name="connsiteX632" fmla="*/ 4927973 w 8266922"/>
              <a:gd name="connsiteY632" fmla="*/ 4187042 h 7305087"/>
              <a:gd name="connsiteX633" fmla="*/ 4968000 w 8266922"/>
              <a:gd name="connsiteY633" fmla="*/ 4197931 h 7305087"/>
              <a:gd name="connsiteX634" fmla="*/ 5012478 w 8266922"/>
              <a:gd name="connsiteY634" fmla="*/ 4204552 h 7305087"/>
              <a:gd name="connsiteX635" fmla="*/ 5061625 w 8266922"/>
              <a:gd name="connsiteY635" fmla="*/ 4206785 h 7305087"/>
              <a:gd name="connsiteX636" fmla="*/ 5061625 w 8266922"/>
              <a:gd name="connsiteY636" fmla="*/ 4303607 h 7305087"/>
              <a:gd name="connsiteX637" fmla="*/ 5008102 w 8266922"/>
              <a:gd name="connsiteY637" fmla="*/ 4301718 h 7305087"/>
              <a:gd name="connsiteX638" fmla="*/ 4958622 w 8266922"/>
              <a:gd name="connsiteY638" fmla="*/ 4296105 h 7305087"/>
              <a:gd name="connsiteX639" fmla="*/ 4913043 w 8266922"/>
              <a:gd name="connsiteY639" fmla="*/ 4286851 h 7305087"/>
              <a:gd name="connsiteX640" fmla="*/ 4871225 w 8266922"/>
              <a:gd name="connsiteY640" fmla="*/ 4274039 h 7305087"/>
              <a:gd name="connsiteX641" fmla="*/ 4833027 w 8266922"/>
              <a:gd name="connsiteY641" fmla="*/ 4257752 h 7305087"/>
              <a:gd name="connsiteX642" fmla="*/ 4798310 w 8266922"/>
              <a:gd name="connsiteY642" fmla="*/ 4238071 h 7305087"/>
              <a:gd name="connsiteX643" fmla="*/ 4766934 w 8266922"/>
              <a:gd name="connsiteY643" fmla="*/ 4215081 h 7305087"/>
              <a:gd name="connsiteX644" fmla="*/ 4738758 w 8266922"/>
              <a:gd name="connsiteY644" fmla="*/ 4188862 h 7305087"/>
              <a:gd name="connsiteX645" fmla="*/ 4713641 w 8266922"/>
              <a:gd name="connsiteY645" fmla="*/ 4159499 h 7305087"/>
              <a:gd name="connsiteX646" fmla="*/ 4691444 w 8266922"/>
              <a:gd name="connsiteY646" fmla="*/ 4127073 h 7305087"/>
              <a:gd name="connsiteX647" fmla="*/ 4672027 w 8266922"/>
              <a:gd name="connsiteY647" fmla="*/ 4091667 h 7305087"/>
              <a:gd name="connsiteX648" fmla="*/ 4655249 w 8266922"/>
              <a:gd name="connsiteY648" fmla="*/ 4053364 h 7305087"/>
              <a:gd name="connsiteX649" fmla="*/ 4640970 w 8266922"/>
              <a:gd name="connsiteY649" fmla="*/ 4012246 h 7305087"/>
              <a:gd name="connsiteX650" fmla="*/ 4629050 w 8266922"/>
              <a:gd name="connsiteY650" fmla="*/ 3968397 h 7305087"/>
              <a:gd name="connsiteX651" fmla="*/ 4619349 w 8266922"/>
              <a:gd name="connsiteY651" fmla="*/ 3921898 h 7305087"/>
              <a:gd name="connsiteX652" fmla="*/ 4611726 w 8266922"/>
              <a:gd name="connsiteY652" fmla="*/ 3872833 h 7305087"/>
              <a:gd name="connsiteX653" fmla="*/ 4606041 w 8266922"/>
              <a:gd name="connsiteY653" fmla="*/ 3821283 h 7305087"/>
              <a:gd name="connsiteX654" fmla="*/ 4602154 w 8266922"/>
              <a:gd name="connsiteY654" fmla="*/ 3767333 h 7305087"/>
              <a:gd name="connsiteX655" fmla="*/ 4599924 w 8266922"/>
              <a:gd name="connsiteY655" fmla="*/ 3711063 h 7305087"/>
              <a:gd name="connsiteX656" fmla="*/ 4599213 w 8266922"/>
              <a:gd name="connsiteY656" fmla="*/ 3652558 h 7305087"/>
              <a:gd name="connsiteX657" fmla="*/ 4599948 w 8266922"/>
              <a:gd name="connsiteY657" fmla="*/ 3594302 h 7305087"/>
              <a:gd name="connsiteX658" fmla="*/ 4602244 w 8266922"/>
              <a:gd name="connsiteY658" fmla="*/ 3538282 h 7305087"/>
              <a:gd name="connsiteX659" fmla="*/ 4606233 w 8266922"/>
              <a:gd name="connsiteY659" fmla="*/ 3484578 h 7305087"/>
              <a:gd name="connsiteX660" fmla="*/ 4612046 w 8266922"/>
              <a:gd name="connsiteY660" fmla="*/ 3433271 h 7305087"/>
              <a:gd name="connsiteX661" fmla="*/ 4619819 w 8266922"/>
              <a:gd name="connsiteY661" fmla="*/ 3384443 h 7305087"/>
              <a:gd name="connsiteX662" fmla="*/ 4629682 w 8266922"/>
              <a:gd name="connsiteY662" fmla="*/ 3338176 h 7305087"/>
              <a:gd name="connsiteX663" fmla="*/ 4641768 w 8266922"/>
              <a:gd name="connsiteY663" fmla="*/ 3294551 h 7305087"/>
              <a:gd name="connsiteX664" fmla="*/ 4656211 w 8266922"/>
              <a:gd name="connsiteY664" fmla="*/ 3253648 h 7305087"/>
              <a:gd name="connsiteX665" fmla="*/ 4673143 w 8266922"/>
              <a:gd name="connsiteY665" fmla="*/ 3215550 h 7305087"/>
              <a:gd name="connsiteX666" fmla="*/ 4692696 w 8266922"/>
              <a:gd name="connsiteY666" fmla="*/ 3180338 h 7305087"/>
              <a:gd name="connsiteX667" fmla="*/ 4715004 w 8266922"/>
              <a:gd name="connsiteY667" fmla="*/ 3148093 h 7305087"/>
              <a:gd name="connsiteX668" fmla="*/ 4740200 w 8266922"/>
              <a:gd name="connsiteY668" fmla="*/ 3118897 h 7305087"/>
              <a:gd name="connsiteX669" fmla="*/ 4768415 w 8266922"/>
              <a:gd name="connsiteY669" fmla="*/ 3092831 h 7305087"/>
              <a:gd name="connsiteX670" fmla="*/ 4799783 w 8266922"/>
              <a:gd name="connsiteY670" fmla="*/ 3069977 h 7305087"/>
              <a:gd name="connsiteX671" fmla="*/ 4834436 w 8266922"/>
              <a:gd name="connsiteY671" fmla="*/ 3050415 h 7305087"/>
              <a:gd name="connsiteX672" fmla="*/ 4872507 w 8266922"/>
              <a:gd name="connsiteY672" fmla="*/ 3034227 h 7305087"/>
              <a:gd name="connsiteX673" fmla="*/ 4914128 w 8266922"/>
              <a:gd name="connsiteY673" fmla="*/ 3021495 h 7305087"/>
              <a:gd name="connsiteX674" fmla="*/ 4959433 w 8266922"/>
              <a:gd name="connsiteY674" fmla="*/ 3012300 h 7305087"/>
              <a:gd name="connsiteX675" fmla="*/ 5008555 w 8266922"/>
              <a:gd name="connsiteY675" fmla="*/ 3006723 h 7305087"/>
              <a:gd name="connsiteX676" fmla="*/ 887436 w 8266922"/>
              <a:gd name="connsiteY676" fmla="*/ 3004847 h 7305087"/>
              <a:gd name="connsiteX677" fmla="*/ 887436 w 8266922"/>
              <a:gd name="connsiteY677" fmla="*/ 3103339 h 7305087"/>
              <a:gd name="connsiteX678" fmla="*/ 838550 w 8266922"/>
              <a:gd name="connsiteY678" fmla="*/ 3105555 h 7305087"/>
              <a:gd name="connsiteX679" fmla="*/ 794269 w 8266922"/>
              <a:gd name="connsiteY679" fmla="*/ 3112123 h 7305087"/>
              <a:gd name="connsiteX680" fmla="*/ 754383 w 8266922"/>
              <a:gd name="connsiteY680" fmla="*/ 3122926 h 7305087"/>
              <a:gd name="connsiteX681" fmla="*/ 718677 w 8266922"/>
              <a:gd name="connsiteY681" fmla="*/ 3137845 h 7305087"/>
              <a:gd name="connsiteX682" fmla="*/ 658962 w 8266922"/>
              <a:gd name="connsiteY682" fmla="*/ 3179558 h 7305087"/>
              <a:gd name="connsiteX683" fmla="*/ 613427 w 8266922"/>
              <a:gd name="connsiteY683" fmla="*/ 3236317 h 7305087"/>
              <a:gd name="connsiteX684" fmla="*/ 595448 w 8266922"/>
              <a:gd name="connsiteY684" fmla="*/ 3270043 h 7305087"/>
              <a:gd name="connsiteX685" fmla="*/ 580378 w 8266922"/>
              <a:gd name="connsiteY685" fmla="*/ 3307175 h 7305087"/>
              <a:gd name="connsiteX686" fmla="*/ 568006 w 8266922"/>
              <a:gd name="connsiteY686" fmla="*/ 3347596 h 7305087"/>
              <a:gd name="connsiteX687" fmla="*/ 558118 w 8266922"/>
              <a:gd name="connsiteY687" fmla="*/ 3391187 h 7305087"/>
              <a:gd name="connsiteX688" fmla="*/ 550504 w 8266922"/>
              <a:gd name="connsiteY688" fmla="*/ 3437831 h 7305087"/>
              <a:gd name="connsiteX689" fmla="*/ 544951 w 8266922"/>
              <a:gd name="connsiteY689" fmla="*/ 3487407 h 7305087"/>
              <a:gd name="connsiteX690" fmla="*/ 541247 w 8266922"/>
              <a:gd name="connsiteY690" fmla="*/ 3539800 h 7305087"/>
              <a:gd name="connsiteX691" fmla="*/ 539180 w 8266922"/>
              <a:gd name="connsiteY691" fmla="*/ 3594889 h 7305087"/>
              <a:gd name="connsiteX692" fmla="*/ 538538 w 8266922"/>
              <a:gd name="connsiteY692" fmla="*/ 3652558 h 7305087"/>
              <a:gd name="connsiteX693" fmla="*/ 539164 w 8266922"/>
              <a:gd name="connsiteY693" fmla="*/ 3710798 h 7305087"/>
              <a:gd name="connsiteX694" fmla="*/ 541186 w 8266922"/>
              <a:gd name="connsiteY694" fmla="*/ 3766425 h 7305087"/>
              <a:gd name="connsiteX695" fmla="*/ 544823 w 8266922"/>
              <a:gd name="connsiteY695" fmla="*/ 3819320 h 7305087"/>
              <a:gd name="connsiteX696" fmla="*/ 550292 w 8266922"/>
              <a:gd name="connsiteY696" fmla="*/ 3869364 h 7305087"/>
              <a:gd name="connsiteX697" fmla="*/ 557813 w 8266922"/>
              <a:gd name="connsiteY697" fmla="*/ 3916441 h 7305087"/>
              <a:gd name="connsiteX698" fmla="*/ 567602 w 8266922"/>
              <a:gd name="connsiteY698" fmla="*/ 3960431 h 7305087"/>
              <a:gd name="connsiteX699" fmla="*/ 579880 w 8266922"/>
              <a:gd name="connsiteY699" fmla="*/ 4001216 h 7305087"/>
              <a:gd name="connsiteX700" fmla="*/ 594862 w 8266922"/>
              <a:gd name="connsiteY700" fmla="*/ 4038677 h 7305087"/>
              <a:gd name="connsiteX701" fmla="*/ 612768 w 8266922"/>
              <a:gd name="connsiteY701" fmla="*/ 4072698 h 7305087"/>
              <a:gd name="connsiteX702" fmla="*/ 658222 w 8266922"/>
              <a:gd name="connsiteY702" fmla="*/ 4129942 h 7305087"/>
              <a:gd name="connsiteX703" fmla="*/ 717988 w 8266922"/>
              <a:gd name="connsiteY703" fmla="*/ 4172002 h 7305087"/>
              <a:gd name="connsiteX704" fmla="*/ 753783 w 8266922"/>
              <a:gd name="connsiteY704" fmla="*/ 4187042 h 7305087"/>
              <a:gd name="connsiteX705" fmla="*/ 793811 w 8266922"/>
              <a:gd name="connsiteY705" fmla="*/ 4197931 h 7305087"/>
              <a:gd name="connsiteX706" fmla="*/ 838289 w 8266922"/>
              <a:gd name="connsiteY706" fmla="*/ 4204552 h 7305087"/>
              <a:gd name="connsiteX707" fmla="*/ 887436 w 8266922"/>
              <a:gd name="connsiteY707" fmla="*/ 4206785 h 7305087"/>
              <a:gd name="connsiteX708" fmla="*/ 887436 w 8266922"/>
              <a:gd name="connsiteY708" fmla="*/ 4303607 h 7305087"/>
              <a:gd name="connsiteX709" fmla="*/ 833914 w 8266922"/>
              <a:gd name="connsiteY709" fmla="*/ 4301718 h 7305087"/>
              <a:gd name="connsiteX710" fmla="*/ 784433 w 8266922"/>
              <a:gd name="connsiteY710" fmla="*/ 4296105 h 7305087"/>
              <a:gd name="connsiteX711" fmla="*/ 738854 w 8266922"/>
              <a:gd name="connsiteY711" fmla="*/ 4286851 h 7305087"/>
              <a:gd name="connsiteX712" fmla="*/ 697035 w 8266922"/>
              <a:gd name="connsiteY712" fmla="*/ 4274039 h 7305087"/>
              <a:gd name="connsiteX713" fmla="*/ 658838 w 8266922"/>
              <a:gd name="connsiteY713" fmla="*/ 4257752 h 7305087"/>
              <a:gd name="connsiteX714" fmla="*/ 624121 w 8266922"/>
              <a:gd name="connsiteY714" fmla="*/ 4238071 h 7305087"/>
              <a:gd name="connsiteX715" fmla="*/ 592745 w 8266922"/>
              <a:gd name="connsiteY715" fmla="*/ 4215081 h 7305087"/>
              <a:gd name="connsiteX716" fmla="*/ 564568 w 8266922"/>
              <a:gd name="connsiteY716" fmla="*/ 4188862 h 7305087"/>
              <a:gd name="connsiteX717" fmla="*/ 539451 w 8266922"/>
              <a:gd name="connsiteY717" fmla="*/ 4159499 h 7305087"/>
              <a:gd name="connsiteX718" fmla="*/ 517255 w 8266922"/>
              <a:gd name="connsiteY718" fmla="*/ 4127073 h 7305087"/>
              <a:gd name="connsiteX719" fmla="*/ 497837 w 8266922"/>
              <a:gd name="connsiteY719" fmla="*/ 4091667 h 7305087"/>
              <a:gd name="connsiteX720" fmla="*/ 481060 w 8266922"/>
              <a:gd name="connsiteY720" fmla="*/ 4053364 h 7305087"/>
              <a:gd name="connsiteX721" fmla="*/ 466781 w 8266922"/>
              <a:gd name="connsiteY721" fmla="*/ 4012246 h 7305087"/>
              <a:gd name="connsiteX722" fmla="*/ 454861 w 8266922"/>
              <a:gd name="connsiteY722" fmla="*/ 3968397 h 7305087"/>
              <a:gd name="connsiteX723" fmla="*/ 445159 w 8266922"/>
              <a:gd name="connsiteY723" fmla="*/ 3921898 h 7305087"/>
              <a:gd name="connsiteX724" fmla="*/ 437536 w 8266922"/>
              <a:gd name="connsiteY724" fmla="*/ 3872833 h 7305087"/>
              <a:gd name="connsiteX725" fmla="*/ 431851 w 8266922"/>
              <a:gd name="connsiteY725" fmla="*/ 3821283 h 7305087"/>
              <a:gd name="connsiteX726" fmla="*/ 427964 w 8266922"/>
              <a:gd name="connsiteY726" fmla="*/ 3767333 h 7305087"/>
              <a:gd name="connsiteX727" fmla="*/ 425734 w 8266922"/>
              <a:gd name="connsiteY727" fmla="*/ 3711063 h 7305087"/>
              <a:gd name="connsiteX728" fmla="*/ 425023 w 8266922"/>
              <a:gd name="connsiteY728" fmla="*/ 3652558 h 7305087"/>
              <a:gd name="connsiteX729" fmla="*/ 425758 w 8266922"/>
              <a:gd name="connsiteY729" fmla="*/ 3594302 h 7305087"/>
              <a:gd name="connsiteX730" fmla="*/ 428054 w 8266922"/>
              <a:gd name="connsiteY730" fmla="*/ 3538282 h 7305087"/>
              <a:gd name="connsiteX731" fmla="*/ 432043 w 8266922"/>
              <a:gd name="connsiteY731" fmla="*/ 3484578 h 7305087"/>
              <a:gd name="connsiteX732" fmla="*/ 437856 w 8266922"/>
              <a:gd name="connsiteY732" fmla="*/ 3433271 h 7305087"/>
              <a:gd name="connsiteX733" fmla="*/ 445629 w 8266922"/>
              <a:gd name="connsiteY733" fmla="*/ 3384443 h 7305087"/>
              <a:gd name="connsiteX734" fmla="*/ 455492 w 8266922"/>
              <a:gd name="connsiteY734" fmla="*/ 3338176 h 7305087"/>
              <a:gd name="connsiteX735" fmla="*/ 467578 w 8266922"/>
              <a:gd name="connsiteY735" fmla="*/ 3294551 h 7305087"/>
              <a:gd name="connsiteX736" fmla="*/ 482021 w 8266922"/>
              <a:gd name="connsiteY736" fmla="*/ 3253648 h 7305087"/>
              <a:gd name="connsiteX737" fmla="*/ 498953 w 8266922"/>
              <a:gd name="connsiteY737" fmla="*/ 3215550 h 7305087"/>
              <a:gd name="connsiteX738" fmla="*/ 518506 w 8266922"/>
              <a:gd name="connsiteY738" fmla="*/ 3180338 h 7305087"/>
              <a:gd name="connsiteX739" fmla="*/ 540814 w 8266922"/>
              <a:gd name="connsiteY739" fmla="*/ 3148093 h 7305087"/>
              <a:gd name="connsiteX740" fmla="*/ 566010 w 8266922"/>
              <a:gd name="connsiteY740" fmla="*/ 3118897 h 7305087"/>
              <a:gd name="connsiteX741" fmla="*/ 594226 w 8266922"/>
              <a:gd name="connsiteY741" fmla="*/ 3092831 h 7305087"/>
              <a:gd name="connsiteX742" fmla="*/ 625592 w 8266922"/>
              <a:gd name="connsiteY742" fmla="*/ 3069977 h 7305087"/>
              <a:gd name="connsiteX743" fmla="*/ 660246 w 8266922"/>
              <a:gd name="connsiteY743" fmla="*/ 3050415 h 7305087"/>
              <a:gd name="connsiteX744" fmla="*/ 698317 w 8266922"/>
              <a:gd name="connsiteY744" fmla="*/ 3034227 h 7305087"/>
              <a:gd name="connsiteX745" fmla="*/ 739939 w 8266922"/>
              <a:gd name="connsiteY745" fmla="*/ 3021495 h 7305087"/>
              <a:gd name="connsiteX746" fmla="*/ 785244 w 8266922"/>
              <a:gd name="connsiteY746" fmla="*/ 3012300 h 7305087"/>
              <a:gd name="connsiteX747" fmla="*/ 834365 w 8266922"/>
              <a:gd name="connsiteY747" fmla="*/ 3006723 h 7305087"/>
              <a:gd name="connsiteX748" fmla="*/ 7060934 w 8266922"/>
              <a:gd name="connsiteY748" fmla="*/ 2524077 h 7305087"/>
              <a:gd name="connsiteX749" fmla="*/ 7267935 w 8266922"/>
              <a:gd name="connsiteY749" fmla="*/ 2524077 h 7305087"/>
              <a:gd name="connsiteX750" fmla="*/ 7267935 w 8266922"/>
              <a:gd name="connsiteY750" fmla="*/ 2697690 h 7305087"/>
              <a:gd name="connsiteX751" fmla="*/ 7060934 w 8266922"/>
              <a:gd name="connsiteY751" fmla="*/ 2697690 h 7305087"/>
              <a:gd name="connsiteX752" fmla="*/ 2536338 w 8266922"/>
              <a:gd name="connsiteY752" fmla="*/ 2373825 h 7305087"/>
              <a:gd name="connsiteX753" fmla="*/ 3441128 w 8266922"/>
              <a:gd name="connsiteY753" fmla="*/ 2373825 h 7305087"/>
              <a:gd name="connsiteX754" fmla="*/ 3441128 w 8266922"/>
              <a:gd name="connsiteY754" fmla="*/ 2480664 h 7305087"/>
              <a:gd name="connsiteX755" fmla="*/ 2536338 w 8266922"/>
              <a:gd name="connsiteY755" fmla="*/ 2480664 h 7305087"/>
              <a:gd name="connsiteX756" fmla="*/ 1024388 w 8266922"/>
              <a:gd name="connsiteY756" fmla="*/ 2373825 h 7305087"/>
              <a:gd name="connsiteX757" fmla="*/ 1929180 w 8266922"/>
              <a:gd name="connsiteY757" fmla="*/ 2373825 h 7305087"/>
              <a:gd name="connsiteX758" fmla="*/ 1929180 w 8266922"/>
              <a:gd name="connsiteY758" fmla="*/ 2480664 h 7305087"/>
              <a:gd name="connsiteX759" fmla="*/ 1024388 w 8266922"/>
              <a:gd name="connsiteY759" fmla="*/ 2480664 h 7305087"/>
              <a:gd name="connsiteX760" fmla="*/ 2536338 w 8266922"/>
              <a:gd name="connsiteY760" fmla="*/ 2024932 h 7305087"/>
              <a:gd name="connsiteX761" fmla="*/ 3441128 w 8266922"/>
              <a:gd name="connsiteY761" fmla="*/ 2024932 h 7305087"/>
              <a:gd name="connsiteX762" fmla="*/ 3441128 w 8266922"/>
              <a:gd name="connsiteY762" fmla="*/ 2131770 h 7305087"/>
              <a:gd name="connsiteX763" fmla="*/ 2536338 w 8266922"/>
              <a:gd name="connsiteY763" fmla="*/ 2131770 h 7305087"/>
              <a:gd name="connsiteX764" fmla="*/ 1024388 w 8266922"/>
              <a:gd name="connsiteY764" fmla="*/ 2024932 h 7305087"/>
              <a:gd name="connsiteX765" fmla="*/ 1929180 w 8266922"/>
              <a:gd name="connsiteY765" fmla="*/ 2024932 h 7305087"/>
              <a:gd name="connsiteX766" fmla="*/ 1929180 w 8266922"/>
              <a:gd name="connsiteY766" fmla="*/ 2131770 h 7305087"/>
              <a:gd name="connsiteX767" fmla="*/ 1024388 w 8266922"/>
              <a:gd name="connsiteY767" fmla="*/ 2131770 h 7305087"/>
              <a:gd name="connsiteX768" fmla="*/ 6145468 w 8266922"/>
              <a:gd name="connsiteY768" fmla="*/ 1508808 h 7305087"/>
              <a:gd name="connsiteX769" fmla="*/ 6519394 w 8266922"/>
              <a:gd name="connsiteY769" fmla="*/ 1508808 h 7305087"/>
              <a:gd name="connsiteX770" fmla="*/ 6519394 w 8266922"/>
              <a:gd name="connsiteY770" fmla="*/ 1604058 h 7305087"/>
              <a:gd name="connsiteX771" fmla="*/ 6260644 w 8266922"/>
              <a:gd name="connsiteY771" fmla="*/ 1604058 h 7305087"/>
              <a:gd name="connsiteX772" fmla="*/ 6260644 w 8266922"/>
              <a:gd name="connsiteY772" fmla="*/ 2702607 h 7305087"/>
              <a:gd name="connsiteX773" fmla="*/ 6519394 w 8266922"/>
              <a:gd name="connsiteY773" fmla="*/ 2702607 h 7305087"/>
              <a:gd name="connsiteX774" fmla="*/ 6519394 w 8266922"/>
              <a:gd name="connsiteY774" fmla="*/ 2797857 h 7305087"/>
              <a:gd name="connsiteX775" fmla="*/ 6145468 w 8266922"/>
              <a:gd name="connsiteY775" fmla="*/ 2797857 h 7305087"/>
              <a:gd name="connsiteX776" fmla="*/ 6145468 w 8266922"/>
              <a:gd name="connsiteY776" fmla="*/ 2702607 h 7305087"/>
              <a:gd name="connsiteX777" fmla="*/ 6145468 w 8266922"/>
              <a:gd name="connsiteY777" fmla="*/ 1604058 h 7305087"/>
              <a:gd name="connsiteX778" fmla="*/ 7804510 w 8266922"/>
              <a:gd name="connsiteY778" fmla="*/ 1502430 h 7305087"/>
              <a:gd name="connsiteX779" fmla="*/ 7857580 w 8266922"/>
              <a:gd name="connsiteY779" fmla="*/ 1504306 h 7305087"/>
              <a:gd name="connsiteX780" fmla="*/ 7906701 w 8266922"/>
              <a:gd name="connsiteY780" fmla="*/ 1509883 h 7305087"/>
              <a:gd name="connsiteX781" fmla="*/ 7952006 w 8266922"/>
              <a:gd name="connsiteY781" fmla="*/ 1519078 h 7305087"/>
              <a:gd name="connsiteX782" fmla="*/ 7993628 w 8266922"/>
              <a:gd name="connsiteY782" fmla="*/ 1531810 h 7305087"/>
              <a:gd name="connsiteX783" fmla="*/ 8031699 w 8266922"/>
              <a:gd name="connsiteY783" fmla="*/ 1547998 h 7305087"/>
              <a:gd name="connsiteX784" fmla="*/ 8066352 w 8266922"/>
              <a:gd name="connsiteY784" fmla="*/ 1567559 h 7305087"/>
              <a:gd name="connsiteX785" fmla="*/ 8097719 w 8266922"/>
              <a:gd name="connsiteY785" fmla="*/ 1590414 h 7305087"/>
              <a:gd name="connsiteX786" fmla="*/ 8125934 w 8266922"/>
              <a:gd name="connsiteY786" fmla="*/ 1616479 h 7305087"/>
              <a:gd name="connsiteX787" fmla="*/ 8151130 w 8266922"/>
              <a:gd name="connsiteY787" fmla="*/ 1645676 h 7305087"/>
              <a:gd name="connsiteX788" fmla="*/ 8173438 w 8266922"/>
              <a:gd name="connsiteY788" fmla="*/ 1677921 h 7305087"/>
              <a:gd name="connsiteX789" fmla="*/ 8192991 w 8266922"/>
              <a:gd name="connsiteY789" fmla="*/ 1713133 h 7305087"/>
              <a:gd name="connsiteX790" fmla="*/ 8209923 w 8266922"/>
              <a:gd name="connsiteY790" fmla="*/ 1751231 h 7305087"/>
              <a:gd name="connsiteX791" fmla="*/ 8224366 w 8266922"/>
              <a:gd name="connsiteY791" fmla="*/ 1792133 h 7305087"/>
              <a:gd name="connsiteX792" fmla="*/ 8236453 w 8266922"/>
              <a:gd name="connsiteY792" fmla="*/ 1835759 h 7305087"/>
              <a:gd name="connsiteX793" fmla="*/ 8246316 w 8266922"/>
              <a:gd name="connsiteY793" fmla="*/ 1882026 h 7305087"/>
              <a:gd name="connsiteX794" fmla="*/ 8254088 w 8266922"/>
              <a:gd name="connsiteY794" fmla="*/ 1930854 h 7305087"/>
              <a:gd name="connsiteX795" fmla="*/ 8259902 w 8266922"/>
              <a:gd name="connsiteY795" fmla="*/ 1982160 h 7305087"/>
              <a:gd name="connsiteX796" fmla="*/ 8263890 w 8266922"/>
              <a:gd name="connsiteY796" fmla="*/ 2035865 h 7305087"/>
              <a:gd name="connsiteX797" fmla="*/ 8266186 w 8266922"/>
              <a:gd name="connsiteY797" fmla="*/ 2091886 h 7305087"/>
              <a:gd name="connsiteX798" fmla="*/ 8266922 w 8266922"/>
              <a:gd name="connsiteY798" fmla="*/ 2150141 h 7305087"/>
              <a:gd name="connsiteX799" fmla="*/ 8266222 w 8266922"/>
              <a:gd name="connsiteY799" fmla="*/ 2208645 h 7305087"/>
              <a:gd name="connsiteX800" fmla="*/ 8264025 w 8266922"/>
              <a:gd name="connsiteY800" fmla="*/ 2264915 h 7305087"/>
              <a:gd name="connsiteX801" fmla="*/ 8260189 w 8266922"/>
              <a:gd name="connsiteY801" fmla="*/ 2318865 h 7305087"/>
              <a:gd name="connsiteX802" fmla="*/ 8254568 w 8266922"/>
              <a:gd name="connsiteY802" fmla="*/ 2370415 h 7305087"/>
              <a:gd name="connsiteX803" fmla="*/ 8247020 w 8266922"/>
              <a:gd name="connsiteY803" fmla="*/ 2419480 h 7305087"/>
              <a:gd name="connsiteX804" fmla="*/ 8237399 w 8266922"/>
              <a:gd name="connsiteY804" fmla="*/ 2465979 h 7305087"/>
              <a:gd name="connsiteX805" fmla="*/ 8225562 w 8266922"/>
              <a:gd name="connsiteY805" fmla="*/ 2509828 h 7305087"/>
              <a:gd name="connsiteX806" fmla="*/ 8211365 w 8266922"/>
              <a:gd name="connsiteY806" fmla="*/ 2550946 h 7305087"/>
              <a:gd name="connsiteX807" fmla="*/ 8194665 w 8266922"/>
              <a:gd name="connsiteY807" fmla="*/ 2589249 h 7305087"/>
              <a:gd name="connsiteX808" fmla="*/ 8175316 w 8266922"/>
              <a:gd name="connsiteY808" fmla="*/ 2624655 h 7305087"/>
              <a:gd name="connsiteX809" fmla="*/ 8153175 w 8266922"/>
              <a:gd name="connsiteY809" fmla="*/ 2657081 h 7305087"/>
              <a:gd name="connsiteX810" fmla="*/ 8128098 w 8266922"/>
              <a:gd name="connsiteY810" fmla="*/ 2686444 h 7305087"/>
              <a:gd name="connsiteX811" fmla="*/ 8099941 w 8266922"/>
              <a:gd name="connsiteY811" fmla="*/ 2712663 h 7305087"/>
              <a:gd name="connsiteX812" fmla="*/ 8068560 w 8266922"/>
              <a:gd name="connsiteY812" fmla="*/ 2735653 h 7305087"/>
              <a:gd name="connsiteX813" fmla="*/ 8033812 w 8266922"/>
              <a:gd name="connsiteY813" fmla="*/ 2755334 h 7305087"/>
              <a:gd name="connsiteX814" fmla="*/ 7995551 w 8266922"/>
              <a:gd name="connsiteY814" fmla="*/ 2771621 h 7305087"/>
              <a:gd name="connsiteX815" fmla="*/ 7953634 w 8266922"/>
              <a:gd name="connsiteY815" fmla="*/ 2784433 h 7305087"/>
              <a:gd name="connsiteX816" fmla="*/ 7907918 w 8266922"/>
              <a:gd name="connsiteY816" fmla="*/ 2793687 h 7305087"/>
              <a:gd name="connsiteX817" fmla="*/ 7858258 w 8266922"/>
              <a:gd name="connsiteY817" fmla="*/ 2799300 h 7305087"/>
              <a:gd name="connsiteX818" fmla="*/ 7804510 w 8266922"/>
              <a:gd name="connsiteY818" fmla="*/ 2801189 h 7305087"/>
              <a:gd name="connsiteX819" fmla="*/ 7804510 w 8266922"/>
              <a:gd name="connsiteY819" fmla="*/ 2704367 h 7305087"/>
              <a:gd name="connsiteX820" fmla="*/ 7854195 w 8266922"/>
              <a:gd name="connsiteY820" fmla="*/ 2702134 h 7305087"/>
              <a:gd name="connsiteX821" fmla="*/ 7899116 w 8266922"/>
              <a:gd name="connsiteY821" fmla="*/ 2695513 h 7305087"/>
              <a:gd name="connsiteX822" fmla="*/ 7939498 w 8266922"/>
              <a:gd name="connsiteY822" fmla="*/ 2684624 h 7305087"/>
              <a:gd name="connsiteX823" fmla="*/ 7975569 w 8266922"/>
              <a:gd name="connsiteY823" fmla="*/ 2669584 h 7305087"/>
              <a:gd name="connsiteX824" fmla="*/ 8035680 w 8266922"/>
              <a:gd name="connsiteY824" fmla="*/ 2627524 h 7305087"/>
              <a:gd name="connsiteX825" fmla="*/ 8081260 w 8266922"/>
              <a:gd name="connsiteY825" fmla="*/ 2570280 h 7305087"/>
              <a:gd name="connsiteX826" fmla="*/ 8099165 w 8266922"/>
              <a:gd name="connsiteY826" fmla="*/ 2536259 h 7305087"/>
              <a:gd name="connsiteX827" fmla="*/ 8114117 w 8266922"/>
              <a:gd name="connsiteY827" fmla="*/ 2498797 h 7305087"/>
              <a:gd name="connsiteX828" fmla="*/ 8126341 w 8266922"/>
              <a:gd name="connsiteY828" fmla="*/ 2458012 h 7305087"/>
              <a:gd name="connsiteX829" fmla="*/ 8136064 w 8266922"/>
              <a:gd name="connsiteY829" fmla="*/ 2414022 h 7305087"/>
              <a:gd name="connsiteX830" fmla="*/ 8143511 w 8266922"/>
              <a:gd name="connsiteY830" fmla="*/ 2366946 h 7305087"/>
              <a:gd name="connsiteX831" fmla="*/ 8148910 w 8266922"/>
              <a:gd name="connsiteY831" fmla="*/ 2316901 h 7305087"/>
              <a:gd name="connsiteX832" fmla="*/ 8152486 w 8266922"/>
              <a:gd name="connsiteY832" fmla="*/ 2264006 h 7305087"/>
              <a:gd name="connsiteX833" fmla="*/ 8154465 w 8266922"/>
              <a:gd name="connsiteY833" fmla="*/ 2208380 h 7305087"/>
              <a:gd name="connsiteX834" fmla="*/ 8155075 w 8266922"/>
              <a:gd name="connsiteY834" fmla="*/ 2150141 h 7305087"/>
              <a:gd name="connsiteX835" fmla="*/ 8154433 w 8266922"/>
              <a:gd name="connsiteY835" fmla="*/ 2092472 h 7305087"/>
              <a:gd name="connsiteX836" fmla="*/ 8152363 w 8266922"/>
              <a:gd name="connsiteY836" fmla="*/ 2037383 h 7305087"/>
              <a:gd name="connsiteX837" fmla="*/ 8148653 w 8266922"/>
              <a:gd name="connsiteY837" fmla="*/ 1984990 h 7305087"/>
              <a:gd name="connsiteX838" fmla="*/ 8143087 w 8266922"/>
              <a:gd name="connsiteY838" fmla="*/ 1935414 h 7305087"/>
              <a:gd name="connsiteX839" fmla="*/ 8135452 w 8266922"/>
              <a:gd name="connsiteY839" fmla="*/ 1888770 h 7305087"/>
              <a:gd name="connsiteX840" fmla="*/ 8125534 w 8266922"/>
              <a:gd name="connsiteY840" fmla="*/ 1845179 h 7305087"/>
              <a:gd name="connsiteX841" fmla="*/ 8113118 w 8266922"/>
              <a:gd name="connsiteY841" fmla="*/ 1804759 h 7305087"/>
              <a:gd name="connsiteX842" fmla="*/ 8097991 w 8266922"/>
              <a:gd name="connsiteY842" fmla="*/ 1767626 h 7305087"/>
              <a:gd name="connsiteX843" fmla="*/ 8079938 w 8266922"/>
              <a:gd name="connsiteY843" fmla="*/ 1733900 h 7305087"/>
              <a:gd name="connsiteX844" fmla="*/ 8034200 w 8266922"/>
              <a:gd name="connsiteY844" fmla="*/ 1677141 h 7305087"/>
              <a:gd name="connsiteX845" fmla="*/ 7974191 w 8266922"/>
              <a:gd name="connsiteY845" fmla="*/ 1635428 h 7305087"/>
              <a:gd name="connsiteX846" fmla="*/ 7938299 w 8266922"/>
              <a:gd name="connsiteY846" fmla="*/ 1620509 h 7305087"/>
              <a:gd name="connsiteX847" fmla="*/ 7898198 w 8266922"/>
              <a:gd name="connsiteY847" fmla="*/ 1609705 h 7305087"/>
              <a:gd name="connsiteX848" fmla="*/ 7853673 w 8266922"/>
              <a:gd name="connsiteY848" fmla="*/ 1603138 h 7305087"/>
              <a:gd name="connsiteX849" fmla="*/ 7804510 w 8266922"/>
              <a:gd name="connsiteY849" fmla="*/ 1600921 h 7305087"/>
              <a:gd name="connsiteX850" fmla="*/ 5032599 w 8266922"/>
              <a:gd name="connsiteY850" fmla="*/ 1502430 h 7305087"/>
              <a:gd name="connsiteX851" fmla="*/ 5085669 w 8266922"/>
              <a:gd name="connsiteY851" fmla="*/ 1504306 h 7305087"/>
              <a:gd name="connsiteX852" fmla="*/ 5134790 w 8266922"/>
              <a:gd name="connsiteY852" fmla="*/ 1509883 h 7305087"/>
              <a:gd name="connsiteX853" fmla="*/ 5180096 w 8266922"/>
              <a:gd name="connsiteY853" fmla="*/ 1519078 h 7305087"/>
              <a:gd name="connsiteX854" fmla="*/ 5221718 w 8266922"/>
              <a:gd name="connsiteY854" fmla="*/ 1531810 h 7305087"/>
              <a:gd name="connsiteX855" fmla="*/ 5259789 w 8266922"/>
              <a:gd name="connsiteY855" fmla="*/ 1547998 h 7305087"/>
              <a:gd name="connsiteX856" fmla="*/ 5294442 w 8266922"/>
              <a:gd name="connsiteY856" fmla="*/ 1567559 h 7305087"/>
              <a:gd name="connsiteX857" fmla="*/ 5325809 w 8266922"/>
              <a:gd name="connsiteY857" fmla="*/ 1590414 h 7305087"/>
              <a:gd name="connsiteX858" fmla="*/ 5354024 w 8266922"/>
              <a:gd name="connsiteY858" fmla="*/ 1616479 h 7305087"/>
              <a:gd name="connsiteX859" fmla="*/ 5379220 w 8266922"/>
              <a:gd name="connsiteY859" fmla="*/ 1645676 h 7305087"/>
              <a:gd name="connsiteX860" fmla="*/ 5401528 w 8266922"/>
              <a:gd name="connsiteY860" fmla="*/ 1677921 h 7305087"/>
              <a:gd name="connsiteX861" fmla="*/ 5421081 w 8266922"/>
              <a:gd name="connsiteY861" fmla="*/ 1713133 h 7305087"/>
              <a:gd name="connsiteX862" fmla="*/ 5438013 w 8266922"/>
              <a:gd name="connsiteY862" fmla="*/ 1751231 h 7305087"/>
              <a:gd name="connsiteX863" fmla="*/ 5452456 w 8266922"/>
              <a:gd name="connsiteY863" fmla="*/ 1792133 h 7305087"/>
              <a:gd name="connsiteX864" fmla="*/ 5464543 w 8266922"/>
              <a:gd name="connsiteY864" fmla="*/ 1835759 h 7305087"/>
              <a:gd name="connsiteX865" fmla="*/ 5474406 w 8266922"/>
              <a:gd name="connsiteY865" fmla="*/ 1882026 h 7305087"/>
              <a:gd name="connsiteX866" fmla="*/ 5482178 w 8266922"/>
              <a:gd name="connsiteY866" fmla="*/ 1930854 h 7305087"/>
              <a:gd name="connsiteX867" fmla="*/ 5487992 w 8266922"/>
              <a:gd name="connsiteY867" fmla="*/ 1982160 h 7305087"/>
              <a:gd name="connsiteX868" fmla="*/ 5491980 w 8266922"/>
              <a:gd name="connsiteY868" fmla="*/ 2035865 h 7305087"/>
              <a:gd name="connsiteX869" fmla="*/ 5494276 w 8266922"/>
              <a:gd name="connsiteY869" fmla="*/ 2091886 h 7305087"/>
              <a:gd name="connsiteX870" fmla="*/ 5495012 w 8266922"/>
              <a:gd name="connsiteY870" fmla="*/ 2150141 h 7305087"/>
              <a:gd name="connsiteX871" fmla="*/ 5494312 w 8266922"/>
              <a:gd name="connsiteY871" fmla="*/ 2208645 h 7305087"/>
              <a:gd name="connsiteX872" fmla="*/ 5492115 w 8266922"/>
              <a:gd name="connsiteY872" fmla="*/ 2264915 h 7305087"/>
              <a:gd name="connsiteX873" fmla="*/ 5488279 w 8266922"/>
              <a:gd name="connsiteY873" fmla="*/ 2318865 h 7305087"/>
              <a:gd name="connsiteX874" fmla="*/ 5482658 w 8266922"/>
              <a:gd name="connsiteY874" fmla="*/ 2370415 h 7305087"/>
              <a:gd name="connsiteX875" fmla="*/ 5475110 w 8266922"/>
              <a:gd name="connsiteY875" fmla="*/ 2419480 h 7305087"/>
              <a:gd name="connsiteX876" fmla="*/ 5465489 w 8266922"/>
              <a:gd name="connsiteY876" fmla="*/ 2465979 h 7305087"/>
              <a:gd name="connsiteX877" fmla="*/ 5453652 w 8266922"/>
              <a:gd name="connsiteY877" fmla="*/ 2509828 h 7305087"/>
              <a:gd name="connsiteX878" fmla="*/ 5439455 w 8266922"/>
              <a:gd name="connsiteY878" fmla="*/ 2550946 h 7305087"/>
              <a:gd name="connsiteX879" fmla="*/ 5422755 w 8266922"/>
              <a:gd name="connsiteY879" fmla="*/ 2589249 h 7305087"/>
              <a:gd name="connsiteX880" fmla="*/ 5403406 w 8266922"/>
              <a:gd name="connsiteY880" fmla="*/ 2624655 h 7305087"/>
              <a:gd name="connsiteX881" fmla="*/ 5381265 w 8266922"/>
              <a:gd name="connsiteY881" fmla="*/ 2657081 h 7305087"/>
              <a:gd name="connsiteX882" fmla="*/ 5356188 w 8266922"/>
              <a:gd name="connsiteY882" fmla="*/ 2686444 h 7305087"/>
              <a:gd name="connsiteX883" fmla="*/ 5328031 w 8266922"/>
              <a:gd name="connsiteY883" fmla="*/ 2712663 h 7305087"/>
              <a:gd name="connsiteX884" fmla="*/ 5296650 w 8266922"/>
              <a:gd name="connsiteY884" fmla="*/ 2735653 h 7305087"/>
              <a:gd name="connsiteX885" fmla="*/ 5261902 w 8266922"/>
              <a:gd name="connsiteY885" fmla="*/ 2755334 h 7305087"/>
              <a:gd name="connsiteX886" fmla="*/ 5223641 w 8266922"/>
              <a:gd name="connsiteY886" fmla="*/ 2771621 h 7305087"/>
              <a:gd name="connsiteX887" fmla="*/ 5181724 w 8266922"/>
              <a:gd name="connsiteY887" fmla="*/ 2784433 h 7305087"/>
              <a:gd name="connsiteX888" fmla="*/ 5136007 w 8266922"/>
              <a:gd name="connsiteY888" fmla="*/ 2793687 h 7305087"/>
              <a:gd name="connsiteX889" fmla="*/ 5086347 w 8266922"/>
              <a:gd name="connsiteY889" fmla="*/ 2799300 h 7305087"/>
              <a:gd name="connsiteX890" fmla="*/ 5032599 w 8266922"/>
              <a:gd name="connsiteY890" fmla="*/ 2801189 h 7305087"/>
              <a:gd name="connsiteX891" fmla="*/ 5032599 w 8266922"/>
              <a:gd name="connsiteY891" fmla="*/ 2704367 h 7305087"/>
              <a:gd name="connsiteX892" fmla="*/ 5082284 w 8266922"/>
              <a:gd name="connsiteY892" fmla="*/ 2702134 h 7305087"/>
              <a:gd name="connsiteX893" fmla="*/ 5127205 w 8266922"/>
              <a:gd name="connsiteY893" fmla="*/ 2695513 h 7305087"/>
              <a:gd name="connsiteX894" fmla="*/ 5167588 w 8266922"/>
              <a:gd name="connsiteY894" fmla="*/ 2684624 h 7305087"/>
              <a:gd name="connsiteX895" fmla="*/ 5203659 w 8266922"/>
              <a:gd name="connsiteY895" fmla="*/ 2669584 h 7305087"/>
              <a:gd name="connsiteX896" fmla="*/ 5263770 w 8266922"/>
              <a:gd name="connsiteY896" fmla="*/ 2627524 h 7305087"/>
              <a:gd name="connsiteX897" fmla="*/ 5309350 w 8266922"/>
              <a:gd name="connsiteY897" fmla="*/ 2570280 h 7305087"/>
              <a:gd name="connsiteX898" fmla="*/ 5327255 w 8266922"/>
              <a:gd name="connsiteY898" fmla="*/ 2536259 h 7305087"/>
              <a:gd name="connsiteX899" fmla="*/ 5342207 w 8266922"/>
              <a:gd name="connsiteY899" fmla="*/ 2498797 h 7305087"/>
              <a:gd name="connsiteX900" fmla="*/ 5354431 w 8266922"/>
              <a:gd name="connsiteY900" fmla="*/ 2458012 h 7305087"/>
              <a:gd name="connsiteX901" fmla="*/ 5364154 w 8266922"/>
              <a:gd name="connsiteY901" fmla="*/ 2414022 h 7305087"/>
              <a:gd name="connsiteX902" fmla="*/ 5371601 w 8266922"/>
              <a:gd name="connsiteY902" fmla="*/ 2366946 h 7305087"/>
              <a:gd name="connsiteX903" fmla="*/ 5377000 w 8266922"/>
              <a:gd name="connsiteY903" fmla="*/ 2316901 h 7305087"/>
              <a:gd name="connsiteX904" fmla="*/ 5380576 w 8266922"/>
              <a:gd name="connsiteY904" fmla="*/ 2264006 h 7305087"/>
              <a:gd name="connsiteX905" fmla="*/ 5382555 w 8266922"/>
              <a:gd name="connsiteY905" fmla="*/ 2208380 h 7305087"/>
              <a:gd name="connsiteX906" fmla="*/ 5383165 w 8266922"/>
              <a:gd name="connsiteY906" fmla="*/ 2150141 h 7305087"/>
              <a:gd name="connsiteX907" fmla="*/ 5382523 w 8266922"/>
              <a:gd name="connsiteY907" fmla="*/ 2092472 h 7305087"/>
              <a:gd name="connsiteX908" fmla="*/ 5380453 w 8266922"/>
              <a:gd name="connsiteY908" fmla="*/ 2037383 h 7305087"/>
              <a:gd name="connsiteX909" fmla="*/ 5376743 w 8266922"/>
              <a:gd name="connsiteY909" fmla="*/ 1984990 h 7305087"/>
              <a:gd name="connsiteX910" fmla="*/ 5371177 w 8266922"/>
              <a:gd name="connsiteY910" fmla="*/ 1935414 h 7305087"/>
              <a:gd name="connsiteX911" fmla="*/ 5363542 w 8266922"/>
              <a:gd name="connsiteY911" fmla="*/ 1888770 h 7305087"/>
              <a:gd name="connsiteX912" fmla="*/ 5353624 w 8266922"/>
              <a:gd name="connsiteY912" fmla="*/ 1845179 h 7305087"/>
              <a:gd name="connsiteX913" fmla="*/ 5341208 w 8266922"/>
              <a:gd name="connsiteY913" fmla="*/ 1804759 h 7305087"/>
              <a:gd name="connsiteX914" fmla="*/ 5326081 w 8266922"/>
              <a:gd name="connsiteY914" fmla="*/ 1767626 h 7305087"/>
              <a:gd name="connsiteX915" fmla="*/ 5308028 w 8266922"/>
              <a:gd name="connsiteY915" fmla="*/ 1733900 h 7305087"/>
              <a:gd name="connsiteX916" fmla="*/ 5262290 w 8266922"/>
              <a:gd name="connsiteY916" fmla="*/ 1677141 h 7305087"/>
              <a:gd name="connsiteX917" fmla="*/ 5202281 w 8266922"/>
              <a:gd name="connsiteY917" fmla="*/ 1635428 h 7305087"/>
              <a:gd name="connsiteX918" fmla="*/ 5166389 w 8266922"/>
              <a:gd name="connsiteY918" fmla="*/ 1620509 h 7305087"/>
              <a:gd name="connsiteX919" fmla="*/ 5126287 w 8266922"/>
              <a:gd name="connsiteY919" fmla="*/ 1609705 h 7305087"/>
              <a:gd name="connsiteX920" fmla="*/ 5081762 w 8266922"/>
              <a:gd name="connsiteY920" fmla="*/ 1603138 h 7305087"/>
              <a:gd name="connsiteX921" fmla="*/ 5032599 w 8266922"/>
              <a:gd name="connsiteY921" fmla="*/ 1600921 h 7305087"/>
              <a:gd name="connsiteX922" fmla="*/ 4515699 w 8266922"/>
              <a:gd name="connsiteY922" fmla="*/ 1502430 h 7305087"/>
              <a:gd name="connsiteX923" fmla="*/ 4515699 w 8266922"/>
              <a:gd name="connsiteY923" fmla="*/ 1600921 h 7305087"/>
              <a:gd name="connsiteX924" fmla="*/ 4466813 w 8266922"/>
              <a:gd name="connsiteY924" fmla="*/ 1603138 h 7305087"/>
              <a:gd name="connsiteX925" fmla="*/ 4422532 w 8266922"/>
              <a:gd name="connsiteY925" fmla="*/ 1609705 h 7305087"/>
              <a:gd name="connsiteX926" fmla="*/ 4382646 w 8266922"/>
              <a:gd name="connsiteY926" fmla="*/ 1620509 h 7305087"/>
              <a:gd name="connsiteX927" fmla="*/ 4346940 w 8266922"/>
              <a:gd name="connsiteY927" fmla="*/ 1635428 h 7305087"/>
              <a:gd name="connsiteX928" fmla="*/ 4287225 w 8266922"/>
              <a:gd name="connsiteY928" fmla="*/ 1677141 h 7305087"/>
              <a:gd name="connsiteX929" fmla="*/ 4241691 w 8266922"/>
              <a:gd name="connsiteY929" fmla="*/ 1733900 h 7305087"/>
              <a:gd name="connsiteX930" fmla="*/ 4223712 w 8266922"/>
              <a:gd name="connsiteY930" fmla="*/ 1767626 h 7305087"/>
              <a:gd name="connsiteX931" fmla="*/ 4208642 w 8266922"/>
              <a:gd name="connsiteY931" fmla="*/ 1804759 h 7305087"/>
              <a:gd name="connsiteX932" fmla="*/ 4196270 w 8266922"/>
              <a:gd name="connsiteY932" fmla="*/ 1845179 h 7305087"/>
              <a:gd name="connsiteX933" fmla="*/ 4186382 w 8266922"/>
              <a:gd name="connsiteY933" fmla="*/ 1888770 h 7305087"/>
              <a:gd name="connsiteX934" fmla="*/ 4178768 w 8266922"/>
              <a:gd name="connsiteY934" fmla="*/ 1935414 h 7305087"/>
              <a:gd name="connsiteX935" fmla="*/ 4173215 w 8266922"/>
              <a:gd name="connsiteY935" fmla="*/ 1984990 h 7305087"/>
              <a:gd name="connsiteX936" fmla="*/ 4169510 w 8266922"/>
              <a:gd name="connsiteY936" fmla="*/ 2037383 h 7305087"/>
              <a:gd name="connsiteX937" fmla="*/ 4167443 w 8266922"/>
              <a:gd name="connsiteY937" fmla="*/ 2092472 h 7305087"/>
              <a:gd name="connsiteX938" fmla="*/ 4166801 w 8266922"/>
              <a:gd name="connsiteY938" fmla="*/ 2150141 h 7305087"/>
              <a:gd name="connsiteX939" fmla="*/ 4167427 w 8266922"/>
              <a:gd name="connsiteY939" fmla="*/ 2208380 h 7305087"/>
              <a:gd name="connsiteX940" fmla="*/ 4169449 w 8266922"/>
              <a:gd name="connsiteY940" fmla="*/ 2264006 h 7305087"/>
              <a:gd name="connsiteX941" fmla="*/ 4173087 w 8266922"/>
              <a:gd name="connsiteY941" fmla="*/ 2316901 h 7305087"/>
              <a:gd name="connsiteX942" fmla="*/ 4178556 w 8266922"/>
              <a:gd name="connsiteY942" fmla="*/ 2366946 h 7305087"/>
              <a:gd name="connsiteX943" fmla="*/ 4186077 w 8266922"/>
              <a:gd name="connsiteY943" fmla="*/ 2414022 h 7305087"/>
              <a:gd name="connsiteX944" fmla="*/ 4195866 w 8266922"/>
              <a:gd name="connsiteY944" fmla="*/ 2458012 h 7305087"/>
              <a:gd name="connsiteX945" fmla="*/ 4208143 w 8266922"/>
              <a:gd name="connsiteY945" fmla="*/ 2498797 h 7305087"/>
              <a:gd name="connsiteX946" fmla="*/ 4223125 w 8266922"/>
              <a:gd name="connsiteY946" fmla="*/ 2536259 h 7305087"/>
              <a:gd name="connsiteX947" fmla="*/ 4241031 w 8266922"/>
              <a:gd name="connsiteY947" fmla="*/ 2570280 h 7305087"/>
              <a:gd name="connsiteX948" fmla="*/ 4286485 w 8266922"/>
              <a:gd name="connsiteY948" fmla="*/ 2627524 h 7305087"/>
              <a:gd name="connsiteX949" fmla="*/ 4346251 w 8266922"/>
              <a:gd name="connsiteY949" fmla="*/ 2669584 h 7305087"/>
              <a:gd name="connsiteX950" fmla="*/ 4382046 w 8266922"/>
              <a:gd name="connsiteY950" fmla="*/ 2684624 h 7305087"/>
              <a:gd name="connsiteX951" fmla="*/ 4422074 w 8266922"/>
              <a:gd name="connsiteY951" fmla="*/ 2695513 h 7305087"/>
              <a:gd name="connsiteX952" fmla="*/ 4466552 w 8266922"/>
              <a:gd name="connsiteY952" fmla="*/ 2702134 h 7305087"/>
              <a:gd name="connsiteX953" fmla="*/ 4515699 w 8266922"/>
              <a:gd name="connsiteY953" fmla="*/ 2704367 h 7305087"/>
              <a:gd name="connsiteX954" fmla="*/ 4515699 w 8266922"/>
              <a:gd name="connsiteY954" fmla="*/ 2801189 h 7305087"/>
              <a:gd name="connsiteX955" fmla="*/ 4462176 w 8266922"/>
              <a:gd name="connsiteY955" fmla="*/ 2799300 h 7305087"/>
              <a:gd name="connsiteX956" fmla="*/ 4412696 w 8266922"/>
              <a:gd name="connsiteY956" fmla="*/ 2793687 h 7305087"/>
              <a:gd name="connsiteX957" fmla="*/ 4367116 w 8266922"/>
              <a:gd name="connsiteY957" fmla="*/ 2784433 h 7305087"/>
              <a:gd name="connsiteX958" fmla="*/ 4325298 w 8266922"/>
              <a:gd name="connsiteY958" fmla="*/ 2771621 h 7305087"/>
              <a:gd name="connsiteX959" fmla="*/ 4287101 w 8266922"/>
              <a:gd name="connsiteY959" fmla="*/ 2755334 h 7305087"/>
              <a:gd name="connsiteX960" fmla="*/ 4252384 w 8266922"/>
              <a:gd name="connsiteY960" fmla="*/ 2735653 h 7305087"/>
              <a:gd name="connsiteX961" fmla="*/ 4221007 w 8266922"/>
              <a:gd name="connsiteY961" fmla="*/ 2712663 h 7305087"/>
              <a:gd name="connsiteX962" fmla="*/ 4192831 w 8266922"/>
              <a:gd name="connsiteY962" fmla="*/ 2686444 h 7305087"/>
              <a:gd name="connsiteX963" fmla="*/ 4167714 w 8266922"/>
              <a:gd name="connsiteY963" fmla="*/ 2657081 h 7305087"/>
              <a:gd name="connsiteX964" fmla="*/ 4145517 w 8266922"/>
              <a:gd name="connsiteY964" fmla="*/ 2624655 h 7305087"/>
              <a:gd name="connsiteX965" fmla="*/ 4126100 w 8266922"/>
              <a:gd name="connsiteY965" fmla="*/ 2589249 h 7305087"/>
              <a:gd name="connsiteX966" fmla="*/ 4109322 w 8266922"/>
              <a:gd name="connsiteY966" fmla="*/ 2550946 h 7305087"/>
              <a:gd name="connsiteX967" fmla="*/ 4095043 w 8266922"/>
              <a:gd name="connsiteY967" fmla="*/ 2509828 h 7305087"/>
              <a:gd name="connsiteX968" fmla="*/ 4083123 w 8266922"/>
              <a:gd name="connsiteY968" fmla="*/ 2465979 h 7305087"/>
              <a:gd name="connsiteX969" fmla="*/ 4073422 w 8266922"/>
              <a:gd name="connsiteY969" fmla="*/ 2419480 h 7305087"/>
              <a:gd name="connsiteX970" fmla="*/ 4065799 w 8266922"/>
              <a:gd name="connsiteY970" fmla="*/ 2370415 h 7305087"/>
              <a:gd name="connsiteX971" fmla="*/ 4060114 w 8266922"/>
              <a:gd name="connsiteY971" fmla="*/ 2318865 h 7305087"/>
              <a:gd name="connsiteX972" fmla="*/ 4056227 w 8266922"/>
              <a:gd name="connsiteY972" fmla="*/ 2264915 h 7305087"/>
              <a:gd name="connsiteX973" fmla="*/ 4053997 w 8266922"/>
              <a:gd name="connsiteY973" fmla="*/ 2208645 h 7305087"/>
              <a:gd name="connsiteX974" fmla="*/ 4053286 w 8266922"/>
              <a:gd name="connsiteY974" fmla="*/ 2150141 h 7305087"/>
              <a:gd name="connsiteX975" fmla="*/ 4054021 w 8266922"/>
              <a:gd name="connsiteY975" fmla="*/ 2091886 h 7305087"/>
              <a:gd name="connsiteX976" fmla="*/ 4056317 w 8266922"/>
              <a:gd name="connsiteY976" fmla="*/ 2035865 h 7305087"/>
              <a:gd name="connsiteX977" fmla="*/ 4060306 w 8266922"/>
              <a:gd name="connsiteY977" fmla="*/ 1982160 h 7305087"/>
              <a:gd name="connsiteX978" fmla="*/ 4066119 w 8266922"/>
              <a:gd name="connsiteY978" fmla="*/ 1930854 h 7305087"/>
              <a:gd name="connsiteX979" fmla="*/ 4073892 w 8266922"/>
              <a:gd name="connsiteY979" fmla="*/ 1882026 h 7305087"/>
              <a:gd name="connsiteX980" fmla="*/ 4083755 w 8266922"/>
              <a:gd name="connsiteY980" fmla="*/ 1835759 h 7305087"/>
              <a:gd name="connsiteX981" fmla="*/ 4095841 w 8266922"/>
              <a:gd name="connsiteY981" fmla="*/ 1792133 h 7305087"/>
              <a:gd name="connsiteX982" fmla="*/ 4110284 w 8266922"/>
              <a:gd name="connsiteY982" fmla="*/ 1751231 h 7305087"/>
              <a:gd name="connsiteX983" fmla="*/ 4127216 w 8266922"/>
              <a:gd name="connsiteY983" fmla="*/ 1713133 h 7305087"/>
              <a:gd name="connsiteX984" fmla="*/ 4146769 w 8266922"/>
              <a:gd name="connsiteY984" fmla="*/ 1677921 h 7305087"/>
              <a:gd name="connsiteX985" fmla="*/ 4169077 w 8266922"/>
              <a:gd name="connsiteY985" fmla="*/ 1645676 h 7305087"/>
              <a:gd name="connsiteX986" fmla="*/ 4194274 w 8266922"/>
              <a:gd name="connsiteY986" fmla="*/ 1616479 h 7305087"/>
              <a:gd name="connsiteX987" fmla="*/ 4222489 w 8266922"/>
              <a:gd name="connsiteY987" fmla="*/ 1590414 h 7305087"/>
              <a:gd name="connsiteX988" fmla="*/ 4253856 w 8266922"/>
              <a:gd name="connsiteY988" fmla="*/ 1567559 h 7305087"/>
              <a:gd name="connsiteX989" fmla="*/ 4288509 w 8266922"/>
              <a:gd name="connsiteY989" fmla="*/ 1547998 h 7305087"/>
              <a:gd name="connsiteX990" fmla="*/ 4326580 w 8266922"/>
              <a:gd name="connsiteY990" fmla="*/ 1531810 h 7305087"/>
              <a:gd name="connsiteX991" fmla="*/ 4368202 w 8266922"/>
              <a:gd name="connsiteY991" fmla="*/ 1519078 h 7305087"/>
              <a:gd name="connsiteX992" fmla="*/ 4413507 w 8266922"/>
              <a:gd name="connsiteY992" fmla="*/ 1509883 h 7305087"/>
              <a:gd name="connsiteX993" fmla="*/ 4462628 w 8266922"/>
              <a:gd name="connsiteY993" fmla="*/ 1504306 h 7305087"/>
              <a:gd name="connsiteX994" fmla="*/ 462412 w 8266922"/>
              <a:gd name="connsiteY994" fmla="*/ 1502430 h 7305087"/>
              <a:gd name="connsiteX995" fmla="*/ 462412 w 8266922"/>
              <a:gd name="connsiteY995" fmla="*/ 1600921 h 7305087"/>
              <a:gd name="connsiteX996" fmla="*/ 413526 w 8266922"/>
              <a:gd name="connsiteY996" fmla="*/ 1603138 h 7305087"/>
              <a:gd name="connsiteX997" fmla="*/ 369246 w 8266922"/>
              <a:gd name="connsiteY997" fmla="*/ 1609705 h 7305087"/>
              <a:gd name="connsiteX998" fmla="*/ 329359 w 8266922"/>
              <a:gd name="connsiteY998" fmla="*/ 1620509 h 7305087"/>
              <a:gd name="connsiteX999" fmla="*/ 293653 w 8266922"/>
              <a:gd name="connsiteY999" fmla="*/ 1635428 h 7305087"/>
              <a:gd name="connsiteX1000" fmla="*/ 233938 w 8266922"/>
              <a:gd name="connsiteY1000" fmla="*/ 1677141 h 7305087"/>
              <a:gd name="connsiteX1001" fmla="*/ 188404 w 8266922"/>
              <a:gd name="connsiteY1001" fmla="*/ 1733900 h 7305087"/>
              <a:gd name="connsiteX1002" fmla="*/ 170425 w 8266922"/>
              <a:gd name="connsiteY1002" fmla="*/ 1767626 h 7305087"/>
              <a:gd name="connsiteX1003" fmla="*/ 155356 w 8266922"/>
              <a:gd name="connsiteY1003" fmla="*/ 1804759 h 7305087"/>
              <a:gd name="connsiteX1004" fmla="*/ 142983 w 8266922"/>
              <a:gd name="connsiteY1004" fmla="*/ 1845179 h 7305087"/>
              <a:gd name="connsiteX1005" fmla="*/ 133096 w 8266922"/>
              <a:gd name="connsiteY1005" fmla="*/ 1888770 h 7305087"/>
              <a:gd name="connsiteX1006" fmla="*/ 125482 w 8266922"/>
              <a:gd name="connsiteY1006" fmla="*/ 1935414 h 7305087"/>
              <a:gd name="connsiteX1007" fmla="*/ 119929 w 8266922"/>
              <a:gd name="connsiteY1007" fmla="*/ 1984990 h 7305087"/>
              <a:gd name="connsiteX1008" fmla="*/ 116225 w 8266922"/>
              <a:gd name="connsiteY1008" fmla="*/ 2037383 h 7305087"/>
              <a:gd name="connsiteX1009" fmla="*/ 114158 w 8266922"/>
              <a:gd name="connsiteY1009" fmla="*/ 2092472 h 7305087"/>
              <a:gd name="connsiteX1010" fmla="*/ 113516 w 8266922"/>
              <a:gd name="connsiteY1010" fmla="*/ 2150141 h 7305087"/>
              <a:gd name="connsiteX1011" fmla="*/ 114141 w 8266922"/>
              <a:gd name="connsiteY1011" fmla="*/ 2208380 h 7305087"/>
              <a:gd name="connsiteX1012" fmla="*/ 116163 w 8266922"/>
              <a:gd name="connsiteY1012" fmla="*/ 2264006 h 7305087"/>
              <a:gd name="connsiteX1013" fmla="*/ 119800 w 8266922"/>
              <a:gd name="connsiteY1013" fmla="*/ 2316901 h 7305087"/>
              <a:gd name="connsiteX1014" fmla="*/ 125270 w 8266922"/>
              <a:gd name="connsiteY1014" fmla="*/ 2366946 h 7305087"/>
              <a:gd name="connsiteX1015" fmla="*/ 132790 w 8266922"/>
              <a:gd name="connsiteY1015" fmla="*/ 2414022 h 7305087"/>
              <a:gd name="connsiteX1016" fmla="*/ 142580 w 8266922"/>
              <a:gd name="connsiteY1016" fmla="*/ 2458012 h 7305087"/>
              <a:gd name="connsiteX1017" fmla="*/ 154856 w 8266922"/>
              <a:gd name="connsiteY1017" fmla="*/ 2498797 h 7305087"/>
              <a:gd name="connsiteX1018" fmla="*/ 169838 w 8266922"/>
              <a:gd name="connsiteY1018" fmla="*/ 2536259 h 7305087"/>
              <a:gd name="connsiteX1019" fmla="*/ 187744 w 8266922"/>
              <a:gd name="connsiteY1019" fmla="*/ 2570280 h 7305087"/>
              <a:gd name="connsiteX1020" fmla="*/ 233198 w 8266922"/>
              <a:gd name="connsiteY1020" fmla="*/ 2627524 h 7305087"/>
              <a:gd name="connsiteX1021" fmla="*/ 292964 w 8266922"/>
              <a:gd name="connsiteY1021" fmla="*/ 2669584 h 7305087"/>
              <a:gd name="connsiteX1022" fmla="*/ 328759 w 8266922"/>
              <a:gd name="connsiteY1022" fmla="*/ 2684624 h 7305087"/>
              <a:gd name="connsiteX1023" fmla="*/ 368787 w 8266922"/>
              <a:gd name="connsiteY1023" fmla="*/ 2695513 h 7305087"/>
              <a:gd name="connsiteX1024" fmla="*/ 413265 w 8266922"/>
              <a:gd name="connsiteY1024" fmla="*/ 2702134 h 7305087"/>
              <a:gd name="connsiteX1025" fmla="*/ 462412 w 8266922"/>
              <a:gd name="connsiteY1025" fmla="*/ 2704367 h 7305087"/>
              <a:gd name="connsiteX1026" fmla="*/ 462412 w 8266922"/>
              <a:gd name="connsiteY1026" fmla="*/ 2801189 h 7305087"/>
              <a:gd name="connsiteX1027" fmla="*/ 408890 w 8266922"/>
              <a:gd name="connsiteY1027" fmla="*/ 2799300 h 7305087"/>
              <a:gd name="connsiteX1028" fmla="*/ 359409 w 8266922"/>
              <a:gd name="connsiteY1028" fmla="*/ 2793687 h 7305087"/>
              <a:gd name="connsiteX1029" fmla="*/ 313830 w 8266922"/>
              <a:gd name="connsiteY1029" fmla="*/ 2784433 h 7305087"/>
              <a:gd name="connsiteX1030" fmla="*/ 272011 w 8266922"/>
              <a:gd name="connsiteY1030" fmla="*/ 2771621 h 7305087"/>
              <a:gd name="connsiteX1031" fmla="*/ 233814 w 8266922"/>
              <a:gd name="connsiteY1031" fmla="*/ 2755334 h 7305087"/>
              <a:gd name="connsiteX1032" fmla="*/ 199097 w 8266922"/>
              <a:gd name="connsiteY1032" fmla="*/ 2735653 h 7305087"/>
              <a:gd name="connsiteX1033" fmla="*/ 167721 w 8266922"/>
              <a:gd name="connsiteY1033" fmla="*/ 2712663 h 7305087"/>
              <a:gd name="connsiteX1034" fmla="*/ 139544 w 8266922"/>
              <a:gd name="connsiteY1034" fmla="*/ 2686444 h 7305087"/>
              <a:gd name="connsiteX1035" fmla="*/ 114428 w 8266922"/>
              <a:gd name="connsiteY1035" fmla="*/ 2657081 h 7305087"/>
              <a:gd name="connsiteX1036" fmla="*/ 92232 w 8266922"/>
              <a:gd name="connsiteY1036" fmla="*/ 2624655 h 7305087"/>
              <a:gd name="connsiteX1037" fmla="*/ 72814 w 8266922"/>
              <a:gd name="connsiteY1037" fmla="*/ 2589249 h 7305087"/>
              <a:gd name="connsiteX1038" fmla="*/ 56037 w 8266922"/>
              <a:gd name="connsiteY1038" fmla="*/ 2550946 h 7305087"/>
              <a:gd name="connsiteX1039" fmla="*/ 41758 w 8266922"/>
              <a:gd name="connsiteY1039" fmla="*/ 2509828 h 7305087"/>
              <a:gd name="connsiteX1040" fmla="*/ 29838 w 8266922"/>
              <a:gd name="connsiteY1040" fmla="*/ 2465979 h 7305087"/>
              <a:gd name="connsiteX1041" fmla="*/ 20136 w 8266922"/>
              <a:gd name="connsiteY1041" fmla="*/ 2419480 h 7305087"/>
              <a:gd name="connsiteX1042" fmla="*/ 12513 w 8266922"/>
              <a:gd name="connsiteY1042" fmla="*/ 2370415 h 7305087"/>
              <a:gd name="connsiteX1043" fmla="*/ 6828 w 8266922"/>
              <a:gd name="connsiteY1043" fmla="*/ 2318865 h 7305087"/>
              <a:gd name="connsiteX1044" fmla="*/ 2941 w 8266922"/>
              <a:gd name="connsiteY1044" fmla="*/ 2264915 h 7305087"/>
              <a:gd name="connsiteX1045" fmla="*/ 711 w 8266922"/>
              <a:gd name="connsiteY1045" fmla="*/ 2208645 h 7305087"/>
              <a:gd name="connsiteX1046" fmla="*/ 0 w 8266922"/>
              <a:gd name="connsiteY1046" fmla="*/ 2150141 h 7305087"/>
              <a:gd name="connsiteX1047" fmla="*/ 735 w 8266922"/>
              <a:gd name="connsiteY1047" fmla="*/ 2091886 h 7305087"/>
              <a:gd name="connsiteX1048" fmla="*/ 3031 w 8266922"/>
              <a:gd name="connsiteY1048" fmla="*/ 2035865 h 7305087"/>
              <a:gd name="connsiteX1049" fmla="*/ 7020 w 8266922"/>
              <a:gd name="connsiteY1049" fmla="*/ 1982160 h 7305087"/>
              <a:gd name="connsiteX1050" fmla="*/ 12834 w 8266922"/>
              <a:gd name="connsiteY1050" fmla="*/ 1930854 h 7305087"/>
              <a:gd name="connsiteX1051" fmla="*/ 20606 w 8266922"/>
              <a:gd name="connsiteY1051" fmla="*/ 1882026 h 7305087"/>
              <a:gd name="connsiteX1052" fmla="*/ 30469 w 8266922"/>
              <a:gd name="connsiteY1052" fmla="*/ 1835759 h 7305087"/>
              <a:gd name="connsiteX1053" fmla="*/ 42555 w 8266922"/>
              <a:gd name="connsiteY1053" fmla="*/ 1792133 h 7305087"/>
              <a:gd name="connsiteX1054" fmla="*/ 56998 w 8266922"/>
              <a:gd name="connsiteY1054" fmla="*/ 1751231 h 7305087"/>
              <a:gd name="connsiteX1055" fmla="*/ 73930 w 8266922"/>
              <a:gd name="connsiteY1055" fmla="*/ 1713133 h 7305087"/>
              <a:gd name="connsiteX1056" fmla="*/ 93484 w 8266922"/>
              <a:gd name="connsiteY1056" fmla="*/ 1677921 h 7305087"/>
              <a:gd name="connsiteX1057" fmla="*/ 115792 w 8266922"/>
              <a:gd name="connsiteY1057" fmla="*/ 1645676 h 7305087"/>
              <a:gd name="connsiteX1058" fmla="*/ 140987 w 8266922"/>
              <a:gd name="connsiteY1058" fmla="*/ 1616479 h 7305087"/>
              <a:gd name="connsiteX1059" fmla="*/ 169202 w 8266922"/>
              <a:gd name="connsiteY1059" fmla="*/ 1590414 h 7305087"/>
              <a:gd name="connsiteX1060" fmla="*/ 200570 w 8266922"/>
              <a:gd name="connsiteY1060" fmla="*/ 1567559 h 7305087"/>
              <a:gd name="connsiteX1061" fmla="*/ 235222 w 8266922"/>
              <a:gd name="connsiteY1061" fmla="*/ 1547998 h 7305087"/>
              <a:gd name="connsiteX1062" fmla="*/ 273293 w 8266922"/>
              <a:gd name="connsiteY1062" fmla="*/ 1531810 h 7305087"/>
              <a:gd name="connsiteX1063" fmla="*/ 314915 w 8266922"/>
              <a:gd name="connsiteY1063" fmla="*/ 1519078 h 7305087"/>
              <a:gd name="connsiteX1064" fmla="*/ 360220 w 8266922"/>
              <a:gd name="connsiteY1064" fmla="*/ 1509883 h 7305087"/>
              <a:gd name="connsiteX1065" fmla="*/ 409342 w 8266922"/>
              <a:gd name="connsiteY1065" fmla="*/ 1504306 h 7305087"/>
              <a:gd name="connsiteX1066" fmla="*/ 5280527 w 8266922"/>
              <a:gd name="connsiteY1066" fmla="*/ 871409 h 7305087"/>
              <a:gd name="connsiteX1067" fmla="*/ 6185319 w 8266922"/>
              <a:gd name="connsiteY1067" fmla="*/ 871409 h 7305087"/>
              <a:gd name="connsiteX1068" fmla="*/ 6185319 w 8266922"/>
              <a:gd name="connsiteY1068" fmla="*/ 978246 h 7305087"/>
              <a:gd name="connsiteX1069" fmla="*/ 5280527 w 8266922"/>
              <a:gd name="connsiteY1069" fmla="*/ 978246 h 7305087"/>
              <a:gd name="connsiteX1070" fmla="*/ 1874462 w 8266922"/>
              <a:gd name="connsiteY1070" fmla="*/ 871408 h 7305087"/>
              <a:gd name="connsiteX1071" fmla="*/ 2779254 w 8266922"/>
              <a:gd name="connsiteY1071" fmla="*/ 871408 h 7305087"/>
              <a:gd name="connsiteX1072" fmla="*/ 2779254 w 8266922"/>
              <a:gd name="connsiteY1072" fmla="*/ 978246 h 7305087"/>
              <a:gd name="connsiteX1073" fmla="*/ 1874462 w 8266922"/>
              <a:gd name="connsiteY1073" fmla="*/ 978246 h 7305087"/>
              <a:gd name="connsiteX1074" fmla="*/ 5280527 w 8266922"/>
              <a:gd name="connsiteY1074" fmla="*/ 522512 h 7305087"/>
              <a:gd name="connsiteX1075" fmla="*/ 6185319 w 8266922"/>
              <a:gd name="connsiteY1075" fmla="*/ 522512 h 7305087"/>
              <a:gd name="connsiteX1076" fmla="*/ 6185319 w 8266922"/>
              <a:gd name="connsiteY1076" fmla="*/ 629349 h 7305087"/>
              <a:gd name="connsiteX1077" fmla="*/ 5280527 w 8266922"/>
              <a:gd name="connsiteY1077" fmla="*/ 629349 h 7305087"/>
              <a:gd name="connsiteX1078" fmla="*/ 1874462 w 8266922"/>
              <a:gd name="connsiteY1078" fmla="*/ 522511 h 7305087"/>
              <a:gd name="connsiteX1079" fmla="*/ 2779254 w 8266922"/>
              <a:gd name="connsiteY1079" fmla="*/ 522511 h 7305087"/>
              <a:gd name="connsiteX1080" fmla="*/ 2779254 w 8266922"/>
              <a:gd name="connsiteY1080" fmla="*/ 629349 h 7305087"/>
              <a:gd name="connsiteX1081" fmla="*/ 1874462 w 8266922"/>
              <a:gd name="connsiteY1081" fmla="*/ 629349 h 7305087"/>
              <a:gd name="connsiteX1082" fmla="*/ 4621539 w 8266922"/>
              <a:gd name="connsiteY1082" fmla="*/ 116859 h 7305087"/>
              <a:gd name="connsiteX1083" fmla="*/ 4740064 w 8266922"/>
              <a:gd name="connsiteY1083" fmla="*/ 116859 h 7305087"/>
              <a:gd name="connsiteX1084" fmla="*/ 4386160 w 8266922"/>
              <a:gd name="connsiteY1084" fmla="*/ 1185248 h 7305087"/>
              <a:gd name="connsiteX1085" fmla="*/ 4264297 w 8266922"/>
              <a:gd name="connsiteY1085" fmla="*/ 1185248 h 7305087"/>
              <a:gd name="connsiteX1086" fmla="*/ 3314617 w 8266922"/>
              <a:gd name="connsiteY1086" fmla="*/ 116858 h 7305087"/>
              <a:gd name="connsiteX1087" fmla="*/ 3439819 w 8266922"/>
              <a:gd name="connsiteY1087" fmla="*/ 116858 h 7305087"/>
              <a:gd name="connsiteX1088" fmla="*/ 3795392 w 8266922"/>
              <a:gd name="connsiteY1088" fmla="*/ 1185248 h 7305087"/>
              <a:gd name="connsiteX1089" fmla="*/ 3670190 w 8266922"/>
              <a:gd name="connsiteY1089" fmla="*/ 1185248 h 7305087"/>
              <a:gd name="connsiteX1090" fmla="*/ 1312489 w 8266922"/>
              <a:gd name="connsiteY1090" fmla="*/ 1 h 7305087"/>
              <a:gd name="connsiteX1091" fmla="*/ 1312489 w 8266922"/>
              <a:gd name="connsiteY1091" fmla="*/ 98493 h 7305087"/>
              <a:gd name="connsiteX1092" fmla="*/ 1263604 w 8266922"/>
              <a:gd name="connsiteY1092" fmla="*/ 100709 h 7305087"/>
              <a:gd name="connsiteX1093" fmla="*/ 1219322 w 8266922"/>
              <a:gd name="connsiteY1093" fmla="*/ 107277 h 7305087"/>
              <a:gd name="connsiteX1094" fmla="*/ 1179437 w 8266922"/>
              <a:gd name="connsiteY1094" fmla="*/ 118080 h 7305087"/>
              <a:gd name="connsiteX1095" fmla="*/ 1143731 w 8266922"/>
              <a:gd name="connsiteY1095" fmla="*/ 132999 h 7305087"/>
              <a:gd name="connsiteX1096" fmla="*/ 1084016 w 8266922"/>
              <a:gd name="connsiteY1096" fmla="*/ 174712 h 7305087"/>
              <a:gd name="connsiteX1097" fmla="*/ 1038482 w 8266922"/>
              <a:gd name="connsiteY1097" fmla="*/ 231471 h 7305087"/>
              <a:gd name="connsiteX1098" fmla="*/ 1020503 w 8266922"/>
              <a:gd name="connsiteY1098" fmla="*/ 265197 h 7305087"/>
              <a:gd name="connsiteX1099" fmla="*/ 1005433 w 8266922"/>
              <a:gd name="connsiteY1099" fmla="*/ 302330 h 7305087"/>
              <a:gd name="connsiteX1100" fmla="*/ 993061 w 8266922"/>
              <a:gd name="connsiteY1100" fmla="*/ 342750 h 7305087"/>
              <a:gd name="connsiteX1101" fmla="*/ 983172 w 8266922"/>
              <a:gd name="connsiteY1101" fmla="*/ 386342 h 7305087"/>
              <a:gd name="connsiteX1102" fmla="*/ 975559 w 8266922"/>
              <a:gd name="connsiteY1102" fmla="*/ 432985 h 7305087"/>
              <a:gd name="connsiteX1103" fmla="*/ 970006 w 8266922"/>
              <a:gd name="connsiteY1103" fmla="*/ 482562 h 7305087"/>
              <a:gd name="connsiteX1104" fmla="*/ 966302 w 8266922"/>
              <a:gd name="connsiteY1104" fmla="*/ 534954 h 7305087"/>
              <a:gd name="connsiteX1105" fmla="*/ 964235 w 8266922"/>
              <a:gd name="connsiteY1105" fmla="*/ 590043 h 7305087"/>
              <a:gd name="connsiteX1106" fmla="*/ 963593 w 8266922"/>
              <a:gd name="connsiteY1106" fmla="*/ 647712 h 7305087"/>
              <a:gd name="connsiteX1107" fmla="*/ 964219 w 8266922"/>
              <a:gd name="connsiteY1107" fmla="*/ 705953 h 7305087"/>
              <a:gd name="connsiteX1108" fmla="*/ 966241 w 8266922"/>
              <a:gd name="connsiteY1108" fmla="*/ 761579 h 7305087"/>
              <a:gd name="connsiteX1109" fmla="*/ 969878 w 8266922"/>
              <a:gd name="connsiteY1109" fmla="*/ 814474 h 7305087"/>
              <a:gd name="connsiteX1110" fmla="*/ 975347 w 8266922"/>
              <a:gd name="connsiteY1110" fmla="*/ 864518 h 7305087"/>
              <a:gd name="connsiteX1111" fmla="*/ 982868 w 8266922"/>
              <a:gd name="connsiteY1111" fmla="*/ 911596 h 7305087"/>
              <a:gd name="connsiteX1112" fmla="*/ 992658 w 8266922"/>
              <a:gd name="connsiteY1112" fmla="*/ 955586 h 7305087"/>
              <a:gd name="connsiteX1113" fmla="*/ 1004934 w 8266922"/>
              <a:gd name="connsiteY1113" fmla="*/ 996370 h 7305087"/>
              <a:gd name="connsiteX1114" fmla="*/ 1019916 w 8266922"/>
              <a:gd name="connsiteY1114" fmla="*/ 1033831 h 7305087"/>
              <a:gd name="connsiteX1115" fmla="*/ 1037822 w 8266922"/>
              <a:gd name="connsiteY1115" fmla="*/ 1067851 h 7305087"/>
              <a:gd name="connsiteX1116" fmla="*/ 1083276 w 8266922"/>
              <a:gd name="connsiteY1116" fmla="*/ 1125096 h 7305087"/>
              <a:gd name="connsiteX1117" fmla="*/ 1143042 w 8266922"/>
              <a:gd name="connsiteY1117" fmla="*/ 1167155 h 7305087"/>
              <a:gd name="connsiteX1118" fmla="*/ 1178837 w 8266922"/>
              <a:gd name="connsiteY1118" fmla="*/ 1182194 h 7305087"/>
              <a:gd name="connsiteX1119" fmla="*/ 1218864 w 8266922"/>
              <a:gd name="connsiteY1119" fmla="*/ 1193084 h 7305087"/>
              <a:gd name="connsiteX1120" fmla="*/ 1263342 w 8266922"/>
              <a:gd name="connsiteY1120" fmla="*/ 1199705 h 7305087"/>
              <a:gd name="connsiteX1121" fmla="*/ 1312489 w 8266922"/>
              <a:gd name="connsiteY1121" fmla="*/ 1201938 h 7305087"/>
              <a:gd name="connsiteX1122" fmla="*/ 1312489 w 8266922"/>
              <a:gd name="connsiteY1122" fmla="*/ 1298761 h 7305087"/>
              <a:gd name="connsiteX1123" fmla="*/ 1258966 w 8266922"/>
              <a:gd name="connsiteY1123" fmla="*/ 1296873 h 7305087"/>
              <a:gd name="connsiteX1124" fmla="*/ 1209487 w 8266922"/>
              <a:gd name="connsiteY1124" fmla="*/ 1291259 h 7305087"/>
              <a:gd name="connsiteX1125" fmla="*/ 1163908 w 8266922"/>
              <a:gd name="connsiteY1125" fmla="*/ 1282006 h 7305087"/>
              <a:gd name="connsiteX1126" fmla="*/ 1122089 w 8266922"/>
              <a:gd name="connsiteY1126" fmla="*/ 1269194 h 7305087"/>
              <a:gd name="connsiteX1127" fmla="*/ 1083893 w 8266922"/>
              <a:gd name="connsiteY1127" fmla="*/ 1252907 h 7305087"/>
              <a:gd name="connsiteX1128" fmla="*/ 1049176 w 8266922"/>
              <a:gd name="connsiteY1128" fmla="*/ 1233225 h 7305087"/>
              <a:gd name="connsiteX1129" fmla="*/ 1017798 w 8266922"/>
              <a:gd name="connsiteY1129" fmla="*/ 1210234 h 7305087"/>
              <a:gd name="connsiteX1130" fmla="*/ 989622 w 8266922"/>
              <a:gd name="connsiteY1130" fmla="*/ 1184015 h 7305087"/>
              <a:gd name="connsiteX1131" fmla="*/ 964506 w 8266922"/>
              <a:gd name="connsiteY1131" fmla="*/ 1154652 h 7305087"/>
              <a:gd name="connsiteX1132" fmla="*/ 942309 w 8266922"/>
              <a:gd name="connsiteY1132" fmla="*/ 1122226 h 7305087"/>
              <a:gd name="connsiteX1133" fmla="*/ 922891 w 8266922"/>
              <a:gd name="connsiteY1133" fmla="*/ 1086820 h 7305087"/>
              <a:gd name="connsiteX1134" fmla="*/ 906113 w 8266922"/>
              <a:gd name="connsiteY1134" fmla="*/ 1048518 h 7305087"/>
              <a:gd name="connsiteX1135" fmla="*/ 891835 w 8266922"/>
              <a:gd name="connsiteY1135" fmla="*/ 1007402 h 7305087"/>
              <a:gd name="connsiteX1136" fmla="*/ 879914 w 8266922"/>
              <a:gd name="connsiteY1136" fmla="*/ 963551 h 7305087"/>
              <a:gd name="connsiteX1137" fmla="*/ 870214 w 8266922"/>
              <a:gd name="connsiteY1137" fmla="*/ 917053 h 7305087"/>
              <a:gd name="connsiteX1138" fmla="*/ 862590 w 8266922"/>
              <a:gd name="connsiteY1138" fmla="*/ 867987 h 7305087"/>
              <a:gd name="connsiteX1139" fmla="*/ 856906 w 8266922"/>
              <a:gd name="connsiteY1139" fmla="*/ 816438 h 7305087"/>
              <a:gd name="connsiteX1140" fmla="*/ 853019 w 8266922"/>
              <a:gd name="connsiteY1140" fmla="*/ 762487 h 7305087"/>
              <a:gd name="connsiteX1141" fmla="*/ 850789 w 8266922"/>
              <a:gd name="connsiteY1141" fmla="*/ 706217 h 7305087"/>
              <a:gd name="connsiteX1142" fmla="*/ 850077 w 8266922"/>
              <a:gd name="connsiteY1142" fmla="*/ 647712 h 7305087"/>
              <a:gd name="connsiteX1143" fmla="*/ 850812 w 8266922"/>
              <a:gd name="connsiteY1143" fmla="*/ 589457 h 7305087"/>
              <a:gd name="connsiteX1144" fmla="*/ 853109 w 8266922"/>
              <a:gd name="connsiteY1144" fmla="*/ 533437 h 7305087"/>
              <a:gd name="connsiteX1145" fmla="*/ 857098 w 8266922"/>
              <a:gd name="connsiteY1145" fmla="*/ 479733 h 7305087"/>
              <a:gd name="connsiteX1146" fmla="*/ 862911 w 8266922"/>
              <a:gd name="connsiteY1146" fmla="*/ 428425 h 7305087"/>
              <a:gd name="connsiteX1147" fmla="*/ 870684 w 8266922"/>
              <a:gd name="connsiteY1147" fmla="*/ 379597 h 7305087"/>
              <a:gd name="connsiteX1148" fmla="*/ 880547 w 8266922"/>
              <a:gd name="connsiteY1148" fmla="*/ 333331 h 7305087"/>
              <a:gd name="connsiteX1149" fmla="*/ 892633 w 8266922"/>
              <a:gd name="connsiteY1149" fmla="*/ 289705 h 7305087"/>
              <a:gd name="connsiteX1150" fmla="*/ 907076 w 8266922"/>
              <a:gd name="connsiteY1150" fmla="*/ 248802 h 7305087"/>
              <a:gd name="connsiteX1151" fmla="*/ 924008 w 8266922"/>
              <a:gd name="connsiteY1151" fmla="*/ 210704 h 7305087"/>
              <a:gd name="connsiteX1152" fmla="*/ 943561 w 8266922"/>
              <a:gd name="connsiteY1152" fmla="*/ 175493 h 7305087"/>
              <a:gd name="connsiteX1153" fmla="*/ 965869 w 8266922"/>
              <a:gd name="connsiteY1153" fmla="*/ 143247 h 7305087"/>
              <a:gd name="connsiteX1154" fmla="*/ 991066 w 8266922"/>
              <a:gd name="connsiteY1154" fmla="*/ 114051 h 7305087"/>
              <a:gd name="connsiteX1155" fmla="*/ 1019280 w 8266922"/>
              <a:gd name="connsiteY1155" fmla="*/ 87986 h 7305087"/>
              <a:gd name="connsiteX1156" fmla="*/ 1050647 w 8266922"/>
              <a:gd name="connsiteY1156" fmla="*/ 65131 h 7305087"/>
              <a:gd name="connsiteX1157" fmla="*/ 1085300 w 8266922"/>
              <a:gd name="connsiteY1157" fmla="*/ 45570 h 7305087"/>
              <a:gd name="connsiteX1158" fmla="*/ 1123371 w 8266922"/>
              <a:gd name="connsiteY1158" fmla="*/ 29382 h 7305087"/>
              <a:gd name="connsiteX1159" fmla="*/ 1164993 w 8266922"/>
              <a:gd name="connsiteY1159" fmla="*/ 16650 h 7305087"/>
              <a:gd name="connsiteX1160" fmla="*/ 1210299 w 8266922"/>
              <a:gd name="connsiteY1160" fmla="*/ 7455 h 7305087"/>
              <a:gd name="connsiteX1161" fmla="*/ 1259419 w 8266922"/>
              <a:gd name="connsiteY1161" fmla="*/ 1877 h 7305087"/>
              <a:gd name="connsiteX1162" fmla="*/ 6747401 w 8266922"/>
              <a:gd name="connsiteY1162" fmla="*/ 0 h 7305087"/>
              <a:gd name="connsiteX1163" fmla="*/ 6800471 w 8266922"/>
              <a:gd name="connsiteY1163" fmla="*/ 1876 h 7305087"/>
              <a:gd name="connsiteX1164" fmla="*/ 6849592 w 8266922"/>
              <a:gd name="connsiteY1164" fmla="*/ 7453 h 7305087"/>
              <a:gd name="connsiteX1165" fmla="*/ 6894897 w 8266922"/>
              <a:gd name="connsiteY1165" fmla="*/ 16648 h 7305087"/>
              <a:gd name="connsiteX1166" fmla="*/ 6936519 w 8266922"/>
              <a:gd name="connsiteY1166" fmla="*/ 29380 h 7305087"/>
              <a:gd name="connsiteX1167" fmla="*/ 6974590 w 8266922"/>
              <a:gd name="connsiteY1167" fmla="*/ 45568 h 7305087"/>
              <a:gd name="connsiteX1168" fmla="*/ 7009243 w 8266922"/>
              <a:gd name="connsiteY1168" fmla="*/ 65130 h 7305087"/>
              <a:gd name="connsiteX1169" fmla="*/ 7040610 w 8266922"/>
              <a:gd name="connsiteY1169" fmla="*/ 87984 h 7305087"/>
              <a:gd name="connsiteX1170" fmla="*/ 7068825 w 8266922"/>
              <a:gd name="connsiteY1170" fmla="*/ 114050 h 7305087"/>
              <a:gd name="connsiteX1171" fmla="*/ 7094021 w 8266922"/>
              <a:gd name="connsiteY1171" fmla="*/ 143246 h 7305087"/>
              <a:gd name="connsiteX1172" fmla="*/ 7116329 w 8266922"/>
              <a:gd name="connsiteY1172" fmla="*/ 175491 h 7305087"/>
              <a:gd name="connsiteX1173" fmla="*/ 7135882 w 8266922"/>
              <a:gd name="connsiteY1173" fmla="*/ 210703 h 7305087"/>
              <a:gd name="connsiteX1174" fmla="*/ 7152814 w 8266922"/>
              <a:gd name="connsiteY1174" fmla="*/ 248801 h 7305087"/>
              <a:gd name="connsiteX1175" fmla="*/ 7167257 w 8266922"/>
              <a:gd name="connsiteY1175" fmla="*/ 289704 h 7305087"/>
              <a:gd name="connsiteX1176" fmla="*/ 7179344 w 8266922"/>
              <a:gd name="connsiteY1176" fmla="*/ 333329 h 7305087"/>
              <a:gd name="connsiteX1177" fmla="*/ 7189207 w 8266922"/>
              <a:gd name="connsiteY1177" fmla="*/ 379596 h 7305087"/>
              <a:gd name="connsiteX1178" fmla="*/ 7196979 w 8266922"/>
              <a:gd name="connsiteY1178" fmla="*/ 428424 h 7305087"/>
              <a:gd name="connsiteX1179" fmla="*/ 7202793 w 8266922"/>
              <a:gd name="connsiteY1179" fmla="*/ 479731 h 7305087"/>
              <a:gd name="connsiteX1180" fmla="*/ 7206781 w 8266922"/>
              <a:gd name="connsiteY1180" fmla="*/ 533435 h 7305087"/>
              <a:gd name="connsiteX1181" fmla="*/ 7209077 w 8266922"/>
              <a:gd name="connsiteY1181" fmla="*/ 589455 h 7305087"/>
              <a:gd name="connsiteX1182" fmla="*/ 7209813 w 8266922"/>
              <a:gd name="connsiteY1182" fmla="*/ 647711 h 7305087"/>
              <a:gd name="connsiteX1183" fmla="*/ 7209113 w 8266922"/>
              <a:gd name="connsiteY1183" fmla="*/ 706216 h 7305087"/>
              <a:gd name="connsiteX1184" fmla="*/ 7206916 w 8266922"/>
              <a:gd name="connsiteY1184" fmla="*/ 762486 h 7305087"/>
              <a:gd name="connsiteX1185" fmla="*/ 7203080 w 8266922"/>
              <a:gd name="connsiteY1185" fmla="*/ 816437 h 7305087"/>
              <a:gd name="connsiteX1186" fmla="*/ 7197459 w 8266922"/>
              <a:gd name="connsiteY1186" fmla="*/ 867986 h 7305087"/>
              <a:gd name="connsiteX1187" fmla="*/ 7189911 w 8266922"/>
              <a:gd name="connsiteY1187" fmla="*/ 917051 h 7305087"/>
              <a:gd name="connsiteX1188" fmla="*/ 7180290 w 8266922"/>
              <a:gd name="connsiteY1188" fmla="*/ 963550 h 7305087"/>
              <a:gd name="connsiteX1189" fmla="*/ 7168453 w 8266922"/>
              <a:gd name="connsiteY1189" fmla="*/ 1007400 h 7305087"/>
              <a:gd name="connsiteX1190" fmla="*/ 7154256 w 8266922"/>
              <a:gd name="connsiteY1190" fmla="*/ 1048517 h 7305087"/>
              <a:gd name="connsiteX1191" fmla="*/ 7137555 w 8266922"/>
              <a:gd name="connsiteY1191" fmla="*/ 1086819 h 7305087"/>
              <a:gd name="connsiteX1192" fmla="*/ 7118206 w 8266922"/>
              <a:gd name="connsiteY1192" fmla="*/ 1122225 h 7305087"/>
              <a:gd name="connsiteX1193" fmla="*/ 7096065 w 8266922"/>
              <a:gd name="connsiteY1193" fmla="*/ 1154652 h 7305087"/>
              <a:gd name="connsiteX1194" fmla="*/ 7070989 w 8266922"/>
              <a:gd name="connsiteY1194" fmla="*/ 1184015 h 7305087"/>
              <a:gd name="connsiteX1195" fmla="*/ 7042832 w 8266922"/>
              <a:gd name="connsiteY1195" fmla="*/ 1210234 h 7305087"/>
              <a:gd name="connsiteX1196" fmla="*/ 7011451 w 8266922"/>
              <a:gd name="connsiteY1196" fmla="*/ 1233224 h 7305087"/>
              <a:gd name="connsiteX1197" fmla="*/ 6976702 w 8266922"/>
              <a:gd name="connsiteY1197" fmla="*/ 1252906 h 7305087"/>
              <a:gd name="connsiteX1198" fmla="*/ 6938442 w 8266922"/>
              <a:gd name="connsiteY1198" fmla="*/ 1269193 h 7305087"/>
              <a:gd name="connsiteX1199" fmla="*/ 6896525 w 8266922"/>
              <a:gd name="connsiteY1199" fmla="*/ 1282004 h 7305087"/>
              <a:gd name="connsiteX1200" fmla="*/ 6850809 w 8266922"/>
              <a:gd name="connsiteY1200" fmla="*/ 1291259 h 7305087"/>
              <a:gd name="connsiteX1201" fmla="*/ 6801149 w 8266922"/>
              <a:gd name="connsiteY1201" fmla="*/ 1296872 h 7305087"/>
              <a:gd name="connsiteX1202" fmla="*/ 6747401 w 8266922"/>
              <a:gd name="connsiteY1202" fmla="*/ 1298760 h 7305087"/>
              <a:gd name="connsiteX1203" fmla="*/ 6747401 w 8266922"/>
              <a:gd name="connsiteY1203" fmla="*/ 1201937 h 7305087"/>
              <a:gd name="connsiteX1204" fmla="*/ 6797086 w 8266922"/>
              <a:gd name="connsiteY1204" fmla="*/ 1199704 h 7305087"/>
              <a:gd name="connsiteX1205" fmla="*/ 6842006 w 8266922"/>
              <a:gd name="connsiteY1205" fmla="*/ 1193083 h 7305087"/>
              <a:gd name="connsiteX1206" fmla="*/ 6882389 w 8266922"/>
              <a:gd name="connsiteY1206" fmla="*/ 1182194 h 7305087"/>
              <a:gd name="connsiteX1207" fmla="*/ 6918460 w 8266922"/>
              <a:gd name="connsiteY1207" fmla="*/ 1167155 h 7305087"/>
              <a:gd name="connsiteX1208" fmla="*/ 6978571 w 8266922"/>
              <a:gd name="connsiteY1208" fmla="*/ 1125095 h 7305087"/>
              <a:gd name="connsiteX1209" fmla="*/ 7024150 w 8266922"/>
              <a:gd name="connsiteY1209" fmla="*/ 1067850 h 7305087"/>
              <a:gd name="connsiteX1210" fmla="*/ 7042056 w 8266922"/>
              <a:gd name="connsiteY1210" fmla="*/ 1033830 h 7305087"/>
              <a:gd name="connsiteX1211" fmla="*/ 7057008 w 8266922"/>
              <a:gd name="connsiteY1211" fmla="*/ 996368 h 7305087"/>
              <a:gd name="connsiteX1212" fmla="*/ 7069232 w 8266922"/>
              <a:gd name="connsiteY1212" fmla="*/ 955584 h 7305087"/>
              <a:gd name="connsiteX1213" fmla="*/ 7078955 w 8266922"/>
              <a:gd name="connsiteY1213" fmla="*/ 911594 h 7305087"/>
              <a:gd name="connsiteX1214" fmla="*/ 7086402 w 8266922"/>
              <a:gd name="connsiteY1214" fmla="*/ 864517 h 7305087"/>
              <a:gd name="connsiteX1215" fmla="*/ 7091801 w 8266922"/>
              <a:gd name="connsiteY1215" fmla="*/ 814473 h 7305087"/>
              <a:gd name="connsiteX1216" fmla="*/ 7095377 w 8266922"/>
              <a:gd name="connsiteY1216" fmla="*/ 761578 h 7305087"/>
              <a:gd name="connsiteX1217" fmla="*/ 7097356 w 8266922"/>
              <a:gd name="connsiteY1217" fmla="*/ 705951 h 7305087"/>
              <a:gd name="connsiteX1218" fmla="*/ 7097966 w 8266922"/>
              <a:gd name="connsiteY1218" fmla="*/ 647711 h 7305087"/>
              <a:gd name="connsiteX1219" fmla="*/ 7097324 w 8266922"/>
              <a:gd name="connsiteY1219" fmla="*/ 590042 h 7305087"/>
              <a:gd name="connsiteX1220" fmla="*/ 7095254 w 8266922"/>
              <a:gd name="connsiteY1220" fmla="*/ 534953 h 7305087"/>
              <a:gd name="connsiteX1221" fmla="*/ 7091544 w 8266922"/>
              <a:gd name="connsiteY1221" fmla="*/ 482560 h 7305087"/>
              <a:gd name="connsiteX1222" fmla="*/ 7085978 w 8266922"/>
              <a:gd name="connsiteY1222" fmla="*/ 432984 h 7305087"/>
              <a:gd name="connsiteX1223" fmla="*/ 7078343 w 8266922"/>
              <a:gd name="connsiteY1223" fmla="*/ 386340 h 7305087"/>
              <a:gd name="connsiteX1224" fmla="*/ 7068425 w 8266922"/>
              <a:gd name="connsiteY1224" fmla="*/ 342749 h 7305087"/>
              <a:gd name="connsiteX1225" fmla="*/ 7056009 w 8266922"/>
              <a:gd name="connsiteY1225" fmla="*/ 302328 h 7305087"/>
              <a:gd name="connsiteX1226" fmla="*/ 7040882 w 8266922"/>
              <a:gd name="connsiteY1226" fmla="*/ 265196 h 7305087"/>
              <a:gd name="connsiteX1227" fmla="*/ 7022829 w 8266922"/>
              <a:gd name="connsiteY1227" fmla="*/ 231470 h 7305087"/>
              <a:gd name="connsiteX1228" fmla="*/ 6977091 w 8266922"/>
              <a:gd name="connsiteY1228" fmla="*/ 174711 h 7305087"/>
              <a:gd name="connsiteX1229" fmla="*/ 6917082 w 8266922"/>
              <a:gd name="connsiteY1229" fmla="*/ 132998 h 7305087"/>
              <a:gd name="connsiteX1230" fmla="*/ 6881190 w 8266922"/>
              <a:gd name="connsiteY1230" fmla="*/ 118079 h 7305087"/>
              <a:gd name="connsiteX1231" fmla="*/ 6841089 w 8266922"/>
              <a:gd name="connsiteY1231" fmla="*/ 107276 h 7305087"/>
              <a:gd name="connsiteX1232" fmla="*/ 6796564 w 8266922"/>
              <a:gd name="connsiteY1232" fmla="*/ 100708 h 7305087"/>
              <a:gd name="connsiteX1233" fmla="*/ 6747401 w 8266922"/>
              <a:gd name="connsiteY1233" fmla="*/ 98492 h 73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Lst>
            <a:rect l="l" t="t" r="r" b="b"/>
            <a:pathLst>
              <a:path w="8266922" h="7305087">
                <a:moveTo>
                  <a:pt x="5241587" y="7031344"/>
                </a:moveTo>
                <a:lnTo>
                  <a:pt x="5448586" y="7031344"/>
                </a:lnTo>
                <a:lnTo>
                  <a:pt x="5448586" y="7204957"/>
                </a:lnTo>
                <a:lnTo>
                  <a:pt x="5241587" y="7204957"/>
                </a:lnTo>
                <a:close/>
                <a:moveTo>
                  <a:pt x="2946862" y="7031344"/>
                </a:moveTo>
                <a:lnTo>
                  <a:pt x="3153861" y="7031344"/>
                </a:lnTo>
                <a:lnTo>
                  <a:pt x="3153861" y="7204957"/>
                </a:lnTo>
                <a:lnTo>
                  <a:pt x="2946862" y="7204957"/>
                </a:lnTo>
                <a:close/>
                <a:moveTo>
                  <a:pt x="4247643" y="6016037"/>
                </a:moveTo>
                <a:lnTo>
                  <a:pt x="4621582" y="6016037"/>
                </a:lnTo>
                <a:lnTo>
                  <a:pt x="4621582" y="6111287"/>
                </a:lnTo>
                <a:lnTo>
                  <a:pt x="4621582" y="7209837"/>
                </a:lnTo>
                <a:lnTo>
                  <a:pt x="4621582" y="7305087"/>
                </a:lnTo>
                <a:lnTo>
                  <a:pt x="4247643" y="7305087"/>
                </a:lnTo>
                <a:lnTo>
                  <a:pt x="4247643" y="7209837"/>
                </a:lnTo>
                <a:lnTo>
                  <a:pt x="4506393" y="7209837"/>
                </a:lnTo>
                <a:lnTo>
                  <a:pt x="4506393" y="6111287"/>
                </a:lnTo>
                <a:lnTo>
                  <a:pt x="4247643" y="6111287"/>
                </a:lnTo>
                <a:close/>
                <a:moveTo>
                  <a:pt x="3773921" y="6016037"/>
                </a:moveTo>
                <a:lnTo>
                  <a:pt x="4147860" y="6016037"/>
                </a:lnTo>
                <a:lnTo>
                  <a:pt x="4147860" y="6111287"/>
                </a:lnTo>
                <a:lnTo>
                  <a:pt x="3889111" y="6111287"/>
                </a:lnTo>
                <a:lnTo>
                  <a:pt x="3889111" y="7209837"/>
                </a:lnTo>
                <a:lnTo>
                  <a:pt x="4147860" y="7209837"/>
                </a:lnTo>
                <a:lnTo>
                  <a:pt x="4147860" y="7305087"/>
                </a:lnTo>
                <a:lnTo>
                  <a:pt x="3773921" y="7305087"/>
                </a:lnTo>
                <a:lnTo>
                  <a:pt x="3773921" y="7209837"/>
                </a:lnTo>
                <a:lnTo>
                  <a:pt x="3773921" y="6111287"/>
                </a:lnTo>
                <a:close/>
                <a:moveTo>
                  <a:pt x="6688042" y="5528924"/>
                </a:moveTo>
                <a:lnTo>
                  <a:pt x="6895043" y="5528924"/>
                </a:lnTo>
                <a:lnTo>
                  <a:pt x="6895043" y="5702536"/>
                </a:lnTo>
                <a:lnTo>
                  <a:pt x="6688042" y="5702536"/>
                </a:lnTo>
                <a:close/>
                <a:moveTo>
                  <a:pt x="3990746" y="5378675"/>
                </a:moveTo>
                <a:lnTo>
                  <a:pt x="4895538" y="5378675"/>
                </a:lnTo>
                <a:lnTo>
                  <a:pt x="4895538" y="5485512"/>
                </a:lnTo>
                <a:lnTo>
                  <a:pt x="3990746" y="5485512"/>
                </a:lnTo>
                <a:close/>
                <a:moveTo>
                  <a:pt x="1270097" y="5378675"/>
                </a:moveTo>
                <a:lnTo>
                  <a:pt x="2174890" y="5378675"/>
                </a:lnTo>
                <a:lnTo>
                  <a:pt x="2174890" y="5485512"/>
                </a:lnTo>
                <a:lnTo>
                  <a:pt x="1270097" y="5485512"/>
                </a:lnTo>
                <a:close/>
                <a:moveTo>
                  <a:pt x="3990746" y="5029777"/>
                </a:moveTo>
                <a:lnTo>
                  <a:pt x="4895538" y="5029777"/>
                </a:lnTo>
                <a:lnTo>
                  <a:pt x="4895538" y="5136615"/>
                </a:lnTo>
                <a:lnTo>
                  <a:pt x="3990746" y="5136615"/>
                </a:lnTo>
                <a:close/>
                <a:moveTo>
                  <a:pt x="1270097" y="5029777"/>
                </a:moveTo>
                <a:lnTo>
                  <a:pt x="2174890" y="5029777"/>
                </a:lnTo>
                <a:lnTo>
                  <a:pt x="2174890" y="5136615"/>
                </a:lnTo>
                <a:lnTo>
                  <a:pt x="1270097" y="5136615"/>
                </a:lnTo>
                <a:close/>
                <a:moveTo>
                  <a:pt x="6062007" y="4507277"/>
                </a:moveTo>
                <a:lnTo>
                  <a:pt x="6115077" y="4509153"/>
                </a:lnTo>
                <a:lnTo>
                  <a:pt x="6164198" y="4514730"/>
                </a:lnTo>
                <a:lnTo>
                  <a:pt x="6209503" y="4523925"/>
                </a:lnTo>
                <a:lnTo>
                  <a:pt x="6251125" y="4536657"/>
                </a:lnTo>
                <a:lnTo>
                  <a:pt x="6289196" y="4552845"/>
                </a:lnTo>
                <a:lnTo>
                  <a:pt x="6323849" y="4572406"/>
                </a:lnTo>
                <a:lnTo>
                  <a:pt x="6355216" y="4595261"/>
                </a:lnTo>
                <a:lnTo>
                  <a:pt x="6383431" y="4621327"/>
                </a:lnTo>
                <a:lnTo>
                  <a:pt x="6408627" y="4650523"/>
                </a:lnTo>
                <a:lnTo>
                  <a:pt x="6430935" y="4682768"/>
                </a:lnTo>
                <a:lnTo>
                  <a:pt x="6450488" y="4717980"/>
                </a:lnTo>
                <a:lnTo>
                  <a:pt x="6467420" y="4756077"/>
                </a:lnTo>
                <a:lnTo>
                  <a:pt x="6481863" y="4796980"/>
                </a:lnTo>
                <a:lnTo>
                  <a:pt x="6493950" y="4840605"/>
                </a:lnTo>
                <a:lnTo>
                  <a:pt x="6503813" y="4886873"/>
                </a:lnTo>
                <a:lnTo>
                  <a:pt x="6511585" y="4935701"/>
                </a:lnTo>
                <a:lnTo>
                  <a:pt x="6517399" y="4987008"/>
                </a:lnTo>
                <a:lnTo>
                  <a:pt x="6521387" y="5040712"/>
                </a:lnTo>
                <a:lnTo>
                  <a:pt x="6523683" y="5096732"/>
                </a:lnTo>
                <a:lnTo>
                  <a:pt x="6524419" y="5154988"/>
                </a:lnTo>
                <a:lnTo>
                  <a:pt x="6523719" y="5213493"/>
                </a:lnTo>
                <a:lnTo>
                  <a:pt x="6521522" y="5269763"/>
                </a:lnTo>
                <a:lnTo>
                  <a:pt x="6517686" y="5323713"/>
                </a:lnTo>
                <a:lnTo>
                  <a:pt x="6512065" y="5375263"/>
                </a:lnTo>
                <a:lnTo>
                  <a:pt x="6504517" y="5424328"/>
                </a:lnTo>
                <a:lnTo>
                  <a:pt x="6494896" y="5470827"/>
                </a:lnTo>
                <a:lnTo>
                  <a:pt x="6483059" y="5514676"/>
                </a:lnTo>
                <a:lnTo>
                  <a:pt x="6468862" y="5555794"/>
                </a:lnTo>
                <a:lnTo>
                  <a:pt x="6452162" y="5594097"/>
                </a:lnTo>
                <a:lnTo>
                  <a:pt x="6432813" y="5629503"/>
                </a:lnTo>
                <a:lnTo>
                  <a:pt x="6410672" y="5661929"/>
                </a:lnTo>
                <a:lnTo>
                  <a:pt x="6385595" y="5691293"/>
                </a:lnTo>
                <a:lnTo>
                  <a:pt x="6357438" y="5717511"/>
                </a:lnTo>
                <a:lnTo>
                  <a:pt x="6326057" y="5740502"/>
                </a:lnTo>
                <a:lnTo>
                  <a:pt x="6291309" y="5760183"/>
                </a:lnTo>
                <a:lnTo>
                  <a:pt x="6253048" y="5776470"/>
                </a:lnTo>
                <a:lnTo>
                  <a:pt x="6211131" y="5789282"/>
                </a:lnTo>
                <a:lnTo>
                  <a:pt x="6165415" y="5798536"/>
                </a:lnTo>
                <a:lnTo>
                  <a:pt x="6115755" y="5804149"/>
                </a:lnTo>
                <a:lnTo>
                  <a:pt x="6062007" y="5806038"/>
                </a:lnTo>
                <a:lnTo>
                  <a:pt x="6062007" y="5709215"/>
                </a:lnTo>
                <a:lnTo>
                  <a:pt x="6111692" y="5706982"/>
                </a:lnTo>
                <a:lnTo>
                  <a:pt x="6156613" y="5700361"/>
                </a:lnTo>
                <a:lnTo>
                  <a:pt x="6196995" y="5689472"/>
                </a:lnTo>
                <a:lnTo>
                  <a:pt x="6233066" y="5674432"/>
                </a:lnTo>
                <a:lnTo>
                  <a:pt x="6293177" y="5632372"/>
                </a:lnTo>
                <a:lnTo>
                  <a:pt x="6338757" y="5575128"/>
                </a:lnTo>
                <a:lnTo>
                  <a:pt x="6356662" y="5541107"/>
                </a:lnTo>
                <a:lnTo>
                  <a:pt x="6371614" y="5503645"/>
                </a:lnTo>
                <a:lnTo>
                  <a:pt x="6383838" y="5462861"/>
                </a:lnTo>
                <a:lnTo>
                  <a:pt x="6393561" y="5418871"/>
                </a:lnTo>
                <a:lnTo>
                  <a:pt x="6401008" y="5371794"/>
                </a:lnTo>
                <a:lnTo>
                  <a:pt x="6406407" y="5321750"/>
                </a:lnTo>
                <a:lnTo>
                  <a:pt x="6409983" y="5268855"/>
                </a:lnTo>
                <a:lnTo>
                  <a:pt x="6411962" y="5213228"/>
                </a:lnTo>
                <a:lnTo>
                  <a:pt x="6412572" y="5154988"/>
                </a:lnTo>
                <a:lnTo>
                  <a:pt x="6411930" y="5097319"/>
                </a:lnTo>
                <a:lnTo>
                  <a:pt x="6409860" y="5042230"/>
                </a:lnTo>
                <a:lnTo>
                  <a:pt x="6406150" y="4989837"/>
                </a:lnTo>
                <a:lnTo>
                  <a:pt x="6400584" y="4940261"/>
                </a:lnTo>
                <a:lnTo>
                  <a:pt x="6392949" y="4893617"/>
                </a:lnTo>
                <a:lnTo>
                  <a:pt x="6383031" y="4850025"/>
                </a:lnTo>
                <a:lnTo>
                  <a:pt x="6370615" y="4809604"/>
                </a:lnTo>
                <a:lnTo>
                  <a:pt x="6355488" y="4772472"/>
                </a:lnTo>
                <a:lnTo>
                  <a:pt x="6337435" y="4738746"/>
                </a:lnTo>
                <a:lnTo>
                  <a:pt x="6291697" y="4681987"/>
                </a:lnTo>
                <a:lnTo>
                  <a:pt x="6231688" y="4640273"/>
                </a:lnTo>
                <a:lnTo>
                  <a:pt x="6195796" y="4625355"/>
                </a:lnTo>
                <a:lnTo>
                  <a:pt x="6155695" y="4614552"/>
                </a:lnTo>
                <a:lnTo>
                  <a:pt x="6111170" y="4607983"/>
                </a:lnTo>
                <a:lnTo>
                  <a:pt x="6062007" y="4605768"/>
                </a:lnTo>
                <a:close/>
                <a:moveTo>
                  <a:pt x="5970138" y="4507277"/>
                </a:moveTo>
                <a:lnTo>
                  <a:pt x="5970138" y="4605768"/>
                </a:lnTo>
                <a:lnTo>
                  <a:pt x="5921252" y="4607983"/>
                </a:lnTo>
                <a:lnTo>
                  <a:pt x="5876971" y="4614552"/>
                </a:lnTo>
                <a:lnTo>
                  <a:pt x="5837085" y="4625355"/>
                </a:lnTo>
                <a:lnTo>
                  <a:pt x="5801379" y="4640273"/>
                </a:lnTo>
                <a:lnTo>
                  <a:pt x="5741664" y="4681987"/>
                </a:lnTo>
                <a:lnTo>
                  <a:pt x="5696130" y="4738746"/>
                </a:lnTo>
                <a:lnTo>
                  <a:pt x="5678151" y="4772472"/>
                </a:lnTo>
                <a:lnTo>
                  <a:pt x="5663081" y="4809604"/>
                </a:lnTo>
                <a:lnTo>
                  <a:pt x="5650709" y="4850025"/>
                </a:lnTo>
                <a:lnTo>
                  <a:pt x="5640821" y="4893617"/>
                </a:lnTo>
                <a:lnTo>
                  <a:pt x="5633207" y="4940261"/>
                </a:lnTo>
                <a:lnTo>
                  <a:pt x="5627654" y="4989837"/>
                </a:lnTo>
                <a:lnTo>
                  <a:pt x="5623950" y="5042230"/>
                </a:lnTo>
                <a:lnTo>
                  <a:pt x="5621883" y="5097319"/>
                </a:lnTo>
                <a:lnTo>
                  <a:pt x="5621241" y="5154988"/>
                </a:lnTo>
                <a:lnTo>
                  <a:pt x="5621867" y="5213228"/>
                </a:lnTo>
                <a:lnTo>
                  <a:pt x="5623889" y="5268855"/>
                </a:lnTo>
                <a:lnTo>
                  <a:pt x="5627526" y="5321750"/>
                </a:lnTo>
                <a:lnTo>
                  <a:pt x="5632995" y="5371794"/>
                </a:lnTo>
                <a:lnTo>
                  <a:pt x="5640516" y="5418871"/>
                </a:lnTo>
                <a:lnTo>
                  <a:pt x="5650305" y="5462861"/>
                </a:lnTo>
                <a:lnTo>
                  <a:pt x="5662582" y="5503645"/>
                </a:lnTo>
                <a:lnTo>
                  <a:pt x="5677564" y="5541107"/>
                </a:lnTo>
                <a:lnTo>
                  <a:pt x="5695470" y="5575128"/>
                </a:lnTo>
                <a:lnTo>
                  <a:pt x="5740924" y="5632372"/>
                </a:lnTo>
                <a:lnTo>
                  <a:pt x="5800690" y="5674432"/>
                </a:lnTo>
                <a:lnTo>
                  <a:pt x="5836485" y="5689472"/>
                </a:lnTo>
                <a:lnTo>
                  <a:pt x="5876513" y="5700361"/>
                </a:lnTo>
                <a:lnTo>
                  <a:pt x="5920991" y="5706982"/>
                </a:lnTo>
                <a:lnTo>
                  <a:pt x="5970138" y="5709215"/>
                </a:lnTo>
                <a:lnTo>
                  <a:pt x="5970138" y="5806038"/>
                </a:lnTo>
                <a:lnTo>
                  <a:pt x="5916615" y="5804149"/>
                </a:lnTo>
                <a:lnTo>
                  <a:pt x="5867135" y="5798536"/>
                </a:lnTo>
                <a:lnTo>
                  <a:pt x="5821555" y="5789282"/>
                </a:lnTo>
                <a:lnTo>
                  <a:pt x="5779737" y="5776470"/>
                </a:lnTo>
                <a:lnTo>
                  <a:pt x="5741540" y="5760183"/>
                </a:lnTo>
                <a:lnTo>
                  <a:pt x="5706823" y="5740502"/>
                </a:lnTo>
                <a:lnTo>
                  <a:pt x="5675446" y="5717511"/>
                </a:lnTo>
                <a:lnTo>
                  <a:pt x="5647270" y="5691293"/>
                </a:lnTo>
                <a:lnTo>
                  <a:pt x="5622154" y="5661929"/>
                </a:lnTo>
                <a:lnTo>
                  <a:pt x="5599957" y="5629503"/>
                </a:lnTo>
                <a:lnTo>
                  <a:pt x="5580540" y="5594097"/>
                </a:lnTo>
                <a:lnTo>
                  <a:pt x="5563762" y="5555794"/>
                </a:lnTo>
                <a:lnTo>
                  <a:pt x="5549483" y="5514676"/>
                </a:lnTo>
                <a:lnTo>
                  <a:pt x="5537563" y="5470827"/>
                </a:lnTo>
                <a:lnTo>
                  <a:pt x="5527862" y="5424328"/>
                </a:lnTo>
                <a:lnTo>
                  <a:pt x="5520239" y="5375263"/>
                </a:lnTo>
                <a:lnTo>
                  <a:pt x="5514554" y="5323713"/>
                </a:lnTo>
                <a:lnTo>
                  <a:pt x="5510667" y="5269763"/>
                </a:lnTo>
                <a:lnTo>
                  <a:pt x="5508437" y="5213493"/>
                </a:lnTo>
                <a:lnTo>
                  <a:pt x="5507726" y="5154988"/>
                </a:lnTo>
                <a:lnTo>
                  <a:pt x="5508461" y="5096732"/>
                </a:lnTo>
                <a:lnTo>
                  <a:pt x="5510757" y="5040712"/>
                </a:lnTo>
                <a:lnTo>
                  <a:pt x="5514746" y="4987008"/>
                </a:lnTo>
                <a:lnTo>
                  <a:pt x="5520559" y="4935701"/>
                </a:lnTo>
                <a:lnTo>
                  <a:pt x="5528332" y="4886873"/>
                </a:lnTo>
                <a:lnTo>
                  <a:pt x="5538195" y="4840605"/>
                </a:lnTo>
                <a:lnTo>
                  <a:pt x="5550281" y="4796980"/>
                </a:lnTo>
                <a:lnTo>
                  <a:pt x="5564724" y="4756077"/>
                </a:lnTo>
                <a:lnTo>
                  <a:pt x="5581656" y="4717980"/>
                </a:lnTo>
                <a:lnTo>
                  <a:pt x="5601209" y="4682768"/>
                </a:lnTo>
                <a:lnTo>
                  <a:pt x="5623517" y="4650523"/>
                </a:lnTo>
                <a:lnTo>
                  <a:pt x="5648713" y="4621327"/>
                </a:lnTo>
                <a:lnTo>
                  <a:pt x="5676928" y="4595261"/>
                </a:lnTo>
                <a:lnTo>
                  <a:pt x="5708295" y="4572406"/>
                </a:lnTo>
                <a:lnTo>
                  <a:pt x="5742948" y="4552845"/>
                </a:lnTo>
                <a:lnTo>
                  <a:pt x="5781019" y="4536657"/>
                </a:lnTo>
                <a:lnTo>
                  <a:pt x="5822641" y="4523925"/>
                </a:lnTo>
                <a:lnTo>
                  <a:pt x="5867946" y="4514730"/>
                </a:lnTo>
                <a:lnTo>
                  <a:pt x="5917067" y="4509153"/>
                </a:lnTo>
                <a:close/>
                <a:moveTo>
                  <a:pt x="2916306" y="4507277"/>
                </a:moveTo>
                <a:lnTo>
                  <a:pt x="2969376" y="4509153"/>
                </a:lnTo>
                <a:lnTo>
                  <a:pt x="3018497" y="4514730"/>
                </a:lnTo>
                <a:lnTo>
                  <a:pt x="3063803" y="4523925"/>
                </a:lnTo>
                <a:lnTo>
                  <a:pt x="3105426" y="4536657"/>
                </a:lnTo>
                <a:lnTo>
                  <a:pt x="3143497" y="4552845"/>
                </a:lnTo>
                <a:lnTo>
                  <a:pt x="3178150" y="4572406"/>
                </a:lnTo>
                <a:lnTo>
                  <a:pt x="3209516" y="4595261"/>
                </a:lnTo>
                <a:lnTo>
                  <a:pt x="3237732" y="4621327"/>
                </a:lnTo>
                <a:lnTo>
                  <a:pt x="3262928" y="4650523"/>
                </a:lnTo>
                <a:lnTo>
                  <a:pt x="3285236" y="4682768"/>
                </a:lnTo>
                <a:lnTo>
                  <a:pt x="3304789" y="4717980"/>
                </a:lnTo>
                <a:lnTo>
                  <a:pt x="3321718" y="4756077"/>
                </a:lnTo>
                <a:lnTo>
                  <a:pt x="3336161" y="4796980"/>
                </a:lnTo>
                <a:lnTo>
                  <a:pt x="3348248" y="4840605"/>
                </a:lnTo>
                <a:lnTo>
                  <a:pt x="3358111" y="4886873"/>
                </a:lnTo>
                <a:lnTo>
                  <a:pt x="3365883" y="4935701"/>
                </a:lnTo>
                <a:lnTo>
                  <a:pt x="3371697" y="4987008"/>
                </a:lnTo>
                <a:lnTo>
                  <a:pt x="3375685" y="5040712"/>
                </a:lnTo>
                <a:lnTo>
                  <a:pt x="3377981" y="5096732"/>
                </a:lnTo>
                <a:lnTo>
                  <a:pt x="3378717" y="5154988"/>
                </a:lnTo>
                <a:lnTo>
                  <a:pt x="3378017" y="5213493"/>
                </a:lnTo>
                <a:lnTo>
                  <a:pt x="3375820" y="5269763"/>
                </a:lnTo>
                <a:lnTo>
                  <a:pt x="3371984" y="5323713"/>
                </a:lnTo>
                <a:lnTo>
                  <a:pt x="3366363" y="5375263"/>
                </a:lnTo>
                <a:lnTo>
                  <a:pt x="3358815" y="5424328"/>
                </a:lnTo>
                <a:lnTo>
                  <a:pt x="3349194" y="5470827"/>
                </a:lnTo>
                <a:lnTo>
                  <a:pt x="3337357" y="5514676"/>
                </a:lnTo>
                <a:lnTo>
                  <a:pt x="3323160" y="5555794"/>
                </a:lnTo>
                <a:lnTo>
                  <a:pt x="3306462" y="5594097"/>
                </a:lnTo>
                <a:lnTo>
                  <a:pt x="3287114" y="5629503"/>
                </a:lnTo>
                <a:lnTo>
                  <a:pt x="3264973" y="5661929"/>
                </a:lnTo>
                <a:lnTo>
                  <a:pt x="3239895" y="5691293"/>
                </a:lnTo>
                <a:lnTo>
                  <a:pt x="3211738" y="5717511"/>
                </a:lnTo>
                <a:lnTo>
                  <a:pt x="3180357" y="5740502"/>
                </a:lnTo>
                <a:lnTo>
                  <a:pt x="3145609" y="5760183"/>
                </a:lnTo>
                <a:lnTo>
                  <a:pt x="3107348" y="5776470"/>
                </a:lnTo>
                <a:lnTo>
                  <a:pt x="3065431" y="5789282"/>
                </a:lnTo>
                <a:lnTo>
                  <a:pt x="3019716" y="5798536"/>
                </a:lnTo>
                <a:lnTo>
                  <a:pt x="2970054" y="5804149"/>
                </a:lnTo>
                <a:lnTo>
                  <a:pt x="2916306" y="5806038"/>
                </a:lnTo>
                <a:lnTo>
                  <a:pt x="2916306" y="5709215"/>
                </a:lnTo>
                <a:lnTo>
                  <a:pt x="2965992" y="5706982"/>
                </a:lnTo>
                <a:lnTo>
                  <a:pt x="3010913" y="5700361"/>
                </a:lnTo>
                <a:lnTo>
                  <a:pt x="3051294" y="5689472"/>
                </a:lnTo>
                <a:lnTo>
                  <a:pt x="3087367" y="5674432"/>
                </a:lnTo>
                <a:lnTo>
                  <a:pt x="3147477" y="5632372"/>
                </a:lnTo>
                <a:lnTo>
                  <a:pt x="3193057" y="5575128"/>
                </a:lnTo>
                <a:lnTo>
                  <a:pt x="3210963" y="5541107"/>
                </a:lnTo>
                <a:lnTo>
                  <a:pt x="3225916" y="5503645"/>
                </a:lnTo>
                <a:lnTo>
                  <a:pt x="3238139" y="5462861"/>
                </a:lnTo>
                <a:lnTo>
                  <a:pt x="3247862" y="5418871"/>
                </a:lnTo>
                <a:lnTo>
                  <a:pt x="3255309" y="5371794"/>
                </a:lnTo>
                <a:lnTo>
                  <a:pt x="3260708" y="5321750"/>
                </a:lnTo>
                <a:lnTo>
                  <a:pt x="3264284" y="5268855"/>
                </a:lnTo>
                <a:lnTo>
                  <a:pt x="3266263" y="5213228"/>
                </a:lnTo>
                <a:lnTo>
                  <a:pt x="3266872" y="5154988"/>
                </a:lnTo>
                <a:lnTo>
                  <a:pt x="3266231" y="5097319"/>
                </a:lnTo>
                <a:lnTo>
                  <a:pt x="3264161" y="5042230"/>
                </a:lnTo>
                <a:lnTo>
                  <a:pt x="3260451" y="4989837"/>
                </a:lnTo>
                <a:lnTo>
                  <a:pt x="3254885" y="4940261"/>
                </a:lnTo>
                <a:lnTo>
                  <a:pt x="3247250" y="4893617"/>
                </a:lnTo>
                <a:lnTo>
                  <a:pt x="3237332" y="4850025"/>
                </a:lnTo>
                <a:lnTo>
                  <a:pt x="3224916" y="4809604"/>
                </a:lnTo>
                <a:lnTo>
                  <a:pt x="3209789" y="4772472"/>
                </a:lnTo>
                <a:lnTo>
                  <a:pt x="3191735" y="4738746"/>
                </a:lnTo>
                <a:lnTo>
                  <a:pt x="3145998" y="4681987"/>
                </a:lnTo>
                <a:lnTo>
                  <a:pt x="3085988" y="4640273"/>
                </a:lnTo>
                <a:lnTo>
                  <a:pt x="3050095" y="4625355"/>
                </a:lnTo>
                <a:lnTo>
                  <a:pt x="3009995" y="4614552"/>
                </a:lnTo>
                <a:lnTo>
                  <a:pt x="2965470" y="4607983"/>
                </a:lnTo>
                <a:lnTo>
                  <a:pt x="2916306" y="4605768"/>
                </a:lnTo>
                <a:close/>
                <a:moveTo>
                  <a:pt x="2824439" y="4507277"/>
                </a:moveTo>
                <a:lnTo>
                  <a:pt x="2824439" y="4605768"/>
                </a:lnTo>
                <a:lnTo>
                  <a:pt x="2775553" y="4607983"/>
                </a:lnTo>
                <a:lnTo>
                  <a:pt x="2731271" y="4614552"/>
                </a:lnTo>
                <a:lnTo>
                  <a:pt x="2691385" y="4625355"/>
                </a:lnTo>
                <a:lnTo>
                  <a:pt x="2655680" y="4640273"/>
                </a:lnTo>
                <a:lnTo>
                  <a:pt x="2595965" y="4681987"/>
                </a:lnTo>
                <a:lnTo>
                  <a:pt x="2550430" y="4738746"/>
                </a:lnTo>
                <a:lnTo>
                  <a:pt x="2532451" y="4772472"/>
                </a:lnTo>
                <a:lnTo>
                  <a:pt x="2517381" y="4809604"/>
                </a:lnTo>
                <a:lnTo>
                  <a:pt x="2505009" y="4850025"/>
                </a:lnTo>
                <a:lnTo>
                  <a:pt x="2495121" y="4893617"/>
                </a:lnTo>
                <a:lnTo>
                  <a:pt x="2487508" y="4940261"/>
                </a:lnTo>
                <a:lnTo>
                  <a:pt x="2481955" y="4989837"/>
                </a:lnTo>
                <a:lnTo>
                  <a:pt x="2478251" y="5042230"/>
                </a:lnTo>
                <a:lnTo>
                  <a:pt x="2476183" y="5097319"/>
                </a:lnTo>
                <a:lnTo>
                  <a:pt x="2475541" y="5154988"/>
                </a:lnTo>
                <a:lnTo>
                  <a:pt x="2476168" y="5213228"/>
                </a:lnTo>
                <a:lnTo>
                  <a:pt x="2478189" y="5268855"/>
                </a:lnTo>
                <a:lnTo>
                  <a:pt x="2481827" y="5321750"/>
                </a:lnTo>
                <a:lnTo>
                  <a:pt x="2487296" y="5371794"/>
                </a:lnTo>
                <a:lnTo>
                  <a:pt x="2494816" y="5418871"/>
                </a:lnTo>
                <a:lnTo>
                  <a:pt x="2504605" y="5462861"/>
                </a:lnTo>
                <a:lnTo>
                  <a:pt x="2516882" y="5503645"/>
                </a:lnTo>
                <a:lnTo>
                  <a:pt x="2531865" y="5541107"/>
                </a:lnTo>
                <a:lnTo>
                  <a:pt x="2549770" y="5575128"/>
                </a:lnTo>
                <a:lnTo>
                  <a:pt x="2595224" y="5632372"/>
                </a:lnTo>
                <a:lnTo>
                  <a:pt x="2654990" y="5674432"/>
                </a:lnTo>
                <a:lnTo>
                  <a:pt x="2690785" y="5689472"/>
                </a:lnTo>
                <a:lnTo>
                  <a:pt x="2730814" y="5700361"/>
                </a:lnTo>
                <a:lnTo>
                  <a:pt x="2775291" y="5706982"/>
                </a:lnTo>
                <a:lnTo>
                  <a:pt x="2824439" y="5709215"/>
                </a:lnTo>
                <a:lnTo>
                  <a:pt x="2824439" y="5806038"/>
                </a:lnTo>
                <a:lnTo>
                  <a:pt x="2770915" y="5804149"/>
                </a:lnTo>
                <a:lnTo>
                  <a:pt x="2721436" y="5798536"/>
                </a:lnTo>
                <a:lnTo>
                  <a:pt x="2675855" y="5789282"/>
                </a:lnTo>
                <a:lnTo>
                  <a:pt x="2634037" y="5776470"/>
                </a:lnTo>
                <a:lnTo>
                  <a:pt x="2595840" y="5760183"/>
                </a:lnTo>
                <a:lnTo>
                  <a:pt x="2561122" y="5740502"/>
                </a:lnTo>
                <a:lnTo>
                  <a:pt x="2529747" y="5717511"/>
                </a:lnTo>
                <a:lnTo>
                  <a:pt x="2501571" y="5691293"/>
                </a:lnTo>
                <a:lnTo>
                  <a:pt x="2476454" y="5661929"/>
                </a:lnTo>
                <a:lnTo>
                  <a:pt x="2454257" y="5629503"/>
                </a:lnTo>
                <a:lnTo>
                  <a:pt x="2434840" y="5594097"/>
                </a:lnTo>
                <a:lnTo>
                  <a:pt x="2418062" y="5555794"/>
                </a:lnTo>
                <a:lnTo>
                  <a:pt x="2403783" y="5514676"/>
                </a:lnTo>
                <a:lnTo>
                  <a:pt x="2391863" y="5470827"/>
                </a:lnTo>
                <a:lnTo>
                  <a:pt x="2382162" y="5424328"/>
                </a:lnTo>
                <a:lnTo>
                  <a:pt x="2374539" y="5375263"/>
                </a:lnTo>
                <a:lnTo>
                  <a:pt x="2368854" y="5323713"/>
                </a:lnTo>
                <a:lnTo>
                  <a:pt x="2364967" y="5269763"/>
                </a:lnTo>
                <a:lnTo>
                  <a:pt x="2362736" y="5213493"/>
                </a:lnTo>
                <a:lnTo>
                  <a:pt x="2362026" y="5154988"/>
                </a:lnTo>
                <a:lnTo>
                  <a:pt x="2362760" y="5096732"/>
                </a:lnTo>
                <a:lnTo>
                  <a:pt x="2365057" y="5040712"/>
                </a:lnTo>
                <a:lnTo>
                  <a:pt x="2369046" y="4987008"/>
                </a:lnTo>
                <a:lnTo>
                  <a:pt x="2374859" y="4935701"/>
                </a:lnTo>
                <a:lnTo>
                  <a:pt x="2382632" y="4886873"/>
                </a:lnTo>
                <a:lnTo>
                  <a:pt x="2392495" y="4840605"/>
                </a:lnTo>
                <a:lnTo>
                  <a:pt x="2404581" y="4796980"/>
                </a:lnTo>
                <a:lnTo>
                  <a:pt x="2419024" y="4756077"/>
                </a:lnTo>
                <a:lnTo>
                  <a:pt x="2435956" y="4717980"/>
                </a:lnTo>
                <a:lnTo>
                  <a:pt x="2455509" y="4682768"/>
                </a:lnTo>
                <a:lnTo>
                  <a:pt x="2477817" y="4650523"/>
                </a:lnTo>
                <a:lnTo>
                  <a:pt x="2503013" y="4621327"/>
                </a:lnTo>
                <a:lnTo>
                  <a:pt x="2531228" y="4595261"/>
                </a:lnTo>
                <a:lnTo>
                  <a:pt x="2562596" y="4572406"/>
                </a:lnTo>
                <a:lnTo>
                  <a:pt x="2597248" y="4552845"/>
                </a:lnTo>
                <a:lnTo>
                  <a:pt x="2635318" y="4536657"/>
                </a:lnTo>
                <a:lnTo>
                  <a:pt x="2676942" y="4523925"/>
                </a:lnTo>
                <a:lnTo>
                  <a:pt x="2722247" y="4514730"/>
                </a:lnTo>
                <a:lnTo>
                  <a:pt x="2771367" y="4509153"/>
                </a:lnTo>
                <a:close/>
                <a:moveTo>
                  <a:pt x="2506783" y="4026496"/>
                </a:moveTo>
                <a:lnTo>
                  <a:pt x="2549012" y="4030174"/>
                </a:lnTo>
                <a:lnTo>
                  <a:pt x="2581695" y="4043398"/>
                </a:lnTo>
                <a:lnTo>
                  <a:pt x="2602796" y="4069456"/>
                </a:lnTo>
                <a:lnTo>
                  <a:pt x="2610283" y="4111633"/>
                </a:lnTo>
                <a:lnTo>
                  <a:pt x="2602796" y="4155741"/>
                </a:lnTo>
                <a:lnTo>
                  <a:pt x="2581695" y="4182790"/>
                </a:lnTo>
                <a:lnTo>
                  <a:pt x="2549012" y="4196380"/>
                </a:lnTo>
                <a:lnTo>
                  <a:pt x="2506783" y="4200110"/>
                </a:lnTo>
                <a:lnTo>
                  <a:pt x="2464554" y="4196380"/>
                </a:lnTo>
                <a:lnTo>
                  <a:pt x="2431870" y="4182790"/>
                </a:lnTo>
                <a:lnTo>
                  <a:pt x="2410769" y="4155741"/>
                </a:lnTo>
                <a:lnTo>
                  <a:pt x="2403283" y="4111633"/>
                </a:lnTo>
                <a:lnTo>
                  <a:pt x="2411003" y="4069456"/>
                </a:lnTo>
                <a:lnTo>
                  <a:pt x="2432496" y="4043398"/>
                </a:lnTo>
                <a:lnTo>
                  <a:pt x="2465257" y="4030174"/>
                </a:lnTo>
                <a:close/>
                <a:moveTo>
                  <a:pt x="2506783" y="3325365"/>
                </a:moveTo>
                <a:lnTo>
                  <a:pt x="2549012" y="3328834"/>
                </a:lnTo>
                <a:lnTo>
                  <a:pt x="2581695" y="3341849"/>
                </a:lnTo>
                <a:lnTo>
                  <a:pt x="2602796" y="3368324"/>
                </a:lnTo>
                <a:lnTo>
                  <a:pt x="2610283" y="3412171"/>
                </a:lnTo>
                <a:lnTo>
                  <a:pt x="2602796" y="3454609"/>
                </a:lnTo>
                <a:lnTo>
                  <a:pt x="2581695" y="3481240"/>
                </a:lnTo>
                <a:lnTo>
                  <a:pt x="2549012" y="3495038"/>
                </a:lnTo>
                <a:lnTo>
                  <a:pt x="2506783" y="3498977"/>
                </a:lnTo>
                <a:lnTo>
                  <a:pt x="2465519" y="3495038"/>
                </a:lnTo>
                <a:lnTo>
                  <a:pt x="2433331" y="3481240"/>
                </a:lnTo>
                <a:lnTo>
                  <a:pt x="2412411" y="3454609"/>
                </a:lnTo>
                <a:lnTo>
                  <a:pt x="2404952" y="3412171"/>
                </a:lnTo>
                <a:lnTo>
                  <a:pt x="2412411" y="3368324"/>
                </a:lnTo>
                <a:lnTo>
                  <a:pt x="2433331" y="3341849"/>
                </a:lnTo>
                <a:lnTo>
                  <a:pt x="2465519" y="3328834"/>
                </a:lnTo>
                <a:close/>
                <a:moveTo>
                  <a:pt x="3576931" y="3011218"/>
                </a:moveTo>
                <a:lnTo>
                  <a:pt x="3950858" y="3011218"/>
                </a:lnTo>
                <a:lnTo>
                  <a:pt x="3950858" y="3106468"/>
                </a:lnTo>
                <a:lnTo>
                  <a:pt x="3950858" y="4205018"/>
                </a:lnTo>
                <a:lnTo>
                  <a:pt x="3950858" y="4300268"/>
                </a:lnTo>
                <a:lnTo>
                  <a:pt x="3576931" y="4300268"/>
                </a:lnTo>
                <a:lnTo>
                  <a:pt x="3576931" y="4205018"/>
                </a:lnTo>
                <a:lnTo>
                  <a:pt x="3835681" y="4205018"/>
                </a:lnTo>
                <a:lnTo>
                  <a:pt x="3835681" y="3106468"/>
                </a:lnTo>
                <a:lnTo>
                  <a:pt x="3576931" y="3106468"/>
                </a:lnTo>
                <a:close/>
                <a:moveTo>
                  <a:pt x="1487809" y="3011218"/>
                </a:moveTo>
                <a:lnTo>
                  <a:pt x="1861748" y="3011218"/>
                </a:lnTo>
                <a:lnTo>
                  <a:pt x="1861748" y="3106468"/>
                </a:lnTo>
                <a:lnTo>
                  <a:pt x="1602998" y="3106468"/>
                </a:lnTo>
                <a:lnTo>
                  <a:pt x="1602998" y="4205018"/>
                </a:lnTo>
                <a:lnTo>
                  <a:pt x="1861748" y="4205018"/>
                </a:lnTo>
                <a:lnTo>
                  <a:pt x="1861748" y="4300268"/>
                </a:lnTo>
                <a:lnTo>
                  <a:pt x="1487809" y="4300268"/>
                </a:lnTo>
                <a:lnTo>
                  <a:pt x="1487809" y="4205018"/>
                </a:lnTo>
                <a:lnTo>
                  <a:pt x="1487809" y="3106468"/>
                </a:lnTo>
                <a:close/>
                <a:moveTo>
                  <a:pt x="7212302" y="3004847"/>
                </a:moveTo>
                <a:lnTo>
                  <a:pt x="7265372" y="3006723"/>
                </a:lnTo>
                <a:lnTo>
                  <a:pt x="7314493" y="3012300"/>
                </a:lnTo>
                <a:lnTo>
                  <a:pt x="7359798" y="3021495"/>
                </a:lnTo>
                <a:lnTo>
                  <a:pt x="7401420" y="3034227"/>
                </a:lnTo>
                <a:lnTo>
                  <a:pt x="7439491" y="3050415"/>
                </a:lnTo>
                <a:lnTo>
                  <a:pt x="7474144" y="3069977"/>
                </a:lnTo>
                <a:lnTo>
                  <a:pt x="7505511" y="3092831"/>
                </a:lnTo>
                <a:lnTo>
                  <a:pt x="7533726" y="3118897"/>
                </a:lnTo>
                <a:lnTo>
                  <a:pt x="7558922" y="3148093"/>
                </a:lnTo>
                <a:lnTo>
                  <a:pt x="7581230" y="3180338"/>
                </a:lnTo>
                <a:lnTo>
                  <a:pt x="7600783" y="3215550"/>
                </a:lnTo>
                <a:lnTo>
                  <a:pt x="7617715" y="3253648"/>
                </a:lnTo>
                <a:lnTo>
                  <a:pt x="7632158" y="3294551"/>
                </a:lnTo>
                <a:lnTo>
                  <a:pt x="7644245" y="3338176"/>
                </a:lnTo>
                <a:lnTo>
                  <a:pt x="7654108" y="3384443"/>
                </a:lnTo>
                <a:lnTo>
                  <a:pt x="7661880" y="3433271"/>
                </a:lnTo>
                <a:lnTo>
                  <a:pt x="7667694" y="3484578"/>
                </a:lnTo>
                <a:lnTo>
                  <a:pt x="7671682" y="3538282"/>
                </a:lnTo>
                <a:lnTo>
                  <a:pt x="7673978" y="3594302"/>
                </a:lnTo>
                <a:lnTo>
                  <a:pt x="7674714" y="3652558"/>
                </a:lnTo>
                <a:lnTo>
                  <a:pt x="7674014" y="3711063"/>
                </a:lnTo>
                <a:lnTo>
                  <a:pt x="7671817" y="3767333"/>
                </a:lnTo>
                <a:lnTo>
                  <a:pt x="7667981" y="3821283"/>
                </a:lnTo>
                <a:lnTo>
                  <a:pt x="7662360" y="3872833"/>
                </a:lnTo>
                <a:lnTo>
                  <a:pt x="7654812" y="3921898"/>
                </a:lnTo>
                <a:lnTo>
                  <a:pt x="7645191" y="3968397"/>
                </a:lnTo>
                <a:lnTo>
                  <a:pt x="7633354" y="4012246"/>
                </a:lnTo>
                <a:lnTo>
                  <a:pt x="7619157" y="4053364"/>
                </a:lnTo>
                <a:lnTo>
                  <a:pt x="7602457" y="4091667"/>
                </a:lnTo>
                <a:lnTo>
                  <a:pt x="7583108" y="4127073"/>
                </a:lnTo>
                <a:lnTo>
                  <a:pt x="7560967" y="4159499"/>
                </a:lnTo>
                <a:lnTo>
                  <a:pt x="7535890" y="4188862"/>
                </a:lnTo>
                <a:lnTo>
                  <a:pt x="7507733" y="4215081"/>
                </a:lnTo>
                <a:lnTo>
                  <a:pt x="7476352" y="4238071"/>
                </a:lnTo>
                <a:lnTo>
                  <a:pt x="7441604" y="4257752"/>
                </a:lnTo>
                <a:lnTo>
                  <a:pt x="7403343" y="4274039"/>
                </a:lnTo>
                <a:lnTo>
                  <a:pt x="7361426" y="4286851"/>
                </a:lnTo>
                <a:lnTo>
                  <a:pt x="7315710" y="4296105"/>
                </a:lnTo>
                <a:lnTo>
                  <a:pt x="7266050" y="4301718"/>
                </a:lnTo>
                <a:lnTo>
                  <a:pt x="7212302" y="4303607"/>
                </a:lnTo>
                <a:lnTo>
                  <a:pt x="7212302" y="4206785"/>
                </a:lnTo>
                <a:lnTo>
                  <a:pt x="7261987" y="4204552"/>
                </a:lnTo>
                <a:lnTo>
                  <a:pt x="7306907" y="4197931"/>
                </a:lnTo>
                <a:lnTo>
                  <a:pt x="7347290" y="4187042"/>
                </a:lnTo>
                <a:lnTo>
                  <a:pt x="7383361" y="4172002"/>
                </a:lnTo>
                <a:lnTo>
                  <a:pt x="7443472" y="4129942"/>
                </a:lnTo>
                <a:lnTo>
                  <a:pt x="7489051" y="4072698"/>
                </a:lnTo>
                <a:lnTo>
                  <a:pt x="7506957" y="4038677"/>
                </a:lnTo>
                <a:lnTo>
                  <a:pt x="7521909" y="4001216"/>
                </a:lnTo>
                <a:lnTo>
                  <a:pt x="7534133" y="3960431"/>
                </a:lnTo>
                <a:lnTo>
                  <a:pt x="7543856" y="3916441"/>
                </a:lnTo>
                <a:lnTo>
                  <a:pt x="7551303" y="3869364"/>
                </a:lnTo>
                <a:lnTo>
                  <a:pt x="7556702" y="3819320"/>
                </a:lnTo>
                <a:lnTo>
                  <a:pt x="7560278" y="3766425"/>
                </a:lnTo>
                <a:lnTo>
                  <a:pt x="7562257" y="3710798"/>
                </a:lnTo>
                <a:lnTo>
                  <a:pt x="7562867" y="3652558"/>
                </a:lnTo>
                <a:lnTo>
                  <a:pt x="7562225" y="3594889"/>
                </a:lnTo>
                <a:lnTo>
                  <a:pt x="7560155" y="3539800"/>
                </a:lnTo>
                <a:lnTo>
                  <a:pt x="7556445" y="3487407"/>
                </a:lnTo>
                <a:lnTo>
                  <a:pt x="7550879" y="3437831"/>
                </a:lnTo>
                <a:lnTo>
                  <a:pt x="7543244" y="3391187"/>
                </a:lnTo>
                <a:lnTo>
                  <a:pt x="7533326" y="3347596"/>
                </a:lnTo>
                <a:lnTo>
                  <a:pt x="7520910" y="3307175"/>
                </a:lnTo>
                <a:lnTo>
                  <a:pt x="7505783" y="3270043"/>
                </a:lnTo>
                <a:lnTo>
                  <a:pt x="7487730" y="3236317"/>
                </a:lnTo>
                <a:lnTo>
                  <a:pt x="7441992" y="3179558"/>
                </a:lnTo>
                <a:lnTo>
                  <a:pt x="7381983" y="3137845"/>
                </a:lnTo>
                <a:lnTo>
                  <a:pt x="7346091" y="3122926"/>
                </a:lnTo>
                <a:lnTo>
                  <a:pt x="7305990" y="3112123"/>
                </a:lnTo>
                <a:lnTo>
                  <a:pt x="7261465" y="3105555"/>
                </a:lnTo>
                <a:lnTo>
                  <a:pt x="7212302" y="3103339"/>
                </a:lnTo>
                <a:close/>
                <a:moveTo>
                  <a:pt x="6695380" y="3004847"/>
                </a:moveTo>
                <a:lnTo>
                  <a:pt x="6695380" y="3103339"/>
                </a:lnTo>
                <a:lnTo>
                  <a:pt x="6646494" y="3105555"/>
                </a:lnTo>
                <a:lnTo>
                  <a:pt x="6602213" y="3112123"/>
                </a:lnTo>
                <a:lnTo>
                  <a:pt x="6562327" y="3122926"/>
                </a:lnTo>
                <a:lnTo>
                  <a:pt x="6526621" y="3137845"/>
                </a:lnTo>
                <a:lnTo>
                  <a:pt x="6466906" y="3179558"/>
                </a:lnTo>
                <a:lnTo>
                  <a:pt x="6421372" y="3236317"/>
                </a:lnTo>
                <a:lnTo>
                  <a:pt x="6403393" y="3270043"/>
                </a:lnTo>
                <a:lnTo>
                  <a:pt x="6388323" y="3307175"/>
                </a:lnTo>
                <a:lnTo>
                  <a:pt x="6375951" y="3347596"/>
                </a:lnTo>
                <a:lnTo>
                  <a:pt x="6366063" y="3391187"/>
                </a:lnTo>
                <a:lnTo>
                  <a:pt x="6358449" y="3437831"/>
                </a:lnTo>
                <a:lnTo>
                  <a:pt x="6352896" y="3487407"/>
                </a:lnTo>
                <a:lnTo>
                  <a:pt x="6349192" y="3539800"/>
                </a:lnTo>
                <a:lnTo>
                  <a:pt x="6347125" y="3594889"/>
                </a:lnTo>
                <a:lnTo>
                  <a:pt x="6346483" y="3652558"/>
                </a:lnTo>
                <a:lnTo>
                  <a:pt x="6347109" y="3710798"/>
                </a:lnTo>
                <a:lnTo>
                  <a:pt x="6349131" y="3766425"/>
                </a:lnTo>
                <a:lnTo>
                  <a:pt x="6352768" y="3819320"/>
                </a:lnTo>
                <a:lnTo>
                  <a:pt x="6358237" y="3869364"/>
                </a:lnTo>
                <a:lnTo>
                  <a:pt x="6365758" y="3916441"/>
                </a:lnTo>
                <a:lnTo>
                  <a:pt x="6375547" y="3960431"/>
                </a:lnTo>
                <a:lnTo>
                  <a:pt x="6387824" y="4001216"/>
                </a:lnTo>
                <a:lnTo>
                  <a:pt x="6402806" y="4038677"/>
                </a:lnTo>
                <a:lnTo>
                  <a:pt x="6420712" y="4072698"/>
                </a:lnTo>
                <a:lnTo>
                  <a:pt x="6466166" y="4129942"/>
                </a:lnTo>
                <a:lnTo>
                  <a:pt x="6525932" y="4172002"/>
                </a:lnTo>
                <a:lnTo>
                  <a:pt x="6561727" y="4187042"/>
                </a:lnTo>
                <a:lnTo>
                  <a:pt x="6601755" y="4197931"/>
                </a:lnTo>
                <a:lnTo>
                  <a:pt x="6646233" y="4204552"/>
                </a:lnTo>
                <a:lnTo>
                  <a:pt x="6695380" y="4206785"/>
                </a:lnTo>
                <a:lnTo>
                  <a:pt x="6695380" y="4303607"/>
                </a:lnTo>
                <a:lnTo>
                  <a:pt x="6641857" y="4301718"/>
                </a:lnTo>
                <a:lnTo>
                  <a:pt x="6592377" y="4296105"/>
                </a:lnTo>
                <a:lnTo>
                  <a:pt x="6546797" y="4286851"/>
                </a:lnTo>
                <a:lnTo>
                  <a:pt x="6504979" y="4274039"/>
                </a:lnTo>
                <a:lnTo>
                  <a:pt x="6466782" y="4257752"/>
                </a:lnTo>
                <a:lnTo>
                  <a:pt x="6432065" y="4238071"/>
                </a:lnTo>
                <a:lnTo>
                  <a:pt x="6400688" y="4215081"/>
                </a:lnTo>
                <a:lnTo>
                  <a:pt x="6372512" y="4188862"/>
                </a:lnTo>
                <a:lnTo>
                  <a:pt x="6347396" y="4159499"/>
                </a:lnTo>
                <a:lnTo>
                  <a:pt x="6325199" y="4127073"/>
                </a:lnTo>
                <a:lnTo>
                  <a:pt x="6305782" y="4091667"/>
                </a:lnTo>
                <a:lnTo>
                  <a:pt x="6289004" y="4053364"/>
                </a:lnTo>
                <a:lnTo>
                  <a:pt x="6274725" y="4012246"/>
                </a:lnTo>
                <a:lnTo>
                  <a:pt x="6262805" y="3968397"/>
                </a:lnTo>
                <a:lnTo>
                  <a:pt x="6253104" y="3921898"/>
                </a:lnTo>
                <a:lnTo>
                  <a:pt x="6245481" y="3872833"/>
                </a:lnTo>
                <a:lnTo>
                  <a:pt x="6239796" y="3821283"/>
                </a:lnTo>
                <a:lnTo>
                  <a:pt x="6235909" y="3767333"/>
                </a:lnTo>
                <a:lnTo>
                  <a:pt x="6233679" y="3711063"/>
                </a:lnTo>
                <a:lnTo>
                  <a:pt x="6232968" y="3652558"/>
                </a:lnTo>
                <a:lnTo>
                  <a:pt x="6233703" y="3594302"/>
                </a:lnTo>
                <a:lnTo>
                  <a:pt x="6235999" y="3538282"/>
                </a:lnTo>
                <a:lnTo>
                  <a:pt x="6239988" y="3484578"/>
                </a:lnTo>
                <a:lnTo>
                  <a:pt x="6245801" y="3433271"/>
                </a:lnTo>
                <a:lnTo>
                  <a:pt x="6253574" y="3384443"/>
                </a:lnTo>
                <a:lnTo>
                  <a:pt x="6263437" y="3338176"/>
                </a:lnTo>
                <a:lnTo>
                  <a:pt x="6275523" y="3294551"/>
                </a:lnTo>
                <a:lnTo>
                  <a:pt x="6289966" y="3253648"/>
                </a:lnTo>
                <a:lnTo>
                  <a:pt x="6306898" y="3215550"/>
                </a:lnTo>
                <a:lnTo>
                  <a:pt x="6326451" y="3180338"/>
                </a:lnTo>
                <a:lnTo>
                  <a:pt x="6348759" y="3148093"/>
                </a:lnTo>
                <a:lnTo>
                  <a:pt x="6373955" y="3118897"/>
                </a:lnTo>
                <a:lnTo>
                  <a:pt x="6402170" y="3092831"/>
                </a:lnTo>
                <a:lnTo>
                  <a:pt x="6433537" y="3069977"/>
                </a:lnTo>
                <a:lnTo>
                  <a:pt x="6468190" y="3050415"/>
                </a:lnTo>
                <a:lnTo>
                  <a:pt x="6506261" y="3034227"/>
                </a:lnTo>
                <a:lnTo>
                  <a:pt x="6547883" y="3021495"/>
                </a:lnTo>
                <a:lnTo>
                  <a:pt x="6593188" y="3012300"/>
                </a:lnTo>
                <a:lnTo>
                  <a:pt x="6642309" y="3006723"/>
                </a:lnTo>
                <a:close/>
                <a:moveTo>
                  <a:pt x="5578527" y="3004847"/>
                </a:moveTo>
                <a:lnTo>
                  <a:pt x="5631597" y="3006723"/>
                </a:lnTo>
                <a:lnTo>
                  <a:pt x="5680718" y="3012300"/>
                </a:lnTo>
                <a:lnTo>
                  <a:pt x="5726023" y="3021495"/>
                </a:lnTo>
                <a:lnTo>
                  <a:pt x="5767645" y="3034227"/>
                </a:lnTo>
                <a:lnTo>
                  <a:pt x="5805716" y="3050415"/>
                </a:lnTo>
                <a:lnTo>
                  <a:pt x="5840369" y="3069977"/>
                </a:lnTo>
                <a:lnTo>
                  <a:pt x="5871736" y="3092831"/>
                </a:lnTo>
                <a:lnTo>
                  <a:pt x="5899951" y="3118897"/>
                </a:lnTo>
                <a:lnTo>
                  <a:pt x="5925147" y="3148093"/>
                </a:lnTo>
                <a:lnTo>
                  <a:pt x="5947455" y="3180338"/>
                </a:lnTo>
                <a:lnTo>
                  <a:pt x="5967008" y="3215550"/>
                </a:lnTo>
                <a:lnTo>
                  <a:pt x="5983940" y="3253648"/>
                </a:lnTo>
                <a:lnTo>
                  <a:pt x="5998383" y="3294551"/>
                </a:lnTo>
                <a:lnTo>
                  <a:pt x="6010470" y="3338176"/>
                </a:lnTo>
                <a:lnTo>
                  <a:pt x="6020333" y="3384443"/>
                </a:lnTo>
                <a:lnTo>
                  <a:pt x="6028105" y="3433271"/>
                </a:lnTo>
                <a:lnTo>
                  <a:pt x="6033919" y="3484578"/>
                </a:lnTo>
                <a:lnTo>
                  <a:pt x="6037907" y="3538282"/>
                </a:lnTo>
                <a:lnTo>
                  <a:pt x="6040203" y="3594302"/>
                </a:lnTo>
                <a:lnTo>
                  <a:pt x="6040939" y="3652558"/>
                </a:lnTo>
                <a:lnTo>
                  <a:pt x="6040239" y="3711063"/>
                </a:lnTo>
                <a:lnTo>
                  <a:pt x="6038042" y="3767333"/>
                </a:lnTo>
                <a:lnTo>
                  <a:pt x="6034206" y="3821283"/>
                </a:lnTo>
                <a:lnTo>
                  <a:pt x="6028585" y="3872833"/>
                </a:lnTo>
                <a:lnTo>
                  <a:pt x="6021037" y="3921898"/>
                </a:lnTo>
                <a:lnTo>
                  <a:pt x="6011416" y="3968397"/>
                </a:lnTo>
                <a:lnTo>
                  <a:pt x="5999579" y="4012246"/>
                </a:lnTo>
                <a:lnTo>
                  <a:pt x="5985382" y="4053364"/>
                </a:lnTo>
                <a:lnTo>
                  <a:pt x="5968682" y="4091667"/>
                </a:lnTo>
                <a:lnTo>
                  <a:pt x="5949333" y="4127073"/>
                </a:lnTo>
                <a:lnTo>
                  <a:pt x="5927192" y="4159499"/>
                </a:lnTo>
                <a:lnTo>
                  <a:pt x="5902115" y="4188862"/>
                </a:lnTo>
                <a:lnTo>
                  <a:pt x="5873958" y="4215081"/>
                </a:lnTo>
                <a:lnTo>
                  <a:pt x="5842577" y="4238071"/>
                </a:lnTo>
                <a:lnTo>
                  <a:pt x="5807829" y="4257752"/>
                </a:lnTo>
                <a:lnTo>
                  <a:pt x="5769568" y="4274039"/>
                </a:lnTo>
                <a:lnTo>
                  <a:pt x="5727651" y="4286851"/>
                </a:lnTo>
                <a:lnTo>
                  <a:pt x="5681935" y="4296105"/>
                </a:lnTo>
                <a:lnTo>
                  <a:pt x="5632275" y="4301718"/>
                </a:lnTo>
                <a:lnTo>
                  <a:pt x="5578527" y="4303607"/>
                </a:lnTo>
                <a:lnTo>
                  <a:pt x="5578527" y="4206785"/>
                </a:lnTo>
                <a:lnTo>
                  <a:pt x="5628212" y="4204552"/>
                </a:lnTo>
                <a:lnTo>
                  <a:pt x="5673133" y="4197931"/>
                </a:lnTo>
                <a:lnTo>
                  <a:pt x="5713515" y="4187042"/>
                </a:lnTo>
                <a:lnTo>
                  <a:pt x="5749586" y="4172002"/>
                </a:lnTo>
                <a:lnTo>
                  <a:pt x="5809697" y="4129942"/>
                </a:lnTo>
                <a:lnTo>
                  <a:pt x="5855277" y="4072698"/>
                </a:lnTo>
                <a:lnTo>
                  <a:pt x="5873182" y="4038677"/>
                </a:lnTo>
                <a:lnTo>
                  <a:pt x="5888134" y="4001216"/>
                </a:lnTo>
                <a:lnTo>
                  <a:pt x="5900358" y="3960431"/>
                </a:lnTo>
                <a:lnTo>
                  <a:pt x="5910081" y="3916441"/>
                </a:lnTo>
                <a:lnTo>
                  <a:pt x="5917528" y="3869364"/>
                </a:lnTo>
                <a:lnTo>
                  <a:pt x="5922927" y="3819320"/>
                </a:lnTo>
                <a:lnTo>
                  <a:pt x="5926503" y="3766425"/>
                </a:lnTo>
                <a:lnTo>
                  <a:pt x="5928482" y="3710798"/>
                </a:lnTo>
                <a:lnTo>
                  <a:pt x="5929092" y="3652558"/>
                </a:lnTo>
                <a:lnTo>
                  <a:pt x="5928450" y="3594889"/>
                </a:lnTo>
                <a:lnTo>
                  <a:pt x="5926380" y="3539800"/>
                </a:lnTo>
                <a:lnTo>
                  <a:pt x="5922670" y="3487407"/>
                </a:lnTo>
                <a:lnTo>
                  <a:pt x="5917104" y="3437831"/>
                </a:lnTo>
                <a:lnTo>
                  <a:pt x="5909469" y="3391187"/>
                </a:lnTo>
                <a:lnTo>
                  <a:pt x="5899551" y="3347596"/>
                </a:lnTo>
                <a:lnTo>
                  <a:pt x="5887135" y="3307175"/>
                </a:lnTo>
                <a:lnTo>
                  <a:pt x="5872008" y="3270043"/>
                </a:lnTo>
                <a:lnTo>
                  <a:pt x="5853955" y="3236317"/>
                </a:lnTo>
                <a:lnTo>
                  <a:pt x="5808217" y="3179558"/>
                </a:lnTo>
                <a:lnTo>
                  <a:pt x="5748208" y="3137845"/>
                </a:lnTo>
                <a:lnTo>
                  <a:pt x="5712316" y="3122926"/>
                </a:lnTo>
                <a:lnTo>
                  <a:pt x="5672215" y="3112123"/>
                </a:lnTo>
                <a:lnTo>
                  <a:pt x="5627690" y="3105555"/>
                </a:lnTo>
                <a:lnTo>
                  <a:pt x="5578527" y="3103339"/>
                </a:lnTo>
                <a:close/>
                <a:moveTo>
                  <a:pt x="5061625" y="3004847"/>
                </a:moveTo>
                <a:lnTo>
                  <a:pt x="5061625" y="3103339"/>
                </a:lnTo>
                <a:lnTo>
                  <a:pt x="5012739" y="3105555"/>
                </a:lnTo>
                <a:lnTo>
                  <a:pt x="4968459" y="3112123"/>
                </a:lnTo>
                <a:lnTo>
                  <a:pt x="4928572" y="3122926"/>
                </a:lnTo>
                <a:lnTo>
                  <a:pt x="4892867" y="3137845"/>
                </a:lnTo>
                <a:lnTo>
                  <a:pt x="4833152" y="3179558"/>
                </a:lnTo>
                <a:lnTo>
                  <a:pt x="4787618" y="3236317"/>
                </a:lnTo>
                <a:lnTo>
                  <a:pt x="4769639" y="3270043"/>
                </a:lnTo>
                <a:lnTo>
                  <a:pt x="4754569" y="3307175"/>
                </a:lnTo>
                <a:lnTo>
                  <a:pt x="4742197" y="3347596"/>
                </a:lnTo>
                <a:lnTo>
                  <a:pt x="4732309" y="3391187"/>
                </a:lnTo>
                <a:lnTo>
                  <a:pt x="4724695" y="3437831"/>
                </a:lnTo>
                <a:lnTo>
                  <a:pt x="4719142" y="3487407"/>
                </a:lnTo>
                <a:lnTo>
                  <a:pt x="4715437" y="3539800"/>
                </a:lnTo>
                <a:lnTo>
                  <a:pt x="4713370" y="3594889"/>
                </a:lnTo>
                <a:lnTo>
                  <a:pt x="4712728" y="3652558"/>
                </a:lnTo>
                <a:lnTo>
                  <a:pt x="4713354" y="3710798"/>
                </a:lnTo>
                <a:lnTo>
                  <a:pt x="4715376" y="3766425"/>
                </a:lnTo>
                <a:lnTo>
                  <a:pt x="4719014" y="3819320"/>
                </a:lnTo>
                <a:lnTo>
                  <a:pt x="4724483" y="3869364"/>
                </a:lnTo>
                <a:lnTo>
                  <a:pt x="4732004" y="3916441"/>
                </a:lnTo>
                <a:lnTo>
                  <a:pt x="4741793" y="3960431"/>
                </a:lnTo>
                <a:lnTo>
                  <a:pt x="4754070" y="4001216"/>
                </a:lnTo>
                <a:lnTo>
                  <a:pt x="4769052" y="4038677"/>
                </a:lnTo>
                <a:lnTo>
                  <a:pt x="4786958" y="4072698"/>
                </a:lnTo>
                <a:lnTo>
                  <a:pt x="4832412" y="4129942"/>
                </a:lnTo>
                <a:lnTo>
                  <a:pt x="4892178" y="4172002"/>
                </a:lnTo>
                <a:lnTo>
                  <a:pt x="4927973" y="4187042"/>
                </a:lnTo>
                <a:lnTo>
                  <a:pt x="4968000" y="4197931"/>
                </a:lnTo>
                <a:lnTo>
                  <a:pt x="5012478" y="4204552"/>
                </a:lnTo>
                <a:lnTo>
                  <a:pt x="5061625" y="4206785"/>
                </a:lnTo>
                <a:lnTo>
                  <a:pt x="5061625" y="4303607"/>
                </a:lnTo>
                <a:lnTo>
                  <a:pt x="5008102" y="4301718"/>
                </a:lnTo>
                <a:lnTo>
                  <a:pt x="4958622" y="4296105"/>
                </a:lnTo>
                <a:lnTo>
                  <a:pt x="4913043" y="4286851"/>
                </a:lnTo>
                <a:lnTo>
                  <a:pt x="4871225" y="4274039"/>
                </a:lnTo>
                <a:lnTo>
                  <a:pt x="4833027" y="4257752"/>
                </a:lnTo>
                <a:lnTo>
                  <a:pt x="4798310" y="4238071"/>
                </a:lnTo>
                <a:lnTo>
                  <a:pt x="4766934" y="4215081"/>
                </a:lnTo>
                <a:lnTo>
                  <a:pt x="4738758" y="4188862"/>
                </a:lnTo>
                <a:lnTo>
                  <a:pt x="4713641" y="4159499"/>
                </a:lnTo>
                <a:lnTo>
                  <a:pt x="4691444" y="4127073"/>
                </a:lnTo>
                <a:lnTo>
                  <a:pt x="4672027" y="4091667"/>
                </a:lnTo>
                <a:lnTo>
                  <a:pt x="4655249" y="4053364"/>
                </a:lnTo>
                <a:lnTo>
                  <a:pt x="4640970" y="4012246"/>
                </a:lnTo>
                <a:lnTo>
                  <a:pt x="4629050" y="3968397"/>
                </a:lnTo>
                <a:lnTo>
                  <a:pt x="4619349" y="3921898"/>
                </a:lnTo>
                <a:lnTo>
                  <a:pt x="4611726" y="3872833"/>
                </a:lnTo>
                <a:lnTo>
                  <a:pt x="4606041" y="3821283"/>
                </a:lnTo>
                <a:lnTo>
                  <a:pt x="4602154" y="3767333"/>
                </a:lnTo>
                <a:lnTo>
                  <a:pt x="4599924" y="3711063"/>
                </a:lnTo>
                <a:lnTo>
                  <a:pt x="4599213" y="3652558"/>
                </a:lnTo>
                <a:lnTo>
                  <a:pt x="4599948" y="3594302"/>
                </a:lnTo>
                <a:lnTo>
                  <a:pt x="4602244" y="3538282"/>
                </a:lnTo>
                <a:lnTo>
                  <a:pt x="4606233" y="3484578"/>
                </a:lnTo>
                <a:lnTo>
                  <a:pt x="4612046" y="3433271"/>
                </a:lnTo>
                <a:lnTo>
                  <a:pt x="4619819" y="3384443"/>
                </a:lnTo>
                <a:lnTo>
                  <a:pt x="4629682" y="3338176"/>
                </a:lnTo>
                <a:lnTo>
                  <a:pt x="4641768" y="3294551"/>
                </a:lnTo>
                <a:lnTo>
                  <a:pt x="4656211" y="3253648"/>
                </a:lnTo>
                <a:lnTo>
                  <a:pt x="4673143" y="3215550"/>
                </a:lnTo>
                <a:lnTo>
                  <a:pt x="4692696" y="3180338"/>
                </a:lnTo>
                <a:lnTo>
                  <a:pt x="4715004" y="3148093"/>
                </a:lnTo>
                <a:lnTo>
                  <a:pt x="4740200" y="3118897"/>
                </a:lnTo>
                <a:lnTo>
                  <a:pt x="4768415" y="3092831"/>
                </a:lnTo>
                <a:lnTo>
                  <a:pt x="4799783" y="3069977"/>
                </a:lnTo>
                <a:lnTo>
                  <a:pt x="4834436" y="3050415"/>
                </a:lnTo>
                <a:lnTo>
                  <a:pt x="4872507" y="3034227"/>
                </a:lnTo>
                <a:lnTo>
                  <a:pt x="4914128" y="3021495"/>
                </a:lnTo>
                <a:lnTo>
                  <a:pt x="4959433" y="3012300"/>
                </a:lnTo>
                <a:lnTo>
                  <a:pt x="5008555" y="3006723"/>
                </a:lnTo>
                <a:close/>
                <a:moveTo>
                  <a:pt x="887436" y="3004847"/>
                </a:moveTo>
                <a:lnTo>
                  <a:pt x="887436" y="3103339"/>
                </a:lnTo>
                <a:lnTo>
                  <a:pt x="838550" y="3105555"/>
                </a:lnTo>
                <a:lnTo>
                  <a:pt x="794269" y="3112123"/>
                </a:lnTo>
                <a:lnTo>
                  <a:pt x="754383" y="3122926"/>
                </a:lnTo>
                <a:lnTo>
                  <a:pt x="718677" y="3137845"/>
                </a:lnTo>
                <a:lnTo>
                  <a:pt x="658962" y="3179558"/>
                </a:lnTo>
                <a:lnTo>
                  <a:pt x="613427" y="3236317"/>
                </a:lnTo>
                <a:lnTo>
                  <a:pt x="595448" y="3270043"/>
                </a:lnTo>
                <a:lnTo>
                  <a:pt x="580378" y="3307175"/>
                </a:lnTo>
                <a:lnTo>
                  <a:pt x="568006" y="3347596"/>
                </a:lnTo>
                <a:lnTo>
                  <a:pt x="558118" y="3391187"/>
                </a:lnTo>
                <a:lnTo>
                  <a:pt x="550504" y="3437831"/>
                </a:lnTo>
                <a:lnTo>
                  <a:pt x="544951" y="3487407"/>
                </a:lnTo>
                <a:lnTo>
                  <a:pt x="541247" y="3539800"/>
                </a:lnTo>
                <a:lnTo>
                  <a:pt x="539180" y="3594889"/>
                </a:lnTo>
                <a:lnTo>
                  <a:pt x="538538" y="3652558"/>
                </a:lnTo>
                <a:lnTo>
                  <a:pt x="539164" y="3710798"/>
                </a:lnTo>
                <a:lnTo>
                  <a:pt x="541186" y="3766425"/>
                </a:lnTo>
                <a:lnTo>
                  <a:pt x="544823" y="3819320"/>
                </a:lnTo>
                <a:lnTo>
                  <a:pt x="550292" y="3869364"/>
                </a:lnTo>
                <a:lnTo>
                  <a:pt x="557813" y="3916441"/>
                </a:lnTo>
                <a:lnTo>
                  <a:pt x="567602" y="3960431"/>
                </a:lnTo>
                <a:lnTo>
                  <a:pt x="579880" y="4001216"/>
                </a:lnTo>
                <a:lnTo>
                  <a:pt x="594862" y="4038677"/>
                </a:lnTo>
                <a:lnTo>
                  <a:pt x="612768" y="4072698"/>
                </a:lnTo>
                <a:lnTo>
                  <a:pt x="658222" y="4129942"/>
                </a:lnTo>
                <a:lnTo>
                  <a:pt x="717988" y="4172002"/>
                </a:lnTo>
                <a:lnTo>
                  <a:pt x="753783" y="4187042"/>
                </a:lnTo>
                <a:lnTo>
                  <a:pt x="793811" y="4197931"/>
                </a:lnTo>
                <a:lnTo>
                  <a:pt x="838289" y="4204552"/>
                </a:lnTo>
                <a:lnTo>
                  <a:pt x="887436" y="4206785"/>
                </a:lnTo>
                <a:lnTo>
                  <a:pt x="887436" y="4303607"/>
                </a:lnTo>
                <a:lnTo>
                  <a:pt x="833914" y="4301718"/>
                </a:lnTo>
                <a:lnTo>
                  <a:pt x="784433" y="4296105"/>
                </a:lnTo>
                <a:lnTo>
                  <a:pt x="738854" y="4286851"/>
                </a:lnTo>
                <a:lnTo>
                  <a:pt x="697035" y="4274039"/>
                </a:lnTo>
                <a:lnTo>
                  <a:pt x="658838" y="4257752"/>
                </a:lnTo>
                <a:lnTo>
                  <a:pt x="624121" y="4238071"/>
                </a:lnTo>
                <a:lnTo>
                  <a:pt x="592745" y="4215081"/>
                </a:lnTo>
                <a:lnTo>
                  <a:pt x="564568" y="4188862"/>
                </a:lnTo>
                <a:lnTo>
                  <a:pt x="539451" y="4159499"/>
                </a:lnTo>
                <a:lnTo>
                  <a:pt x="517255" y="4127073"/>
                </a:lnTo>
                <a:lnTo>
                  <a:pt x="497837" y="4091667"/>
                </a:lnTo>
                <a:lnTo>
                  <a:pt x="481060" y="4053364"/>
                </a:lnTo>
                <a:lnTo>
                  <a:pt x="466781" y="4012246"/>
                </a:lnTo>
                <a:lnTo>
                  <a:pt x="454861" y="3968397"/>
                </a:lnTo>
                <a:lnTo>
                  <a:pt x="445159" y="3921898"/>
                </a:lnTo>
                <a:lnTo>
                  <a:pt x="437536" y="3872833"/>
                </a:lnTo>
                <a:lnTo>
                  <a:pt x="431851" y="3821283"/>
                </a:lnTo>
                <a:lnTo>
                  <a:pt x="427964" y="3767333"/>
                </a:lnTo>
                <a:lnTo>
                  <a:pt x="425734" y="3711063"/>
                </a:lnTo>
                <a:lnTo>
                  <a:pt x="425023" y="3652558"/>
                </a:lnTo>
                <a:lnTo>
                  <a:pt x="425758" y="3594302"/>
                </a:lnTo>
                <a:lnTo>
                  <a:pt x="428054" y="3538282"/>
                </a:lnTo>
                <a:lnTo>
                  <a:pt x="432043" y="3484578"/>
                </a:lnTo>
                <a:lnTo>
                  <a:pt x="437856" y="3433271"/>
                </a:lnTo>
                <a:lnTo>
                  <a:pt x="445629" y="3384443"/>
                </a:lnTo>
                <a:lnTo>
                  <a:pt x="455492" y="3338176"/>
                </a:lnTo>
                <a:lnTo>
                  <a:pt x="467578" y="3294551"/>
                </a:lnTo>
                <a:lnTo>
                  <a:pt x="482021" y="3253648"/>
                </a:lnTo>
                <a:lnTo>
                  <a:pt x="498953" y="3215550"/>
                </a:lnTo>
                <a:lnTo>
                  <a:pt x="518506" y="3180338"/>
                </a:lnTo>
                <a:lnTo>
                  <a:pt x="540814" y="3148093"/>
                </a:lnTo>
                <a:lnTo>
                  <a:pt x="566010" y="3118897"/>
                </a:lnTo>
                <a:lnTo>
                  <a:pt x="594226" y="3092831"/>
                </a:lnTo>
                <a:lnTo>
                  <a:pt x="625592" y="3069977"/>
                </a:lnTo>
                <a:lnTo>
                  <a:pt x="660246" y="3050415"/>
                </a:lnTo>
                <a:lnTo>
                  <a:pt x="698317" y="3034227"/>
                </a:lnTo>
                <a:lnTo>
                  <a:pt x="739939" y="3021495"/>
                </a:lnTo>
                <a:lnTo>
                  <a:pt x="785244" y="3012300"/>
                </a:lnTo>
                <a:lnTo>
                  <a:pt x="834365" y="3006723"/>
                </a:lnTo>
                <a:close/>
                <a:moveTo>
                  <a:pt x="7060934" y="2524077"/>
                </a:moveTo>
                <a:lnTo>
                  <a:pt x="7267935" y="2524077"/>
                </a:lnTo>
                <a:lnTo>
                  <a:pt x="7267935" y="2697690"/>
                </a:lnTo>
                <a:lnTo>
                  <a:pt x="7060934" y="2697690"/>
                </a:lnTo>
                <a:close/>
                <a:moveTo>
                  <a:pt x="2536338" y="2373825"/>
                </a:moveTo>
                <a:lnTo>
                  <a:pt x="3441128" y="2373825"/>
                </a:lnTo>
                <a:lnTo>
                  <a:pt x="3441128" y="2480664"/>
                </a:lnTo>
                <a:lnTo>
                  <a:pt x="2536338" y="2480664"/>
                </a:lnTo>
                <a:close/>
                <a:moveTo>
                  <a:pt x="1024388" y="2373825"/>
                </a:moveTo>
                <a:lnTo>
                  <a:pt x="1929180" y="2373825"/>
                </a:lnTo>
                <a:lnTo>
                  <a:pt x="1929180" y="2480664"/>
                </a:lnTo>
                <a:lnTo>
                  <a:pt x="1024388" y="2480664"/>
                </a:lnTo>
                <a:close/>
                <a:moveTo>
                  <a:pt x="2536338" y="2024932"/>
                </a:moveTo>
                <a:lnTo>
                  <a:pt x="3441128" y="2024932"/>
                </a:lnTo>
                <a:lnTo>
                  <a:pt x="3441128" y="2131770"/>
                </a:lnTo>
                <a:lnTo>
                  <a:pt x="2536338" y="2131770"/>
                </a:lnTo>
                <a:close/>
                <a:moveTo>
                  <a:pt x="1024388" y="2024932"/>
                </a:moveTo>
                <a:lnTo>
                  <a:pt x="1929180" y="2024932"/>
                </a:lnTo>
                <a:lnTo>
                  <a:pt x="1929180" y="2131770"/>
                </a:lnTo>
                <a:lnTo>
                  <a:pt x="1024388" y="2131770"/>
                </a:lnTo>
                <a:close/>
                <a:moveTo>
                  <a:pt x="6145468" y="1508808"/>
                </a:moveTo>
                <a:lnTo>
                  <a:pt x="6519394" y="1508808"/>
                </a:lnTo>
                <a:lnTo>
                  <a:pt x="6519394" y="1604058"/>
                </a:lnTo>
                <a:lnTo>
                  <a:pt x="6260644" y="1604058"/>
                </a:lnTo>
                <a:lnTo>
                  <a:pt x="6260644" y="2702607"/>
                </a:lnTo>
                <a:lnTo>
                  <a:pt x="6519394" y="2702607"/>
                </a:lnTo>
                <a:lnTo>
                  <a:pt x="6519394" y="2797857"/>
                </a:lnTo>
                <a:lnTo>
                  <a:pt x="6145468" y="2797857"/>
                </a:lnTo>
                <a:lnTo>
                  <a:pt x="6145468" y="2702607"/>
                </a:lnTo>
                <a:lnTo>
                  <a:pt x="6145468" y="1604058"/>
                </a:lnTo>
                <a:close/>
                <a:moveTo>
                  <a:pt x="7804510" y="1502430"/>
                </a:moveTo>
                <a:lnTo>
                  <a:pt x="7857580" y="1504306"/>
                </a:lnTo>
                <a:lnTo>
                  <a:pt x="7906701" y="1509883"/>
                </a:lnTo>
                <a:lnTo>
                  <a:pt x="7952006" y="1519078"/>
                </a:lnTo>
                <a:lnTo>
                  <a:pt x="7993628" y="1531810"/>
                </a:lnTo>
                <a:lnTo>
                  <a:pt x="8031699" y="1547998"/>
                </a:lnTo>
                <a:lnTo>
                  <a:pt x="8066352" y="1567559"/>
                </a:lnTo>
                <a:lnTo>
                  <a:pt x="8097719" y="1590414"/>
                </a:lnTo>
                <a:lnTo>
                  <a:pt x="8125934" y="1616479"/>
                </a:lnTo>
                <a:lnTo>
                  <a:pt x="8151130" y="1645676"/>
                </a:lnTo>
                <a:lnTo>
                  <a:pt x="8173438" y="1677921"/>
                </a:lnTo>
                <a:lnTo>
                  <a:pt x="8192991" y="1713133"/>
                </a:lnTo>
                <a:lnTo>
                  <a:pt x="8209923" y="1751231"/>
                </a:lnTo>
                <a:lnTo>
                  <a:pt x="8224366" y="1792133"/>
                </a:lnTo>
                <a:lnTo>
                  <a:pt x="8236453" y="1835759"/>
                </a:lnTo>
                <a:lnTo>
                  <a:pt x="8246316" y="1882026"/>
                </a:lnTo>
                <a:lnTo>
                  <a:pt x="8254088" y="1930854"/>
                </a:lnTo>
                <a:lnTo>
                  <a:pt x="8259902" y="1982160"/>
                </a:lnTo>
                <a:lnTo>
                  <a:pt x="8263890" y="2035865"/>
                </a:lnTo>
                <a:lnTo>
                  <a:pt x="8266186" y="2091886"/>
                </a:lnTo>
                <a:lnTo>
                  <a:pt x="8266922" y="2150141"/>
                </a:lnTo>
                <a:lnTo>
                  <a:pt x="8266222" y="2208645"/>
                </a:lnTo>
                <a:lnTo>
                  <a:pt x="8264025" y="2264915"/>
                </a:lnTo>
                <a:lnTo>
                  <a:pt x="8260189" y="2318865"/>
                </a:lnTo>
                <a:lnTo>
                  <a:pt x="8254568" y="2370415"/>
                </a:lnTo>
                <a:lnTo>
                  <a:pt x="8247020" y="2419480"/>
                </a:lnTo>
                <a:lnTo>
                  <a:pt x="8237399" y="2465979"/>
                </a:lnTo>
                <a:lnTo>
                  <a:pt x="8225562" y="2509828"/>
                </a:lnTo>
                <a:lnTo>
                  <a:pt x="8211365" y="2550946"/>
                </a:lnTo>
                <a:lnTo>
                  <a:pt x="8194665" y="2589249"/>
                </a:lnTo>
                <a:lnTo>
                  <a:pt x="8175316" y="2624655"/>
                </a:lnTo>
                <a:lnTo>
                  <a:pt x="8153175" y="2657081"/>
                </a:lnTo>
                <a:lnTo>
                  <a:pt x="8128098" y="2686444"/>
                </a:lnTo>
                <a:lnTo>
                  <a:pt x="8099941" y="2712663"/>
                </a:lnTo>
                <a:lnTo>
                  <a:pt x="8068560" y="2735653"/>
                </a:lnTo>
                <a:lnTo>
                  <a:pt x="8033812" y="2755334"/>
                </a:lnTo>
                <a:lnTo>
                  <a:pt x="7995551" y="2771621"/>
                </a:lnTo>
                <a:lnTo>
                  <a:pt x="7953634" y="2784433"/>
                </a:lnTo>
                <a:lnTo>
                  <a:pt x="7907918" y="2793687"/>
                </a:lnTo>
                <a:lnTo>
                  <a:pt x="7858258" y="2799300"/>
                </a:lnTo>
                <a:lnTo>
                  <a:pt x="7804510" y="2801189"/>
                </a:lnTo>
                <a:lnTo>
                  <a:pt x="7804510" y="2704367"/>
                </a:lnTo>
                <a:lnTo>
                  <a:pt x="7854195" y="2702134"/>
                </a:lnTo>
                <a:lnTo>
                  <a:pt x="7899116" y="2695513"/>
                </a:lnTo>
                <a:lnTo>
                  <a:pt x="7939498" y="2684624"/>
                </a:lnTo>
                <a:lnTo>
                  <a:pt x="7975569" y="2669584"/>
                </a:lnTo>
                <a:lnTo>
                  <a:pt x="8035680" y="2627524"/>
                </a:lnTo>
                <a:lnTo>
                  <a:pt x="8081260" y="2570280"/>
                </a:lnTo>
                <a:lnTo>
                  <a:pt x="8099165" y="2536259"/>
                </a:lnTo>
                <a:lnTo>
                  <a:pt x="8114117" y="2498797"/>
                </a:lnTo>
                <a:lnTo>
                  <a:pt x="8126341" y="2458012"/>
                </a:lnTo>
                <a:lnTo>
                  <a:pt x="8136064" y="2414022"/>
                </a:lnTo>
                <a:lnTo>
                  <a:pt x="8143511" y="2366946"/>
                </a:lnTo>
                <a:lnTo>
                  <a:pt x="8148910" y="2316901"/>
                </a:lnTo>
                <a:lnTo>
                  <a:pt x="8152486" y="2264006"/>
                </a:lnTo>
                <a:lnTo>
                  <a:pt x="8154465" y="2208380"/>
                </a:lnTo>
                <a:lnTo>
                  <a:pt x="8155075" y="2150141"/>
                </a:lnTo>
                <a:lnTo>
                  <a:pt x="8154433" y="2092472"/>
                </a:lnTo>
                <a:lnTo>
                  <a:pt x="8152363" y="2037383"/>
                </a:lnTo>
                <a:lnTo>
                  <a:pt x="8148653" y="1984990"/>
                </a:lnTo>
                <a:lnTo>
                  <a:pt x="8143087" y="1935414"/>
                </a:lnTo>
                <a:lnTo>
                  <a:pt x="8135452" y="1888770"/>
                </a:lnTo>
                <a:lnTo>
                  <a:pt x="8125534" y="1845179"/>
                </a:lnTo>
                <a:lnTo>
                  <a:pt x="8113118" y="1804759"/>
                </a:lnTo>
                <a:lnTo>
                  <a:pt x="8097991" y="1767626"/>
                </a:lnTo>
                <a:lnTo>
                  <a:pt x="8079938" y="1733900"/>
                </a:lnTo>
                <a:lnTo>
                  <a:pt x="8034200" y="1677141"/>
                </a:lnTo>
                <a:lnTo>
                  <a:pt x="7974191" y="1635428"/>
                </a:lnTo>
                <a:lnTo>
                  <a:pt x="7938299" y="1620509"/>
                </a:lnTo>
                <a:lnTo>
                  <a:pt x="7898198" y="1609705"/>
                </a:lnTo>
                <a:lnTo>
                  <a:pt x="7853673" y="1603138"/>
                </a:lnTo>
                <a:lnTo>
                  <a:pt x="7804510" y="1600921"/>
                </a:lnTo>
                <a:close/>
                <a:moveTo>
                  <a:pt x="5032599" y="1502430"/>
                </a:moveTo>
                <a:lnTo>
                  <a:pt x="5085669" y="1504306"/>
                </a:lnTo>
                <a:lnTo>
                  <a:pt x="5134790" y="1509883"/>
                </a:lnTo>
                <a:lnTo>
                  <a:pt x="5180096" y="1519078"/>
                </a:lnTo>
                <a:lnTo>
                  <a:pt x="5221718" y="1531810"/>
                </a:lnTo>
                <a:lnTo>
                  <a:pt x="5259789" y="1547998"/>
                </a:lnTo>
                <a:lnTo>
                  <a:pt x="5294442" y="1567559"/>
                </a:lnTo>
                <a:lnTo>
                  <a:pt x="5325809" y="1590414"/>
                </a:lnTo>
                <a:lnTo>
                  <a:pt x="5354024" y="1616479"/>
                </a:lnTo>
                <a:lnTo>
                  <a:pt x="5379220" y="1645676"/>
                </a:lnTo>
                <a:lnTo>
                  <a:pt x="5401528" y="1677921"/>
                </a:lnTo>
                <a:lnTo>
                  <a:pt x="5421081" y="1713133"/>
                </a:lnTo>
                <a:lnTo>
                  <a:pt x="5438013" y="1751231"/>
                </a:lnTo>
                <a:lnTo>
                  <a:pt x="5452456" y="1792133"/>
                </a:lnTo>
                <a:lnTo>
                  <a:pt x="5464543" y="1835759"/>
                </a:lnTo>
                <a:lnTo>
                  <a:pt x="5474406" y="1882026"/>
                </a:lnTo>
                <a:lnTo>
                  <a:pt x="5482178" y="1930854"/>
                </a:lnTo>
                <a:lnTo>
                  <a:pt x="5487992" y="1982160"/>
                </a:lnTo>
                <a:lnTo>
                  <a:pt x="5491980" y="2035865"/>
                </a:lnTo>
                <a:lnTo>
                  <a:pt x="5494276" y="2091886"/>
                </a:lnTo>
                <a:lnTo>
                  <a:pt x="5495012" y="2150141"/>
                </a:lnTo>
                <a:lnTo>
                  <a:pt x="5494312" y="2208645"/>
                </a:lnTo>
                <a:lnTo>
                  <a:pt x="5492115" y="2264915"/>
                </a:lnTo>
                <a:lnTo>
                  <a:pt x="5488279" y="2318865"/>
                </a:lnTo>
                <a:lnTo>
                  <a:pt x="5482658" y="2370415"/>
                </a:lnTo>
                <a:lnTo>
                  <a:pt x="5475110" y="2419480"/>
                </a:lnTo>
                <a:lnTo>
                  <a:pt x="5465489" y="2465979"/>
                </a:lnTo>
                <a:lnTo>
                  <a:pt x="5453652" y="2509828"/>
                </a:lnTo>
                <a:lnTo>
                  <a:pt x="5439455" y="2550946"/>
                </a:lnTo>
                <a:lnTo>
                  <a:pt x="5422755" y="2589249"/>
                </a:lnTo>
                <a:lnTo>
                  <a:pt x="5403406" y="2624655"/>
                </a:lnTo>
                <a:lnTo>
                  <a:pt x="5381265" y="2657081"/>
                </a:lnTo>
                <a:lnTo>
                  <a:pt x="5356188" y="2686444"/>
                </a:lnTo>
                <a:lnTo>
                  <a:pt x="5328031" y="2712663"/>
                </a:lnTo>
                <a:lnTo>
                  <a:pt x="5296650" y="2735653"/>
                </a:lnTo>
                <a:lnTo>
                  <a:pt x="5261902" y="2755334"/>
                </a:lnTo>
                <a:lnTo>
                  <a:pt x="5223641" y="2771621"/>
                </a:lnTo>
                <a:lnTo>
                  <a:pt x="5181724" y="2784433"/>
                </a:lnTo>
                <a:lnTo>
                  <a:pt x="5136007" y="2793687"/>
                </a:lnTo>
                <a:lnTo>
                  <a:pt x="5086347" y="2799300"/>
                </a:lnTo>
                <a:lnTo>
                  <a:pt x="5032599" y="2801189"/>
                </a:lnTo>
                <a:lnTo>
                  <a:pt x="5032599" y="2704367"/>
                </a:lnTo>
                <a:lnTo>
                  <a:pt x="5082284" y="2702134"/>
                </a:lnTo>
                <a:lnTo>
                  <a:pt x="5127205" y="2695513"/>
                </a:lnTo>
                <a:lnTo>
                  <a:pt x="5167588" y="2684624"/>
                </a:lnTo>
                <a:lnTo>
                  <a:pt x="5203659" y="2669584"/>
                </a:lnTo>
                <a:lnTo>
                  <a:pt x="5263770" y="2627524"/>
                </a:lnTo>
                <a:lnTo>
                  <a:pt x="5309350" y="2570280"/>
                </a:lnTo>
                <a:lnTo>
                  <a:pt x="5327255" y="2536259"/>
                </a:lnTo>
                <a:lnTo>
                  <a:pt x="5342207" y="2498797"/>
                </a:lnTo>
                <a:lnTo>
                  <a:pt x="5354431" y="2458012"/>
                </a:lnTo>
                <a:lnTo>
                  <a:pt x="5364154" y="2414022"/>
                </a:lnTo>
                <a:lnTo>
                  <a:pt x="5371601" y="2366946"/>
                </a:lnTo>
                <a:lnTo>
                  <a:pt x="5377000" y="2316901"/>
                </a:lnTo>
                <a:lnTo>
                  <a:pt x="5380576" y="2264006"/>
                </a:lnTo>
                <a:lnTo>
                  <a:pt x="5382555" y="2208380"/>
                </a:lnTo>
                <a:lnTo>
                  <a:pt x="5383165" y="2150141"/>
                </a:lnTo>
                <a:lnTo>
                  <a:pt x="5382523" y="2092472"/>
                </a:lnTo>
                <a:lnTo>
                  <a:pt x="5380453" y="2037383"/>
                </a:lnTo>
                <a:lnTo>
                  <a:pt x="5376743" y="1984990"/>
                </a:lnTo>
                <a:lnTo>
                  <a:pt x="5371177" y="1935414"/>
                </a:lnTo>
                <a:lnTo>
                  <a:pt x="5363542" y="1888770"/>
                </a:lnTo>
                <a:lnTo>
                  <a:pt x="5353624" y="1845179"/>
                </a:lnTo>
                <a:lnTo>
                  <a:pt x="5341208" y="1804759"/>
                </a:lnTo>
                <a:lnTo>
                  <a:pt x="5326081" y="1767626"/>
                </a:lnTo>
                <a:lnTo>
                  <a:pt x="5308028" y="1733900"/>
                </a:lnTo>
                <a:lnTo>
                  <a:pt x="5262290" y="1677141"/>
                </a:lnTo>
                <a:lnTo>
                  <a:pt x="5202281" y="1635428"/>
                </a:lnTo>
                <a:lnTo>
                  <a:pt x="5166389" y="1620509"/>
                </a:lnTo>
                <a:lnTo>
                  <a:pt x="5126287" y="1609705"/>
                </a:lnTo>
                <a:lnTo>
                  <a:pt x="5081762" y="1603138"/>
                </a:lnTo>
                <a:lnTo>
                  <a:pt x="5032599" y="1600921"/>
                </a:lnTo>
                <a:close/>
                <a:moveTo>
                  <a:pt x="4515699" y="1502430"/>
                </a:moveTo>
                <a:lnTo>
                  <a:pt x="4515699" y="1600921"/>
                </a:lnTo>
                <a:lnTo>
                  <a:pt x="4466813" y="1603138"/>
                </a:lnTo>
                <a:lnTo>
                  <a:pt x="4422532" y="1609705"/>
                </a:lnTo>
                <a:lnTo>
                  <a:pt x="4382646" y="1620509"/>
                </a:lnTo>
                <a:lnTo>
                  <a:pt x="4346940" y="1635428"/>
                </a:lnTo>
                <a:lnTo>
                  <a:pt x="4287225" y="1677141"/>
                </a:lnTo>
                <a:lnTo>
                  <a:pt x="4241691" y="1733900"/>
                </a:lnTo>
                <a:lnTo>
                  <a:pt x="4223712" y="1767626"/>
                </a:lnTo>
                <a:lnTo>
                  <a:pt x="4208642" y="1804759"/>
                </a:lnTo>
                <a:lnTo>
                  <a:pt x="4196270" y="1845179"/>
                </a:lnTo>
                <a:lnTo>
                  <a:pt x="4186382" y="1888770"/>
                </a:lnTo>
                <a:lnTo>
                  <a:pt x="4178768" y="1935414"/>
                </a:lnTo>
                <a:lnTo>
                  <a:pt x="4173215" y="1984990"/>
                </a:lnTo>
                <a:lnTo>
                  <a:pt x="4169510" y="2037383"/>
                </a:lnTo>
                <a:lnTo>
                  <a:pt x="4167443" y="2092472"/>
                </a:lnTo>
                <a:lnTo>
                  <a:pt x="4166801" y="2150141"/>
                </a:lnTo>
                <a:lnTo>
                  <a:pt x="4167427" y="2208380"/>
                </a:lnTo>
                <a:lnTo>
                  <a:pt x="4169449" y="2264006"/>
                </a:lnTo>
                <a:lnTo>
                  <a:pt x="4173087" y="2316901"/>
                </a:lnTo>
                <a:lnTo>
                  <a:pt x="4178556" y="2366946"/>
                </a:lnTo>
                <a:lnTo>
                  <a:pt x="4186077" y="2414022"/>
                </a:lnTo>
                <a:lnTo>
                  <a:pt x="4195866" y="2458012"/>
                </a:lnTo>
                <a:lnTo>
                  <a:pt x="4208143" y="2498797"/>
                </a:lnTo>
                <a:lnTo>
                  <a:pt x="4223125" y="2536259"/>
                </a:lnTo>
                <a:lnTo>
                  <a:pt x="4241031" y="2570280"/>
                </a:lnTo>
                <a:lnTo>
                  <a:pt x="4286485" y="2627524"/>
                </a:lnTo>
                <a:lnTo>
                  <a:pt x="4346251" y="2669584"/>
                </a:lnTo>
                <a:lnTo>
                  <a:pt x="4382046" y="2684624"/>
                </a:lnTo>
                <a:lnTo>
                  <a:pt x="4422074" y="2695513"/>
                </a:lnTo>
                <a:lnTo>
                  <a:pt x="4466552" y="2702134"/>
                </a:lnTo>
                <a:lnTo>
                  <a:pt x="4515699" y="2704367"/>
                </a:lnTo>
                <a:lnTo>
                  <a:pt x="4515699" y="2801189"/>
                </a:lnTo>
                <a:lnTo>
                  <a:pt x="4462176" y="2799300"/>
                </a:lnTo>
                <a:lnTo>
                  <a:pt x="4412696" y="2793687"/>
                </a:lnTo>
                <a:lnTo>
                  <a:pt x="4367116" y="2784433"/>
                </a:lnTo>
                <a:lnTo>
                  <a:pt x="4325298" y="2771621"/>
                </a:lnTo>
                <a:lnTo>
                  <a:pt x="4287101" y="2755334"/>
                </a:lnTo>
                <a:lnTo>
                  <a:pt x="4252384" y="2735653"/>
                </a:lnTo>
                <a:lnTo>
                  <a:pt x="4221007" y="2712663"/>
                </a:lnTo>
                <a:lnTo>
                  <a:pt x="4192831" y="2686444"/>
                </a:lnTo>
                <a:lnTo>
                  <a:pt x="4167714" y="2657081"/>
                </a:lnTo>
                <a:lnTo>
                  <a:pt x="4145517" y="2624655"/>
                </a:lnTo>
                <a:lnTo>
                  <a:pt x="4126100" y="2589249"/>
                </a:lnTo>
                <a:lnTo>
                  <a:pt x="4109322" y="2550946"/>
                </a:lnTo>
                <a:lnTo>
                  <a:pt x="4095043" y="2509828"/>
                </a:lnTo>
                <a:lnTo>
                  <a:pt x="4083123" y="2465979"/>
                </a:lnTo>
                <a:lnTo>
                  <a:pt x="4073422" y="2419480"/>
                </a:lnTo>
                <a:lnTo>
                  <a:pt x="4065799" y="2370415"/>
                </a:lnTo>
                <a:lnTo>
                  <a:pt x="4060114" y="2318865"/>
                </a:lnTo>
                <a:lnTo>
                  <a:pt x="4056227" y="2264915"/>
                </a:lnTo>
                <a:lnTo>
                  <a:pt x="4053997" y="2208645"/>
                </a:lnTo>
                <a:lnTo>
                  <a:pt x="4053286" y="2150141"/>
                </a:lnTo>
                <a:lnTo>
                  <a:pt x="4054021" y="2091886"/>
                </a:lnTo>
                <a:lnTo>
                  <a:pt x="4056317" y="2035865"/>
                </a:lnTo>
                <a:lnTo>
                  <a:pt x="4060306" y="1982160"/>
                </a:lnTo>
                <a:lnTo>
                  <a:pt x="4066119" y="1930854"/>
                </a:lnTo>
                <a:lnTo>
                  <a:pt x="4073892" y="1882026"/>
                </a:lnTo>
                <a:lnTo>
                  <a:pt x="4083755" y="1835759"/>
                </a:lnTo>
                <a:lnTo>
                  <a:pt x="4095841" y="1792133"/>
                </a:lnTo>
                <a:lnTo>
                  <a:pt x="4110284" y="1751231"/>
                </a:lnTo>
                <a:lnTo>
                  <a:pt x="4127216" y="1713133"/>
                </a:lnTo>
                <a:lnTo>
                  <a:pt x="4146769" y="1677921"/>
                </a:lnTo>
                <a:lnTo>
                  <a:pt x="4169077" y="1645676"/>
                </a:lnTo>
                <a:lnTo>
                  <a:pt x="4194274" y="1616479"/>
                </a:lnTo>
                <a:lnTo>
                  <a:pt x="4222489" y="1590414"/>
                </a:lnTo>
                <a:lnTo>
                  <a:pt x="4253856" y="1567559"/>
                </a:lnTo>
                <a:lnTo>
                  <a:pt x="4288509" y="1547998"/>
                </a:lnTo>
                <a:lnTo>
                  <a:pt x="4326580" y="1531810"/>
                </a:lnTo>
                <a:lnTo>
                  <a:pt x="4368202" y="1519078"/>
                </a:lnTo>
                <a:lnTo>
                  <a:pt x="4413507" y="1509883"/>
                </a:lnTo>
                <a:lnTo>
                  <a:pt x="4462628" y="1504306"/>
                </a:lnTo>
                <a:close/>
                <a:moveTo>
                  <a:pt x="462412" y="1502430"/>
                </a:moveTo>
                <a:lnTo>
                  <a:pt x="462412" y="1600921"/>
                </a:lnTo>
                <a:lnTo>
                  <a:pt x="413526" y="1603138"/>
                </a:lnTo>
                <a:lnTo>
                  <a:pt x="369246" y="1609705"/>
                </a:lnTo>
                <a:lnTo>
                  <a:pt x="329359" y="1620509"/>
                </a:lnTo>
                <a:lnTo>
                  <a:pt x="293653" y="1635428"/>
                </a:lnTo>
                <a:lnTo>
                  <a:pt x="233938" y="1677141"/>
                </a:lnTo>
                <a:lnTo>
                  <a:pt x="188404" y="1733900"/>
                </a:lnTo>
                <a:lnTo>
                  <a:pt x="170425" y="1767626"/>
                </a:lnTo>
                <a:lnTo>
                  <a:pt x="155356" y="1804759"/>
                </a:lnTo>
                <a:lnTo>
                  <a:pt x="142983" y="1845179"/>
                </a:lnTo>
                <a:lnTo>
                  <a:pt x="133096" y="1888770"/>
                </a:lnTo>
                <a:lnTo>
                  <a:pt x="125482" y="1935414"/>
                </a:lnTo>
                <a:lnTo>
                  <a:pt x="119929" y="1984990"/>
                </a:lnTo>
                <a:lnTo>
                  <a:pt x="116225" y="2037383"/>
                </a:lnTo>
                <a:lnTo>
                  <a:pt x="114158" y="2092472"/>
                </a:lnTo>
                <a:lnTo>
                  <a:pt x="113516" y="2150141"/>
                </a:lnTo>
                <a:lnTo>
                  <a:pt x="114141" y="2208380"/>
                </a:lnTo>
                <a:lnTo>
                  <a:pt x="116163" y="2264006"/>
                </a:lnTo>
                <a:lnTo>
                  <a:pt x="119800" y="2316901"/>
                </a:lnTo>
                <a:lnTo>
                  <a:pt x="125270" y="2366946"/>
                </a:lnTo>
                <a:lnTo>
                  <a:pt x="132790" y="2414022"/>
                </a:lnTo>
                <a:lnTo>
                  <a:pt x="142580" y="2458012"/>
                </a:lnTo>
                <a:lnTo>
                  <a:pt x="154856" y="2498797"/>
                </a:lnTo>
                <a:lnTo>
                  <a:pt x="169838" y="2536259"/>
                </a:lnTo>
                <a:lnTo>
                  <a:pt x="187744" y="2570280"/>
                </a:lnTo>
                <a:lnTo>
                  <a:pt x="233198" y="2627524"/>
                </a:lnTo>
                <a:lnTo>
                  <a:pt x="292964" y="2669584"/>
                </a:lnTo>
                <a:lnTo>
                  <a:pt x="328759" y="2684624"/>
                </a:lnTo>
                <a:lnTo>
                  <a:pt x="368787" y="2695513"/>
                </a:lnTo>
                <a:lnTo>
                  <a:pt x="413265" y="2702134"/>
                </a:lnTo>
                <a:lnTo>
                  <a:pt x="462412" y="2704367"/>
                </a:lnTo>
                <a:lnTo>
                  <a:pt x="462412" y="2801189"/>
                </a:lnTo>
                <a:lnTo>
                  <a:pt x="408890" y="2799300"/>
                </a:lnTo>
                <a:lnTo>
                  <a:pt x="359409" y="2793687"/>
                </a:lnTo>
                <a:lnTo>
                  <a:pt x="313830" y="2784433"/>
                </a:lnTo>
                <a:lnTo>
                  <a:pt x="272011" y="2771621"/>
                </a:lnTo>
                <a:lnTo>
                  <a:pt x="233814" y="2755334"/>
                </a:lnTo>
                <a:lnTo>
                  <a:pt x="199097" y="2735653"/>
                </a:lnTo>
                <a:lnTo>
                  <a:pt x="167721" y="2712663"/>
                </a:lnTo>
                <a:lnTo>
                  <a:pt x="139544" y="2686444"/>
                </a:lnTo>
                <a:lnTo>
                  <a:pt x="114428" y="2657081"/>
                </a:lnTo>
                <a:lnTo>
                  <a:pt x="92232" y="2624655"/>
                </a:lnTo>
                <a:lnTo>
                  <a:pt x="72814" y="2589249"/>
                </a:lnTo>
                <a:lnTo>
                  <a:pt x="56037" y="2550946"/>
                </a:lnTo>
                <a:lnTo>
                  <a:pt x="41758" y="2509828"/>
                </a:lnTo>
                <a:lnTo>
                  <a:pt x="29838" y="2465979"/>
                </a:lnTo>
                <a:lnTo>
                  <a:pt x="20136" y="2419480"/>
                </a:lnTo>
                <a:lnTo>
                  <a:pt x="12513" y="2370415"/>
                </a:lnTo>
                <a:lnTo>
                  <a:pt x="6828" y="2318865"/>
                </a:lnTo>
                <a:lnTo>
                  <a:pt x="2941" y="2264915"/>
                </a:lnTo>
                <a:lnTo>
                  <a:pt x="711" y="2208645"/>
                </a:lnTo>
                <a:lnTo>
                  <a:pt x="0" y="2150141"/>
                </a:lnTo>
                <a:lnTo>
                  <a:pt x="735" y="2091886"/>
                </a:lnTo>
                <a:lnTo>
                  <a:pt x="3031" y="2035865"/>
                </a:lnTo>
                <a:lnTo>
                  <a:pt x="7020" y="1982160"/>
                </a:lnTo>
                <a:lnTo>
                  <a:pt x="12834" y="1930854"/>
                </a:lnTo>
                <a:lnTo>
                  <a:pt x="20606" y="1882026"/>
                </a:lnTo>
                <a:lnTo>
                  <a:pt x="30469" y="1835759"/>
                </a:lnTo>
                <a:lnTo>
                  <a:pt x="42555" y="1792133"/>
                </a:lnTo>
                <a:lnTo>
                  <a:pt x="56998" y="1751231"/>
                </a:lnTo>
                <a:lnTo>
                  <a:pt x="73930" y="1713133"/>
                </a:lnTo>
                <a:lnTo>
                  <a:pt x="93484" y="1677921"/>
                </a:lnTo>
                <a:lnTo>
                  <a:pt x="115792" y="1645676"/>
                </a:lnTo>
                <a:lnTo>
                  <a:pt x="140987" y="1616479"/>
                </a:lnTo>
                <a:lnTo>
                  <a:pt x="169202" y="1590414"/>
                </a:lnTo>
                <a:lnTo>
                  <a:pt x="200570" y="1567559"/>
                </a:lnTo>
                <a:lnTo>
                  <a:pt x="235222" y="1547998"/>
                </a:lnTo>
                <a:lnTo>
                  <a:pt x="273293" y="1531810"/>
                </a:lnTo>
                <a:lnTo>
                  <a:pt x="314915" y="1519078"/>
                </a:lnTo>
                <a:lnTo>
                  <a:pt x="360220" y="1509883"/>
                </a:lnTo>
                <a:lnTo>
                  <a:pt x="409342" y="1504306"/>
                </a:lnTo>
                <a:close/>
                <a:moveTo>
                  <a:pt x="5280527" y="871409"/>
                </a:moveTo>
                <a:lnTo>
                  <a:pt x="6185319" y="871409"/>
                </a:lnTo>
                <a:lnTo>
                  <a:pt x="6185319" y="978246"/>
                </a:lnTo>
                <a:lnTo>
                  <a:pt x="5280527" y="978246"/>
                </a:lnTo>
                <a:close/>
                <a:moveTo>
                  <a:pt x="1874462" y="871408"/>
                </a:moveTo>
                <a:lnTo>
                  <a:pt x="2779254" y="871408"/>
                </a:lnTo>
                <a:lnTo>
                  <a:pt x="2779254" y="978246"/>
                </a:lnTo>
                <a:lnTo>
                  <a:pt x="1874462" y="978246"/>
                </a:lnTo>
                <a:close/>
                <a:moveTo>
                  <a:pt x="5280527" y="522512"/>
                </a:moveTo>
                <a:lnTo>
                  <a:pt x="6185319" y="522512"/>
                </a:lnTo>
                <a:lnTo>
                  <a:pt x="6185319" y="629349"/>
                </a:lnTo>
                <a:lnTo>
                  <a:pt x="5280527" y="629349"/>
                </a:lnTo>
                <a:close/>
                <a:moveTo>
                  <a:pt x="1874462" y="522511"/>
                </a:moveTo>
                <a:lnTo>
                  <a:pt x="2779254" y="522511"/>
                </a:lnTo>
                <a:lnTo>
                  <a:pt x="2779254" y="629349"/>
                </a:lnTo>
                <a:lnTo>
                  <a:pt x="1874462" y="629349"/>
                </a:lnTo>
                <a:close/>
                <a:moveTo>
                  <a:pt x="4621539" y="116859"/>
                </a:moveTo>
                <a:lnTo>
                  <a:pt x="4740064" y="116859"/>
                </a:lnTo>
                <a:lnTo>
                  <a:pt x="4386160" y="1185248"/>
                </a:lnTo>
                <a:lnTo>
                  <a:pt x="4264297" y="1185248"/>
                </a:lnTo>
                <a:close/>
                <a:moveTo>
                  <a:pt x="3314617" y="116858"/>
                </a:moveTo>
                <a:lnTo>
                  <a:pt x="3439819" y="116858"/>
                </a:lnTo>
                <a:lnTo>
                  <a:pt x="3795392" y="1185248"/>
                </a:lnTo>
                <a:lnTo>
                  <a:pt x="3670190" y="1185248"/>
                </a:lnTo>
                <a:close/>
                <a:moveTo>
                  <a:pt x="1312489" y="1"/>
                </a:moveTo>
                <a:lnTo>
                  <a:pt x="1312489" y="98493"/>
                </a:lnTo>
                <a:lnTo>
                  <a:pt x="1263604" y="100709"/>
                </a:lnTo>
                <a:lnTo>
                  <a:pt x="1219322" y="107277"/>
                </a:lnTo>
                <a:lnTo>
                  <a:pt x="1179437" y="118080"/>
                </a:lnTo>
                <a:lnTo>
                  <a:pt x="1143731" y="132999"/>
                </a:lnTo>
                <a:lnTo>
                  <a:pt x="1084016" y="174712"/>
                </a:lnTo>
                <a:lnTo>
                  <a:pt x="1038482" y="231471"/>
                </a:lnTo>
                <a:lnTo>
                  <a:pt x="1020503" y="265197"/>
                </a:lnTo>
                <a:lnTo>
                  <a:pt x="1005433" y="302330"/>
                </a:lnTo>
                <a:lnTo>
                  <a:pt x="993061" y="342750"/>
                </a:lnTo>
                <a:lnTo>
                  <a:pt x="983172" y="386342"/>
                </a:lnTo>
                <a:lnTo>
                  <a:pt x="975559" y="432985"/>
                </a:lnTo>
                <a:lnTo>
                  <a:pt x="970006" y="482562"/>
                </a:lnTo>
                <a:lnTo>
                  <a:pt x="966302" y="534954"/>
                </a:lnTo>
                <a:lnTo>
                  <a:pt x="964235" y="590043"/>
                </a:lnTo>
                <a:lnTo>
                  <a:pt x="963593" y="647712"/>
                </a:lnTo>
                <a:lnTo>
                  <a:pt x="964219" y="705953"/>
                </a:lnTo>
                <a:lnTo>
                  <a:pt x="966241" y="761579"/>
                </a:lnTo>
                <a:lnTo>
                  <a:pt x="969878" y="814474"/>
                </a:lnTo>
                <a:lnTo>
                  <a:pt x="975347" y="864518"/>
                </a:lnTo>
                <a:lnTo>
                  <a:pt x="982868" y="911596"/>
                </a:lnTo>
                <a:lnTo>
                  <a:pt x="992658" y="955586"/>
                </a:lnTo>
                <a:lnTo>
                  <a:pt x="1004934" y="996370"/>
                </a:lnTo>
                <a:lnTo>
                  <a:pt x="1019916" y="1033831"/>
                </a:lnTo>
                <a:lnTo>
                  <a:pt x="1037822" y="1067851"/>
                </a:lnTo>
                <a:lnTo>
                  <a:pt x="1083276" y="1125096"/>
                </a:lnTo>
                <a:lnTo>
                  <a:pt x="1143042" y="1167155"/>
                </a:lnTo>
                <a:lnTo>
                  <a:pt x="1178837" y="1182194"/>
                </a:lnTo>
                <a:lnTo>
                  <a:pt x="1218864" y="1193084"/>
                </a:lnTo>
                <a:lnTo>
                  <a:pt x="1263342" y="1199705"/>
                </a:lnTo>
                <a:lnTo>
                  <a:pt x="1312489" y="1201938"/>
                </a:lnTo>
                <a:lnTo>
                  <a:pt x="1312489" y="1298761"/>
                </a:lnTo>
                <a:lnTo>
                  <a:pt x="1258966" y="1296873"/>
                </a:lnTo>
                <a:lnTo>
                  <a:pt x="1209487" y="1291259"/>
                </a:lnTo>
                <a:lnTo>
                  <a:pt x="1163908" y="1282006"/>
                </a:lnTo>
                <a:lnTo>
                  <a:pt x="1122089" y="1269194"/>
                </a:lnTo>
                <a:lnTo>
                  <a:pt x="1083893" y="1252907"/>
                </a:lnTo>
                <a:lnTo>
                  <a:pt x="1049176" y="1233225"/>
                </a:lnTo>
                <a:lnTo>
                  <a:pt x="1017798" y="1210234"/>
                </a:lnTo>
                <a:lnTo>
                  <a:pt x="989622" y="1184015"/>
                </a:lnTo>
                <a:lnTo>
                  <a:pt x="964506" y="1154652"/>
                </a:lnTo>
                <a:lnTo>
                  <a:pt x="942309" y="1122226"/>
                </a:lnTo>
                <a:lnTo>
                  <a:pt x="922891" y="1086820"/>
                </a:lnTo>
                <a:lnTo>
                  <a:pt x="906113" y="1048518"/>
                </a:lnTo>
                <a:lnTo>
                  <a:pt x="891835" y="1007402"/>
                </a:lnTo>
                <a:lnTo>
                  <a:pt x="879914" y="963551"/>
                </a:lnTo>
                <a:lnTo>
                  <a:pt x="870214" y="917053"/>
                </a:lnTo>
                <a:lnTo>
                  <a:pt x="862590" y="867987"/>
                </a:lnTo>
                <a:lnTo>
                  <a:pt x="856906" y="816438"/>
                </a:lnTo>
                <a:lnTo>
                  <a:pt x="853019" y="762487"/>
                </a:lnTo>
                <a:lnTo>
                  <a:pt x="850789" y="706217"/>
                </a:lnTo>
                <a:lnTo>
                  <a:pt x="850077" y="647712"/>
                </a:lnTo>
                <a:lnTo>
                  <a:pt x="850812" y="589457"/>
                </a:lnTo>
                <a:lnTo>
                  <a:pt x="853109" y="533437"/>
                </a:lnTo>
                <a:lnTo>
                  <a:pt x="857098" y="479733"/>
                </a:lnTo>
                <a:lnTo>
                  <a:pt x="862911" y="428425"/>
                </a:lnTo>
                <a:lnTo>
                  <a:pt x="870684" y="379597"/>
                </a:lnTo>
                <a:lnTo>
                  <a:pt x="880547" y="333331"/>
                </a:lnTo>
                <a:lnTo>
                  <a:pt x="892633" y="289705"/>
                </a:lnTo>
                <a:lnTo>
                  <a:pt x="907076" y="248802"/>
                </a:lnTo>
                <a:lnTo>
                  <a:pt x="924008" y="210704"/>
                </a:lnTo>
                <a:lnTo>
                  <a:pt x="943561" y="175493"/>
                </a:lnTo>
                <a:lnTo>
                  <a:pt x="965869" y="143247"/>
                </a:lnTo>
                <a:lnTo>
                  <a:pt x="991066" y="114051"/>
                </a:lnTo>
                <a:lnTo>
                  <a:pt x="1019280" y="87986"/>
                </a:lnTo>
                <a:lnTo>
                  <a:pt x="1050647" y="65131"/>
                </a:lnTo>
                <a:lnTo>
                  <a:pt x="1085300" y="45570"/>
                </a:lnTo>
                <a:lnTo>
                  <a:pt x="1123371" y="29382"/>
                </a:lnTo>
                <a:lnTo>
                  <a:pt x="1164993" y="16650"/>
                </a:lnTo>
                <a:lnTo>
                  <a:pt x="1210299" y="7455"/>
                </a:lnTo>
                <a:lnTo>
                  <a:pt x="1259419" y="1877"/>
                </a:lnTo>
                <a:close/>
                <a:moveTo>
                  <a:pt x="6747401" y="0"/>
                </a:moveTo>
                <a:lnTo>
                  <a:pt x="6800471" y="1876"/>
                </a:lnTo>
                <a:lnTo>
                  <a:pt x="6849592" y="7453"/>
                </a:lnTo>
                <a:lnTo>
                  <a:pt x="6894897" y="16648"/>
                </a:lnTo>
                <a:lnTo>
                  <a:pt x="6936519" y="29380"/>
                </a:lnTo>
                <a:lnTo>
                  <a:pt x="6974590" y="45568"/>
                </a:lnTo>
                <a:lnTo>
                  <a:pt x="7009243" y="65130"/>
                </a:lnTo>
                <a:lnTo>
                  <a:pt x="7040610" y="87984"/>
                </a:lnTo>
                <a:lnTo>
                  <a:pt x="7068825" y="114050"/>
                </a:lnTo>
                <a:lnTo>
                  <a:pt x="7094021" y="143246"/>
                </a:lnTo>
                <a:lnTo>
                  <a:pt x="7116329" y="175491"/>
                </a:lnTo>
                <a:lnTo>
                  <a:pt x="7135882" y="210703"/>
                </a:lnTo>
                <a:lnTo>
                  <a:pt x="7152814" y="248801"/>
                </a:lnTo>
                <a:lnTo>
                  <a:pt x="7167257" y="289704"/>
                </a:lnTo>
                <a:lnTo>
                  <a:pt x="7179344" y="333329"/>
                </a:lnTo>
                <a:lnTo>
                  <a:pt x="7189207" y="379596"/>
                </a:lnTo>
                <a:lnTo>
                  <a:pt x="7196979" y="428424"/>
                </a:lnTo>
                <a:lnTo>
                  <a:pt x="7202793" y="479731"/>
                </a:lnTo>
                <a:lnTo>
                  <a:pt x="7206781" y="533435"/>
                </a:lnTo>
                <a:lnTo>
                  <a:pt x="7209077" y="589455"/>
                </a:lnTo>
                <a:lnTo>
                  <a:pt x="7209813" y="647711"/>
                </a:lnTo>
                <a:lnTo>
                  <a:pt x="7209113" y="706216"/>
                </a:lnTo>
                <a:lnTo>
                  <a:pt x="7206916" y="762486"/>
                </a:lnTo>
                <a:lnTo>
                  <a:pt x="7203080" y="816437"/>
                </a:lnTo>
                <a:lnTo>
                  <a:pt x="7197459" y="867986"/>
                </a:lnTo>
                <a:lnTo>
                  <a:pt x="7189911" y="917051"/>
                </a:lnTo>
                <a:lnTo>
                  <a:pt x="7180290" y="963550"/>
                </a:lnTo>
                <a:lnTo>
                  <a:pt x="7168453" y="1007400"/>
                </a:lnTo>
                <a:lnTo>
                  <a:pt x="7154256" y="1048517"/>
                </a:lnTo>
                <a:lnTo>
                  <a:pt x="7137555" y="1086819"/>
                </a:lnTo>
                <a:lnTo>
                  <a:pt x="7118206" y="1122225"/>
                </a:lnTo>
                <a:lnTo>
                  <a:pt x="7096065" y="1154652"/>
                </a:lnTo>
                <a:lnTo>
                  <a:pt x="7070989" y="1184015"/>
                </a:lnTo>
                <a:lnTo>
                  <a:pt x="7042832" y="1210234"/>
                </a:lnTo>
                <a:lnTo>
                  <a:pt x="7011451" y="1233224"/>
                </a:lnTo>
                <a:lnTo>
                  <a:pt x="6976702" y="1252906"/>
                </a:lnTo>
                <a:lnTo>
                  <a:pt x="6938442" y="1269193"/>
                </a:lnTo>
                <a:lnTo>
                  <a:pt x="6896525" y="1282004"/>
                </a:lnTo>
                <a:lnTo>
                  <a:pt x="6850809" y="1291259"/>
                </a:lnTo>
                <a:lnTo>
                  <a:pt x="6801149" y="1296872"/>
                </a:lnTo>
                <a:lnTo>
                  <a:pt x="6747401" y="1298760"/>
                </a:lnTo>
                <a:lnTo>
                  <a:pt x="6747401" y="1201937"/>
                </a:lnTo>
                <a:lnTo>
                  <a:pt x="6797086" y="1199704"/>
                </a:lnTo>
                <a:lnTo>
                  <a:pt x="6842006" y="1193083"/>
                </a:lnTo>
                <a:lnTo>
                  <a:pt x="6882389" y="1182194"/>
                </a:lnTo>
                <a:lnTo>
                  <a:pt x="6918460" y="1167155"/>
                </a:lnTo>
                <a:lnTo>
                  <a:pt x="6978571" y="1125095"/>
                </a:lnTo>
                <a:lnTo>
                  <a:pt x="7024150" y="1067850"/>
                </a:lnTo>
                <a:lnTo>
                  <a:pt x="7042056" y="1033830"/>
                </a:lnTo>
                <a:lnTo>
                  <a:pt x="7057008" y="996368"/>
                </a:lnTo>
                <a:lnTo>
                  <a:pt x="7069232" y="955584"/>
                </a:lnTo>
                <a:lnTo>
                  <a:pt x="7078955" y="911594"/>
                </a:lnTo>
                <a:lnTo>
                  <a:pt x="7086402" y="864517"/>
                </a:lnTo>
                <a:lnTo>
                  <a:pt x="7091801" y="814473"/>
                </a:lnTo>
                <a:lnTo>
                  <a:pt x="7095377" y="761578"/>
                </a:lnTo>
                <a:lnTo>
                  <a:pt x="7097356" y="705951"/>
                </a:lnTo>
                <a:lnTo>
                  <a:pt x="7097966" y="647711"/>
                </a:lnTo>
                <a:lnTo>
                  <a:pt x="7097324" y="590042"/>
                </a:lnTo>
                <a:lnTo>
                  <a:pt x="7095254" y="534953"/>
                </a:lnTo>
                <a:lnTo>
                  <a:pt x="7091544" y="482560"/>
                </a:lnTo>
                <a:lnTo>
                  <a:pt x="7085978" y="432984"/>
                </a:lnTo>
                <a:lnTo>
                  <a:pt x="7078343" y="386340"/>
                </a:lnTo>
                <a:lnTo>
                  <a:pt x="7068425" y="342749"/>
                </a:lnTo>
                <a:lnTo>
                  <a:pt x="7056009" y="302328"/>
                </a:lnTo>
                <a:lnTo>
                  <a:pt x="7040882" y="265196"/>
                </a:lnTo>
                <a:lnTo>
                  <a:pt x="7022829" y="231470"/>
                </a:lnTo>
                <a:lnTo>
                  <a:pt x="6977091" y="174711"/>
                </a:lnTo>
                <a:lnTo>
                  <a:pt x="6917082" y="132998"/>
                </a:lnTo>
                <a:lnTo>
                  <a:pt x="6881190" y="118079"/>
                </a:lnTo>
                <a:lnTo>
                  <a:pt x="6841089" y="107276"/>
                </a:lnTo>
                <a:lnTo>
                  <a:pt x="6796564" y="100708"/>
                </a:lnTo>
                <a:lnTo>
                  <a:pt x="6747401" y="98492"/>
                </a:lnTo>
                <a:close/>
              </a:path>
            </a:pathLst>
          </a:custGeom>
          <a:solidFill>
            <a:srgbClr val="4D7836"/>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3195550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reaker J">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C478D43B-6DB1-49ED-A3EC-43DFBB246817}" type="datetime2">
              <a:rPr lang="da-DK" smtClean="0"/>
              <a:t>11. december 2025</a:t>
            </a:fld>
            <a:endParaRPr lang="da-DK"/>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5" name="Mikro grafik 1">
            <a:extLst>
              <a:ext uri="{FF2B5EF4-FFF2-40B4-BE49-F238E27FC236}">
                <a16:creationId xmlns:a16="http://schemas.microsoft.com/office/drawing/2014/main" id="{8E8246C8-AEEC-66A0-3B85-75D6EBE031F7}"/>
              </a:ext>
            </a:extLst>
          </p:cNvPr>
          <p:cNvSpPr/>
          <p:nvPr userDrawn="1"/>
        </p:nvSpPr>
        <p:spPr>
          <a:xfrm>
            <a:off x="405001" y="915672"/>
            <a:ext cx="3748256" cy="3312156"/>
          </a:xfrm>
          <a:custGeom>
            <a:avLst/>
            <a:gdLst>
              <a:gd name="connsiteX0" fmla="*/ 5241587 w 8266922"/>
              <a:gd name="connsiteY0" fmla="*/ 7031344 h 7305087"/>
              <a:gd name="connsiteX1" fmla="*/ 5448586 w 8266922"/>
              <a:gd name="connsiteY1" fmla="*/ 7031344 h 7305087"/>
              <a:gd name="connsiteX2" fmla="*/ 5448586 w 8266922"/>
              <a:gd name="connsiteY2" fmla="*/ 7204957 h 7305087"/>
              <a:gd name="connsiteX3" fmla="*/ 5241587 w 8266922"/>
              <a:gd name="connsiteY3" fmla="*/ 7204957 h 7305087"/>
              <a:gd name="connsiteX4" fmla="*/ 2946862 w 8266922"/>
              <a:gd name="connsiteY4" fmla="*/ 7031344 h 7305087"/>
              <a:gd name="connsiteX5" fmla="*/ 3153861 w 8266922"/>
              <a:gd name="connsiteY5" fmla="*/ 7031344 h 7305087"/>
              <a:gd name="connsiteX6" fmla="*/ 3153861 w 8266922"/>
              <a:gd name="connsiteY6" fmla="*/ 7204957 h 7305087"/>
              <a:gd name="connsiteX7" fmla="*/ 2946862 w 8266922"/>
              <a:gd name="connsiteY7" fmla="*/ 7204957 h 7305087"/>
              <a:gd name="connsiteX8" fmla="*/ 4247643 w 8266922"/>
              <a:gd name="connsiteY8" fmla="*/ 6016037 h 7305087"/>
              <a:gd name="connsiteX9" fmla="*/ 4621582 w 8266922"/>
              <a:gd name="connsiteY9" fmla="*/ 6016037 h 7305087"/>
              <a:gd name="connsiteX10" fmla="*/ 4621582 w 8266922"/>
              <a:gd name="connsiteY10" fmla="*/ 6111287 h 7305087"/>
              <a:gd name="connsiteX11" fmla="*/ 4621582 w 8266922"/>
              <a:gd name="connsiteY11" fmla="*/ 7209837 h 7305087"/>
              <a:gd name="connsiteX12" fmla="*/ 4621582 w 8266922"/>
              <a:gd name="connsiteY12" fmla="*/ 7305087 h 7305087"/>
              <a:gd name="connsiteX13" fmla="*/ 4247643 w 8266922"/>
              <a:gd name="connsiteY13" fmla="*/ 7305087 h 7305087"/>
              <a:gd name="connsiteX14" fmla="*/ 4247643 w 8266922"/>
              <a:gd name="connsiteY14" fmla="*/ 7209837 h 7305087"/>
              <a:gd name="connsiteX15" fmla="*/ 4506393 w 8266922"/>
              <a:gd name="connsiteY15" fmla="*/ 7209837 h 7305087"/>
              <a:gd name="connsiteX16" fmla="*/ 4506393 w 8266922"/>
              <a:gd name="connsiteY16" fmla="*/ 6111287 h 7305087"/>
              <a:gd name="connsiteX17" fmla="*/ 4247643 w 8266922"/>
              <a:gd name="connsiteY17" fmla="*/ 6111287 h 7305087"/>
              <a:gd name="connsiteX18" fmla="*/ 3773921 w 8266922"/>
              <a:gd name="connsiteY18" fmla="*/ 6016037 h 7305087"/>
              <a:gd name="connsiteX19" fmla="*/ 4147860 w 8266922"/>
              <a:gd name="connsiteY19" fmla="*/ 6016037 h 7305087"/>
              <a:gd name="connsiteX20" fmla="*/ 4147860 w 8266922"/>
              <a:gd name="connsiteY20" fmla="*/ 6111287 h 7305087"/>
              <a:gd name="connsiteX21" fmla="*/ 3889111 w 8266922"/>
              <a:gd name="connsiteY21" fmla="*/ 6111287 h 7305087"/>
              <a:gd name="connsiteX22" fmla="*/ 3889111 w 8266922"/>
              <a:gd name="connsiteY22" fmla="*/ 7209837 h 7305087"/>
              <a:gd name="connsiteX23" fmla="*/ 4147860 w 8266922"/>
              <a:gd name="connsiteY23" fmla="*/ 7209837 h 7305087"/>
              <a:gd name="connsiteX24" fmla="*/ 4147860 w 8266922"/>
              <a:gd name="connsiteY24" fmla="*/ 7305087 h 7305087"/>
              <a:gd name="connsiteX25" fmla="*/ 3773921 w 8266922"/>
              <a:gd name="connsiteY25" fmla="*/ 7305087 h 7305087"/>
              <a:gd name="connsiteX26" fmla="*/ 3773921 w 8266922"/>
              <a:gd name="connsiteY26" fmla="*/ 7209837 h 7305087"/>
              <a:gd name="connsiteX27" fmla="*/ 3773921 w 8266922"/>
              <a:gd name="connsiteY27" fmla="*/ 6111287 h 7305087"/>
              <a:gd name="connsiteX28" fmla="*/ 6688042 w 8266922"/>
              <a:gd name="connsiteY28" fmla="*/ 5528924 h 7305087"/>
              <a:gd name="connsiteX29" fmla="*/ 6895043 w 8266922"/>
              <a:gd name="connsiteY29" fmla="*/ 5528924 h 7305087"/>
              <a:gd name="connsiteX30" fmla="*/ 6895043 w 8266922"/>
              <a:gd name="connsiteY30" fmla="*/ 5702536 h 7305087"/>
              <a:gd name="connsiteX31" fmla="*/ 6688042 w 8266922"/>
              <a:gd name="connsiteY31" fmla="*/ 5702536 h 7305087"/>
              <a:gd name="connsiteX32" fmla="*/ 3990746 w 8266922"/>
              <a:gd name="connsiteY32" fmla="*/ 5378675 h 7305087"/>
              <a:gd name="connsiteX33" fmla="*/ 4895538 w 8266922"/>
              <a:gd name="connsiteY33" fmla="*/ 5378675 h 7305087"/>
              <a:gd name="connsiteX34" fmla="*/ 4895538 w 8266922"/>
              <a:gd name="connsiteY34" fmla="*/ 5485512 h 7305087"/>
              <a:gd name="connsiteX35" fmla="*/ 3990746 w 8266922"/>
              <a:gd name="connsiteY35" fmla="*/ 5485512 h 7305087"/>
              <a:gd name="connsiteX36" fmla="*/ 1270097 w 8266922"/>
              <a:gd name="connsiteY36" fmla="*/ 5378675 h 7305087"/>
              <a:gd name="connsiteX37" fmla="*/ 2174890 w 8266922"/>
              <a:gd name="connsiteY37" fmla="*/ 5378675 h 7305087"/>
              <a:gd name="connsiteX38" fmla="*/ 2174890 w 8266922"/>
              <a:gd name="connsiteY38" fmla="*/ 5485512 h 7305087"/>
              <a:gd name="connsiteX39" fmla="*/ 1270097 w 8266922"/>
              <a:gd name="connsiteY39" fmla="*/ 5485512 h 7305087"/>
              <a:gd name="connsiteX40" fmla="*/ 3990746 w 8266922"/>
              <a:gd name="connsiteY40" fmla="*/ 5029777 h 7305087"/>
              <a:gd name="connsiteX41" fmla="*/ 4895538 w 8266922"/>
              <a:gd name="connsiteY41" fmla="*/ 5029777 h 7305087"/>
              <a:gd name="connsiteX42" fmla="*/ 4895538 w 8266922"/>
              <a:gd name="connsiteY42" fmla="*/ 5136615 h 7305087"/>
              <a:gd name="connsiteX43" fmla="*/ 3990746 w 8266922"/>
              <a:gd name="connsiteY43" fmla="*/ 5136615 h 7305087"/>
              <a:gd name="connsiteX44" fmla="*/ 1270097 w 8266922"/>
              <a:gd name="connsiteY44" fmla="*/ 5029777 h 7305087"/>
              <a:gd name="connsiteX45" fmla="*/ 2174890 w 8266922"/>
              <a:gd name="connsiteY45" fmla="*/ 5029777 h 7305087"/>
              <a:gd name="connsiteX46" fmla="*/ 2174890 w 8266922"/>
              <a:gd name="connsiteY46" fmla="*/ 5136615 h 7305087"/>
              <a:gd name="connsiteX47" fmla="*/ 1270097 w 8266922"/>
              <a:gd name="connsiteY47" fmla="*/ 5136615 h 7305087"/>
              <a:gd name="connsiteX48" fmla="*/ 6062007 w 8266922"/>
              <a:gd name="connsiteY48" fmla="*/ 4507277 h 7305087"/>
              <a:gd name="connsiteX49" fmla="*/ 6115077 w 8266922"/>
              <a:gd name="connsiteY49" fmla="*/ 4509153 h 7305087"/>
              <a:gd name="connsiteX50" fmla="*/ 6164198 w 8266922"/>
              <a:gd name="connsiteY50" fmla="*/ 4514730 h 7305087"/>
              <a:gd name="connsiteX51" fmla="*/ 6209503 w 8266922"/>
              <a:gd name="connsiteY51" fmla="*/ 4523925 h 7305087"/>
              <a:gd name="connsiteX52" fmla="*/ 6251125 w 8266922"/>
              <a:gd name="connsiteY52" fmla="*/ 4536657 h 7305087"/>
              <a:gd name="connsiteX53" fmla="*/ 6289196 w 8266922"/>
              <a:gd name="connsiteY53" fmla="*/ 4552845 h 7305087"/>
              <a:gd name="connsiteX54" fmla="*/ 6323849 w 8266922"/>
              <a:gd name="connsiteY54" fmla="*/ 4572406 h 7305087"/>
              <a:gd name="connsiteX55" fmla="*/ 6355216 w 8266922"/>
              <a:gd name="connsiteY55" fmla="*/ 4595261 h 7305087"/>
              <a:gd name="connsiteX56" fmla="*/ 6383431 w 8266922"/>
              <a:gd name="connsiteY56" fmla="*/ 4621327 h 7305087"/>
              <a:gd name="connsiteX57" fmla="*/ 6408627 w 8266922"/>
              <a:gd name="connsiteY57" fmla="*/ 4650523 h 7305087"/>
              <a:gd name="connsiteX58" fmla="*/ 6430935 w 8266922"/>
              <a:gd name="connsiteY58" fmla="*/ 4682768 h 7305087"/>
              <a:gd name="connsiteX59" fmla="*/ 6450488 w 8266922"/>
              <a:gd name="connsiteY59" fmla="*/ 4717980 h 7305087"/>
              <a:gd name="connsiteX60" fmla="*/ 6467420 w 8266922"/>
              <a:gd name="connsiteY60" fmla="*/ 4756077 h 7305087"/>
              <a:gd name="connsiteX61" fmla="*/ 6481863 w 8266922"/>
              <a:gd name="connsiteY61" fmla="*/ 4796980 h 7305087"/>
              <a:gd name="connsiteX62" fmla="*/ 6493950 w 8266922"/>
              <a:gd name="connsiteY62" fmla="*/ 4840605 h 7305087"/>
              <a:gd name="connsiteX63" fmla="*/ 6503813 w 8266922"/>
              <a:gd name="connsiteY63" fmla="*/ 4886873 h 7305087"/>
              <a:gd name="connsiteX64" fmla="*/ 6511585 w 8266922"/>
              <a:gd name="connsiteY64" fmla="*/ 4935701 h 7305087"/>
              <a:gd name="connsiteX65" fmla="*/ 6517399 w 8266922"/>
              <a:gd name="connsiteY65" fmla="*/ 4987008 h 7305087"/>
              <a:gd name="connsiteX66" fmla="*/ 6521387 w 8266922"/>
              <a:gd name="connsiteY66" fmla="*/ 5040712 h 7305087"/>
              <a:gd name="connsiteX67" fmla="*/ 6523683 w 8266922"/>
              <a:gd name="connsiteY67" fmla="*/ 5096732 h 7305087"/>
              <a:gd name="connsiteX68" fmla="*/ 6524419 w 8266922"/>
              <a:gd name="connsiteY68" fmla="*/ 5154988 h 7305087"/>
              <a:gd name="connsiteX69" fmla="*/ 6523719 w 8266922"/>
              <a:gd name="connsiteY69" fmla="*/ 5213493 h 7305087"/>
              <a:gd name="connsiteX70" fmla="*/ 6521522 w 8266922"/>
              <a:gd name="connsiteY70" fmla="*/ 5269763 h 7305087"/>
              <a:gd name="connsiteX71" fmla="*/ 6517686 w 8266922"/>
              <a:gd name="connsiteY71" fmla="*/ 5323713 h 7305087"/>
              <a:gd name="connsiteX72" fmla="*/ 6512065 w 8266922"/>
              <a:gd name="connsiteY72" fmla="*/ 5375263 h 7305087"/>
              <a:gd name="connsiteX73" fmla="*/ 6504517 w 8266922"/>
              <a:gd name="connsiteY73" fmla="*/ 5424328 h 7305087"/>
              <a:gd name="connsiteX74" fmla="*/ 6494896 w 8266922"/>
              <a:gd name="connsiteY74" fmla="*/ 5470827 h 7305087"/>
              <a:gd name="connsiteX75" fmla="*/ 6483059 w 8266922"/>
              <a:gd name="connsiteY75" fmla="*/ 5514676 h 7305087"/>
              <a:gd name="connsiteX76" fmla="*/ 6468862 w 8266922"/>
              <a:gd name="connsiteY76" fmla="*/ 5555794 h 7305087"/>
              <a:gd name="connsiteX77" fmla="*/ 6452162 w 8266922"/>
              <a:gd name="connsiteY77" fmla="*/ 5594097 h 7305087"/>
              <a:gd name="connsiteX78" fmla="*/ 6432813 w 8266922"/>
              <a:gd name="connsiteY78" fmla="*/ 5629503 h 7305087"/>
              <a:gd name="connsiteX79" fmla="*/ 6410672 w 8266922"/>
              <a:gd name="connsiteY79" fmla="*/ 5661929 h 7305087"/>
              <a:gd name="connsiteX80" fmla="*/ 6385595 w 8266922"/>
              <a:gd name="connsiteY80" fmla="*/ 5691293 h 7305087"/>
              <a:gd name="connsiteX81" fmla="*/ 6357438 w 8266922"/>
              <a:gd name="connsiteY81" fmla="*/ 5717511 h 7305087"/>
              <a:gd name="connsiteX82" fmla="*/ 6326057 w 8266922"/>
              <a:gd name="connsiteY82" fmla="*/ 5740502 h 7305087"/>
              <a:gd name="connsiteX83" fmla="*/ 6291309 w 8266922"/>
              <a:gd name="connsiteY83" fmla="*/ 5760183 h 7305087"/>
              <a:gd name="connsiteX84" fmla="*/ 6253048 w 8266922"/>
              <a:gd name="connsiteY84" fmla="*/ 5776470 h 7305087"/>
              <a:gd name="connsiteX85" fmla="*/ 6211131 w 8266922"/>
              <a:gd name="connsiteY85" fmla="*/ 5789282 h 7305087"/>
              <a:gd name="connsiteX86" fmla="*/ 6165415 w 8266922"/>
              <a:gd name="connsiteY86" fmla="*/ 5798536 h 7305087"/>
              <a:gd name="connsiteX87" fmla="*/ 6115755 w 8266922"/>
              <a:gd name="connsiteY87" fmla="*/ 5804149 h 7305087"/>
              <a:gd name="connsiteX88" fmla="*/ 6062007 w 8266922"/>
              <a:gd name="connsiteY88" fmla="*/ 5806038 h 7305087"/>
              <a:gd name="connsiteX89" fmla="*/ 6062007 w 8266922"/>
              <a:gd name="connsiteY89" fmla="*/ 5709215 h 7305087"/>
              <a:gd name="connsiteX90" fmla="*/ 6111692 w 8266922"/>
              <a:gd name="connsiteY90" fmla="*/ 5706982 h 7305087"/>
              <a:gd name="connsiteX91" fmla="*/ 6156613 w 8266922"/>
              <a:gd name="connsiteY91" fmla="*/ 5700361 h 7305087"/>
              <a:gd name="connsiteX92" fmla="*/ 6196995 w 8266922"/>
              <a:gd name="connsiteY92" fmla="*/ 5689472 h 7305087"/>
              <a:gd name="connsiteX93" fmla="*/ 6233066 w 8266922"/>
              <a:gd name="connsiteY93" fmla="*/ 5674432 h 7305087"/>
              <a:gd name="connsiteX94" fmla="*/ 6293177 w 8266922"/>
              <a:gd name="connsiteY94" fmla="*/ 5632372 h 7305087"/>
              <a:gd name="connsiteX95" fmla="*/ 6338757 w 8266922"/>
              <a:gd name="connsiteY95" fmla="*/ 5575128 h 7305087"/>
              <a:gd name="connsiteX96" fmla="*/ 6356662 w 8266922"/>
              <a:gd name="connsiteY96" fmla="*/ 5541107 h 7305087"/>
              <a:gd name="connsiteX97" fmla="*/ 6371614 w 8266922"/>
              <a:gd name="connsiteY97" fmla="*/ 5503645 h 7305087"/>
              <a:gd name="connsiteX98" fmla="*/ 6383838 w 8266922"/>
              <a:gd name="connsiteY98" fmla="*/ 5462861 h 7305087"/>
              <a:gd name="connsiteX99" fmla="*/ 6393561 w 8266922"/>
              <a:gd name="connsiteY99" fmla="*/ 5418871 h 7305087"/>
              <a:gd name="connsiteX100" fmla="*/ 6401008 w 8266922"/>
              <a:gd name="connsiteY100" fmla="*/ 5371794 h 7305087"/>
              <a:gd name="connsiteX101" fmla="*/ 6406407 w 8266922"/>
              <a:gd name="connsiteY101" fmla="*/ 5321750 h 7305087"/>
              <a:gd name="connsiteX102" fmla="*/ 6409983 w 8266922"/>
              <a:gd name="connsiteY102" fmla="*/ 5268855 h 7305087"/>
              <a:gd name="connsiteX103" fmla="*/ 6411962 w 8266922"/>
              <a:gd name="connsiteY103" fmla="*/ 5213228 h 7305087"/>
              <a:gd name="connsiteX104" fmla="*/ 6412572 w 8266922"/>
              <a:gd name="connsiteY104" fmla="*/ 5154988 h 7305087"/>
              <a:gd name="connsiteX105" fmla="*/ 6411930 w 8266922"/>
              <a:gd name="connsiteY105" fmla="*/ 5097319 h 7305087"/>
              <a:gd name="connsiteX106" fmla="*/ 6409860 w 8266922"/>
              <a:gd name="connsiteY106" fmla="*/ 5042230 h 7305087"/>
              <a:gd name="connsiteX107" fmla="*/ 6406150 w 8266922"/>
              <a:gd name="connsiteY107" fmla="*/ 4989837 h 7305087"/>
              <a:gd name="connsiteX108" fmla="*/ 6400584 w 8266922"/>
              <a:gd name="connsiteY108" fmla="*/ 4940261 h 7305087"/>
              <a:gd name="connsiteX109" fmla="*/ 6392949 w 8266922"/>
              <a:gd name="connsiteY109" fmla="*/ 4893617 h 7305087"/>
              <a:gd name="connsiteX110" fmla="*/ 6383031 w 8266922"/>
              <a:gd name="connsiteY110" fmla="*/ 4850025 h 7305087"/>
              <a:gd name="connsiteX111" fmla="*/ 6370615 w 8266922"/>
              <a:gd name="connsiteY111" fmla="*/ 4809604 h 7305087"/>
              <a:gd name="connsiteX112" fmla="*/ 6355488 w 8266922"/>
              <a:gd name="connsiteY112" fmla="*/ 4772472 h 7305087"/>
              <a:gd name="connsiteX113" fmla="*/ 6337435 w 8266922"/>
              <a:gd name="connsiteY113" fmla="*/ 4738746 h 7305087"/>
              <a:gd name="connsiteX114" fmla="*/ 6291697 w 8266922"/>
              <a:gd name="connsiteY114" fmla="*/ 4681987 h 7305087"/>
              <a:gd name="connsiteX115" fmla="*/ 6231688 w 8266922"/>
              <a:gd name="connsiteY115" fmla="*/ 4640273 h 7305087"/>
              <a:gd name="connsiteX116" fmla="*/ 6195796 w 8266922"/>
              <a:gd name="connsiteY116" fmla="*/ 4625355 h 7305087"/>
              <a:gd name="connsiteX117" fmla="*/ 6155695 w 8266922"/>
              <a:gd name="connsiteY117" fmla="*/ 4614552 h 7305087"/>
              <a:gd name="connsiteX118" fmla="*/ 6111170 w 8266922"/>
              <a:gd name="connsiteY118" fmla="*/ 4607983 h 7305087"/>
              <a:gd name="connsiteX119" fmla="*/ 6062007 w 8266922"/>
              <a:gd name="connsiteY119" fmla="*/ 4605768 h 7305087"/>
              <a:gd name="connsiteX120" fmla="*/ 5970138 w 8266922"/>
              <a:gd name="connsiteY120" fmla="*/ 4507277 h 7305087"/>
              <a:gd name="connsiteX121" fmla="*/ 5970138 w 8266922"/>
              <a:gd name="connsiteY121" fmla="*/ 4605768 h 7305087"/>
              <a:gd name="connsiteX122" fmla="*/ 5921252 w 8266922"/>
              <a:gd name="connsiteY122" fmla="*/ 4607983 h 7305087"/>
              <a:gd name="connsiteX123" fmla="*/ 5876971 w 8266922"/>
              <a:gd name="connsiteY123" fmla="*/ 4614552 h 7305087"/>
              <a:gd name="connsiteX124" fmla="*/ 5837085 w 8266922"/>
              <a:gd name="connsiteY124" fmla="*/ 4625355 h 7305087"/>
              <a:gd name="connsiteX125" fmla="*/ 5801379 w 8266922"/>
              <a:gd name="connsiteY125" fmla="*/ 4640273 h 7305087"/>
              <a:gd name="connsiteX126" fmla="*/ 5741664 w 8266922"/>
              <a:gd name="connsiteY126" fmla="*/ 4681987 h 7305087"/>
              <a:gd name="connsiteX127" fmla="*/ 5696130 w 8266922"/>
              <a:gd name="connsiteY127" fmla="*/ 4738746 h 7305087"/>
              <a:gd name="connsiteX128" fmla="*/ 5678151 w 8266922"/>
              <a:gd name="connsiteY128" fmla="*/ 4772472 h 7305087"/>
              <a:gd name="connsiteX129" fmla="*/ 5663081 w 8266922"/>
              <a:gd name="connsiteY129" fmla="*/ 4809604 h 7305087"/>
              <a:gd name="connsiteX130" fmla="*/ 5650709 w 8266922"/>
              <a:gd name="connsiteY130" fmla="*/ 4850025 h 7305087"/>
              <a:gd name="connsiteX131" fmla="*/ 5640821 w 8266922"/>
              <a:gd name="connsiteY131" fmla="*/ 4893617 h 7305087"/>
              <a:gd name="connsiteX132" fmla="*/ 5633207 w 8266922"/>
              <a:gd name="connsiteY132" fmla="*/ 4940261 h 7305087"/>
              <a:gd name="connsiteX133" fmla="*/ 5627654 w 8266922"/>
              <a:gd name="connsiteY133" fmla="*/ 4989837 h 7305087"/>
              <a:gd name="connsiteX134" fmla="*/ 5623950 w 8266922"/>
              <a:gd name="connsiteY134" fmla="*/ 5042230 h 7305087"/>
              <a:gd name="connsiteX135" fmla="*/ 5621883 w 8266922"/>
              <a:gd name="connsiteY135" fmla="*/ 5097319 h 7305087"/>
              <a:gd name="connsiteX136" fmla="*/ 5621241 w 8266922"/>
              <a:gd name="connsiteY136" fmla="*/ 5154988 h 7305087"/>
              <a:gd name="connsiteX137" fmla="*/ 5621867 w 8266922"/>
              <a:gd name="connsiteY137" fmla="*/ 5213228 h 7305087"/>
              <a:gd name="connsiteX138" fmla="*/ 5623889 w 8266922"/>
              <a:gd name="connsiteY138" fmla="*/ 5268855 h 7305087"/>
              <a:gd name="connsiteX139" fmla="*/ 5627526 w 8266922"/>
              <a:gd name="connsiteY139" fmla="*/ 5321750 h 7305087"/>
              <a:gd name="connsiteX140" fmla="*/ 5632995 w 8266922"/>
              <a:gd name="connsiteY140" fmla="*/ 5371794 h 7305087"/>
              <a:gd name="connsiteX141" fmla="*/ 5640516 w 8266922"/>
              <a:gd name="connsiteY141" fmla="*/ 5418871 h 7305087"/>
              <a:gd name="connsiteX142" fmla="*/ 5650305 w 8266922"/>
              <a:gd name="connsiteY142" fmla="*/ 5462861 h 7305087"/>
              <a:gd name="connsiteX143" fmla="*/ 5662582 w 8266922"/>
              <a:gd name="connsiteY143" fmla="*/ 5503645 h 7305087"/>
              <a:gd name="connsiteX144" fmla="*/ 5677564 w 8266922"/>
              <a:gd name="connsiteY144" fmla="*/ 5541107 h 7305087"/>
              <a:gd name="connsiteX145" fmla="*/ 5695470 w 8266922"/>
              <a:gd name="connsiteY145" fmla="*/ 5575128 h 7305087"/>
              <a:gd name="connsiteX146" fmla="*/ 5740924 w 8266922"/>
              <a:gd name="connsiteY146" fmla="*/ 5632372 h 7305087"/>
              <a:gd name="connsiteX147" fmla="*/ 5800690 w 8266922"/>
              <a:gd name="connsiteY147" fmla="*/ 5674432 h 7305087"/>
              <a:gd name="connsiteX148" fmla="*/ 5836485 w 8266922"/>
              <a:gd name="connsiteY148" fmla="*/ 5689472 h 7305087"/>
              <a:gd name="connsiteX149" fmla="*/ 5876513 w 8266922"/>
              <a:gd name="connsiteY149" fmla="*/ 5700361 h 7305087"/>
              <a:gd name="connsiteX150" fmla="*/ 5920991 w 8266922"/>
              <a:gd name="connsiteY150" fmla="*/ 5706982 h 7305087"/>
              <a:gd name="connsiteX151" fmla="*/ 5970138 w 8266922"/>
              <a:gd name="connsiteY151" fmla="*/ 5709215 h 7305087"/>
              <a:gd name="connsiteX152" fmla="*/ 5970138 w 8266922"/>
              <a:gd name="connsiteY152" fmla="*/ 5806038 h 7305087"/>
              <a:gd name="connsiteX153" fmla="*/ 5916615 w 8266922"/>
              <a:gd name="connsiteY153" fmla="*/ 5804149 h 7305087"/>
              <a:gd name="connsiteX154" fmla="*/ 5867135 w 8266922"/>
              <a:gd name="connsiteY154" fmla="*/ 5798536 h 7305087"/>
              <a:gd name="connsiteX155" fmla="*/ 5821555 w 8266922"/>
              <a:gd name="connsiteY155" fmla="*/ 5789282 h 7305087"/>
              <a:gd name="connsiteX156" fmla="*/ 5779737 w 8266922"/>
              <a:gd name="connsiteY156" fmla="*/ 5776470 h 7305087"/>
              <a:gd name="connsiteX157" fmla="*/ 5741540 w 8266922"/>
              <a:gd name="connsiteY157" fmla="*/ 5760183 h 7305087"/>
              <a:gd name="connsiteX158" fmla="*/ 5706823 w 8266922"/>
              <a:gd name="connsiteY158" fmla="*/ 5740502 h 7305087"/>
              <a:gd name="connsiteX159" fmla="*/ 5675446 w 8266922"/>
              <a:gd name="connsiteY159" fmla="*/ 5717511 h 7305087"/>
              <a:gd name="connsiteX160" fmla="*/ 5647270 w 8266922"/>
              <a:gd name="connsiteY160" fmla="*/ 5691293 h 7305087"/>
              <a:gd name="connsiteX161" fmla="*/ 5622154 w 8266922"/>
              <a:gd name="connsiteY161" fmla="*/ 5661929 h 7305087"/>
              <a:gd name="connsiteX162" fmla="*/ 5599957 w 8266922"/>
              <a:gd name="connsiteY162" fmla="*/ 5629503 h 7305087"/>
              <a:gd name="connsiteX163" fmla="*/ 5580540 w 8266922"/>
              <a:gd name="connsiteY163" fmla="*/ 5594097 h 7305087"/>
              <a:gd name="connsiteX164" fmla="*/ 5563762 w 8266922"/>
              <a:gd name="connsiteY164" fmla="*/ 5555794 h 7305087"/>
              <a:gd name="connsiteX165" fmla="*/ 5549483 w 8266922"/>
              <a:gd name="connsiteY165" fmla="*/ 5514676 h 7305087"/>
              <a:gd name="connsiteX166" fmla="*/ 5537563 w 8266922"/>
              <a:gd name="connsiteY166" fmla="*/ 5470827 h 7305087"/>
              <a:gd name="connsiteX167" fmla="*/ 5527862 w 8266922"/>
              <a:gd name="connsiteY167" fmla="*/ 5424328 h 7305087"/>
              <a:gd name="connsiteX168" fmla="*/ 5520239 w 8266922"/>
              <a:gd name="connsiteY168" fmla="*/ 5375263 h 7305087"/>
              <a:gd name="connsiteX169" fmla="*/ 5514554 w 8266922"/>
              <a:gd name="connsiteY169" fmla="*/ 5323713 h 7305087"/>
              <a:gd name="connsiteX170" fmla="*/ 5510667 w 8266922"/>
              <a:gd name="connsiteY170" fmla="*/ 5269763 h 7305087"/>
              <a:gd name="connsiteX171" fmla="*/ 5508437 w 8266922"/>
              <a:gd name="connsiteY171" fmla="*/ 5213493 h 7305087"/>
              <a:gd name="connsiteX172" fmla="*/ 5507726 w 8266922"/>
              <a:gd name="connsiteY172" fmla="*/ 5154988 h 7305087"/>
              <a:gd name="connsiteX173" fmla="*/ 5508461 w 8266922"/>
              <a:gd name="connsiteY173" fmla="*/ 5096732 h 7305087"/>
              <a:gd name="connsiteX174" fmla="*/ 5510757 w 8266922"/>
              <a:gd name="connsiteY174" fmla="*/ 5040712 h 7305087"/>
              <a:gd name="connsiteX175" fmla="*/ 5514746 w 8266922"/>
              <a:gd name="connsiteY175" fmla="*/ 4987008 h 7305087"/>
              <a:gd name="connsiteX176" fmla="*/ 5520559 w 8266922"/>
              <a:gd name="connsiteY176" fmla="*/ 4935701 h 7305087"/>
              <a:gd name="connsiteX177" fmla="*/ 5528332 w 8266922"/>
              <a:gd name="connsiteY177" fmla="*/ 4886873 h 7305087"/>
              <a:gd name="connsiteX178" fmla="*/ 5538195 w 8266922"/>
              <a:gd name="connsiteY178" fmla="*/ 4840605 h 7305087"/>
              <a:gd name="connsiteX179" fmla="*/ 5550281 w 8266922"/>
              <a:gd name="connsiteY179" fmla="*/ 4796980 h 7305087"/>
              <a:gd name="connsiteX180" fmla="*/ 5564724 w 8266922"/>
              <a:gd name="connsiteY180" fmla="*/ 4756077 h 7305087"/>
              <a:gd name="connsiteX181" fmla="*/ 5581656 w 8266922"/>
              <a:gd name="connsiteY181" fmla="*/ 4717980 h 7305087"/>
              <a:gd name="connsiteX182" fmla="*/ 5601209 w 8266922"/>
              <a:gd name="connsiteY182" fmla="*/ 4682768 h 7305087"/>
              <a:gd name="connsiteX183" fmla="*/ 5623517 w 8266922"/>
              <a:gd name="connsiteY183" fmla="*/ 4650523 h 7305087"/>
              <a:gd name="connsiteX184" fmla="*/ 5648713 w 8266922"/>
              <a:gd name="connsiteY184" fmla="*/ 4621327 h 7305087"/>
              <a:gd name="connsiteX185" fmla="*/ 5676928 w 8266922"/>
              <a:gd name="connsiteY185" fmla="*/ 4595261 h 7305087"/>
              <a:gd name="connsiteX186" fmla="*/ 5708295 w 8266922"/>
              <a:gd name="connsiteY186" fmla="*/ 4572406 h 7305087"/>
              <a:gd name="connsiteX187" fmla="*/ 5742948 w 8266922"/>
              <a:gd name="connsiteY187" fmla="*/ 4552845 h 7305087"/>
              <a:gd name="connsiteX188" fmla="*/ 5781019 w 8266922"/>
              <a:gd name="connsiteY188" fmla="*/ 4536657 h 7305087"/>
              <a:gd name="connsiteX189" fmla="*/ 5822641 w 8266922"/>
              <a:gd name="connsiteY189" fmla="*/ 4523925 h 7305087"/>
              <a:gd name="connsiteX190" fmla="*/ 5867946 w 8266922"/>
              <a:gd name="connsiteY190" fmla="*/ 4514730 h 7305087"/>
              <a:gd name="connsiteX191" fmla="*/ 5917067 w 8266922"/>
              <a:gd name="connsiteY191" fmla="*/ 4509153 h 7305087"/>
              <a:gd name="connsiteX192" fmla="*/ 2916306 w 8266922"/>
              <a:gd name="connsiteY192" fmla="*/ 4507277 h 7305087"/>
              <a:gd name="connsiteX193" fmla="*/ 2969376 w 8266922"/>
              <a:gd name="connsiteY193" fmla="*/ 4509153 h 7305087"/>
              <a:gd name="connsiteX194" fmla="*/ 3018497 w 8266922"/>
              <a:gd name="connsiteY194" fmla="*/ 4514730 h 7305087"/>
              <a:gd name="connsiteX195" fmla="*/ 3063803 w 8266922"/>
              <a:gd name="connsiteY195" fmla="*/ 4523925 h 7305087"/>
              <a:gd name="connsiteX196" fmla="*/ 3105426 w 8266922"/>
              <a:gd name="connsiteY196" fmla="*/ 4536657 h 7305087"/>
              <a:gd name="connsiteX197" fmla="*/ 3143497 w 8266922"/>
              <a:gd name="connsiteY197" fmla="*/ 4552845 h 7305087"/>
              <a:gd name="connsiteX198" fmla="*/ 3178150 w 8266922"/>
              <a:gd name="connsiteY198" fmla="*/ 4572406 h 7305087"/>
              <a:gd name="connsiteX199" fmla="*/ 3209516 w 8266922"/>
              <a:gd name="connsiteY199" fmla="*/ 4595261 h 7305087"/>
              <a:gd name="connsiteX200" fmla="*/ 3237732 w 8266922"/>
              <a:gd name="connsiteY200" fmla="*/ 4621327 h 7305087"/>
              <a:gd name="connsiteX201" fmla="*/ 3262928 w 8266922"/>
              <a:gd name="connsiteY201" fmla="*/ 4650523 h 7305087"/>
              <a:gd name="connsiteX202" fmla="*/ 3285236 w 8266922"/>
              <a:gd name="connsiteY202" fmla="*/ 4682768 h 7305087"/>
              <a:gd name="connsiteX203" fmla="*/ 3304789 w 8266922"/>
              <a:gd name="connsiteY203" fmla="*/ 4717980 h 7305087"/>
              <a:gd name="connsiteX204" fmla="*/ 3321718 w 8266922"/>
              <a:gd name="connsiteY204" fmla="*/ 4756077 h 7305087"/>
              <a:gd name="connsiteX205" fmla="*/ 3336161 w 8266922"/>
              <a:gd name="connsiteY205" fmla="*/ 4796980 h 7305087"/>
              <a:gd name="connsiteX206" fmla="*/ 3348248 w 8266922"/>
              <a:gd name="connsiteY206" fmla="*/ 4840605 h 7305087"/>
              <a:gd name="connsiteX207" fmla="*/ 3358111 w 8266922"/>
              <a:gd name="connsiteY207" fmla="*/ 4886873 h 7305087"/>
              <a:gd name="connsiteX208" fmla="*/ 3365883 w 8266922"/>
              <a:gd name="connsiteY208" fmla="*/ 4935701 h 7305087"/>
              <a:gd name="connsiteX209" fmla="*/ 3371697 w 8266922"/>
              <a:gd name="connsiteY209" fmla="*/ 4987008 h 7305087"/>
              <a:gd name="connsiteX210" fmla="*/ 3375685 w 8266922"/>
              <a:gd name="connsiteY210" fmla="*/ 5040712 h 7305087"/>
              <a:gd name="connsiteX211" fmla="*/ 3377981 w 8266922"/>
              <a:gd name="connsiteY211" fmla="*/ 5096732 h 7305087"/>
              <a:gd name="connsiteX212" fmla="*/ 3378717 w 8266922"/>
              <a:gd name="connsiteY212" fmla="*/ 5154988 h 7305087"/>
              <a:gd name="connsiteX213" fmla="*/ 3378017 w 8266922"/>
              <a:gd name="connsiteY213" fmla="*/ 5213493 h 7305087"/>
              <a:gd name="connsiteX214" fmla="*/ 3375820 w 8266922"/>
              <a:gd name="connsiteY214" fmla="*/ 5269763 h 7305087"/>
              <a:gd name="connsiteX215" fmla="*/ 3371984 w 8266922"/>
              <a:gd name="connsiteY215" fmla="*/ 5323713 h 7305087"/>
              <a:gd name="connsiteX216" fmla="*/ 3366363 w 8266922"/>
              <a:gd name="connsiteY216" fmla="*/ 5375263 h 7305087"/>
              <a:gd name="connsiteX217" fmla="*/ 3358815 w 8266922"/>
              <a:gd name="connsiteY217" fmla="*/ 5424328 h 7305087"/>
              <a:gd name="connsiteX218" fmla="*/ 3349194 w 8266922"/>
              <a:gd name="connsiteY218" fmla="*/ 5470827 h 7305087"/>
              <a:gd name="connsiteX219" fmla="*/ 3337357 w 8266922"/>
              <a:gd name="connsiteY219" fmla="*/ 5514676 h 7305087"/>
              <a:gd name="connsiteX220" fmla="*/ 3323160 w 8266922"/>
              <a:gd name="connsiteY220" fmla="*/ 5555794 h 7305087"/>
              <a:gd name="connsiteX221" fmla="*/ 3306462 w 8266922"/>
              <a:gd name="connsiteY221" fmla="*/ 5594097 h 7305087"/>
              <a:gd name="connsiteX222" fmla="*/ 3287114 w 8266922"/>
              <a:gd name="connsiteY222" fmla="*/ 5629503 h 7305087"/>
              <a:gd name="connsiteX223" fmla="*/ 3264973 w 8266922"/>
              <a:gd name="connsiteY223" fmla="*/ 5661929 h 7305087"/>
              <a:gd name="connsiteX224" fmla="*/ 3239895 w 8266922"/>
              <a:gd name="connsiteY224" fmla="*/ 5691293 h 7305087"/>
              <a:gd name="connsiteX225" fmla="*/ 3211738 w 8266922"/>
              <a:gd name="connsiteY225" fmla="*/ 5717511 h 7305087"/>
              <a:gd name="connsiteX226" fmla="*/ 3180357 w 8266922"/>
              <a:gd name="connsiteY226" fmla="*/ 5740502 h 7305087"/>
              <a:gd name="connsiteX227" fmla="*/ 3145609 w 8266922"/>
              <a:gd name="connsiteY227" fmla="*/ 5760183 h 7305087"/>
              <a:gd name="connsiteX228" fmla="*/ 3107348 w 8266922"/>
              <a:gd name="connsiteY228" fmla="*/ 5776470 h 7305087"/>
              <a:gd name="connsiteX229" fmla="*/ 3065431 w 8266922"/>
              <a:gd name="connsiteY229" fmla="*/ 5789282 h 7305087"/>
              <a:gd name="connsiteX230" fmla="*/ 3019716 w 8266922"/>
              <a:gd name="connsiteY230" fmla="*/ 5798536 h 7305087"/>
              <a:gd name="connsiteX231" fmla="*/ 2970054 w 8266922"/>
              <a:gd name="connsiteY231" fmla="*/ 5804149 h 7305087"/>
              <a:gd name="connsiteX232" fmla="*/ 2916306 w 8266922"/>
              <a:gd name="connsiteY232" fmla="*/ 5806038 h 7305087"/>
              <a:gd name="connsiteX233" fmla="*/ 2916306 w 8266922"/>
              <a:gd name="connsiteY233" fmla="*/ 5709215 h 7305087"/>
              <a:gd name="connsiteX234" fmla="*/ 2965992 w 8266922"/>
              <a:gd name="connsiteY234" fmla="*/ 5706982 h 7305087"/>
              <a:gd name="connsiteX235" fmla="*/ 3010913 w 8266922"/>
              <a:gd name="connsiteY235" fmla="*/ 5700361 h 7305087"/>
              <a:gd name="connsiteX236" fmla="*/ 3051294 w 8266922"/>
              <a:gd name="connsiteY236" fmla="*/ 5689472 h 7305087"/>
              <a:gd name="connsiteX237" fmla="*/ 3087367 w 8266922"/>
              <a:gd name="connsiteY237" fmla="*/ 5674432 h 7305087"/>
              <a:gd name="connsiteX238" fmla="*/ 3147477 w 8266922"/>
              <a:gd name="connsiteY238" fmla="*/ 5632372 h 7305087"/>
              <a:gd name="connsiteX239" fmla="*/ 3193057 w 8266922"/>
              <a:gd name="connsiteY239" fmla="*/ 5575128 h 7305087"/>
              <a:gd name="connsiteX240" fmla="*/ 3210963 w 8266922"/>
              <a:gd name="connsiteY240" fmla="*/ 5541107 h 7305087"/>
              <a:gd name="connsiteX241" fmla="*/ 3225916 w 8266922"/>
              <a:gd name="connsiteY241" fmla="*/ 5503645 h 7305087"/>
              <a:gd name="connsiteX242" fmla="*/ 3238139 w 8266922"/>
              <a:gd name="connsiteY242" fmla="*/ 5462861 h 7305087"/>
              <a:gd name="connsiteX243" fmla="*/ 3247862 w 8266922"/>
              <a:gd name="connsiteY243" fmla="*/ 5418871 h 7305087"/>
              <a:gd name="connsiteX244" fmla="*/ 3255309 w 8266922"/>
              <a:gd name="connsiteY244" fmla="*/ 5371794 h 7305087"/>
              <a:gd name="connsiteX245" fmla="*/ 3260708 w 8266922"/>
              <a:gd name="connsiteY245" fmla="*/ 5321750 h 7305087"/>
              <a:gd name="connsiteX246" fmla="*/ 3264284 w 8266922"/>
              <a:gd name="connsiteY246" fmla="*/ 5268855 h 7305087"/>
              <a:gd name="connsiteX247" fmla="*/ 3266263 w 8266922"/>
              <a:gd name="connsiteY247" fmla="*/ 5213228 h 7305087"/>
              <a:gd name="connsiteX248" fmla="*/ 3266872 w 8266922"/>
              <a:gd name="connsiteY248" fmla="*/ 5154988 h 7305087"/>
              <a:gd name="connsiteX249" fmla="*/ 3266231 w 8266922"/>
              <a:gd name="connsiteY249" fmla="*/ 5097319 h 7305087"/>
              <a:gd name="connsiteX250" fmla="*/ 3264161 w 8266922"/>
              <a:gd name="connsiteY250" fmla="*/ 5042230 h 7305087"/>
              <a:gd name="connsiteX251" fmla="*/ 3260451 w 8266922"/>
              <a:gd name="connsiteY251" fmla="*/ 4989837 h 7305087"/>
              <a:gd name="connsiteX252" fmla="*/ 3254885 w 8266922"/>
              <a:gd name="connsiteY252" fmla="*/ 4940261 h 7305087"/>
              <a:gd name="connsiteX253" fmla="*/ 3247250 w 8266922"/>
              <a:gd name="connsiteY253" fmla="*/ 4893617 h 7305087"/>
              <a:gd name="connsiteX254" fmla="*/ 3237332 w 8266922"/>
              <a:gd name="connsiteY254" fmla="*/ 4850025 h 7305087"/>
              <a:gd name="connsiteX255" fmla="*/ 3224916 w 8266922"/>
              <a:gd name="connsiteY255" fmla="*/ 4809604 h 7305087"/>
              <a:gd name="connsiteX256" fmla="*/ 3209789 w 8266922"/>
              <a:gd name="connsiteY256" fmla="*/ 4772472 h 7305087"/>
              <a:gd name="connsiteX257" fmla="*/ 3191735 w 8266922"/>
              <a:gd name="connsiteY257" fmla="*/ 4738746 h 7305087"/>
              <a:gd name="connsiteX258" fmla="*/ 3145998 w 8266922"/>
              <a:gd name="connsiteY258" fmla="*/ 4681987 h 7305087"/>
              <a:gd name="connsiteX259" fmla="*/ 3085988 w 8266922"/>
              <a:gd name="connsiteY259" fmla="*/ 4640273 h 7305087"/>
              <a:gd name="connsiteX260" fmla="*/ 3050095 w 8266922"/>
              <a:gd name="connsiteY260" fmla="*/ 4625355 h 7305087"/>
              <a:gd name="connsiteX261" fmla="*/ 3009995 w 8266922"/>
              <a:gd name="connsiteY261" fmla="*/ 4614552 h 7305087"/>
              <a:gd name="connsiteX262" fmla="*/ 2965470 w 8266922"/>
              <a:gd name="connsiteY262" fmla="*/ 4607983 h 7305087"/>
              <a:gd name="connsiteX263" fmla="*/ 2916306 w 8266922"/>
              <a:gd name="connsiteY263" fmla="*/ 4605768 h 7305087"/>
              <a:gd name="connsiteX264" fmla="*/ 2824439 w 8266922"/>
              <a:gd name="connsiteY264" fmla="*/ 4507277 h 7305087"/>
              <a:gd name="connsiteX265" fmla="*/ 2824439 w 8266922"/>
              <a:gd name="connsiteY265" fmla="*/ 4605768 h 7305087"/>
              <a:gd name="connsiteX266" fmla="*/ 2775553 w 8266922"/>
              <a:gd name="connsiteY266" fmla="*/ 4607983 h 7305087"/>
              <a:gd name="connsiteX267" fmla="*/ 2731271 w 8266922"/>
              <a:gd name="connsiteY267" fmla="*/ 4614552 h 7305087"/>
              <a:gd name="connsiteX268" fmla="*/ 2691385 w 8266922"/>
              <a:gd name="connsiteY268" fmla="*/ 4625355 h 7305087"/>
              <a:gd name="connsiteX269" fmla="*/ 2655680 w 8266922"/>
              <a:gd name="connsiteY269" fmla="*/ 4640273 h 7305087"/>
              <a:gd name="connsiteX270" fmla="*/ 2595965 w 8266922"/>
              <a:gd name="connsiteY270" fmla="*/ 4681987 h 7305087"/>
              <a:gd name="connsiteX271" fmla="*/ 2550430 w 8266922"/>
              <a:gd name="connsiteY271" fmla="*/ 4738746 h 7305087"/>
              <a:gd name="connsiteX272" fmla="*/ 2532451 w 8266922"/>
              <a:gd name="connsiteY272" fmla="*/ 4772472 h 7305087"/>
              <a:gd name="connsiteX273" fmla="*/ 2517381 w 8266922"/>
              <a:gd name="connsiteY273" fmla="*/ 4809604 h 7305087"/>
              <a:gd name="connsiteX274" fmla="*/ 2505009 w 8266922"/>
              <a:gd name="connsiteY274" fmla="*/ 4850025 h 7305087"/>
              <a:gd name="connsiteX275" fmla="*/ 2495121 w 8266922"/>
              <a:gd name="connsiteY275" fmla="*/ 4893617 h 7305087"/>
              <a:gd name="connsiteX276" fmla="*/ 2487508 w 8266922"/>
              <a:gd name="connsiteY276" fmla="*/ 4940261 h 7305087"/>
              <a:gd name="connsiteX277" fmla="*/ 2481955 w 8266922"/>
              <a:gd name="connsiteY277" fmla="*/ 4989837 h 7305087"/>
              <a:gd name="connsiteX278" fmla="*/ 2478251 w 8266922"/>
              <a:gd name="connsiteY278" fmla="*/ 5042230 h 7305087"/>
              <a:gd name="connsiteX279" fmla="*/ 2476183 w 8266922"/>
              <a:gd name="connsiteY279" fmla="*/ 5097319 h 7305087"/>
              <a:gd name="connsiteX280" fmla="*/ 2475541 w 8266922"/>
              <a:gd name="connsiteY280" fmla="*/ 5154988 h 7305087"/>
              <a:gd name="connsiteX281" fmla="*/ 2476168 w 8266922"/>
              <a:gd name="connsiteY281" fmla="*/ 5213228 h 7305087"/>
              <a:gd name="connsiteX282" fmla="*/ 2478189 w 8266922"/>
              <a:gd name="connsiteY282" fmla="*/ 5268855 h 7305087"/>
              <a:gd name="connsiteX283" fmla="*/ 2481827 w 8266922"/>
              <a:gd name="connsiteY283" fmla="*/ 5321750 h 7305087"/>
              <a:gd name="connsiteX284" fmla="*/ 2487296 w 8266922"/>
              <a:gd name="connsiteY284" fmla="*/ 5371794 h 7305087"/>
              <a:gd name="connsiteX285" fmla="*/ 2494816 w 8266922"/>
              <a:gd name="connsiteY285" fmla="*/ 5418871 h 7305087"/>
              <a:gd name="connsiteX286" fmla="*/ 2504605 w 8266922"/>
              <a:gd name="connsiteY286" fmla="*/ 5462861 h 7305087"/>
              <a:gd name="connsiteX287" fmla="*/ 2516882 w 8266922"/>
              <a:gd name="connsiteY287" fmla="*/ 5503645 h 7305087"/>
              <a:gd name="connsiteX288" fmla="*/ 2531865 w 8266922"/>
              <a:gd name="connsiteY288" fmla="*/ 5541107 h 7305087"/>
              <a:gd name="connsiteX289" fmla="*/ 2549770 w 8266922"/>
              <a:gd name="connsiteY289" fmla="*/ 5575128 h 7305087"/>
              <a:gd name="connsiteX290" fmla="*/ 2595224 w 8266922"/>
              <a:gd name="connsiteY290" fmla="*/ 5632372 h 7305087"/>
              <a:gd name="connsiteX291" fmla="*/ 2654990 w 8266922"/>
              <a:gd name="connsiteY291" fmla="*/ 5674432 h 7305087"/>
              <a:gd name="connsiteX292" fmla="*/ 2690785 w 8266922"/>
              <a:gd name="connsiteY292" fmla="*/ 5689472 h 7305087"/>
              <a:gd name="connsiteX293" fmla="*/ 2730814 w 8266922"/>
              <a:gd name="connsiteY293" fmla="*/ 5700361 h 7305087"/>
              <a:gd name="connsiteX294" fmla="*/ 2775291 w 8266922"/>
              <a:gd name="connsiteY294" fmla="*/ 5706982 h 7305087"/>
              <a:gd name="connsiteX295" fmla="*/ 2824439 w 8266922"/>
              <a:gd name="connsiteY295" fmla="*/ 5709215 h 7305087"/>
              <a:gd name="connsiteX296" fmla="*/ 2824439 w 8266922"/>
              <a:gd name="connsiteY296" fmla="*/ 5806038 h 7305087"/>
              <a:gd name="connsiteX297" fmla="*/ 2770915 w 8266922"/>
              <a:gd name="connsiteY297" fmla="*/ 5804149 h 7305087"/>
              <a:gd name="connsiteX298" fmla="*/ 2721436 w 8266922"/>
              <a:gd name="connsiteY298" fmla="*/ 5798536 h 7305087"/>
              <a:gd name="connsiteX299" fmla="*/ 2675855 w 8266922"/>
              <a:gd name="connsiteY299" fmla="*/ 5789282 h 7305087"/>
              <a:gd name="connsiteX300" fmla="*/ 2634037 w 8266922"/>
              <a:gd name="connsiteY300" fmla="*/ 5776470 h 7305087"/>
              <a:gd name="connsiteX301" fmla="*/ 2595840 w 8266922"/>
              <a:gd name="connsiteY301" fmla="*/ 5760183 h 7305087"/>
              <a:gd name="connsiteX302" fmla="*/ 2561122 w 8266922"/>
              <a:gd name="connsiteY302" fmla="*/ 5740502 h 7305087"/>
              <a:gd name="connsiteX303" fmla="*/ 2529747 w 8266922"/>
              <a:gd name="connsiteY303" fmla="*/ 5717511 h 7305087"/>
              <a:gd name="connsiteX304" fmla="*/ 2501571 w 8266922"/>
              <a:gd name="connsiteY304" fmla="*/ 5691293 h 7305087"/>
              <a:gd name="connsiteX305" fmla="*/ 2476454 w 8266922"/>
              <a:gd name="connsiteY305" fmla="*/ 5661929 h 7305087"/>
              <a:gd name="connsiteX306" fmla="*/ 2454257 w 8266922"/>
              <a:gd name="connsiteY306" fmla="*/ 5629503 h 7305087"/>
              <a:gd name="connsiteX307" fmla="*/ 2434840 w 8266922"/>
              <a:gd name="connsiteY307" fmla="*/ 5594097 h 7305087"/>
              <a:gd name="connsiteX308" fmla="*/ 2418062 w 8266922"/>
              <a:gd name="connsiteY308" fmla="*/ 5555794 h 7305087"/>
              <a:gd name="connsiteX309" fmla="*/ 2403783 w 8266922"/>
              <a:gd name="connsiteY309" fmla="*/ 5514676 h 7305087"/>
              <a:gd name="connsiteX310" fmla="*/ 2391863 w 8266922"/>
              <a:gd name="connsiteY310" fmla="*/ 5470827 h 7305087"/>
              <a:gd name="connsiteX311" fmla="*/ 2382162 w 8266922"/>
              <a:gd name="connsiteY311" fmla="*/ 5424328 h 7305087"/>
              <a:gd name="connsiteX312" fmla="*/ 2374539 w 8266922"/>
              <a:gd name="connsiteY312" fmla="*/ 5375263 h 7305087"/>
              <a:gd name="connsiteX313" fmla="*/ 2368854 w 8266922"/>
              <a:gd name="connsiteY313" fmla="*/ 5323713 h 7305087"/>
              <a:gd name="connsiteX314" fmla="*/ 2364967 w 8266922"/>
              <a:gd name="connsiteY314" fmla="*/ 5269763 h 7305087"/>
              <a:gd name="connsiteX315" fmla="*/ 2362736 w 8266922"/>
              <a:gd name="connsiteY315" fmla="*/ 5213493 h 7305087"/>
              <a:gd name="connsiteX316" fmla="*/ 2362026 w 8266922"/>
              <a:gd name="connsiteY316" fmla="*/ 5154988 h 7305087"/>
              <a:gd name="connsiteX317" fmla="*/ 2362760 w 8266922"/>
              <a:gd name="connsiteY317" fmla="*/ 5096732 h 7305087"/>
              <a:gd name="connsiteX318" fmla="*/ 2365057 w 8266922"/>
              <a:gd name="connsiteY318" fmla="*/ 5040712 h 7305087"/>
              <a:gd name="connsiteX319" fmla="*/ 2369046 w 8266922"/>
              <a:gd name="connsiteY319" fmla="*/ 4987008 h 7305087"/>
              <a:gd name="connsiteX320" fmla="*/ 2374859 w 8266922"/>
              <a:gd name="connsiteY320" fmla="*/ 4935701 h 7305087"/>
              <a:gd name="connsiteX321" fmla="*/ 2382632 w 8266922"/>
              <a:gd name="connsiteY321" fmla="*/ 4886873 h 7305087"/>
              <a:gd name="connsiteX322" fmla="*/ 2392495 w 8266922"/>
              <a:gd name="connsiteY322" fmla="*/ 4840605 h 7305087"/>
              <a:gd name="connsiteX323" fmla="*/ 2404581 w 8266922"/>
              <a:gd name="connsiteY323" fmla="*/ 4796980 h 7305087"/>
              <a:gd name="connsiteX324" fmla="*/ 2419024 w 8266922"/>
              <a:gd name="connsiteY324" fmla="*/ 4756077 h 7305087"/>
              <a:gd name="connsiteX325" fmla="*/ 2435956 w 8266922"/>
              <a:gd name="connsiteY325" fmla="*/ 4717980 h 7305087"/>
              <a:gd name="connsiteX326" fmla="*/ 2455509 w 8266922"/>
              <a:gd name="connsiteY326" fmla="*/ 4682768 h 7305087"/>
              <a:gd name="connsiteX327" fmla="*/ 2477817 w 8266922"/>
              <a:gd name="connsiteY327" fmla="*/ 4650523 h 7305087"/>
              <a:gd name="connsiteX328" fmla="*/ 2503013 w 8266922"/>
              <a:gd name="connsiteY328" fmla="*/ 4621327 h 7305087"/>
              <a:gd name="connsiteX329" fmla="*/ 2531228 w 8266922"/>
              <a:gd name="connsiteY329" fmla="*/ 4595261 h 7305087"/>
              <a:gd name="connsiteX330" fmla="*/ 2562596 w 8266922"/>
              <a:gd name="connsiteY330" fmla="*/ 4572406 h 7305087"/>
              <a:gd name="connsiteX331" fmla="*/ 2597248 w 8266922"/>
              <a:gd name="connsiteY331" fmla="*/ 4552845 h 7305087"/>
              <a:gd name="connsiteX332" fmla="*/ 2635318 w 8266922"/>
              <a:gd name="connsiteY332" fmla="*/ 4536657 h 7305087"/>
              <a:gd name="connsiteX333" fmla="*/ 2676942 w 8266922"/>
              <a:gd name="connsiteY333" fmla="*/ 4523925 h 7305087"/>
              <a:gd name="connsiteX334" fmla="*/ 2722247 w 8266922"/>
              <a:gd name="connsiteY334" fmla="*/ 4514730 h 7305087"/>
              <a:gd name="connsiteX335" fmla="*/ 2771367 w 8266922"/>
              <a:gd name="connsiteY335" fmla="*/ 4509153 h 7305087"/>
              <a:gd name="connsiteX336" fmla="*/ 2506783 w 8266922"/>
              <a:gd name="connsiteY336" fmla="*/ 4026496 h 7305087"/>
              <a:gd name="connsiteX337" fmla="*/ 2549012 w 8266922"/>
              <a:gd name="connsiteY337" fmla="*/ 4030174 h 7305087"/>
              <a:gd name="connsiteX338" fmla="*/ 2581695 w 8266922"/>
              <a:gd name="connsiteY338" fmla="*/ 4043398 h 7305087"/>
              <a:gd name="connsiteX339" fmla="*/ 2602796 w 8266922"/>
              <a:gd name="connsiteY339" fmla="*/ 4069456 h 7305087"/>
              <a:gd name="connsiteX340" fmla="*/ 2610283 w 8266922"/>
              <a:gd name="connsiteY340" fmla="*/ 4111633 h 7305087"/>
              <a:gd name="connsiteX341" fmla="*/ 2602796 w 8266922"/>
              <a:gd name="connsiteY341" fmla="*/ 4155741 h 7305087"/>
              <a:gd name="connsiteX342" fmla="*/ 2581695 w 8266922"/>
              <a:gd name="connsiteY342" fmla="*/ 4182790 h 7305087"/>
              <a:gd name="connsiteX343" fmla="*/ 2549012 w 8266922"/>
              <a:gd name="connsiteY343" fmla="*/ 4196380 h 7305087"/>
              <a:gd name="connsiteX344" fmla="*/ 2506783 w 8266922"/>
              <a:gd name="connsiteY344" fmla="*/ 4200110 h 7305087"/>
              <a:gd name="connsiteX345" fmla="*/ 2464554 w 8266922"/>
              <a:gd name="connsiteY345" fmla="*/ 4196380 h 7305087"/>
              <a:gd name="connsiteX346" fmla="*/ 2431870 w 8266922"/>
              <a:gd name="connsiteY346" fmla="*/ 4182790 h 7305087"/>
              <a:gd name="connsiteX347" fmla="*/ 2410769 w 8266922"/>
              <a:gd name="connsiteY347" fmla="*/ 4155741 h 7305087"/>
              <a:gd name="connsiteX348" fmla="*/ 2403283 w 8266922"/>
              <a:gd name="connsiteY348" fmla="*/ 4111633 h 7305087"/>
              <a:gd name="connsiteX349" fmla="*/ 2411003 w 8266922"/>
              <a:gd name="connsiteY349" fmla="*/ 4069456 h 7305087"/>
              <a:gd name="connsiteX350" fmla="*/ 2432496 w 8266922"/>
              <a:gd name="connsiteY350" fmla="*/ 4043398 h 7305087"/>
              <a:gd name="connsiteX351" fmla="*/ 2465257 w 8266922"/>
              <a:gd name="connsiteY351" fmla="*/ 4030174 h 7305087"/>
              <a:gd name="connsiteX352" fmla="*/ 2506783 w 8266922"/>
              <a:gd name="connsiteY352" fmla="*/ 3325365 h 7305087"/>
              <a:gd name="connsiteX353" fmla="*/ 2549012 w 8266922"/>
              <a:gd name="connsiteY353" fmla="*/ 3328834 h 7305087"/>
              <a:gd name="connsiteX354" fmla="*/ 2581695 w 8266922"/>
              <a:gd name="connsiteY354" fmla="*/ 3341849 h 7305087"/>
              <a:gd name="connsiteX355" fmla="*/ 2602796 w 8266922"/>
              <a:gd name="connsiteY355" fmla="*/ 3368324 h 7305087"/>
              <a:gd name="connsiteX356" fmla="*/ 2610283 w 8266922"/>
              <a:gd name="connsiteY356" fmla="*/ 3412171 h 7305087"/>
              <a:gd name="connsiteX357" fmla="*/ 2602796 w 8266922"/>
              <a:gd name="connsiteY357" fmla="*/ 3454609 h 7305087"/>
              <a:gd name="connsiteX358" fmla="*/ 2581695 w 8266922"/>
              <a:gd name="connsiteY358" fmla="*/ 3481240 h 7305087"/>
              <a:gd name="connsiteX359" fmla="*/ 2549012 w 8266922"/>
              <a:gd name="connsiteY359" fmla="*/ 3495038 h 7305087"/>
              <a:gd name="connsiteX360" fmla="*/ 2506783 w 8266922"/>
              <a:gd name="connsiteY360" fmla="*/ 3498977 h 7305087"/>
              <a:gd name="connsiteX361" fmla="*/ 2465519 w 8266922"/>
              <a:gd name="connsiteY361" fmla="*/ 3495038 h 7305087"/>
              <a:gd name="connsiteX362" fmla="*/ 2433331 w 8266922"/>
              <a:gd name="connsiteY362" fmla="*/ 3481240 h 7305087"/>
              <a:gd name="connsiteX363" fmla="*/ 2412411 w 8266922"/>
              <a:gd name="connsiteY363" fmla="*/ 3454609 h 7305087"/>
              <a:gd name="connsiteX364" fmla="*/ 2404952 w 8266922"/>
              <a:gd name="connsiteY364" fmla="*/ 3412171 h 7305087"/>
              <a:gd name="connsiteX365" fmla="*/ 2412411 w 8266922"/>
              <a:gd name="connsiteY365" fmla="*/ 3368324 h 7305087"/>
              <a:gd name="connsiteX366" fmla="*/ 2433331 w 8266922"/>
              <a:gd name="connsiteY366" fmla="*/ 3341849 h 7305087"/>
              <a:gd name="connsiteX367" fmla="*/ 2465519 w 8266922"/>
              <a:gd name="connsiteY367" fmla="*/ 3328834 h 7305087"/>
              <a:gd name="connsiteX368" fmla="*/ 3576931 w 8266922"/>
              <a:gd name="connsiteY368" fmla="*/ 3011218 h 7305087"/>
              <a:gd name="connsiteX369" fmla="*/ 3950858 w 8266922"/>
              <a:gd name="connsiteY369" fmla="*/ 3011218 h 7305087"/>
              <a:gd name="connsiteX370" fmla="*/ 3950858 w 8266922"/>
              <a:gd name="connsiteY370" fmla="*/ 3106468 h 7305087"/>
              <a:gd name="connsiteX371" fmla="*/ 3950858 w 8266922"/>
              <a:gd name="connsiteY371" fmla="*/ 4205018 h 7305087"/>
              <a:gd name="connsiteX372" fmla="*/ 3950858 w 8266922"/>
              <a:gd name="connsiteY372" fmla="*/ 4300268 h 7305087"/>
              <a:gd name="connsiteX373" fmla="*/ 3576931 w 8266922"/>
              <a:gd name="connsiteY373" fmla="*/ 4300268 h 7305087"/>
              <a:gd name="connsiteX374" fmla="*/ 3576931 w 8266922"/>
              <a:gd name="connsiteY374" fmla="*/ 4205018 h 7305087"/>
              <a:gd name="connsiteX375" fmla="*/ 3835681 w 8266922"/>
              <a:gd name="connsiteY375" fmla="*/ 4205018 h 7305087"/>
              <a:gd name="connsiteX376" fmla="*/ 3835681 w 8266922"/>
              <a:gd name="connsiteY376" fmla="*/ 3106468 h 7305087"/>
              <a:gd name="connsiteX377" fmla="*/ 3576931 w 8266922"/>
              <a:gd name="connsiteY377" fmla="*/ 3106468 h 7305087"/>
              <a:gd name="connsiteX378" fmla="*/ 1487809 w 8266922"/>
              <a:gd name="connsiteY378" fmla="*/ 3011218 h 7305087"/>
              <a:gd name="connsiteX379" fmla="*/ 1861748 w 8266922"/>
              <a:gd name="connsiteY379" fmla="*/ 3011218 h 7305087"/>
              <a:gd name="connsiteX380" fmla="*/ 1861748 w 8266922"/>
              <a:gd name="connsiteY380" fmla="*/ 3106468 h 7305087"/>
              <a:gd name="connsiteX381" fmla="*/ 1602998 w 8266922"/>
              <a:gd name="connsiteY381" fmla="*/ 3106468 h 7305087"/>
              <a:gd name="connsiteX382" fmla="*/ 1602998 w 8266922"/>
              <a:gd name="connsiteY382" fmla="*/ 4205018 h 7305087"/>
              <a:gd name="connsiteX383" fmla="*/ 1861748 w 8266922"/>
              <a:gd name="connsiteY383" fmla="*/ 4205018 h 7305087"/>
              <a:gd name="connsiteX384" fmla="*/ 1861748 w 8266922"/>
              <a:gd name="connsiteY384" fmla="*/ 4300268 h 7305087"/>
              <a:gd name="connsiteX385" fmla="*/ 1487809 w 8266922"/>
              <a:gd name="connsiteY385" fmla="*/ 4300268 h 7305087"/>
              <a:gd name="connsiteX386" fmla="*/ 1487809 w 8266922"/>
              <a:gd name="connsiteY386" fmla="*/ 4205018 h 7305087"/>
              <a:gd name="connsiteX387" fmla="*/ 1487809 w 8266922"/>
              <a:gd name="connsiteY387" fmla="*/ 3106468 h 7305087"/>
              <a:gd name="connsiteX388" fmla="*/ 7212302 w 8266922"/>
              <a:gd name="connsiteY388" fmla="*/ 3004847 h 7305087"/>
              <a:gd name="connsiteX389" fmla="*/ 7265372 w 8266922"/>
              <a:gd name="connsiteY389" fmla="*/ 3006723 h 7305087"/>
              <a:gd name="connsiteX390" fmla="*/ 7314493 w 8266922"/>
              <a:gd name="connsiteY390" fmla="*/ 3012300 h 7305087"/>
              <a:gd name="connsiteX391" fmla="*/ 7359798 w 8266922"/>
              <a:gd name="connsiteY391" fmla="*/ 3021495 h 7305087"/>
              <a:gd name="connsiteX392" fmla="*/ 7401420 w 8266922"/>
              <a:gd name="connsiteY392" fmla="*/ 3034227 h 7305087"/>
              <a:gd name="connsiteX393" fmla="*/ 7439491 w 8266922"/>
              <a:gd name="connsiteY393" fmla="*/ 3050415 h 7305087"/>
              <a:gd name="connsiteX394" fmla="*/ 7474144 w 8266922"/>
              <a:gd name="connsiteY394" fmla="*/ 3069977 h 7305087"/>
              <a:gd name="connsiteX395" fmla="*/ 7505511 w 8266922"/>
              <a:gd name="connsiteY395" fmla="*/ 3092831 h 7305087"/>
              <a:gd name="connsiteX396" fmla="*/ 7533726 w 8266922"/>
              <a:gd name="connsiteY396" fmla="*/ 3118897 h 7305087"/>
              <a:gd name="connsiteX397" fmla="*/ 7558922 w 8266922"/>
              <a:gd name="connsiteY397" fmla="*/ 3148093 h 7305087"/>
              <a:gd name="connsiteX398" fmla="*/ 7581230 w 8266922"/>
              <a:gd name="connsiteY398" fmla="*/ 3180338 h 7305087"/>
              <a:gd name="connsiteX399" fmla="*/ 7600783 w 8266922"/>
              <a:gd name="connsiteY399" fmla="*/ 3215550 h 7305087"/>
              <a:gd name="connsiteX400" fmla="*/ 7617715 w 8266922"/>
              <a:gd name="connsiteY400" fmla="*/ 3253648 h 7305087"/>
              <a:gd name="connsiteX401" fmla="*/ 7632158 w 8266922"/>
              <a:gd name="connsiteY401" fmla="*/ 3294551 h 7305087"/>
              <a:gd name="connsiteX402" fmla="*/ 7644245 w 8266922"/>
              <a:gd name="connsiteY402" fmla="*/ 3338176 h 7305087"/>
              <a:gd name="connsiteX403" fmla="*/ 7654108 w 8266922"/>
              <a:gd name="connsiteY403" fmla="*/ 3384443 h 7305087"/>
              <a:gd name="connsiteX404" fmla="*/ 7661880 w 8266922"/>
              <a:gd name="connsiteY404" fmla="*/ 3433271 h 7305087"/>
              <a:gd name="connsiteX405" fmla="*/ 7667694 w 8266922"/>
              <a:gd name="connsiteY405" fmla="*/ 3484578 h 7305087"/>
              <a:gd name="connsiteX406" fmla="*/ 7671682 w 8266922"/>
              <a:gd name="connsiteY406" fmla="*/ 3538282 h 7305087"/>
              <a:gd name="connsiteX407" fmla="*/ 7673978 w 8266922"/>
              <a:gd name="connsiteY407" fmla="*/ 3594302 h 7305087"/>
              <a:gd name="connsiteX408" fmla="*/ 7674714 w 8266922"/>
              <a:gd name="connsiteY408" fmla="*/ 3652558 h 7305087"/>
              <a:gd name="connsiteX409" fmla="*/ 7674014 w 8266922"/>
              <a:gd name="connsiteY409" fmla="*/ 3711063 h 7305087"/>
              <a:gd name="connsiteX410" fmla="*/ 7671817 w 8266922"/>
              <a:gd name="connsiteY410" fmla="*/ 3767333 h 7305087"/>
              <a:gd name="connsiteX411" fmla="*/ 7667981 w 8266922"/>
              <a:gd name="connsiteY411" fmla="*/ 3821283 h 7305087"/>
              <a:gd name="connsiteX412" fmla="*/ 7662360 w 8266922"/>
              <a:gd name="connsiteY412" fmla="*/ 3872833 h 7305087"/>
              <a:gd name="connsiteX413" fmla="*/ 7654812 w 8266922"/>
              <a:gd name="connsiteY413" fmla="*/ 3921898 h 7305087"/>
              <a:gd name="connsiteX414" fmla="*/ 7645191 w 8266922"/>
              <a:gd name="connsiteY414" fmla="*/ 3968397 h 7305087"/>
              <a:gd name="connsiteX415" fmla="*/ 7633354 w 8266922"/>
              <a:gd name="connsiteY415" fmla="*/ 4012246 h 7305087"/>
              <a:gd name="connsiteX416" fmla="*/ 7619157 w 8266922"/>
              <a:gd name="connsiteY416" fmla="*/ 4053364 h 7305087"/>
              <a:gd name="connsiteX417" fmla="*/ 7602457 w 8266922"/>
              <a:gd name="connsiteY417" fmla="*/ 4091667 h 7305087"/>
              <a:gd name="connsiteX418" fmla="*/ 7583108 w 8266922"/>
              <a:gd name="connsiteY418" fmla="*/ 4127073 h 7305087"/>
              <a:gd name="connsiteX419" fmla="*/ 7560967 w 8266922"/>
              <a:gd name="connsiteY419" fmla="*/ 4159499 h 7305087"/>
              <a:gd name="connsiteX420" fmla="*/ 7535890 w 8266922"/>
              <a:gd name="connsiteY420" fmla="*/ 4188862 h 7305087"/>
              <a:gd name="connsiteX421" fmla="*/ 7507733 w 8266922"/>
              <a:gd name="connsiteY421" fmla="*/ 4215081 h 7305087"/>
              <a:gd name="connsiteX422" fmla="*/ 7476352 w 8266922"/>
              <a:gd name="connsiteY422" fmla="*/ 4238071 h 7305087"/>
              <a:gd name="connsiteX423" fmla="*/ 7441604 w 8266922"/>
              <a:gd name="connsiteY423" fmla="*/ 4257752 h 7305087"/>
              <a:gd name="connsiteX424" fmla="*/ 7403343 w 8266922"/>
              <a:gd name="connsiteY424" fmla="*/ 4274039 h 7305087"/>
              <a:gd name="connsiteX425" fmla="*/ 7361426 w 8266922"/>
              <a:gd name="connsiteY425" fmla="*/ 4286851 h 7305087"/>
              <a:gd name="connsiteX426" fmla="*/ 7315710 w 8266922"/>
              <a:gd name="connsiteY426" fmla="*/ 4296105 h 7305087"/>
              <a:gd name="connsiteX427" fmla="*/ 7266050 w 8266922"/>
              <a:gd name="connsiteY427" fmla="*/ 4301718 h 7305087"/>
              <a:gd name="connsiteX428" fmla="*/ 7212302 w 8266922"/>
              <a:gd name="connsiteY428" fmla="*/ 4303607 h 7305087"/>
              <a:gd name="connsiteX429" fmla="*/ 7212302 w 8266922"/>
              <a:gd name="connsiteY429" fmla="*/ 4206785 h 7305087"/>
              <a:gd name="connsiteX430" fmla="*/ 7261987 w 8266922"/>
              <a:gd name="connsiteY430" fmla="*/ 4204552 h 7305087"/>
              <a:gd name="connsiteX431" fmla="*/ 7306907 w 8266922"/>
              <a:gd name="connsiteY431" fmla="*/ 4197931 h 7305087"/>
              <a:gd name="connsiteX432" fmla="*/ 7347290 w 8266922"/>
              <a:gd name="connsiteY432" fmla="*/ 4187042 h 7305087"/>
              <a:gd name="connsiteX433" fmla="*/ 7383361 w 8266922"/>
              <a:gd name="connsiteY433" fmla="*/ 4172002 h 7305087"/>
              <a:gd name="connsiteX434" fmla="*/ 7443472 w 8266922"/>
              <a:gd name="connsiteY434" fmla="*/ 4129942 h 7305087"/>
              <a:gd name="connsiteX435" fmla="*/ 7489051 w 8266922"/>
              <a:gd name="connsiteY435" fmla="*/ 4072698 h 7305087"/>
              <a:gd name="connsiteX436" fmla="*/ 7506957 w 8266922"/>
              <a:gd name="connsiteY436" fmla="*/ 4038677 h 7305087"/>
              <a:gd name="connsiteX437" fmla="*/ 7521909 w 8266922"/>
              <a:gd name="connsiteY437" fmla="*/ 4001216 h 7305087"/>
              <a:gd name="connsiteX438" fmla="*/ 7534133 w 8266922"/>
              <a:gd name="connsiteY438" fmla="*/ 3960431 h 7305087"/>
              <a:gd name="connsiteX439" fmla="*/ 7543856 w 8266922"/>
              <a:gd name="connsiteY439" fmla="*/ 3916441 h 7305087"/>
              <a:gd name="connsiteX440" fmla="*/ 7551303 w 8266922"/>
              <a:gd name="connsiteY440" fmla="*/ 3869364 h 7305087"/>
              <a:gd name="connsiteX441" fmla="*/ 7556702 w 8266922"/>
              <a:gd name="connsiteY441" fmla="*/ 3819320 h 7305087"/>
              <a:gd name="connsiteX442" fmla="*/ 7560278 w 8266922"/>
              <a:gd name="connsiteY442" fmla="*/ 3766425 h 7305087"/>
              <a:gd name="connsiteX443" fmla="*/ 7562257 w 8266922"/>
              <a:gd name="connsiteY443" fmla="*/ 3710798 h 7305087"/>
              <a:gd name="connsiteX444" fmla="*/ 7562867 w 8266922"/>
              <a:gd name="connsiteY444" fmla="*/ 3652558 h 7305087"/>
              <a:gd name="connsiteX445" fmla="*/ 7562225 w 8266922"/>
              <a:gd name="connsiteY445" fmla="*/ 3594889 h 7305087"/>
              <a:gd name="connsiteX446" fmla="*/ 7560155 w 8266922"/>
              <a:gd name="connsiteY446" fmla="*/ 3539800 h 7305087"/>
              <a:gd name="connsiteX447" fmla="*/ 7556445 w 8266922"/>
              <a:gd name="connsiteY447" fmla="*/ 3487407 h 7305087"/>
              <a:gd name="connsiteX448" fmla="*/ 7550879 w 8266922"/>
              <a:gd name="connsiteY448" fmla="*/ 3437831 h 7305087"/>
              <a:gd name="connsiteX449" fmla="*/ 7543244 w 8266922"/>
              <a:gd name="connsiteY449" fmla="*/ 3391187 h 7305087"/>
              <a:gd name="connsiteX450" fmla="*/ 7533326 w 8266922"/>
              <a:gd name="connsiteY450" fmla="*/ 3347596 h 7305087"/>
              <a:gd name="connsiteX451" fmla="*/ 7520910 w 8266922"/>
              <a:gd name="connsiteY451" fmla="*/ 3307175 h 7305087"/>
              <a:gd name="connsiteX452" fmla="*/ 7505783 w 8266922"/>
              <a:gd name="connsiteY452" fmla="*/ 3270043 h 7305087"/>
              <a:gd name="connsiteX453" fmla="*/ 7487730 w 8266922"/>
              <a:gd name="connsiteY453" fmla="*/ 3236317 h 7305087"/>
              <a:gd name="connsiteX454" fmla="*/ 7441992 w 8266922"/>
              <a:gd name="connsiteY454" fmla="*/ 3179558 h 7305087"/>
              <a:gd name="connsiteX455" fmla="*/ 7381983 w 8266922"/>
              <a:gd name="connsiteY455" fmla="*/ 3137845 h 7305087"/>
              <a:gd name="connsiteX456" fmla="*/ 7346091 w 8266922"/>
              <a:gd name="connsiteY456" fmla="*/ 3122926 h 7305087"/>
              <a:gd name="connsiteX457" fmla="*/ 7305990 w 8266922"/>
              <a:gd name="connsiteY457" fmla="*/ 3112123 h 7305087"/>
              <a:gd name="connsiteX458" fmla="*/ 7261465 w 8266922"/>
              <a:gd name="connsiteY458" fmla="*/ 3105555 h 7305087"/>
              <a:gd name="connsiteX459" fmla="*/ 7212302 w 8266922"/>
              <a:gd name="connsiteY459" fmla="*/ 3103339 h 7305087"/>
              <a:gd name="connsiteX460" fmla="*/ 6695380 w 8266922"/>
              <a:gd name="connsiteY460" fmla="*/ 3004847 h 7305087"/>
              <a:gd name="connsiteX461" fmla="*/ 6695380 w 8266922"/>
              <a:gd name="connsiteY461" fmla="*/ 3103339 h 7305087"/>
              <a:gd name="connsiteX462" fmla="*/ 6646494 w 8266922"/>
              <a:gd name="connsiteY462" fmla="*/ 3105555 h 7305087"/>
              <a:gd name="connsiteX463" fmla="*/ 6602213 w 8266922"/>
              <a:gd name="connsiteY463" fmla="*/ 3112123 h 7305087"/>
              <a:gd name="connsiteX464" fmla="*/ 6562327 w 8266922"/>
              <a:gd name="connsiteY464" fmla="*/ 3122926 h 7305087"/>
              <a:gd name="connsiteX465" fmla="*/ 6526621 w 8266922"/>
              <a:gd name="connsiteY465" fmla="*/ 3137845 h 7305087"/>
              <a:gd name="connsiteX466" fmla="*/ 6466906 w 8266922"/>
              <a:gd name="connsiteY466" fmla="*/ 3179558 h 7305087"/>
              <a:gd name="connsiteX467" fmla="*/ 6421372 w 8266922"/>
              <a:gd name="connsiteY467" fmla="*/ 3236317 h 7305087"/>
              <a:gd name="connsiteX468" fmla="*/ 6403393 w 8266922"/>
              <a:gd name="connsiteY468" fmla="*/ 3270043 h 7305087"/>
              <a:gd name="connsiteX469" fmla="*/ 6388323 w 8266922"/>
              <a:gd name="connsiteY469" fmla="*/ 3307175 h 7305087"/>
              <a:gd name="connsiteX470" fmla="*/ 6375951 w 8266922"/>
              <a:gd name="connsiteY470" fmla="*/ 3347596 h 7305087"/>
              <a:gd name="connsiteX471" fmla="*/ 6366063 w 8266922"/>
              <a:gd name="connsiteY471" fmla="*/ 3391187 h 7305087"/>
              <a:gd name="connsiteX472" fmla="*/ 6358449 w 8266922"/>
              <a:gd name="connsiteY472" fmla="*/ 3437831 h 7305087"/>
              <a:gd name="connsiteX473" fmla="*/ 6352896 w 8266922"/>
              <a:gd name="connsiteY473" fmla="*/ 3487407 h 7305087"/>
              <a:gd name="connsiteX474" fmla="*/ 6349192 w 8266922"/>
              <a:gd name="connsiteY474" fmla="*/ 3539800 h 7305087"/>
              <a:gd name="connsiteX475" fmla="*/ 6347125 w 8266922"/>
              <a:gd name="connsiteY475" fmla="*/ 3594889 h 7305087"/>
              <a:gd name="connsiteX476" fmla="*/ 6346483 w 8266922"/>
              <a:gd name="connsiteY476" fmla="*/ 3652558 h 7305087"/>
              <a:gd name="connsiteX477" fmla="*/ 6347109 w 8266922"/>
              <a:gd name="connsiteY477" fmla="*/ 3710798 h 7305087"/>
              <a:gd name="connsiteX478" fmla="*/ 6349131 w 8266922"/>
              <a:gd name="connsiteY478" fmla="*/ 3766425 h 7305087"/>
              <a:gd name="connsiteX479" fmla="*/ 6352768 w 8266922"/>
              <a:gd name="connsiteY479" fmla="*/ 3819320 h 7305087"/>
              <a:gd name="connsiteX480" fmla="*/ 6358237 w 8266922"/>
              <a:gd name="connsiteY480" fmla="*/ 3869364 h 7305087"/>
              <a:gd name="connsiteX481" fmla="*/ 6365758 w 8266922"/>
              <a:gd name="connsiteY481" fmla="*/ 3916441 h 7305087"/>
              <a:gd name="connsiteX482" fmla="*/ 6375547 w 8266922"/>
              <a:gd name="connsiteY482" fmla="*/ 3960431 h 7305087"/>
              <a:gd name="connsiteX483" fmla="*/ 6387824 w 8266922"/>
              <a:gd name="connsiteY483" fmla="*/ 4001216 h 7305087"/>
              <a:gd name="connsiteX484" fmla="*/ 6402806 w 8266922"/>
              <a:gd name="connsiteY484" fmla="*/ 4038677 h 7305087"/>
              <a:gd name="connsiteX485" fmla="*/ 6420712 w 8266922"/>
              <a:gd name="connsiteY485" fmla="*/ 4072698 h 7305087"/>
              <a:gd name="connsiteX486" fmla="*/ 6466166 w 8266922"/>
              <a:gd name="connsiteY486" fmla="*/ 4129942 h 7305087"/>
              <a:gd name="connsiteX487" fmla="*/ 6525932 w 8266922"/>
              <a:gd name="connsiteY487" fmla="*/ 4172002 h 7305087"/>
              <a:gd name="connsiteX488" fmla="*/ 6561727 w 8266922"/>
              <a:gd name="connsiteY488" fmla="*/ 4187042 h 7305087"/>
              <a:gd name="connsiteX489" fmla="*/ 6601755 w 8266922"/>
              <a:gd name="connsiteY489" fmla="*/ 4197931 h 7305087"/>
              <a:gd name="connsiteX490" fmla="*/ 6646233 w 8266922"/>
              <a:gd name="connsiteY490" fmla="*/ 4204552 h 7305087"/>
              <a:gd name="connsiteX491" fmla="*/ 6695380 w 8266922"/>
              <a:gd name="connsiteY491" fmla="*/ 4206785 h 7305087"/>
              <a:gd name="connsiteX492" fmla="*/ 6695380 w 8266922"/>
              <a:gd name="connsiteY492" fmla="*/ 4303607 h 7305087"/>
              <a:gd name="connsiteX493" fmla="*/ 6641857 w 8266922"/>
              <a:gd name="connsiteY493" fmla="*/ 4301718 h 7305087"/>
              <a:gd name="connsiteX494" fmla="*/ 6592377 w 8266922"/>
              <a:gd name="connsiteY494" fmla="*/ 4296105 h 7305087"/>
              <a:gd name="connsiteX495" fmla="*/ 6546797 w 8266922"/>
              <a:gd name="connsiteY495" fmla="*/ 4286851 h 7305087"/>
              <a:gd name="connsiteX496" fmla="*/ 6504979 w 8266922"/>
              <a:gd name="connsiteY496" fmla="*/ 4274039 h 7305087"/>
              <a:gd name="connsiteX497" fmla="*/ 6466782 w 8266922"/>
              <a:gd name="connsiteY497" fmla="*/ 4257752 h 7305087"/>
              <a:gd name="connsiteX498" fmla="*/ 6432065 w 8266922"/>
              <a:gd name="connsiteY498" fmla="*/ 4238071 h 7305087"/>
              <a:gd name="connsiteX499" fmla="*/ 6400688 w 8266922"/>
              <a:gd name="connsiteY499" fmla="*/ 4215081 h 7305087"/>
              <a:gd name="connsiteX500" fmla="*/ 6372512 w 8266922"/>
              <a:gd name="connsiteY500" fmla="*/ 4188862 h 7305087"/>
              <a:gd name="connsiteX501" fmla="*/ 6347396 w 8266922"/>
              <a:gd name="connsiteY501" fmla="*/ 4159499 h 7305087"/>
              <a:gd name="connsiteX502" fmla="*/ 6325199 w 8266922"/>
              <a:gd name="connsiteY502" fmla="*/ 4127073 h 7305087"/>
              <a:gd name="connsiteX503" fmla="*/ 6305782 w 8266922"/>
              <a:gd name="connsiteY503" fmla="*/ 4091667 h 7305087"/>
              <a:gd name="connsiteX504" fmla="*/ 6289004 w 8266922"/>
              <a:gd name="connsiteY504" fmla="*/ 4053364 h 7305087"/>
              <a:gd name="connsiteX505" fmla="*/ 6274725 w 8266922"/>
              <a:gd name="connsiteY505" fmla="*/ 4012246 h 7305087"/>
              <a:gd name="connsiteX506" fmla="*/ 6262805 w 8266922"/>
              <a:gd name="connsiteY506" fmla="*/ 3968397 h 7305087"/>
              <a:gd name="connsiteX507" fmla="*/ 6253104 w 8266922"/>
              <a:gd name="connsiteY507" fmla="*/ 3921898 h 7305087"/>
              <a:gd name="connsiteX508" fmla="*/ 6245481 w 8266922"/>
              <a:gd name="connsiteY508" fmla="*/ 3872833 h 7305087"/>
              <a:gd name="connsiteX509" fmla="*/ 6239796 w 8266922"/>
              <a:gd name="connsiteY509" fmla="*/ 3821283 h 7305087"/>
              <a:gd name="connsiteX510" fmla="*/ 6235909 w 8266922"/>
              <a:gd name="connsiteY510" fmla="*/ 3767333 h 7305087"/>
              <a:gd name="connsiteX511" fmla="*/ 6233679 w 8266922"/>
              <a:gd name="connsiteY511" fmla="*/ 3711063 h 7305087"/>
              <a:gd name="connsiteX512" fmla="*/ 6232968 w 8266922"/>
              <a:gd name="connsiteY512" fmla="*/ 3652558 h 7305087"/>
              <a:gd name="connsiteX513" fmla="*/ 6233703 w 8266922"/>
              <a:gd name="connsiteY513" fmla="*/ 3594302 h 7305087"/>
              <a:gd name="connsiteX514" fmla="*/ 6235999 w 8266922"/>
              <a:gd name="connsiteY514" fmla="*/ 3538282 h 7305087"/>
              <a:gd name="connsiteX515" fmla="*/ 6239988 w 8266922"/>
              <a:gd name="connsiteY515" fmla="*/ 3484578 h 7305087"/>
              <a:gd name="connsiteX516" fmla="*/ 6245801 w 8266922"/>
              <a:gd name="connsiteY516" fmla="*/ 3433271 h 7305087"/>
              <a:gd name="connsiteX517" fmla="*/ 6253574 w 8266922"/>
              <a:gd name="connsiteY517" fmla="*/ 3384443 h 7305087"/>
              <a:gd name="connsiteX518" fmla="*/ 6263437 w 8266922"/>
              <a:gd name="connsiteY518" fmla="*/ 3338176 h 7305087"/>
              <a:gd name="connsiteX519" fmla="*/ 6275523 w 8266922"/>
              <a:gd name="connsiteY519" fmla="*/ 3294551 h 7305087"/>
              <a:gd name="connsiteX520" fmla="*/ 6289966 w 8266922"/>
              <a:gd name="connsiteY520" fmla="*/ 3253648 h 7305087"/>
              <a:gd name="connsiteX521" fmla="*/ 6306898 w 8266922"/>
              <a:gd name="connsiteY521" fmla="*/ 3215550 h 7305087"/>
              <a:gd name="connsiteX522" fmla="*/ 6326451 w 8266922"/>
              <a:gd name="connsiteY522" fmla="*/ 3180338 h 7305087"/>
              <a:gd name="connsiteX523" fmla="*/ 6348759 w 8266922"/>
              <a:gd name="connsiteY523" fmla="*/ 3148093 h 7305087"/>
              <a:gd name="connsiteX524" fmla="*/ 6373955 w 8266922"/>
              <a:gd name="connsiteY524" fmla="*/ 3118897 h 7305087"/>
              <a:gd name="connsiteX525" fmla="*/ 6402170 w 8266922"/>
              <a:gd name="connsiteY525" fmla="*/ 3092831 h 7305087"/>
              <a:gd name="connsiteX526" fmla="*/ 6433537 w 8266922"/>
              <a:gd name="connsiteY526" fmla="*/ 3069977 h 7305087"/>
              <a:gd name="connsiteX527" fmla="*/ 6468190 w 8266922"/>
              <a:gd name="connsiteY527" fmla="*/ 3050415 h 7305087"/>
              <a:gd name="connsiteX528" fmla="*/ 6506261 w 8266922"/>
              <a:gd name="connsiteY528" fmla="*/ 3034227 h 7305087"/>
              <a:gd name="connsiteX529" fmla="*/ 6547883 w 8266922"/>
              <a:gd name="connsiteY529" fmla="*/ 3021495 h 7305087"/>
              <a:gd name="connsiteX530" fmla="*/ 6593188 w 8266922"/>
              <a:gd name="connsiteY530" fmla="*/ 3012300 h 7305087"/>
              <a:gd name="connsiteX531" fmla="*/ 6642309 w 8266922"/>
              <a:gd name="connsiteY531" fmla="*/ 3006723 h 7305087"/>
              <a:gd name="connsiteX532" fmla="*/ 5578527 w 8266922"/>
              <a:gd name="connsiteY532" fmla="*/ 3004847 h 7305087"/>
              <a:gd name="connsiteX533" fmla="*/ 5631597 w 8266922"/>
              <a:gd name="connsiteY533" fmla="*/ 3006723 h 7305087"/>
              <a:gd name="connsiteX534" fmla="*/ 5680718 w 8266922"/>
              <a:gd name="connsiteY534" fmla="*/ 3012300 h 7305087"/>
              <a:gd name="connsiteX535" fmla="*/ 5726023 w 8266922"/>
              <a:gd name="connsiteY535" fmla="*/ 3021495 h 7305087"/>
              <a:gd name="connsiteX536" fmla="*/ 5767645 w 8266922"/>
              <a:gd name="connsiteY536" fmla="*/ 3034227 h 7305087"/>
              <a:gd name="connsiteX537" fmla="*/ 5805716 w 8266922"/>
              <a:gd name="connsiteY537" fmla="*/ 3050415 h 7305087"/>
              <a:gd name="connsiteX538" fmla="*/ 5840369 w 8266922"/>
              <a:gd name="connsiteY538" fmla="*/ 3069977 h 7305087"/>
              <a:gd name="connsiteX539" fmla="*/ 5871736 w 8266922"/>
              <a:gd name="connsiteY539" fmla="*/ 3092831 h 7305087"/>
              <a:gd name="connsiteX540" fmla="*/ 5899951 w 8266922"/>
              <a:gd name="connsiteY540" fmla="*/ 3118897 h 7305087"/>
              <a:gd name="connsiteX541" fmla="*/ 5925147 w 8266922"/>
              <a:gd name="connsiteY541" fmla="*/ 3148093 h 7305087"/>
              <a:gd name="connsiteX542" fmla="*/ 5947455 w 8266922"/>
              <a:gd name="connsiteY542" fmla="*/ 3180338 h 7305087"/>
              <a:gd name="connsiteX543" fmla="*/ 5967008 w 8266922"/>
              <a:gd name="connsiteY543" fmla="*/ 3215550 h 7305087"/>
              <a:gd name="connsiteX544" fmla="*/ 5983940 w 8266922"/>
              <a:gd name="connsiteY544" fmla="*/ 3253648 h 7305087"/>
              <a:gd name="connsiteX545" fmla="*/ 5998383 w 8266922"/>
              <a:gd name="connsiteY545" fmla="*/ 3294551 h 7305087"/>
              <a:gd name="connsiteX546" fmla="*/ 6010470 w 8266922"/>
              <a:gd name="connsiteY546" fmla="*/ 3338176 h 7305087"/>
              <a:gd name="connsiteX547" fmla="*/ 6020333 w 8266922"/>
              <a:gd name="connsiteY547" fmla="*/ 3384443 h 7305087"/>
              <a:gd name="connsiteX548" fmla="*/ 6028105 w 8266922"/>
              <a:gd name="connsiteY548" fmla="*/ 3433271 h 7305087"/>
              <a:gd name="connsiteX549" fmla="*/ 6033919 w 8266922"/>
              <a:gd name="connsiteY549" fmla="*/ 3484578 h 7305087"/>
              <a:gd name="connsiteX550" fmla="*/ 6037907 w 8266922"/>
              <a:gd name="connsiteY550" fmla="*/ 3538282 h 7305087"/>
              <a:gd name="connsiteX551" fmla="*/ 6040203 w 8266922"/>
              <a:gd name="connsiteY551" fmla="*/ 3594302 h 7305087"/>
              <a:gd name="connsiteX552" fmla="*/ 6040939 w 8266922"/>
              <a:gd name="connsiteY552" fmla="*/ 3652558 h 7305087"/>
              <a:gd name="connsiteX553" fmla="*/ 6040239 w 8266922"/>
              <a:gd name="connsiteY553" fmla="*/ 3711063 h 7305087"/>
              <a:gd name="connsiteX554" fmla="*/ 6038042 w 8266922"/>
              <a:gd name="connsiteY554" fmla="*/ 3767333 h 7305087"/>
              <a:gd name="connsiteX555" fmla="*/ 6034206 w 8266922"/>
              <a:gd name="connsiteY555" fmla="*/ 3821283 h 7305087"/>
              <a:gd name="connsiteX556" fmla="*/ 6028585 w 8266922"/>
              <a:gd name="connsiteY556" fmla="*/ 3872833 h 7305087"/>
              <a:gd name="connsiteX557" fmla="*/ 6021037 w 8266922"/>
              <a:gd name="connsiteY557" fmla="*/ 3921898 h 7305087"/>
              <a:gd name="connsiteX558" fmla="*/ 6011416 w 8266922"/>
              <a:gd name="connsiteY558" fmla="*/ 3968397 h 7305087"/>
              <a:gd name="connsiteX559" fmla="*/ 5999579 w 8266922"/>
              <a:gd name="connsiteY559" fmla="*/ 4012246 h 7305087"/>
              <a:gd name="connsiteX560" fmla="*/ 5985382 w 8266922"/>
              <a:gd name="connsiteY560" fmla="*/ 4053364 h 7305087"/>
              <a:gd name="connsiteX561" fmla="*/ 5968682 w 8266922"/>
              <a:gd name="connsiteY561" fmla="*/ 4091667 h 7305087"/>
              <a:gd name="connsiteX562" fmla="*/ 5949333 w 8266922"/>
              <a:gd name="connsiteY562" fmla="*/ 4127073 h 7305087"/>
              <a:gd name="connsiteX563" fmla="*/ 5927192 w 8266922"/>
              <a:gd name="connsiteY563" fmla="*/ 4159499 h 7305087"/>
              <a:gd name="connsiteX564" fmla="*/ 5902115 w 8266922"/>
              <a:gd name="connsiteY564" fmla="*/ 4188862 h 7305087"/>
              <a:gd name="connsiteX565" fmla="*/ 5873958 w 8266922"/>
              <a:gd name="connsiteY565" fmla="*/ 4215081 h 7305087"/>
              <a:gd name="connsiteX566" fmla="*/ 5842577 w 8266922"/>
              <a:gd name="connsiteY566" fmla="*/ 4238071 h 7305087"/>
              <a:gd name="connsiteX567" fmla="*/ 5807829 w 8266922"/>
              <a:gd name="connsiteY567" fmla="*/ 4257752 h 7305087"/>
              <a:gd name="connsiteX568" fmla="*/ 5769568 w 8266922"/>
              <a:gd name="connsiteY568" fmla="*/ 4274039 h 7305087"/>
              <a:gd name="connsiteX569" fmla="*/ 5727651 w 8266922"/>
              <a:gd name="connsiteY569" fmla="*/ 4286851 h 7305087"/>
              <a:gd name="connsiteX570" fmla="*/ 5681935 w 8266922"/>
              <a:gd name="connsiteY570" fmla="*/ 4296105 h 7305087"/>
              <a:gd name="connsiteX571" fmla="*/ 5632275 w 8266922"/>
              <a:gd name="connsiteY571" fmla="*/ 4301718 h 7305087"/>
              <a:gd name="connsiteX572" fmla="*/ 5578527 w 8266922"/>
              <a:gd name="connsiteY572" fmla="*/ 4303607 h 7305087"/>
              <a:gd name="connsiteX573" fmla="*/ 5578527 w 8266922"/>
              <a:gd name="connsiteY573" fmla="*/ 4206785 h 7305087"/>
              <a:gd name="connsiteX574" fmla="*/ 5628212 w 8266922"/>
              <a:gd name="connsiteY574" fmla="*/ 4204552 h 7305087"/>
              <a:gd name="connsiteX575" fmla="*/ 5673133 w 8266922"/>
              <a:gd name="connsiteY575" fmla="*/ 4197931 h 7305087"/>
              <a:gd name="connsiteX576" fmla="*/ 5713515 w 8266922"/>
              <a:gd name="connsiteY576" fmla="*/ 4187042 h 7305087"/>
              <a:gd name="connsiteX577" fmla="*/ 5749586 w 8266922"/>
              <a:gd name="connsiteY577" fmla="*/ 4172002 h 7305087"/>
              <a:gd name="connsiteX578" fmla="*/ 5809697 w 8266922"/>
              <a:gd name="connsiteY578" fmla="*/ 4129942 h 7305087"/>
              <a:gd name="connsiteX579" fmla="*/ 5855277 w 8266922"/>
              <a:gd name="connsiteY579" fmla="*/ 4072698 h 7305087"/>
              <a:gd name="connsiteX580" fmla="*/ 5873182 w 8266922"/>
              <a:gd name="connsiteY580" fmla="*/ 4038677 h 7305087"/>
              <a:gd name="connsiteX581" fmla="*/ 5888134 w 8266922"/>
              <a:gd name="connsiteY581" fmla="*/ 4001216 h 7305087"/>
              <a:gd name="connsiteX582" fmla="*/ 5900358 w 8266922"/>
              <a:gd name="connsiteY582" fmla="*/ 3960431 h 7305087"/>
              <a:gd name="connsiteX583" fmla="*/ 5910081 w 8266922"/>
              <a:gd name="connsiteY583" fmla="*/ 3916441 h 7305087"/>
              <a:gd name="connsiteX584" fmla="*/ 5917528 w 8266922"/>
              <a:gd name="connsiteY584" fmla="*/ 3869364 h 7305087"/>
              <a:gd name="connsiteX585" fmla="*/ 5922927 w 8266922"/>
              <a:gd name="connsiteY585" fmla="*/ 3819320 h 7305087"/>
              <a:gd name="connsiteX586" fmla="*/ 5926503 w 8266922"/>
              <a:gd name="connsiteY586" fmla="*/ 3766425 h 7305087"/>
              <a:gd name="connsiteX587" fmla="*/ 5928482 w 8266922"/>
              <a:gd name="connsiteY587" fmla="*/ 3710798 h 7305087"/>
              <a:gd name="connsiteX588" fmla="*/ 5929092 w 8266922"/>
              <a:gd name="connsiteY588" fmla="*/ 3652558 h 7305087"/>
              <a:gd name="connsiteX589" fmla="*/ 5928450 w 8266922"/>
              <a:gd name="connsiteY589" fmla="*/ 3594889 h 7305087"/>
              <a:gd name="connsiteX590" fmla="*/ 5926380 w 8266922"/>
              <a:gd name="connsiteY590" fmla="*/ 3539800 h 7305087"/>
              <a:gd name="connsiteX591" fmla="*/ 5922670 w 8266922"/>
              <a:gd name="connsiteY591" fmla="*/ 3487407 h 7305087"/>
              <a:gd name="connsiteX592" fmla="*/ 5917104 w 8266922"/>
              <a:gd name="connsiteY592" fmla="*/ 3437831 h 7305087"/>
              <a:gd name="connsiteX593" fmla="*/ 5909469 w 8266922"/>
              <a:gd name="connsiteY593" fmla="*/ 3391187 h 7305087"/>
              <a:gd name="connsiteX594" fmla="*/ 5899551 w 8266922"/>
              <a:gd name="connsiteY594" fmla="*/ 3347596 h 7305087"/>
              <a:gd name="connsiteX595" fmla="*/ 5887135 w 8266922"/>
              <a:gd name="connsiteY595" fmla="*/ 3307175 h 7305087"/>
              <a:gd name="connsiteX596" fmla="*/ 5872008 w 8266922"/>
              <a:gd name="connsiteY596" fmla="*/ 3270043 h 7305087"/>
              <a:gd name="connsiteX597" fmla="*/ 5853955 w 8266922"/>
              <a:gd name="connsiteY597" fmla="*/ 3236317 h 7305087"/>
              <a:gd name="connsiteX598" fmla="*/ 5808217 w 8266922"/>
              <a:gd name="connsiteY598" fmla="*/ 3179558 h 7305087"/>
              <a:gd name="connsiteX599" fmla="*/ 5748208 w 8266922"/>
              <a:gd name="connsiteY599" fmla="*/ 3137845 h 7305087"/>
              <a:gd name="connsiteX600" fmla="*/ 5712316 w 8266922"/>
              <a:gd name="connsiteY600" fmla="*/ 3122926 h 7305087"/>
              <a:gd name="connsiteX601" fmla="*/ 5672215 w 8266922"/>
              <a:gd name="connsiteY601" fmla="*/ 3112123 h 7305087"/>
              <a:gd name="connsiteX602" fmla="*/ 5627690 w 8266922"/>
              <a:gd name="connsiteY602" fmla="*/ 3105555 h 7305087"/>
              <a:gd name="connsiteX603" fmla="*/ 5578527 w 8266922"/>
              <a:gd name="connsiteY603" fmla="*/ 3103339 h 7305087"/>
              <a:gd name="connsiteX604" fmla="*/ 5061625 w 8266922"/>
              <a:gd name="connsiteY604" fmla="*/ 3004847 h 7305087"/>
              <a:gd name="connsiteX605" fmla="*/ 5061625 w 8266922"/>
              <a:gd name="connsiteY605" fmla="*/ 3103339 h 7305087"/>
              <a:gd name="connsiteX606" fmla="*/ 5012739 w 8266922"/>
              <a:gd name="connsiteY606" fmla="*/ 3105555 h 7305087"/>
              <a:gd name="connsiteX607" fmla="*/ 4968459 w 8266922"/>
              <a:gd name="connsiteY607" fmla="*/ 3112123 h 7305087"/>
              <a:gd name="connsiteX608" fmla="*/ 4928572 w 8266922"/>
              <a:gd name="connsiteY608" fmla="*/ 3122926 h 7305087"/>
              <a:gd name="connsiteX609" fmla="*/ 4892867 w 8266922"/>
              <a:gd name="connsiteY609" fmla="*/ 3137845 h 7305087"/>
              <a:gd name="connsiteX610" fmla="*/ 4833152 w 8266922"/>
              <a:gd name="connsiteY610" fmla="*/ 3179558 h 7305087"/>
              <a:gd name="connsiteX611" fmla="*/ 4787618 w 8266922"/>
              <a:gd name="connsiteY611" fmla="*/ 3236317 h 7305087"/>
              <a:gd name="connsiteX612" fmla="*/ 4769639 w 8266922"/>
              <a:gd name="connsiteY612" fmla="*/ 3270043 h 7305087"/>
              <a:gd name="connsiteX613" fmla="*/ 4754569 w 8266922"/>
              <a:gd name="connsiteY613" fmla="*/ 3307175 h 7305087"/>
              <a:gd name="connsiteX614" fmla="*/ 4742197 w 8266922"/>
              <a:gd name="connsiteY614" fmla="*/ 3347596 h 7305087"/>
              <a:gd name="connsiteX615" fmla="*/ 4732309 w 8266922"/>
              <a:gd name="connsiteY615" fmla="*/ 3391187 h 7305087"/>
              <a:gd name="connsiteX616" fmla="*/ 4724695 w 8266922"/>
              <a:gd name="connsiteY616" fmla="*/ 3437831 h 7305087"/>
              <a:gd name="connsiteX617" fmla="*/ 4719142 w 8266922"/>
              <a:gd name="connsiteY617" fmla="*/ 3487407 h 7305087"/>
              <a:gd name="connsiteX618" fmla="*/ 4715437 w 8266922"/>
              <a:gd name="connsiteY618" fmla="*/ 3539800 h 7305087"/>
              <a:gd name="connsiteX619" fmla="*/ 4713370 w 8266922"/>
              <a:gd name="connsiteY619" fmla="*/ 3594889 h 7305087"/>
              <a:gd name="connsiteX620" fmla="*/ 4712728 w 8266922"/>
              <a:gd name="connsiteY620" fmla="*/ 3652558 h 7305087"/>
              <a:gd name="connsiteX621" fmla="*/ 4713354 w 8266922"/>
              <a:gd name="connsiteY621" fmla="*/ 3710798 h 7305087"/>
              <a:gd name="connsiteX622" fmla="*/ 4715376 w 8266922"/>
              <a:gd name="connsiteY622" fmla="*/ 3766425 h 7305087"/>
              <a:gd name="connsiteX623" fmla="*/ 4719014 w 8266922"/>
              <a:gd name="connsiteY623" fmla="*/ 3819320 h 7305087"/>
              <a:gd name="connsiteX624" fmla="*/ 4724483 w 8266922"/>
              <a:gd name="connsiteY624" fmla="*/ 3869364 h 7305087"/>
              <a:gd name="connsiteX625" fmla="*/ 4732004 w 8266922"/>
              <a:gd name="connsiteY625" fmla="*/ 3916441 h 7305087"/>
              <a:gd name="connsiteX626" fmla="*/ 4741793 w 8266922"/>
              <a:gd name="connsiteY626" fmla="*/ 3960431 h 7305087"/>
              <a:gd name="connsiteX627" fmla="*/ 4754070 w 8266922"/>
              <a:gd name="connsiteY627" fmla="*/ 4001216 h 7305087"/>
              <a:gd name="connsiteX628" fmla="*/ 4769052 w 8266922"/>
              <a:gd name="connsiteY628" fmla="*/ 4038677 h 7305087"/>
              <a:gd name="connsiteX629" fmla="*/ 4786958 w 8266922"/>
              <a:gd name="connsiteY629" fmla="*/ 4072698 h 7305087"/>
              <a:gd name="connsiteX630" fmla="*/ 4832412 w 8266922"/>
              <a:gd name="connsiteY630" fmla="*/ 4129942 h 7305087"/>
              <a:gd name="connsiteX631" fmla="*/ 4892178 w 8266922"/>
              <a:gd name="connsiteY631" fmla="*/ 4172002 h 7305087"/>
              <a:gd name="connsiteX632" fmla="*/ 4927973 w 8266922"/>
              <a:gd name="connsiteY632" fmla="*/ 4187042 h 7305087"/>
              <a:gd name="connsiteX633" fmla="*/ 4968000 w 8266922"/>
              <a:gd name="connsiteY633" fmla="*/ 4197931 h 7305087"/>
              <a:gd name="connsiteX634" fmla="*/ 5012478 w 8266922"/>
              <a:gd name="connsiteY634" fmla="*/ 4204552 h 7305087"/>
              <a:gd name="connsiteX635" fmla="*/ 5061625 w 8266922"/>
              <a:gd name="connsiteY635" fmla="*/ 4206785 h 7305087"/>
              <a:gd name="connsiteX636" fmla="*/ 5061625 w 8266922"/>
              <a:gd name="connsiteY636" fmla="*/ 4303607 h 7305087"/>
              <a:gd name="connsiteX637" fmla="*/ 5008102 w 8266922"/>
              <a:gd name="connsiteY637" fmla="*/ 4301718 h 7305087"/>
              <a:gd name="connsiteX638" fmla="*/ 4958622 w 8266922"/>
              <a:gd name="connsiteY638" fmla="*/ 4296105 h 7305087"/>
              <a:gd name="connsiteX639" fmla="*/ 4913043 w 8266922"/>
              <a:gd name="connsiteY639" fmla="*/ 4286851 h 7305087"/>
              <a:gd name="connsiteX640" fmla="*/ 4871225 w 8266922"/>
              <a:gd name="connsiteY640" fmla="*/ 4274039 h 7305087"/>
              <a:gd name="connsiteX641" fmla="*/ 4833027 w 8266922"/>
              <a:gd name="connsiteY641" fmla="*/ 4257752 h 7305087"/>
              <a:gd name="connsiteX642" fmla="*/ 4798310 w 8266922"/>
              <a:gd name="connsiteY642" fmla="*/ 4238071 h 7305087"/>
              <a:gd name="connsiteX643" fmla="*/ 4766934 w 8266922"/>
              <a:gd name="connsiteY643" fmla="*/ 4215081 h 7305087"/>
              <a:gd name="connsiteX644" fmla="*/ 4738758 w 8266922"/>
              <a:gd name="connsiteY644" fmla="*/ 4188862 h 7305087"/>
              <a:gd name="connsiteX645" fmla="*/ 4713641 w 8266922"/>
              <a:gd name="connsiteY645" fmla="*/ 4159499 h 7305087"/>
              <a:gd name="connsiteX646" fmla="*/ 4691444 w 8266922"/>
              <a:gd name="connsiteY646" fmla="*/ 4127073 h 7305087"/>
              <a:gd name="connsiteX647" fmla="*/ 4672027 w 8266922"/>
              <a:gd name="connsiteY647" fmla="*/ 4091667 h 7305087"/>
              <a:gd name="connsiteX648" fmla="*/ 4655249 w 8266922"/>
              <a:gd name="connsiteY648" fmla="*/ 4053364 h 7305087"/>
              <a:gd name="connsiteX649" fmla="*/ 4640970 w 8266922"/>
              <a:gd name="connsiteY649" fmla="*/ 4012246 h 7305087"/>
              <a:gd name="connsiteX650" fmla="*/ 4629050 w 8266922"/>
              <a:gd name="connsiteY650" fmla="*/ 3968397 h 7305087"/>
              <a:gd name="connsiteX651" fmla="*/ 4619349 w 8266922"/>
              <a:gd name="connsiteY651" fmla="*/ 3921898 h 7305087"/>
              <a:gd name="connsiteX652" fmla="*/ 4611726 w 8266922"/>
              <a:gd name="connsiteY652" fmla="*/ 3872833 h 7305087"/>
              <a:gd name="connsiteX653" fmla="*/ 4606041 w 8266922"/>
              <a:gd name="connsiteY653" fmla="*/ 3821283 h 7305087"/>
              <a:gd name="connsiteX654" fmla="*/ 4602154 w 8266922"/>
              <a:gd name="connsiteY654" fmla="*/ 3767333 h 7305087"/>
              <a:gd name="connsiteX655" fmla="*/ 4599924 w 8266922"/>
              <a:gd name="connsiteY655" fmla="*/ 3711063 h 7305087"/>
              <a:gd name="connsiteX656" fmla="*/ 4599213 w 8266922"/>
              <a:gd name="connsiteY656" fmla="*/ 3652558 h 7305087"/>
              <a:gd name="connsiteX657" fmla="*/ 4599948 w 8266922"/>
              <a:gd name="connsiteY657" fmla="*/ 3594302 h 7305087"/>
              <a:gd name="connsiteX658" fmla="*/ 4602244 w 8266922"/>
              <a:gd name="connsiteY658" fmla="*/ 3538282 h 7305087"/>
              <a:gd name="connsiteX659" fmla="*/ 4606233 w 8266922"/>
              <a:gd name="connsiteY659" fmla="*/ 3484578 h 7305087"/>
              <a:gd name="connsiteX660" fmla="*/ 4612046 w 8266922"/>
              <a:gd name="connsiteY660" fmla="*/ 3433271 h 7305087"/>
              <a:gd name="connsiteX661" fmla="*/ 4619819 w 8266922"/>
              <a:gd name="connsiteY661" fmla="*/ 3384443 h 7305087"/>
              <a:gd name="connsiteX662" fmla="*/ 4629682 w 8266922"/>
              <a:gd name="connsiteY662" fmla="*/ 3338176 h 7305087"/>
              <a:gd name="connsiteX663" fmla="*/ 4641768 w 8266922"/>
              <a:gd name="connsiteY663" fmla="*/ 3294551 h 7305087"/>
              <a:gd name="connsiteX664" fmla="*/ 4656211 w 8266922"/>
              <a:gd name="connsiteY664" fmla="*/ 3253648 h 7305087"/>
              <a:gd name="connsiteX665" fmla="*/ 4673143 w 8266922"/>
              <a:gd name="connsiteY665" fmla="*/ 3215550 h 7305087"/>
              <a:gd name="connsiteX666" fmla="*/ 4692696 w 8266922"/>
              <a:gd name="connsiteY666" fmla="*/ 3180338 h 7305087"/>
              <a:gd name="connsiteX667" fmla="*/ 4715004 w 8266922"/>
              <a:gd name="connsiteY667" fmla="*/ 3148093 h 7305087"/>
              <a:gd name="connsiteX668" fmla="*/ 4740200 w 8266922"/>
              <a:gd name="connsiteY668" fmla="*/ 3118897 h 7305087"/>
              <a:gd name="connsiteX669" fmla="*/ 4768415 w 8266922"/>
              <a:gd name="connsiteY669" fmla="*/ 3092831 h 7305087"/>
              <a:gd name="connsiteX670" fmla="*/ 4799783 w 8266922"/>
              <a:gd name="connsiteY670" fmla="*/ 3069977 h 7305087"/>
              <a:gd name="connsiteX671" fmla="*/ 4834436 w 8266922"/>
              <a:gd name="connsiteY671" fmla="*/ 3050415 h 7305087"/>
              <a:gd name="connsiteX672" fmla="*/ 4872507 w 8266922"/>
              <a:gd name="connsiteY672" fmla="*/ 3034227 h 7305087"/>
              <a:gd name="connsiteX673" fmla="*/ 4914128 w 8266922"/>
              <a:gd name="connsiteY673" fmla="*/ 3021495 h 7305087"/>
              <a:gd name="connsiteX674" fmla="*/ 4959433 w 8266922"/>
              <a:gd name="connsiteY674" fmla="*/ 3012300 h 7305087"/>
              <a:gd name="connsiteX675" fmla="*/ 5008555 w 8266922"/>
              <a:gd name="connsiteY675" fmla="*/ 3006723 h 7305087"/>
              <a:gd name="connsiteX676" fmla="*/ 887436 w 8266922"/>
              <a:gd name="connsiteY676" fmla="*/ 3004847 h 7305087"/>
              <a:gd name="connsiteX677" fmla="*/ 887436 w 8266922"/>
              <a:gd name="connsiteY677" fmla="*/ 3103339 h 7305087"/>
              <a:gd name="connsiteX678" fmla="*/ 838550 w 8266922"/>
              <a:gd name="connsiteY678" fmla="*/ 3105555 h 7305087"/>
              <a:gd name="connsiteX679" fmla="*/ 794269 w 8266922"/>
              <a:gd name="connsiteY679" fmla="*/ 3112123 h 7305087"/>
              <a:gd name="connsiteX680" fmla="*/ 754383 w 8266922"/>
              <a:gd name="connsiteY680" fmla="*/ 3122926 h 7305087"/>
              <a:gd name="connsiteX681" fmla="*/ 718677 w 8266922"/>
              <a:gd name="connsiteY681" fmla="*/ 3137845 h 7305087"/>
              <a:gd name="connsiteX682" fmla="*/ 658962 w 8266922"/>
              <a:gd name="connsiteY682" fmla="*/ 3179558 h 7305087"/>
              <a:gd name="connsiteX683" fmla="*/ 613427 w 8266922"/>
              <a:gd name="connsiteY683" fmla="*/ 3236317 h 7305087"/>
              <a:gd name="connsiteX684" fmla="*/ 595448 w 8266922"/>
              <a:gd name="connsiteY684" fmla="*/ 3270043 h 7305087"/>
              <a:gd name="connsiteX685" fmla="*/ 580378 w 8266922"/>
              <a:gd name="connsiteY685" fmla="*/ 3307175 h 7305087"/>
              <a:gd name="connsiteX686" fmla="*/ 568006 w 8266922"/>
              <a:gd name="connsiteY686" fmla="*/ 3347596 h 7305087"/>
              <a:gd name="connsiteX687" fmla="*/ 558118 w 8266922"/>
              <a:gd name="connsiteY687" fmla="*/ 3391187 h 7305087"/>
              <a:gd name="connsiteX688" fmla="*/ 550504 w 8266922"/>
              <a:gd name="connsiteY688" fmla="*/ 3437831 h 7305087"/>
              <a:gd name="connsiteX689" fmla="*/ 544951 w 8266922"/>
              <a:gd name="connsiteY689" fmla="*/ 3487407 h 7305087"/>
              <a:gd name="connsiteX690" fmla="*/ 541247 w 8266922"/>
              <a:gd name="connsiteY690" fmla="*/ 3539800 h 7305087"/>
              <a:gd name="connsiteX691" fmla="*/ 539180 w 8266922"/>
              <a:gd name="connsiteY691" fmla="*/ 3594889 h 7305087"/>
              <a:gd name="connsiteX692" fmla="*/ 538538 w 8266922"/>
              <a:gd name="connsiteY692" fmla="*/ 3652558 h 7305087"/>
              <a:gd name="connsiteX693" fmla="*/ 539164 w 8266922"/>
              <a:gd name="connsiteY693" fmla="*/ 3710798 h 7305087"/>
              <a:gd name="connsiteX694" fmla="*/ 541186 w 8266922"/>
              <a:gd name="connsiteY694" fmla="*/ 3766425 h 7305087"/>
              <a:gd name="connsiteX695" fmla="*/ 544823 w 8266922"/>
              <a:gd name="connsiteY695" fmla="*/ 3819320 h 7305087"/>
              <a:gd name="connsiteX696" fmla="*/ 550292 w 8266922"/>
              <a:gd name="connsiteY696" fmla="*/ 3869364 h 7305087"/>
              <a:gd name="connsiteX697" fmla="*/ 557813 w 8266922"/>
              <a:gd name="connsiteY697" fmla="*/ 3916441 h 7305087"/>
              <a:gd name="connsiteX698" fmla="*/ 567602 w 8266922"/>
              <a:gd name="connsiteY698" fmla="*/ 3960431 h 7305087"/>
              <a:gd name="connsiteX699" fmla="*/ 579880 w 8266922"/>
              <a:gd name="connsiteY699" fmla="*/ 4001216 h 7305087"/>
              <a:gd name="connsiteX700" fmla="*/ 594862 w 8266922"/>
              <a:gd name="connsiteY700" fmla="*/ 4038677 h 7305087"/>
              <a:gd name="connsiteX701" fmla="*/ 612768 w 8266922"/>
              <a:gd name="connsiteY701" fmla="*/ 4072698 h 7305087"/>
              <a:gd name="connsiteX702" fmla="*/ 658222 w 8266922"/>
              <a:gd name="connsiteY702" fmla="*/ 4129942 h 7305087"/>
              <a:gd name="connsiteX703" fmla="*/ 717988 w 8266922"/>
              <a:gd name="connsiteY703" fmla="*/ 4172002 h 7305087"/>
              <a:gd name="connsiteX704" fmla="*/ 753783 w 8266922"/>
              <a:gd name="connsiteY704" fmla="*/ 4187042 h 7305087"/>
              <a:gd name="connsiteX705" fmla="*/ 793811 w 8266922"/>
              <a:gd name="connsiteY705" fmla="*/ 4197931 h 7305087"/>
              <a:gd name="connsiteX706" fmla="*/ 838289 w 8266922"/>
              <a:gd name="connsiteY706" fmla="*/ 4204552 h 7305087"/>
              <a:gd name="connsiteX707" fmla="*/ 887436 w 8266922"/>
              <a:gd name="connsiteY707" fmla="*/ 4206785 h 7305087"/>
              <a:gd name="connsiteX708" fmla="*/ 887436 w 8266922"/>
              <a:gd name="connsiteY708" fmla="*/ 4303607 h 7305087"/>
              <a:gd name="connsiteX709" fmla="*/ 833914 w 8266922"/>
              <a:gd name="connsiteY709" fmla="*/ 4301718 h 7305087"/>
              <a:gd name="connsiteX710" fmla="*/ 784433 w 8266922"/>
              <a:gd name="connsiteY710" fmla="*/ 4296105 h 7305087"/>
              <a:gd name="connsiteX711" fmla="*/ 738854 w 8266922"/>
              <a:gd name="connsiteY711" fmla="*/ 4286851 h 7305087"/>
              <a:gd name="connsiteX712" fmla="*/ 697035 w 8266922"/>
              <a:gd name="connsiteY712" fmla="*/ 4274039 h 7305087"/>
              <a:gd name="connsiteX713" fmla="*/ 658838 w 8266922"/>
              <a:gd name="connsiteY713" fmla="*/ 4257752 h 7305087"/>
              <a:gd name="connsiteX714" fmla="*/ 624121 w 8266922"/>
              <a:gd name="connsiteY714" fmla="*/ 4238071 h 7305087"/>
              <a:gd name="connsiteX715" fmla="*/ 592745 w 8266922"/>
              <a:gd name="connsiteY715" fmla="*/ 4215081 h 7305087"/>
              <a:gd name="connsiteX716" fmla="*/ 564568 w 8266922"/>
              <a:gd name="connsiteY716" fmla="*/ 4188862 h 7305087"/>
              <a:gd name="connsiteX717" fmla="*/ 539451 w 8266922"/>
              <a:gd name="connsiteY717" fmla="*/ 4159499 h 7305087"/>
              <a:gd name="connsiteX718" fmla="*/ 517255 w 8266922"/>
              <a:gd name="connsiteY718" fmla="*/ 4127073 h 7305087"/>
              <a:gd name="connsiteX719" fmla="*/ 497837 w 8266922"/>
              <a:gd name="connsiteY719" fmla="*/ 4091667 h 7305087"/>
              <a:gd name="connsiteX720" fmla="*/ 481060 w 8266922"/>
              <a:gd name="connsiteY720" fmla="*/ 4053364 h 7305087"/>
              <a:gd name="connsiteX721" fmla="*/ 466781 w 8266922"/>
              <a:gd name="connsiteY721" fmla="*/ 4012246 h 7305087"/>
              <a:gd name="connsiteX722" fmla="*/ 454861 w 8266922"/>
              <a:gd name="connsiteY722" fmla="*/ 3968397 h 7305087"/>
              <a:gd name="connsiteX723" fmla="*/ 445159 w 8266922"/>
              <a:gd name="connsiteY723" fmla="*/ 3921898 h 7305087"/>
              <a:gd name="connsiteX724" fmla="*/ 437536 w 8266922"/>
              <a:gd name="connsiteY724" fmla="*/ 3872833 h 7305087"/>
              <a:gd name="connsiteX725" fmla="*/ 431851 w 8266922"/>
              <a:gd name="connsiteY725" fmla="*/ 3821283 h 7305087"/>
              <a:gd name="connsiteX726" fmla="*/ 427964 w 8266922"/>
              <a:gd name="connsiteY726" fmla="*/ 3767333 h 7305087"/>
              <a:gd name="connsiteX727" fmla="*/ 425734 w 8266922"/>
              <a:gd name="connsiteY727" fmla="*/ 3711063 h 7305087"/>
              <a:gd name="connsiteX728" fmla="*/ 425023 w 8266922"/>
              <a:gd name="connsiteY728" fmla="*/ 3652558 h 7305087"/>
              <a:gd name="connsiteX729" fmla="*/ 425758 w 8266922"/>
              <a:gd name="connsiteY729" fmla="*/ 3594302 h 7305087"/>
              <a:gd name="connsiteX730" fmla="*/ 428054 w 8266922"/>
              <a:gd name="connsiteY730" fmla="*/ 3538282 h 7305087"/>
              <a:gd name="connsiteX731" fmla="*/ 432043 w 8266922"/>
              <a:gd name="connsiteY731" fmla="*/ 3484578 h 7305087"/>
              <a:gd name="connsiteX732" fmla="*/ 437856 w 8266922"/>
              <a:gd name="connsiteY732" fmla="*/ 3433271 h 7305087"/>
              <a:gd name="connsiteX733" fmla="*/ 445629 w 8266922"/>
              <a:gd name="connsiteY733" fmla="*/ 3384443 h 7305087"/>
              <a:gd name="connsiteX734" fmla="*/ 455492 w 8266922"/>
              <a:gd name="connsiteY734" fmla="*/ 3338176 h 7305087"/>
              <a:gd name="connsiteX735" fmla="*/ 467578 w 8266922"/>
              <a:gd name="connsiteY735" fmla="*/ 3294551 h 7305087"/>
              <a:gd name="connsiteX736" fmla="*/ 482021 w 8266922"/>
              <a:gd name="connsiteY736" fmla="*/ 3253648 h 7305087"/>
              <a:gd name="connsiteX737" fmla="*/ 498953 w 8266922"/>
              <a:gd name="connsiteY737" fmla="*/ 3215550 h 7305087"/>
              <a:gd name="connsiteX738" fmla="*/ 518506 w 8266922"/>
              <a:gd name="connsiteY738" fmla="*/ 3180338 h 7305087"/>
              <a:gd name="connsiteX739" fmla="*/ 540814 w 8266922"/>
              <a:gd name="connsiteY739" fmla="*/ 3148093 h 7305087"/>
              <a:gd name="connsiteX740" fmla="*/ 566010 w 8266922"/>
              <a:gd name="connsiteY740" fmla="*/ 3118897 h 7305087"/>
              <a:gd name="connsiteX741" fmla="*/ 594226 w 8266922"/>
              <a:gd name="connsiteY741" fmla="*/ 3092831 h 7305087"/>
              <a:gd name="connsiteX742" fmla="*/ 625592 w 8266922"/>
              <a:gd name="connsiteY742" fmla="*/ 3069977 h 7305087"/>
              <a:gd name="connsiteX743" fmla="*/ 660246 w 8266922"/>
              <a:gd name="connsiteY743" fmla="*/ 3050415 h 7305087"/>
              <a:gd name="connsiteX744" fmla="*/ 698317 w 8266922"/>
              <a:gd name="connsiteY744" fmla="*/ 3034227 h 7305087"/>
              <a:gd name="connsiteX745" fmla="*/ 739939 w 8266922"/>
              <a:gd name="connsiteY745" fmla="*/ 3021495 h 7305087"/>
              <a:gd name="connsiteX746" fmla="*/ 785244 w 8266922"/>
              <a:gd name="connsiteY746" fmla="*/ 3012300 h 7305087"/>
              <a:gd name="connsiteX747" fmla="*/ 834365 w 8266922"/>
              <a:gd name="connsiteY747" fmla="*/ 3006723 h 7305087"/>
              <a:gd name="connsiteX748" fmla="*/ 7060934 w 8266922"/>
              <a:gd name="connsiteY748" fmla="*/ 2524077 h 7305087"/>
              <a:gd name="connsiteX749" fmla="*/ 7267935 w 8266922"/>
              <a:gd name="connsiteY749" fmla="*/ 2524077 h 7305087"/>
              <a:gd name="connsiteX750" fmla="*/ 7267935 w 8266922"/>
              <a:gd name="connsiteY750" fmla="*/ 2697690 h 7305087"/>
              <a:gd name="connsiteX751" fmla="*/ 7060934 w 8266922"/>
              <a:gd name="connsiteY751" fmla="*/ 2697690 h 7305087"/>
              <a:gd name="connsiteX752" fmla="*/ 2536338 w 8266922"/>
              <a:gd name="connsiteY752" fmla="*/ 2373825 h 7305087"/>
              <a:gd name="connsiteX753" fmla="*/ 3441128 w 8266922"/>
              <a:gd name="connsiteY753" fmla="*/ 2373825 h 7305087"/>
              <a:gd name="connsiteX754" fmla="*/ 3441128 w 8266922"/>
              <a:gd name="connsiteY754" fmla="*/ 2480664 h 7305087"/>
              <a:gd name="connsiteX755" fmla="*/ 2536338 w 8266922"/>
              <a:gd name="connsiteY755" fmla="*/ 2480664 h 7305087"/>
              <a:gd name="connsiteX756" fmla="*/ 1024388 w 8266922"/>
              <a:gd name="connsiteY756" fmla="*/ 2373825 h 7305087"/>
              <a:gd name="connsiteX757" fmla="*/ 1929180 w 8266922"/>
              <a:gd name="connsiteY757" fmla="*/ 2373825 h 7305087"/>
              <a:gd name="connsiteX758" fmla="*/ 1929180 w 8266922"/>
              <a:gd name="connsiteY758" fmla="*/ 2480664 h 7305087"/>
              <a:gd name="connsiteX759" fmla="*/ 1024388 w 8266922"/>
              <a:gd name="connsiteY759" fmla="*/ 2480664 h 7305087"/>
              <a:gd name="connsiteX760" fmla="*/ 2536338 w 8266922"/>
              <a:gd name="connsiteY760" fmla="*/ 2024932 h 7305087"/>
              <a:gd name="connsiteX761" fmla="*/ 3441128 w 8266922"/>
              <a:gd name="connsiteY761" fmla="*/ 2024932 h 7305087"/>
              <a:gd name="connsiteX762" fmla="*/ 3441128 w 8266922"/>
              <a:gd name="connsiteY762" fmla="*/ 2131770 h 7305087"/>
              <a:gd name="connsiteX763" fmla="*/ 2536338 w 8266922"/>
              <a:gd name="connsiteY763" fmla="*/ 2131770 h 7305087"/>
              <a:gd name="connsiteX764" fmla="*/ 1024388 w 8266922"/>
              <a:gd name="connsiteY764" fmla="*/ 2024932 h 7305087"/>
              <a:gd name="connsiteX765" fmla="*/ 1929180 w 8266922"/>
              <a:gd name="connsiteY765" fmla="*/ 2024932 h 7305087"/>
              <a:gd name="connsiteX766" fmla="*/ 1929180 w 8266922"/>
              <a:gd name="connsiteY766" fmla="*/ 2131770 h 7305087"/>
              <a:gd name="connsiteX767" fmla="*/ 1024388 w 8266922"/>
              <a:gd name="connsiteY767" fmla="*/ 2131770 h 7305087"/>
              <a:gd name="connsiteX768" fmla="*/ 6145468 w 8266922"/>
              <a:gd name="connsiteY768" fmla="*/ 1508808 h 7305087"/>
              <a:gd name="connsiteX769" fmla="*/ 6519394 w 8266922"/>
              <a:gd name="connsiteY769" fmla="*/ 1508808 h 7305087"/>
              <a:gd name="connsiteX770" fmla="*/ 6519394 w 8266922"/>
              <a:gd name="connsiteY770" fmla="*/ 1604058 h 7305087"/>
              <a:gd name="connsiteX771" fmla="*/ 6260644 w 8266922"/>
              <a:gd name="connsiteY771" fmla="*/ 1604058 h 7305087"/>
              <a:gd name="connsiteX772" fmla="*/ 6260644 w 8266922"/>
              <a:gd name="connsiteY772" fmla="*/ 2702607 h 7305087"/>
              <a:gd name="connsiteX773" fmla="*/ 6519394 w 8266922"/>
              <a:gd name="connsiteY773" fmla="*/ 2702607 h 7305087"/>
              <a:gd name="connsiteX774" fmla="*/ 6519394 w 8266922"/>
              <a:gd name="connsiteY774" fmla="*/ 2797857 h 7305087"/>
              <a:gd name="connsiteX775" fmla="*/ 6145468 w 8266922"/>
              <a:gd name="connsiteY775" fmla="*/ 2797857 h 7305087"/>
              <a:gd name="connsiteX776" fmla="*/ 6145468 w 8266922"/>
              <a:gd name="connsiteY776" fmla="*/ 2702607 h 7305087"/>
              <a:gd name="connsiteX777" fmla="*/ 6145468 w 8266922"/>
              <a:gd name="connsiteY777" fmla="*/ 1604058 h 7305087"/>
              <a:gd name="connsiteX778" fmla="*/ 7804510 w 8266922"/>
              <a:gd name="connsiteY778" fmla="*/ 1502430 h 7305087"/>
              <a:gd name="connsiteX779" fmla="*/ 7857580 w 8266922"/>
              <a:gd name="connsiteY779" fmla="*/ 1504306 h 7305087"/>
              <a:gd name="connsiteX780" fmla="*/ 7906701 w 8266922"/>
              <a:gd name="connsiteY780" fmla="*/ 1509883 h 7305087"/>
              <a:gd name="connsiteX781" fmla="*/ 7952006 w 8266922"/>
              <a:gd name="connsiteY781" fmla="*/ 1519078 h 7305087"/>
              <a:gd name="connsiteX782" fmla="*/ 7993628 w 8266922"/>
              <a:gd name="connsiteY782" fmla="*/ 1531810 h 7305087"/>
              <a:gd name="connsiteX783" fmla="*/ 8031699 w 8266922"/>
              <a:gd name="connsiteY783" fmla="*/ 1547998 h 7305087"/>
              <a:gd name="connsiteX784" fmla="*/ 8066352 w 8266922"/>
              <a:gd name="connsiteY784" fmla="*/ 1567559 h 7305087"/>
              <a:gd name="connsiteX785" fmla="*/ 8097719 w 8266922"/>
              <a:gd name="connsiteY785" fmla="*/ 1590414 h 7305087"/>
              <a:gd name="connsiteX786" fmla="*/ 8125934 w 8266922"/>
              <a:gd name="connsiteY786" fmla="*/ 1616479 h 7305087"/>
              <a:gd name="connsiteX787" fmla="*/ 8151130 w 8266922"/>
              <a:gd name="connsiteY787" fmla="*/ 1645676 h 7305087"/>
              <a:gd name="connsiteX788" fmla="*/ 8173438 w 8266922"/>
              <a:gd name="connsiteY788" fmla="*/ 1677921 h 7305087"/>
              <a:gd name="connsiteX789" fmla="*/ 8192991 w 8266922"/>
              <a:gd name="connsiteY789" fmla="*/ 1713133 h 7305087"/>
              <a:gd name="connsiteX790" fmla="*/ 8209923 w 8266922"/>
              <a:gd name="connsiteY790" fmla="*/ 1751231 h 7305087"/>
              <a:gd name="connsiteX791" fmla="*/ 8224366 w 8266922"/>
              <a:gd name="connsiteY791" fmla="*/ 1792133 h 7305087"/>
              <a:gd name="connsiteX792" fmla="*/ 8236453 w 8266922"/>
              <a:gd name="connsiteY792" fmla="*/ 1835759 h 7305087"/>
              <a:gd name="connsiteX793" fmla="*/ 8246316 w 8266922"/>
              <a:gd name="connsiteY793" fmla="*/ 1882026 h 7305087"/>
              <a:gd name="connsiteX794" fmla="*/ 8254088 w 8266922"/>
              <a:gd name="connsiteY794" fmla="*/ 1930854 h 7305087"/>
              <a:gd name="connsiteX795" fmla="*/ 8259902 w 8266922"/>
              <a:gd name="connsiteY795" fmla="*/ 1982160 h 7305087"/>
              <a:gd name="connsiteX796" fmla="*/ 8263890 w 8266922"/>
              <a:gd name="connsiteY796" fmla="*/ 2035865 h 7305087"/>
              <a:gd name="connsiteX797" fmla="*/ 8266186 w 8266922"/>
              <a:gd name="connsiteY797" fmla="*/ 2091886 h 7305087"/>
              <a:gd name="connsiteX798" fmla="*/ 8266922 w 8266922"/>
              <a:gd name="connsiteY798" fmla="*/ 2150141 h 7305087"/>
              <a:gd name="connsiteX799" fmla="*/ 8266222 w 8266922"/>
              <a:gd name="connsiteY799" fmla="*/ 2208645 h 7305087"/>
              <a:gd name="connsiteX800" fmla="*/ 8264025 w 8266922"/>
              <a:gd name="connsiteY800" fmla="*/ 2264915 h 7305087"/>
              <a:gd name="connsiteX801" fmla="*/ 8260189 w 8266922"/>
              <a:gd name="connsiteY801" fmla="*/ 2318865 h 7305087"/>
              <a:gd name="connsiteX802" fmla="*/ 8254568 w 8266922"/>
              <a:gd name="connsiteY802" fmla="*/ 2370415 h 7305087"/>
              <a:gd name="connsiteX803" fmla="*/ 8247020 w 8266922"/>
              <a:gd name="connsiteY803" fmla="*/ 2419480 h 7305087"/>
              <a:gd name="connsiteX804" fmla="*/ 8237399 w 8266922"/>
              <a:gd name="connsiteY804" fmla="*/ 2465979 h 7305087"/>
              <a:gd name="connsiteX805" fmla="*/ 8225562 w 8266922"/>
              <a:gd name="connsiteY805" fmla="*/ 2509828 h 7305087"/>
              <a:gd name="connsiteX806" fmla="*/ 8211365 w 8266922"/>
              <a:gd name="connsiteY806" fmla="*/ 2550946 h 7305087"/>
              <a:gd name="connsiteX807" fmla="*/ 8194665 w 8266922"/>
              <a:gd name="connsiteY807" fmla="*/ 2589249 h 7305087"/>
              <a:gd name="connsiteX808" fmla="*/ 8175316 w 8266922"/>
              <a:gd name="connsiteY808" fmla="*/ 2624655 h 7305087"/>
              <a:gd name="connsiteX809" fmla="*/ 8153175 w 8266922"/>
              <a:gd name="connsiteY809" fmla="*/ 2657081 h 7305087"/>
              <a:gd name="connsiteX810" fmla="*/ 8128098 w 8266922"/>
              <a:gd name="connsiteY810" fmla="*/ 2686444 h 7305087"/>
              <a:gd name="connsiteX811" fmla="*/ 8099941 w 8266922"/>
              <a:gd name="connsiteY811" fmla="*/ 2712663 h 7305087"/>
              <a:gd name="connsiteX812" fmla="*/ 8068560 w 8266922"/>
              <a:gd name="connsiteY812" fmla="*/ 2735653 h 7305087"/>
              <a:gd name="connsiteX813" fmla="*/ 8033812 w 8266922"/>
              <a:gd name="connsiteY813" fmla="*/ 2755334 h 7305087"/>
              <a:gd name="connsiteX814" fmla="*/ 7995551 w 8266922"/>
              <a:gd name="connsiteY814" fmla="*/ 2771621 h 7305087"/>
              <a:gd name="connsiteX815" fmla="*/ 7953634 w 8266922"/>
              <a:gd name="connsiteY815" fmla="*/ 2784433 h 7305087"/>
              <a:gd name="connsiteX816" fmla="*/ 7907918 w 8266922"/>
              <a:gd name="connsiteY816" fmla="*/ 2793687 h 7305087"/>
              <a:gd name="connsiteX817" fmla="*/ 7858258 w 8266922"/>
              <a:gd name="connsiteY817" fmla="*/ 2799300 h 7305087"/>
              <a:gd name="connsiteX818" fmla="*/ 7804510 w 8266922"/>
              <a:gd name="connsiteY818" fmla="*/ 2801189 h 7305087"/>
              <a:gd name="connsiteX819" fmla="*/ 7804510 w 8266922"/>
              <a:gd name="connsiteY819" fmla="*/ 2704367 h 7305087"/>
              <a:gd name="connsiteX820" fmla="*/ 7854195 w 8266922"/>
              <a:gd name="connsiteY820" fmla="*/ 2702134 h 7305087"/>
              <a:gd name="connsiteX821" fmla="*/ 7899116 w 8266922"/>
              <a:gd name="connsiteY821" fmla="*/ 2695513 h 7305087"/>
              <a:gd name="connsiteX822" fmla="*/ 7939498 w 8266922"/>
              <a:gd name="connsiteY822" fmla="*/ 2684624 h 7305087"/>
              <a:gd name="connsiteX823" fmla="*/ 7975569 w 8266922"/>
              <a:gd name="connsiteY823" fmla="*/ 2669584 h 7305087"/>
              <a:gd name="connsiteX824" fmla="*/ 8035680 w 8266922"/>
              <a:gd name="connsiteY824" fmla="*/ 2627524 h 7305087"/>
              <a:gd name="connsiteX825" fmla="*/ 8081260 w 8266922"/>
              <a:gd name="connsiteY825" fmla="*/ 2570280 h 7305087"/>
              <a:gd name="connsiteX826" fmla="*/ 8099165 w 8266922"/>
              <a:gd name="connsiteY826" fmla="*/ 2536259 h 7305087"/>
              <a:gd name="connsiteX827" fmla="*/ 8114117 w 8266922"/>
              <a:gd name="connsiteY827" fmla="*/ 2498797 h 7305087"/>
              <a:gd name="connsiteX828" fmla="*/ 8126341 w 8266922"/>
              <a:gd name="connsiteY828" fmla="*/ 2458012 h 7305087"/>
              <a:gd name="connsiteX829" fmla="*/ 8136064 w 8266922"/>
              <a:gd name="connsiteY829" fmla="*/ 2414022 h 7305087"/>
              <a:gd name="connsiteX830" fmla="*/ 8143511 w 8266922"/>
              <a:gd name="connsiteY830" fmla="*/ 2366946 h 7305087"/>
              <a:gd name="connsiteX831" fmla="*/ 8148910 w 8266922"/>
              <a:gd name="connsiteY831" fmla="*/ 2316901 h 7305087"/>
              <a:gd name="connsiteX832" fmla="*/ 8152486 w 8266922"/>
              <a:gd name="connsiteY832" fmla="*/ 2264006 h 7305087"/>
              <a:gd name="connsiteX833" fmla="*/ 8154465 w 8266922"/>
              <a:gd name="connsiteY833" fmla="*/ 2208380 h 7305087"/>
              <a:gd name="connsiteX834" fmla="*/ 8155075 w 8266922"/>
              <a:gd name="connsiteY834" fmla="*/ 2150141 h 7305087"/>
              <a:gd name="connsiteX835" fmla="*/ 8154433 w 8266922"/>
              <a:gd name="connsiteY835" fmla="*/ 2092472 h 7305087"/>
              <a:gd name="connsiteX836" fmla="*/ 8152363 w 8266922"/>
              <a:gd name="connsiteY836" fmla="*/ 2037383 h 7305087"/>
              <a:gd name="connsiteX837" fmla="*/ 8148653 w 8266922"/>
              <a:gd name="connsiteY837" fmla="*/ 1984990 h 7305087"/>
              <a:gd name="connsiteX838" fmla="*/ 8143087 w 8266922"/>
              <a:gd name="connsiteY838" fmla="*/ 1935414 h 7305087"/>
              <a:gd name="connsiteX839" fmla="*/ 8135452 w 8266922"/>
              <a:gd name="connsiteY839" fmla="*/ 1888770 h 7305087"/>
              <a:gd name="connsiteX840" fmla="*/ 8125534 w 8266922"/>
              <a:gd name="connsiteY840" fmla="*/ 1845179 h 7305087"/>
              <a:gd name="connsiteX841" fmla="*/ 8113118 w 8266922"/>
              <a:gd name="connsiteY841" fmla="*/ 1804759 h 7305087"/>
              <a:gd name="connsiteX842" fmla="*/ 8097991 w 8266922"/>
              <a:gd name="connsiteY842" fmla="*/ 1767626 h 7305087"/>
              <a:gd name="connsiteX843" fmla="*/ 8079938 w 8266922"/>
              <a:gd name="connsiteY843" fmla="*/ 1733900 h 7305087"/>
              <a:gd name="connsiteX844" fmla="*/ 8034200 w 8266922"/>
              <a:gd name="connsiteY844" fmla="*/ 1677141 h 7305087"/>
              <a:gd name="connsiteX845" fmla="*/ 7974191 w 8266922"/>
              <a:gd name="connsiteY845" fmla="*/ 1635428 h 7305087"/>
              <a:gd name="connsiteX846" fmla="*/ 7938299 w 8266922"/>
              <a:gd name="connsiteY846" fmla="*/ 1620509 h 7305087"/>
              <a:gd name="connsiteX847" fmla="*/ 7898198 w 8266922"/>
              <a:gd name="connsiteY847" fmla="*/ 1609705 h 7305087"/>
              <a:gd name="connsiteX848" fmla="*/ 7853673 w 8266922"/>
              <a:gd name="connsiteY848" fmla="*/ 1603138 h 7305087"/>
              <a:gd name="connsiteX849" fmla="*/ 7804510 w 8266922"/>
              <a:gd name="connsiteY849" fmla="*/ 1600921 h 7305087"/>
              <a:gd name="connsiteX850" fmla="*/ 5032599 w 8266922"/>
              <a:gd name="connsiteY850" fmla="*/ 1502430 h 7305087"/>
              <a:gd name="connsiteX851" fmla="*/ 5085669 w 8266922"/>
              <a:gd name="connsiteY851" fmla="*/ 1504306 h 7305087"/>
              <a:gd name="connsiteX852" fmla="*/ 5134790 w 8266922"/>
              <a:gd name="connsiteY852" fmla="*/ 1509883 h 7305087"/>
              <a:gd name="connsiteX853" fmla="*/ 5180096 w 8266922"/>
              <a:gd name="connsiteY853" fmla="*/ 1519078 h 7305087"/>
              <a:gd name="connsiteX854" fmla="*/ 5221718 w 8266922"/>
              <a:gd name="connsiteY854" fmla="*/ 1531810 h 7305087"/>
              <a:gd name="connsiteX855" fmla="*/ 5259789 w 8266922"/>
              <a:gd name="connsiteY855" fmla="*/ 1547998 h 7305087"/>
              <a:gd name="connsiteX856" fmla="*/ 5294442 w 8266922"/>
              <a:gd name="connsiteY856" fmla="*/ 1567559 h 7305087"/>
              <a:gd name="connsiteX857" fmla="*/ 5325809 w 8266922"/>
              <a:gd name="connsiteY857" fmla="*/ 1590414 h 7305087"/>
              <a:gd name="connsiteX858" fmla="*/ 5354024 w 8266922"/>
              <a:gd name="connsiteY858" fmla="*/ 1616479 h 7305087"/>
              <a:gd name="connsiteX859" fmla="*/ 5379220 w 8266922"/>
              <a:gd name="connsiteY859" fmla="*/ 1645676 h 7305087"/>
              <a:gd name="connsiteX860" fmla="*/ 5401528 w 8266922"/>
              <a:gd name="connsiteY860" fmla="*/ 1677921 h 7305087"/>
              <a:gd name="connsiteX861" fmla="*/ 5421081 w 8266922"/>
              <a:gd name="connsiteY861" fmla="*/ 1713133 h 7305087"/>
              <a:gd name="connsiteX862" fmla="*/ 5438013 w 8266922"/>
              <a:gd name="connsiteY862" fmla="*/ 1751231 h 7305087"/>
              <a:gd name="connsiteX863" fmla="*/ 5452456 w 8266922"/>
              <a:gd name="connsiteY863" fmla="*/ 1792133 h 7305087"/>
              <a:gd name="connsiteX864" fmla="*/ 5464543 w 8266922"/>
              <a:gd name="connsiteY864" fmla="*/ 1835759 h 7305087"/>
              <a:gd name="connsiteX865" fmla="*/ 5474406 w 8266922"/>
              <a:gd name="connsiteY865" fmla="*/ 1882026 h 7305087"/>
              <a:gd name="connsiteX866" fmla="*/ 5482178 w 8266922"/>
              <a:gd name="connsiteY866" fmla="*/ 1930854 h 7305087"/>
              <a:gd name="connsiteX867" fmla="*/ 5487992 w 8266922"/>
              <a:gd name="connsiteY867" fmla="*/ 1982160 h 7305087"/>
              <a:gd name="connsiteX868" fmla="*/ 5491980 w 8266922"/>
              <a:gd name="connsiteY868" fmla="*/ 2035865 h 7305087"/>
              <a:gd name="connsiteX869" fmla="*/ 5494276 w 8266922"/>
              <a:gd name="connsiteY869" fmla="*/ 2091886 h 7305087"/>
              <a:gd name="connsiteX870" fmla="*/ 5495012 w 8266922"/>
              <a:gd name="connsiteY870" fmla="*/ 2150141 h 7305087"/>
              <a:gd name="connsiteX871" fmla="*/ 5494312 w 8266922"/>
              <a:gd name="connsiteY871" fmla="*/ 2208645 h 7305087"/>
              <a:gd name="connsiteX872" fmla="*/ 5492115 w 8266922"/>
              <a:gd name="connsiteY872" fmla="*/ 2264915 h 7305087"/>
              <a:gd name="connsiteX873" fmla="*/ 5488279 w 8266922"/>
              <a:gd name="connsiteY873" fmla="*/ 2318865 h 7305087"/>
              <a:gd name="connsiteX874" fmla="*/ 5482658 w 8266922"/>
              <a:gd name="connsiteY874" fmla="*/ 2370415 h 7305087"/>
              <a:gd name="connsiteX875" fmla="*/ 5475110 w 8266922"/>
              <a:gd name="connsiteY875" fmla="*/ 2419480 h 7305087"/>
              <a:gd name="connsiteX876" fmla="*/ 5465489 w 8266922"/>
              <a:gd name="connsiteY876" fmla="*/ 2465979 h 7305087"/>
              <a:gd name="connsiteX877" fmla="*/ 5453652 w 8266922"/>
              <a:gd name="connsiteY877" fmla="*/ 2509828 h 7305087"/>
              <a:gd name="connsiteX878" fmla="*/ 5439455 w 8266922"/>
              <a:gd name="connsiteY878" fmla="*/ 2550946 h 7305087"/>
              <a:gd name="connsiteX879" fmla="*/ 5422755 w 8266922"/>
              <a:gd name="connsiteY879" fmla="*/ 2589249 h 7305087"/>
              <a:gd name="connsiteX880" fmla="*/ 5403406 w 8266922"/>
              <a:gd name="connsiteY880" fmla="*/ 2624655 h 7305087"/>
              <a:gd name="connsiteX881" fmla="*/ 5381265 w 8266922"/>
              <a:gd name="connsiteY881" fmla="*/ 2657081 h 7305087"/>
              <a:gd name="connsiteX882" fmla="*/ 5356188 w 8266922"/>
              <a:gd name="connsiteY882" fmla="*/ 2686444 h 7305087"/>
              <a:gd name="connsiteX883" fmla="*/ 5328031 w 8266922"/>
              <a:gd name="connsiteY883" fmla="*/ 2712663 h 7305087"/>
              <a:gd name="connsiteX884" fmla="*/ 5296650 w 8266922"/>
              <a:gd name="connsiteY884" fmla="*/ 2735653 h 7305087"/>
              <a:gd name="connsiteX885" fmla="*/ 5261902 w 8266922"/>
              <a:gd name="connsiteY885" fmla="*/ 2755334 h 7305087"/>
              <a:gd name="connsiteX886" fmla="*/ 5223641 w 8266922"/>
              <a:gd name="connsiteY886" fmla="*/ 2771621 h 7305087"/>
              <a:gd name="connsiteX887" fmla="*/ 5181724 w 8266922"/>
              <a:gd name="connsiteY887" fmla="*/ 2784433 h 7305087"/>
              <a:gd name="connsiteX888" fmla="*/ 5136007 w 8266922"/>
              <a:gd name="connsiteY888" fmla="*/ 2793687 h 7305087"/>
              <a:gd name="connsiteX889" fmla="*/ 5086347 w 8266922"/>
              <a:gd name="connsiteY889" fmla="*/ 2799300 h 7305087"/>
              <a:gd name="connsiteX890" fmla="*/ 5032599 w 8266922"/>
              <a:gd name="connsiteY890" fmla="*/ 2801189 h 7305087"/>
              <a:gd name="connsiteX891" fmla="*/ 5032599 w 8266922"/>
              <a:gd name="connsiteY891" fmla="*/ 2704367 h 7305087"/>
              <a:gd name="connsiteX892" fmla="*/ 5082284 w 8266922"/>
              <a:gd name="connsiteY892" fmla="*/ 2702134 h 7305087"/>
              <a:gd name="connsiteX893" fmla="*/ 5127205 w 8266922"/>
              <a:gd name="connsiteY893" fmla="*/ 2695513 h 7305087"/>
              <a:gd name="connsiteX894" fmla="*/ 5167588 w 8266922"/>
              <a:gd name="connsiteY894" fmla="*/ 2684624 h 7305087"/>
              <a:gd name="connsiteX895" fmla="*/ 5203659 w 8266922"/>
              <a:gd name="connsiteY895" fmla="*/ 2669584 h 7305087"/>
              <a:gd name="connsiteX896" fmla="*/ 5263770 w 8266922"/>
              <a:gd name="connsiteY896" fmla="*/ 2627524 h 7305087"/>
              <a:gd name="connsiteX897" fmla="*/ 5309350 w 8266922"/>
              <a:gd name="connsiteY897" fmla="*/ 2570280 h 7305087"/>
              <a:gd name="connsiteX898" fmla="*/ 5327255 w 8266922"/>
              <a:gd name="connsiteY898" fmla="*/ 2536259 h 7305087"/>
              <a:gd name="connsiteX899" fmla="*/ 5342207 w 8266922"/>
              <a:gd name="connsiteY899" fmla="*/ 2498797 h 7305087"/>
              <a:gd name="connsiteX900" fmla="*/ 5354431 w 8266922"/>
              <a:gd name="connsiteY900" fmla="*/ 2458012 h 7305087"/>
              <a:gd name="connsiteX901" fmla="*/ 5364154 w 8266922"/>
              <a:gd name="connsiteY901" fmla="*/ 2414022 h 7305087"/>
              <a:gd name="connsiteX902" fmla="*/ 5371601 w 8266922"/>
              <a:gd name="connsiteY902" fmla="*/ 2366946 h 7305087"/>
              <a:gd name="connsiteX903" fmla="*/ 5377000 w 8266922"/>
              <a:gd name="connsiteY903" fmla="*/ 2316901 h 7305087"/>
              <a:gd name="connsiteX904" fmla="*/ 5380576 w 8266922"/>
              <a:gd name="connsiteY904" fmla="*/ 2264006 h 7305087"/>
              <a:gd name="connsiteX905" fmla="*/ 5382555 w 8266922"/>
              <a:gd name="connsiteY905" fmla="*/ 2208380 h 7305087"/>
              <a:gd name="connsiteX906" fmla="*/ 5383165 w 8266922"/>
              <a:gd name="connsiteY906" fmla="*/ 2150141 h 7305087"/>
              <a:gd name="connsiteX907" fmla="*/ 5382523 w 8266922"/>
              <a:gd name="connsiteY907" fmla="*/ 2092472 h 7305087"/>
              <a:gd name="connsiteX908" fmla="*/ 5380453 w 8266922"/>
              <a:gd name="connsiteY908" fmla="*/ 2037383 h 7305087"/>
              <a:gd name="connsiteX909" fmla="*/ 5376743 w 8266922"/>
              <a:gd name="connsiteY909" fmla="*/ 1984990 h 7305087"/>
              <a:gd name="connsiteX910" fmla="*/ 5371177 w 8266922"/>
              <a:gd name="connsiteY910" fmla="*/ 1935414 h 7305087"/>
              <a:gd name="connsiteX911" fmla="*/ 5363542 w 8266922"/>
              <a:gd name="connsiteY911" fmla="*/ 1888770 h 7305087"/>
              <a:gd name="connsiteX912" fmla="*/ 5353624 w 8266922"/>
              <a:gd name="connsiteY912" fmla="*/ 1845179 h 7305087"/>
              <a:gd name="connsiteX913" fmla="*/ 5341208 w 8266922"/>
              <a:gd name="connsiteY913" fmla="*/ 1804759 h 7305087"/>
              <a:gd name="connsiteX914" fmla="*/ 5326081 w 8266922"/>
              <a:gd name="connsiteY914" fmla="*/ 1767626 h 7305087"/>
              <a:gd name="connsiteX915" fmla="*/ 5308028 w 8266922"/>
              <a:gd name="connsiteY915" fmla="*/ 1733900 h 7305087"/>
              <a:gd name="connsiteX916" fmla="*/ 5262290 w 8266922"/>
              <a:gd name="connsiteY916" fmla="*/ 1677141 h 7305087"/>
              <a:gd name="connsiteX917" fmla="*/ 5202281 w 8266922"/>
              <a:gd name="connsiteY917" fmla="*/ 1635428 h 7305087"/>
              <a:gd name="connsiteX918" fmla="*/ 5166389 w 8266922"/>
              <a:gd name="connsiteY918" fmla="*/ 1620509 h 7305087"/>
              <a:gd name="connsiteX919" fmla="*/ 5126287 w 8266922"/>
              <a:gd name="connsiteY919" fmla="*/ 1609705 h 7305087"/>
              <a:gd name="connsiteX920" fmla="*/ 5081762 w 8266922"/>
              <a:gd name="connsiteY920" fmla="*/ 1603138 h 7305087"/>
              <a:gd name="connsiteX921" fmla="*/ 5032599 w 8266922"/>
              <a:gd name="connsiteY921" fmla="*/ 1600921 h 7305087"/>
              <a:gd name="connsiteX922" fmla="*/ 4515699 w 8266922"/>
              <a:gd name="connsiteY922" fmla="*/ 1502430 h 7305087"/>
              <a:gd name="connsiteX923" fmla="*/ 4515699 w 8266922"/>
              <a:gd name="connsiteY923" fmla="*/ 1600921 h 7305087"/>
              <a:gd name="connsiteX924" fmla="*/ 4466813 w 8266922"/>
              <a:gd name="connsiteY924" fmla="*/ 1603138 h 7305087"/>
              <a:gd name="connsiteX925" fmla="*/ 4422532 w 8266922"/>
              <a:gd name="connsiteY925" fmla="*/ 1609705 h 7305087"/>
              <a:gd name="connsiteX926" fmla="*/ 4382646 w 8266922"/>
              <a:gd name="connsiteY926" fmla="*/ 1620509 h 7305087"/>
              <a:gd name="connsiteX927" fmla="*/ 4346940 w 8266922"/>
              <a:gd name="connsiteY927" fmla="*/ 1635428 h 7305087"/>
              <a:gd name="connsiteX928" fmla="*/ 4287225 w 8266922"/>
              <a:gd name="connsiteY928" fmla="*/ 1677141 h 7305087"/>
              <a:gd name="connsiteX929" fmla="*/ 4241691 w 8266922"/>
              <a:gd name="connsiteY929" fmla="*/ 1733900 h 7305087"/>
              <a:gd name="connsiteX930" fmla="*/ 4223712 w 8266922"/>
              <a:gd name="connsiteY930" fmla="*/ 1767626 h 7305087"/>
              <a:gd name="connsiteX931" fmla="*/ 4208642 w 8266922"/>
              <a:gd name="connsiteY931" fmla="*/ 1804759 h 7305087"/>
              <a:gd name="connsiteX932" fmla="*/ 4196270 w 8266922"/>
              <a:gd name="connsiteY932" fmla="*/ 1845179 h 7305087"/>
              <a:gd name="connsiteX933" fmla="*/ 4186382 w 8266922"/>
              <a:gd name="connsiteY933" fmla="*/ 1888770 h 7305087"/>
              <a:gd name="connsiteX934" fmla="*/ 4178768 w 8266922"/>
              <a:gd name="connsiteY934" fmla="*/ 1935414 h 7305087"/>
              <a:gd name="connsiteX935" fmla="*/ 4173215 w 8266922"/>
              <a:gd name="connsiteY935" fmla="*/ 1984990 h 7305087"/>
              <a:gd name="connsiteX936" fmla="*/ 4169510 w 8266922"/>
              <a:gd name="connsiteY936" fmla="*/ 2037383 h 7305087"/>
              <a:gd name="connsiteX937" fmla="*/ 4167443 w 8266922"/>
              <a:gd name="connsiteY937" fmla="*/ 2092472 h 7305087"/>
              <a:gd name="connsiteX938" fmla="*/ 4166801 w 8266922"/>
              <a:gd name="connsiteY938" fmla="*/ 2150141 h 7305087"/>
              <a:gd name="connsiteX939" fmla="*/ 4167427 w 8266922"/>
              <a:gd name="connsiteY939" fmla="*/ 2208380 h 7305087"/>
              <a:gd name="connsiteX940" fmla="*/ 4169449 w 8266922"/>
              <a:gd name="connsiteY940" fmla="*/ 2264006 h 7305087"/>
              <a:gd name="connsiteX941" fmla="*/ 4173087 w 8266922"/>
              <a:gd name="connsiteY941" fmla="*/ 2316901 h 7305087"/>
              <a:gd name="connsiteX942" fmla="*/ 4178556 w 8266922"/>
              <a:gd name="connsiteY942" fmla="*/ 2366946 h 7305087"/>
              <a:gd name="connsiteX943" fmla="*/ 4186077 w 8266922"/>
              <a:gd name="connsiteY943" fmla="*/ 2414022 h 7305087"/>
              <a:gd name="connsiteX944" fmla="*/ 4195866 w 8266922"/>
              <a:gd name="connsiteY944" fmla="*/ 2458012 h 7305087"/>
              <a:gd name="connsiteX945" fmla="*/ 4208143 w 8266922"/>
              <a:gd name="connsiteY945" fmla="*/ 2498797 h 7305087"/>
              <a:gd name="connsiteX946" fmla="*/ 4223125 w 8266922"/>
              <a:gd name="connsiteY946" fmla="*/ 2536259 h 7305087"/>
              <a:gd name="connsiteX947" fmla="*/ 4241031 w 8266922"/>
              <a:gd name="connsiteY947" fmla="*/ 2570280 h 7305087"/>
              <a:gd name="connsiteX948" fmla="*/ 4286485 w 8266922"/>
              <a:gd name="connsiteY948" fmla="*/ 2627524 h 7305087"/>
              <a:gd name="connsiteX949" fmla="*/ 4346251 w 8266922"/>
              <a:gd name="connsiteY949" fmla="*/ 2669584 h 7305087"/>
              <a:gd name="connsiteX950" fmla="*/ 4382046 w 8266922"/>
              <a:gd name="connsiteY950" fmla="*/ 2684624 h 7305087"/>
              <a:gd name="connsiteX951" fmla="*/ 4422074 w 8266922"/>
              <a:gd name="connsiteY951" fmla="*/ 2695513 h 7305087"/>
              <a:gd name="connsiteX952" fmla="*/ 4466552 w 8266922"/>
              <a:gd name="connsiteY952" fmla="*/ 2702134 h 7305087"/>
              <a:gd name="connsiteX953" fmla="*/ 4515699 w 8266922"/>
              <a:gd name="connsiteY953" fmla="*/ 2704367 h 7305087"/>
              <a:gd name="connsiteX954" fmla="*/ 4515699 w 8266922"/>
              <a:gd name="connsiteY954" fmla="*/ 2801189 h 7305087"/>
              <a:gd name="connsiteX955" fmla="*/ 4462176 w 8266922"/>
              <a:gd name="connsiteY955" fmla="*/ 2799300 h 7305087"/>
              <a:gd name="connsiteX956" fmla="*/ 4412696 w 8266922"/>
              <a:gd name="connsiteY956" fmla="*/ 2793687 h 7305087"/>
              <a:gd name="connsiteX957" fmla="*/ 4367116 w 8266922"/>
              <a:gd name="connsiteY957" fmla="*/ 2784433 h 7305087"/>
              <a:gd name="connsiteX958" fmla="*/ 4325298 w 8266922"/>
              <a:gd name="connsiteY958" fmla="*/ 2771621 h 7305087"/>
              <a:gd name="connsiteX959" fmla="*/ 4287101 w 8266922"/>
              <a:gd name="connsiteY959" fmla="*/ 2755334 h 7305087"/>
              <a:gd name="connsiteX960" fmla="*/ 4252384 w 8266922"/>
              <a:gd name="connsiteY960" fmla="*/ 2735653 h 7305087"/>
              <a:gd name="connsiteX961" fmla="*/ 4221007 w 8266922"/>
              <a:gd name="connsiteY961" fmla="*/ 2712663 h 7305087"/>
              <a:gd name="connsiteX962" fmla="*/ 4192831 w 8266922"/>
              <a:gd name="connsiteY962" fmla="*/ 2686444 h 7305087"/>
              <a:gd name="connsiteX963" fmla="*/ 4167714 w 8266922"/>
              <a:gd name="connsiteY963" fmla="*/ 2657081 h 7305087"/>
              <a:gd name="connsiteX964" fmla="*/ 4145517 w 8266922"/>
              <a:gd name="connsiteY964" fmla="*/ 2624655 h 7305087"/>
              <a:gd name="connsiteX965" fmla="*/ 4126100 w 8266922"/>
              <a:gd name="connsiteY965" fmla="*/ 2589249 h 7305087"/>
              <a:gd name="connsiteX966" fmla="*/ 4109322 w 8266922"/>
              <a:gd name="connsiteY966" fmla="*/ 2550946 h 7305087"/>
              <a:gd name="connsiteX967" fmla="*/ 4095043 w 8266922"/>
              <a:gd name="connsiteY967" fmla="*/ 2509828 h 7305087"/>
              <a:gd name="connsiteX968" fmla="*/ 4083123 w 8266922"/>
              <a:gd name="connsiteY968" fmla="*/ 2465979 h 7305087"/>
              <a:gd name="connsiteX969" fmla="*/ 4073422 w 8266922"/>
              <a:gd name="connsiteY969" fmla="*/ 2419480 h 7305087"/>
              <a:gd name="connsiteX970" fmla="*/ 4065799 w 8266922"/>
              <a:gd name="connsiteY970" fmla="*/ 2370415 h 7305087"/>
              <a:gd name="connsiteX971" fmla="*/ 4060114 w 8266922"/>
              <a:gd name="connsiteY971" fmla="*/ 2318865 h 7305087"/>
              <a:gd name="connsiteX972" fmla="*/ 4056227 w 8266922"/>
              <a:gd name="connsiteY972" fmla="*/ 2264915 h 7305087"/>
              <a:gd name="connsiteX973" fmla="*/ 4053997 w 8266922"/>
              <a:gd name="connsiteY973" fmla="*/ 2208645 h 7305087"/>
              <a:gd name="connsiteX974" fmla="*/ 4053286 w 8266922"/>
              <a:gd name="connsiteY974" fmla="*/ 2150141 h 7305087"/>
              <a:gd name="connsiteX975" fmla="*/ 4054021 w 8266922"/>
              <a:gd name="connsiteY975" fmla="*/ 2091886 h 7305087"/>
              <a:gd name="connsiteX976" fmla="*/ 4056317 w 8266922"/>
              <a:gd name="connsiteY976" fmla="*/ 2035865 h 7305087"/>
              <a:gd name="connsiteX977" fmla="*/ 4060306 w 8266922"/>
              <a:gd name="connsiteY977" fmla="*/ 1982160 h 7305087"/>
              <a:gd name="connsiteX978" fmla="*/ 4066119 w 8266922"/>
              <a:gd name="connsiteY978" fmla="*/ 1930854 h 7305087"/>
              <a:gd name="connsiteX979" fmla="*/ 4073892 w 8266922"/>
              <a:gd name="connsiteY979" fmla="*/ 1882026 h 7305087"/>
              <a:gd name="connsiteX980" fmla="*/ 4083755 w 8266922"/>
              <a:gd name="connsiteY980" fmla="*/ 1835759 h 7305087"/>
              <a:gd name="connsiteX981" fmla="*/ 4095841 w 8266922"/>
              <a:gd name="connsiteY981" fmla="*/ 1792133 h 7305087"/>
              <a:gd name="connsiteX982" fmla="*/ 4110284 w 8266922"/>
              <a:gd name="connsiteY982" fmla="*/ 1751231 h 7305087"/>
              <a:gd name="connsiteX983" fmla="*/ 4127216 w 8266922"/>
              <a:gd name="connsiteY983" fmla="*/ 1713133 h 7305087"/>
              <a:gd name="connsiteX984" fmla="*/ 4146769 w 8266922"/>
              <a:gd name="connsiteY984" fmla="*/ 1677921 h 7305087"/>
              <a:gd name="connsiteX985" fmla="*/ 4169077 w 8266922"/>
              <a:gd name="connsiteY985" fmla="*/ 1645676 h 7305087"/>
              <a:gd name="connsiteX986" fmla="*/ 4194274 w 8266922"/>
              <a:gd name="connsiteY986" fmla="*/ 1616479 h 7305087"/>
              <a:gd name="connsiteX987" fmla="*/ 4222489 w 8266922"/>
              <a:gd name="connsiteY987" fmla="*/ 1590414 h 7305087"/>
              <a:gd name="connsiteX988" fmla="*/ 4253856 w 8266922"/>
              <a:gd name="connsiteY988" fmla="*/ 1567559 h 7305087"/>
              <a:gd name="connsiteX989" fmla="*/ 4288509 w 8266922"/>
              <a:gd name="connsiteY989" fmla="*/ 1547998 h 7305087"/>
              <a:gd name="connsiteX990" fmla="*/ 4326580 w 8266922"/>
              <a:gd name="connsiteY990" fmla="*/ 1531810 h 7305087"/>
              <a:gd name="connsiteX991" fmla="*/ 4368202 w 8266922"/>
              <a:gd name="connsiteY991" fmla="*/ 1519078 h 7305087"/>
              <a:gd name="connsiteX992" fmla="*/ 4413507 w 8266922"/>
              <a:gd name="connsiteY992" fmla="*/ 1509883 h 7305087"/>
              <a:gd name="connsiteX993" fmla="*/ 4462628 w 8266922"/>
              <a:gd name="connsiteY993" fmla="*/ 1504306 h 7305087"/>
              <a:gd name="connsiteX994" fmla="*/ 462412 w 8266922"/>
              <a:gd name="connsiteY994" fmla="*/ 1502430 h 7305087"/>
              <a:gd name="connsiteX995" fmla="*/ 462412 w 8266922"/>
              <a:gd name="connsiteY995" fmla="*/ 1600921 h 7305087"/>
              <a:gd name="connsiteX996" fmla="*/ 413526 w 8266922"/>
              <a:gd name="connsiteY996" fmla="*/ 1603138 h 7305087"/>
              <a:gd name="connsiteX997" fmla="*/ 369246 w 8266922"/>
              <a:gd name="connsiteY997" fmla="*/ 1609705 h 7305087"/>
              <a:gd name="connsiteX998" fmla="*/ 329359 w 8266922"/>
              <a:gd name="connsiteY998" fmla="*/ 1620509 h 7305087"/>
              <a:gd name="connsiteX999" fmla="*/ 293653 w 8266922"/>
              <a:gd name="connsiteY999" fmla="*/ 1635428 h 7305087"/>
              <a:gd name="connsiteX1000" fmla="*/ 233938 w 8266922"/>
              <a:gd name="connsiteY1000" fmla="*/ 1677141 h 7305087"/>
              <a:gd name="connsiteX1001" fmla="*/ 188404 w 8266922"/>
              <a:gd name="connsiteY1001" fmla="*/ 1733900 h 7305087"/>
              <a:gd name="connsiteX1002" fmla="*/ 170425 w 8266922"/>
              <a:gd name="connsiteY1002" fmla="*/ 1767626 h 7305087"/>
              <a:gd name="connsiteX1003" fmla="*/ 155356 w 8266922"/>
              <a:gd name="connsiteY1003" fmla="*/ 1804759 h 7305087"/>
              <a:gd name="connsiteX1004" fmla="*/ 142983 w 8266922"/>
              <a:gd name="connsiteY1004" fmla="*/ 1845179 h 7305087"/>
              <a:gd name="connsiteX1005" fmla="*/ 133096 w 8266922"/>
              <a:gd name="connsiteY1005" fmla="*/ 1888770 h 7305087"/>
              <a:gd name="connsiteX1006" fmla="*/ 125482 w 8266922"/>
              <a:gd name="connsiteY1006" fmla="*/ 1935414 h 7305087"/>
              <a:gd name="connsiteX1007" fmla="*/ 119929 w 8266922"/>
              <a:gd name="connsiteY1007" fmla="*/ 1984990 h 7305087"/>
              <a:gd name="connsiteX1008" fmla="*/ 116225 w 8266922"/>
              <a:gd name="connsiteY1008" fmla="*/ 2037383 h 7305087"/>
              <a:gd name="connsiteX1009" fmla="*/ 114158 w 8266922"/>
              <a:gd name="connsiteY1009" fmla="*/ 2092472 h 7305087"/>
              <a:gd name="connsiteX1010" fmla="*/ 113516 w 8266922"/>
              <a:gd name="connsiteY1010" fmla="*/ 2150141 h 7305087"/>
              <a:gd name="connsiteX1011" fmla="*/ 114141 w 8266922"/>
              <a:gd name="connsiteY1011" fmla="*/ 2208380 h 7305087"/>
              <a:gd name="connsiteX1012" fmla="*/ 116163 w 8266922"/>
              <a:gd name="connsiteY1012" fmla="*/ 2264006 h 7305087"/>
              <a:gd name="connsiteX1013" fmla="*/ 119800 w 8266922"/>
              <a:gd name="connsiteY1013" fmla="*/ 2316901 h 7305087"/>
              <a:gd name="connsiteX1014" fmla="*/ 125270 w 8266922"/>
              <a:gd name="connsiteY1014" fmla="*/ 2366946 h 7305087"/>
              <a:gd name="connsiteX1015" fmla="*/ 132790 w 8266922"/>
              <a:gd name="connsiteY1015" fmla="*/ 2414022 h 7305087"/>
              <a:gd name="connsiteX1016" fmla="*/ 142580 w 8266922"/>
              <a:gd name="connsiteY1016" fmla="*/ 2458012 h 7305087"/>
              <a:gd name="connsiteX1017" fmla="*/ 154856 w 8266922"/>
              <a:gd name="connsiteY1017" fmla="*/ 2498797 h 7305087"/>
              <a:gd name="connsiteX1018" fmla="*/ 169838 w 8266922"/>
              <a:gd name="connsiteY1018" fmla="*/ 2536259 h 7305087"/>
              <a:gd name="connsiteX1019" fmla="*/ 187744 w 8266922"/>
              <a:gd name="connsiteY1019" fmla="*/ 2570280 h 7305087"/>
              <a:gd name="connsiteX1020" fmla="*/ 233198 w 8266922"/>
              <a:gd name="connsiteY1020" fmla="*/ 2627524 h 7305087"/>
              <a:gd name="connsiteX1021" fmla="*/ 292964 w 8266922"/>
              <a:gd name="connsiteY1021" fmla="*/ 2669584 h 7305087"/>
              <a:gd name="connsiteX1022" fmla="*/ 328759 w 8266922"/>
              <a:gd name="connsiteY1022" fmla="*/ 2684624 h 7305087"/>
              <a:gd name="connsiteX1023" fmla="*/ 368787 w 8266922"/>
              <a:gd name="connsiteY1023" fmla="*/ 2695513 h 7305087"/>
              <a:gd name="connsiteX1024" fmla="*/ 413265 w 8266922"/>
              <a:gd name="connsiteY1024" fmla="*/ 2702134 h 7305087"/>
              <a:gd name="connsiteX1025" fmla="*/ 462412 w 8266922"/>
              <a:gd name="connsiteY1025" fmla="*/ 2704367 h 7305087"/>
              <a:gd name="connsiteX1026" fmla="*/ 462412 w 8266922"/>
              <a:gd name="connsiteY1026" fmla="*/ 2801189 h 7305087"/>
              <a:gd name="connsiteX1027" fmla="*/ 408890 w 8266922"/>
              <a:gd name="connsiteY1027" fmla="*/ 2799300 h 7305087"/>
              <a:gd name="connsiteX1028" fmla="*/ 359409 w 8266922"/>
              <a:gd name="connsiteY1028" fmla="*/ 2793687 h 7305087"/>
              <a:gd name="connsiteX1029" fmla="*/ 313830 w 8266922"/>
              <a:gd name="connsiteY1029" fmla="*/ 2784433 h 7305087"/>
              <a:gd name="connsiteX1030" fmla="*/ 272011 w 8266922"/>
              <a:gd name="connsiteY1030" fmla="*/ 2771621 h 7305087"/>
              <a:gd name="connsiteX1031" fmla="*/ 233814 w 8266922"/>
              <a:gd name="connsiteY1031" fmla="*/ 2755334 h 7305087"/>
              <a:gd name="connsiteX1032" fmla="*/ 199097 w 8266922"/>
              <a:gd name="connsiteY1032" fmla="*/ 2735653 h 7305087"/>
              <a:gd name="connsiteX1033" fmla="*/ 167721 w 8266922"/>
              <a:gd name="connsiteY1033" fmla="*/ 2712663 h 7305087"/>
              <a:gd name="connsiteX1034" fmla="*/ 139544 w 8266922"/>
              <a:gd name="connsiteY1034" fmla="*/ 2686444 h 7305087"/>
              <a:gd name="connsiteX1035" fmla="*/ 114428 w 8266922"/>
              <a:gd name="connsiteY1035" fmla="*/ 2657081 h 7305087"/>
              <a:gd name="connsiteX1036" fmla="*/ 92232 w 8266922"/>
              <a:gd name="connsiteY1036" fmla="*/ 2624655 h 7305087"/>
              <a:gd name="connsiteX1037" fmla="*/ 72814 w 8266922"/>
              <a:gd name="connsiteY1037" fmla="*/ 2589249 h 7305087"/>
              <a:gd name="connsiteX1038" fmla="*/ 56037 w 8266922"/>
              <a:gd name="connsiteY1038" fmla="*/ 2550946 h 7305087"/>
              <a:gd name="connsiteX1039" fmla="*/ 41758 w 8266922"/>
              <a:gd name="connsiteY1039" fmla="*/ 2509828 h 7305087"/>
              <a:gd name="connsiteX1040" fmla="*/ 29838 w 8266922"/>
              <a:gd name="connsiteY1040" fmla="*/ 2465979 h 7305087"/>
              <a:gd name="connsiteX1041" fmla="*/ 20136 w 8266922"/>
              <a:gd name="connsiteY1041" fmla="*/ 2419480 h 7305087"/>
              <a:gd name="connsiteX1042" fmla="*/ 12513 w 8266922"/>
              <a:gd name="connsiteY1042" fmla="*/ 2370415 h 7305087"/>
              <a:gd name="connsiteX1043" fmla="*/ 6828 w 8266922"/>
              <a:gd name="connsiteY1043" fmla="*/ 2318865 h 7305087"/>
              <a:gd name="connsiteX1044" fmla="*/ 2941 w 8266922"/>
              <a:gd name="connsiteY1044" fmla="*/ 2264915 h 7305087"/>
              <a:gd name="connsiteX1045" fmla="*/ 711 w 8266922"/>
              <a:gd name="connsiteY1045" fmla="*/ 2208645 h 7305087"/>
              <a:gd name="connsiteX1046" fmla="*/ 0 w 8266922"/>
              <a:gd name="connsiteY1046" fmla="*/ 2150141 h 7305087"/>
              <a:gd name="connsiteX1047" fmla="*/ 735 w 8266922"/>
              <a:gd name="connsiteY1047" fmla="*/ 2091886 h 7305087"/>
              <a:gd name="connsiteX1048" fmla="*/ 3031 w 8266922"/>
              <a:gd name="connsiteY1048" fmla="*/ 2035865 h 7305087"/>
              <a:gd name="connsiteX1049" fmla="*/ 7020 w 8266922"/>
              <a:gd name="connsiteY1049" fmla="*/ 1982160 h 7305087"/>
              <a:gd name="connsiteX1050" fmla="*/ 12834 w 8266922"/>
              <a:gd name="connsiteY1050" fmla="*/ 1930854 h 7305087"/>
              <a:gd name="connsiteX1051" fmla="*/ 20606 w 8266922"/>
              <a:gd name="connsiteY1051" fmla="*/ 1882026 h 7305087"/>
              <a:gd name="connsiteX1052" fmla="*/ 30469 w 8266922"/>
              <a:gd name="connsiteY1052" fmla="*/ 1835759 h 7305087"/>
              <a:gd name="connsiteX1053" fmla="*/ 42555 w 8266922"/>
              <a:gd name="connsiteY1053" fmla="*/ 1792133 h 7305087"/>
              <a:gd name="connsiteX1054" fmla="*/ 56998 w 8266922"/>
              <a:gd name="connsiteY1054" fmla="*/ 1751231 h 7305087"/>
              <a:gd name="connsiteX1055" fmla="*/ 73930 w 8266922"/>
              <a:gd name="connsiteY1055" fmla="*/ 1713133 h 7305087"/>
              <a:gd name="connsiteX1056" fmla="*/ 93484 w 8266922"/>
              <a:gd name="connsiteY1056" fmla="*/ 1677921 h 7305087"/>
              <a:gd name="connsiteX1057" fmla="*/ 115792 w 8266922"/>
              <a:gd name="connsiteY1057" fmla="*/ 1645676 h 7305087"/>
              <a:gd name="connsiteX1058" fmla="*/ 140987 w 8266922"/>
              <a:gd name="connsiteY1058" fmla="*/ 1616479 h 7305087"/>
              <a:gd name="connsiteX1059" fmla="*/ 169202 w 8266922"/>
              <a:gd name="connsiteY1059" fmla="*/ 1590414 h 7305087"/>
              <a:gd name="connsiteX1060" fmla="*/ 200570 w 8266922"/>
              <a:gd name="connsiteY1060" fmla="*/ 1567559 h 7305087"/>
              <a:gd name="connsiteX1061" fmla="*/ 235222 w 8266922"/>
              <a:gd name="connsiteY1061" fmla="*/ 1547998 h 7305087"/>
              <a:gd name="connsiteX1062" fmla="*/ 273293 w 8266922"/>
              <a:gd name="connsiteY1062" fmla="*/ 1531810 h 7305087"/>
              <a:gd name="connsiteX1063" fmla="*/ 314915 w 8266922"/>
              <a:gd name="connsiteY1063" fmla="*/ 1519078 h 7305087"/>
              <a:gd name="connsiteX1064" fmla="*/ 360220 w 8266922"/>
              <a:gd name="connsiteY1064" fmla="*/ 1509883 h 7305087"/>
              <a:gd name="connsiteX1065" fmla="*/ 409342 w 8266922"/>
              <a:gd name="connsiteY1065" fmla="*/ 1504306 h 7305087"/>
              <a:gd name="connsiteX1066" fmla="*/ 5280527 w 8266922"/>
              <a:gd name="connsiteY1066" fmla="*/ 871409 h 7305087"/>
              <a:gd name="connsiteX1067" fmla="*/ 6185319 w 8266922"/>
              <a:gd name="connsiteY1067" fmla="*/ 871409 h 7305087"/>
              <a:gd name="connsiteX1068" fmla="*/ 6185319 w 8266922"/>
              <a:gd name="connsiteY1068" fmla="*/ 978246 h 7305087"/>
              <a:gd name="connsiteX1069" fmla="*/ 5280527 w 8266922"/>
              <a:gd name="connsiteY1069" fmla="*/ 978246 h 7305087"/>
              <a:gd name="connsiteX1070" fmla="*/ 1874462 w 8266922"/>
              <a:gd name="connsiteY1070" fmla="*/ 871408 h 7305087"/>
              <a:gd name="connsiteX1071" fmla="*/ 2779254 w 8266922"/>
              <a:gd name="connsiteY1071" fmla="*/ 871408 h 7305087"/>
              <a:gd name="connsiteX1072" fmla="*/ 2779254 w 8266922"/>
              <a:gd name="connsiteY1072" fmla="*/ 978246 h 7305087"/>
              <a:gd name="connsiteX1073" fmla="*/ 1874462 w 8266922"/>
              <a:gd name="connsiteY1073" fmla="*/ 978246 h 7305087"/>
              <a:gd name="connsiteX1074" fmla="*/ 5280527 w 8266922"/>
              <a:gd name="connsiteY1074" fmla="*/ 522512 h 7305087"/>
              <a:gd name="connsiteX1075" fmla="*/ 6185319 w 8266922"/>
              <a:gd name="connsiteY1075" fmla="*/ 522512 h 7305087"/>
              <a:gd name="connsiteX1076" fmla="*/ 6185319 w 8266922"/>
              <a:gd name="connsiteY1076" fmla="*/ 629349 h 7305087"/>
              <a:gd name="connsiteX1077" fmla="*/ 5280527 w 8266922"/>
              <a:gd name="connsiteY1077" fmla="*/ 629349 h 7305087"/>
              <a:gd name="connsiteX1078" fmla="*/ 1874462 w 8266922"/>
              <a:gd name="connsiteY1078" fmla="*/ 522511 h 7305087"/>
              <a:gd name="connsiteX1079" fmla="*/ 2779254 w 8266922"/>
              <a:gd name="connsiteY1079" fmla="*/ 522511 h 7305087"/>
              <a:gd name="connsiteX1080" fmla="*/ 2779254 w 8266922"/>
              <a:gd name="connsiteY1080" fmla="*/ 629349 h 7305087"/>
              <a:gd name="connsiteX1081" fmla="*/ 1874462 w 8266922"/>
              <a:gd name="connsiteY1081" fmla="*/ 629349 h 7305087"/>
              <a:gd name="connsiteX1082" fmla="*/ 4621539 w 8266922"/>
              <a:gd name="connsiteY1082" fmla="*/ 116859 h 7305087"/>
              <a:gd name="connsiteX1083" fmla="*/ 4740064 w 8266922"/>
              <a:gd name="connsiteY1083" fmla="*/ 116859 h 7305087"/>
              <a:gd name="connsiteX1084" fmla="*/ 4386160 w 8266922"/>
              <a:gd name="connsiteY1084" fmla="*/ 1185248 h 7305087"/>
              <a:gd name="connsiteX1085" fmla="*/ 4264297 w 8266922"/>
              <a:gd name="connsiteY1085" fmla="*/ 1185248 h 7305087"/>
              <a:gd name="connsiteX1086" fmla="*/ 3314617 w 8266922"/>
              <a:gd name="connsiteY1086" fmla="*/ 116858 h 7305087"/>
              <a:gd name="connsiteX1087" fmla="*/ 3439819 w 8266922"/>
              <a:gd name="connsiteY1087" fmla="*/ 116858 h 7305087"/>
              <a:gd name="connsiteX1088" fmla="*/ 3795392 w 8266922"/>
              <a:gd name="connsiteY1088" fmla="*/ 1185248 h 7305087"/>
              <a:gd name="connsiteX1089" fmla="*/ 3670190 w 8266922"/>
              <a:gd name="connsiteY1089" fmla="*/ 1185248 h 7305087"/>
              <a:gd name="connsiteX1090" fmla="*/ 1312489 w 8266922"/>
              <a:gd name="connsiteY1090" fmla="*/ 1 h 7305087"/>
              <a:gd name="connsiteX1091" fmla="*/ 1312489 w 8266922"/>
              <a:gd name="connsiteY1091" fmla="*/ 98493 h 7305087"/>
              <a:gd name="connsiteX1092" fmla="*/ 1263604 w 8266922"/>
              <a:gd name="connsiteY1092" fmla="*/ 100709 h 7305087"/>
              <a:gd name="connsiteX1093" fmla="*/ 1219322 w 8266922"/>
              <a:gd name="connsiteY1093" fmla="*/ 107277 h 7305087"/>
              <a:gd name="connsiteX1094" fmla="*/ 1179437 w 8266922"/>
              <a:gd name="connsiteY1094" fmla="*/ 118080 h 7305087"/>
              <a:gd name="connsiteX1095" fmla="*/ 1143731 w 8266922"/>
              <a:gd name="connsiteY1095" fmla="*/ 132999 h 7305087"/>
              <a:gd name="connsiteX1096" fmla="*/ 1084016 w 8266922"/>
              <a:gd name="connsiteY1096" fmla="*/ 174712 h 7305087"/>
              <a:gd name="connsiteX1097" fmla="*/ 1038482 w 8266922"/>
              <a:gd name="connsiteY1097" fmla="*/ 231471 h 7305087"/>
              <a:gd name="connsiteX1098" fmla="*/ 1020503 w 8266922"/>
              <a:gd name="connsiteY1098" fmla="*/ 265197 h 7305087"/>
              <a:gd name="connsiteX1099" fmla="*/ 1005433 w 8266922"/>
              <a:gd name="connsiteY1099" fmla="*/ 302330 h 7305087"/>
              <a:gd name="connsiteX1100" fmla="*/ 993061 w 8266922"/>
              <a:gd name="connsiteY1100" fmla="*/ 342750 h 7305087"/>
              <a:gd name="connsiteX1101" fmla="*/ 983172 w 8266922"/>
              <a:gd name="connsiteY1101" fmla="*/ 386342 h 7305087"/>
              <a:gd name="connsiteX1102" fmla="*/ 975559 w 8266922"/>
              <a:gd name="connsiteY1102" fmla="*/ 432985 h 7305087"/>
              <a:gd name="connsiteX1103" fmla="*/ 970006 w 8266922"/>
              <a:gd name="connsiteY1103" fmla="*/ 482562 h 7305087"/>
              <a:gd name="connsiteX1104" fmla="*/ 966302 w 8266922"/>
              <a:gd name="connsiteY1104" fmla="*/ 534954 h 7305087"/>
              <a:gd name="connsiteX1105" fmla="*/ 964235 w 8266922"/>
              <a:gd name="connsiteY1105" fmla="*/ 590043 h 7305087"/>
              <a:gd name="connsiteX1106" fmla="*/ 963593 w 8266922"/>
              <a:gd name="connsiteY1106" fmla="*/ 647712 h 7305087"/>
              <a:gd name="connsiteX1107" fmla="*/ 964219 w 8266922"/>
              <a:gd name="connsiteY1107" fmla="*/ 705953 h 7305087"/>
              <a:gd name="connsiteX1108" fmla="*/ 966241 w 8266922"/>
              <a:gd name="connsiteY1108" fmla="*/ 761579 h 7305087"/>
              <a:gd name="connsiteX1109" fmla="*/ 969878 w 8266922"/>
              <a:gd name="connsiteY1109" fmla="*/ 814474 h 7305087"/>
              <a:gd name="connsiteX1110" fmla="*/ 975347 w 8266922"/>
              <a:gd name="connsiteY1110" fmla="*/ 864518 h 7305087"/>
              <a:gd name="connsiteX1111" fmla="*/ 982868 w 8266922"/>
              <a:gd name="connsiteY1111" fmla="*/ 911596 h 7305087"/>
              <a:gd name="connsiteX1112" fmla="*/ 992658 w 8266922"/>
              <a:gd name="connsiteY1112" fmla="*/ 955586 h 7305087"/>
              <a:gd name="connsiteX1113" fmla="*/ 1004934 w 8266922"/>
              <a:gd name="connsiteY1113" fmla="*/ 996370 h 7305087"/>
              <a:gd name="connsiteX1114" fmla="*/ 1019916 w 8266922"/>
              <a:gd name="connsiteY1114" fmla="*/ 1033831 h 7305087"/>
              <a:gd name="connsiteX1115" fmla="*/ 1037822 w 8266922"/>
              <a:gd name="connsiteY1115" fmla="*/ 1067851 h 7305087"/>
              <a:gd name="connsiteX1116" fmla="*/ 1083276 w 8266922"/>
              <a:gd name="connsiteY1116" fmla="*/ 1125096 h 7305087"/>
              <a:gd name="connsiteX1117" fmla="*/ 1143042 w 8266922"/>
              <a:gd name="connsiteY1117" fmla="*/ 1167155 h 7305087"/>
              <a:gd name="connsiteX1118" fmla="*/ 1178837 w 8266922"/>
              <a:gd name="connsiteY1118" fmla="*/ 1182194 h 7305087"/>
              <a:gd name="connsiteX1119" fmla="*/ 1218864 w 8266922"/>
              <a:gd name="connsiteY1119" fmla="*/ 1193084 h 7305087"/>
              <a:gd name="connsiteX1120" fmla="*/ 1263342 w 8266922"/>
              <a:gd name="connsiteY1120" fmla="*/ 1199705 h 7305087"/>
              <a:gd name="connsiteX1121" fmla="*/ 1312489 w 8266922"/>
              <a:gd name="connsiteY1121" fmla="*/ 1201938 h 7305087"/>
              <a:gd name="connsiteX1122" fmla="*/ 1312489 w 8266922"/>
              <a:gd name="connsiteY1122" fmla="*/ 1298761 h 7305087"/>
              <a:gd name="connsiteX1123" fmla="*/ 1258966 w 8266922"/>
              <a:gd name="connsiteY1123" fmla="*/ 1296873 h 7305087"/>
              <a:gd name="connsiteX1124" fmla="*/ 1209487 w 8266922"/>
              <a:gd name="connsiteY1124" fmla="*/ 1291259 h 7305087"/>
              <a:gd name="connsiteX1125" fmla="*/ 1163908 w 8266922"/>
              <a:gd name="connsiteY1125" fmla="*/ 1282006 h 7305087"/>
              <a:gd name="connsiteX1126" fmla="*/ 1122089 w 8266922"/>
              <a:gd name="connsiteY1126" fmla="*/ 1269194 h 7305087"/>
              <a:gd name="connsiteX1127" fmla="*/ 1083893 w 8266922"/>
              <a:gd name="connsiteY1127" fmla="*/ 1252907 h 7305087"/>
              <a:gd name="connsiteX1128" fmla="*/ 1049176 w 8266922"/>
              <a:gd name="connsiteY1128" fmla="*/ 1233225 h 7305087"/>
              <a:gd name="connsiteX1129" fmla="*/ 1017798 w 8266922"/>
              <a:gd name="connsiteY1129" fmla="*/ 1210234 h 7305087"/>
              <a:gd name="connsiteX1130" fmla="*/ 989622 w 8266922"/>
              <a:gd name="connsiteY1130" fmla="*/ 1184015 h 7305087"/>
              <a:gd name="connsiteX1131" fmla="*/ 964506 w 8266922"/>
              <a:gd name="connsiteY1131" fmla="*/ 1154652 h 7305087"/>
              <a:gd name="connsiteX1132" fmla="*/ 942309 w 8266922"/>
              <a:gd name="connsiteY1132" fmla="*/ 1122226 h 7305087"/>
              <a:gd name="connsiteX1133" fmla="*/ 922891 w 8266922"/>
              <a:gd name="connsiteY1133" fmla="*/ 1086820 h 7305087"/>
              <a:gd name="connsiteX1134" fmla="*/ 906113 w 8266922"/>
              <a:gd name="connsiteY1134" fmla="*/ 1048518 h 7305087"/>
              <a:gd name="connsiteX1135" fmla="*/ 891835 w 8266922"/>
              <a:gd name="connsiteY1135" fmla="*/ 1007402 h 7305087"/>
              <a:gd name="connsiteX1136" fmla="*/ 879914 w 8266922"/>
              <a:gd name="connsiteY1136" fmla="*/ 963551 h 7305087"/>
              <a:gd name="connsiteX1137" fmla="*/ 870214 w 8266922"/>
              <a:gd name="connsiteY1137" fmla="*/ 917053 h 7305087"/>
              <a:gd name="connsiteX1138" fmla="*/ 862590 w 8266922"/>
              <a:gd name="connsiteY1138" fmla="*/ 867987 h 7305087"/>
              <a:gd name="connsiteX1139" fmla="*/ 856906 w 8266922"/>
              <a:gd name="connsiteY1139" fmla="*/ 816438 h 7305087"/>
              <a:gd name="connsiteX1140" fmla="*/ 853019 w 8266922"/>
              <a:gd name="connsiteY1140" fmla="*/ 762487 h 7305087"/>
              <a:gd name="connsiteX1141" fmla="*/ 850789 w 8266922"/>
              <a:gd name="connsiteY1141" fmla="*/ 706217 h 7305087"/>
              <a:gd name="connsiteX1142" fmla="*/ 850077 w 8266922"/>
              <a:gd name="connsiteY1142" fmla="*/ 647712 h 7305087"/>
              <a:gd name="connsiteX1143" fmla="*/ 850812 w 8266922"/>
              <a:gd name="connsiteY1143" fmla="*/ 589457 h 7305087"/>
              <a:gd name="connsiteX1144" fmla="*/ 853109 w 8266922"/>
              <a:gd name="connsiteY1144" fmla="*/ 533437 h 7305087"/>
              <a:gd name="connsiteX1145" fmla="*/ 857098 w 8266922"/>
              <a:gd name="connsiteY1145" fmla="*/ 479733 h 7305087"/>
              <a:gd name="connsiteX1146" fmla="*/ 862911 w 8266922"/>
              <a:gd name="connsiteY1146" fmla="*/ 428425 h 7305087"/>
              <a:gd name="connsiteX1147" fmla="*/ 870684 w 8266922"/>
              <a:gd name="connsiteY1147" fmla="*/ 379597 h 7305087"/>
              <a:gd name="connsiteX1148" fmla="*/ 880547 w 8266922"/>
              <a:gd name="connsiteY1148" fmla="*/ 333331 h 7305087"/>
              <a:gd name="connsiteX1149" fmla="*/ 892633 w 8266922"/>
              <a:gd name="connsiteY1149" fmla="*/ 289705 h 7305087"/>
              <a:gd name="connsiteX1150" fmla="*/ 907076 w 8266922"/>
              <a:gd name="connsiteY1150" fmla="*/ 248802 h 7305087"/>
              <a:gd name="connsiteX1151" fmla="*/ 924008 w 8266922"/>
              <a:gd name="connsiteY1151" fmla="*/ 210704 h 7305087"/>
              <a:gd name="connsiteX1152" fmla="*/ 943561 w 8266922"/>
              <a:gd name="connsiteY1152" fmla="*/ 175493 h 7305087"/>
              <a:gd name="connsiteX1153" fmla="*/ 965869 w 8266922"/>
              <a:gd name="connsiteY1153" fmla="*/ 143247 h 7305087"/>
              <a:gd name="connsiteX1154" fmla="*/ 991066 w 8266922"/>
              <a:gd name="connsiteY1154" fmla="*/ 114051 h 7305087"/>
              <a:gd name="connsiteX1155" fmla="*/ 1019280 w 8266922"/>
              <a:gd name="connsiteY1155" fmla="*/ 87986 h 7305087"/>
              <a:gd name="connsiteX1156" fmla="*/ 1050647 w 8266922"/>
              <a:gd name="connsiteY1156" fmla="*/ 65131 h 7305087"/>
              <a:gd name="connsiteX1157" fmla="*/ 1085300 w 8266922"/>
              <a:gd name="connsiteY1157" fmla="*/ 45570 h 7305087"/>
              <a:gd name="connsiteX1158" fmla="*/ 1123371 w 8266922"/>
              <a:gd name="connsiteY1158" fmla="*/ 29382 h 7305087"/>
              <a:gd name="connsiteX1159" fmla="*/ 1164993 w 8266922"/>
              <a:gd name="connsiteY1159" fmla="*/ 16650 h 7305087"/>
              <a:gd name="connsiteX1160" fmla="*/ 1210299 w 8266922"/>
              <a:gd name="connsiteY1160" fmla="*/ 7455 h 7305087"/>
              <a:gd name="connsiteX1161" fmla="*/ 1259419 w 8266922"/>
              <a:gd name="connsiteY1161" fmla="*/ 1877 h 7305087"/>
              <a:gd name="connsiteX1162" fmla="*/ 6747401 w 8266922"/>
              <a:gd name="connsiteY1162" fmla="*/ 0 h 7305087"/>
              <a:gd name="connsiteX1163" fmla="*/ 6800471 w 8266922"/>
              <a:gd name="connsiteY1163" fmla="*/ 1876 h 7305087"/>
              <a:gd name="connsiteX1164" fmla="*/ 6849592 w 8266922"/>
              <a:gd name="connsiteY1164" fmla="*/ 7453 h 7305087"/>
              <a:gd name="connsiteX1165" fmla="*/ 6894897 w 8266922"/>
              <a:gd name="connsiteY1165" fmla="*/ 16648 h 7305087"/>
              <a:gd name="connsiteX1166" fmla="*/ 6936519 w 8266922"/>
              <a:gd name="connsiteY1166" fmla="*/ 29380 h 7305087"/>
              <a:gd name="connsiteX1167" fmla="*/ 6974590 w 8266922"/>
              <a:gd name="connsiteY1167" fmla="*/ 45568 h 7305087"/>
              <a:gd name="connsiteX1168" fmla="*/ 7009243 w 8266922"/>
              <a:gd name="connsiteY1168" fmla="*/ 65130 h 7305087"/>
              <a:gd name="connsiteX1169" fmla="*/ 7040610 w 8266922"/>
              <a:gd name="connsiteY1169" fmla="*/ 87984 h 7305087"/>
              <a:gd name="connsiteX1170" fmla="*/ 7068825 w 8266922"/>
              <a:gd name="connsiteY1170" fmla="*/ 114050 h 7305087"/>
              <a:gd name="connsiteX1171" fmla="*/ 7094021 w 8266922"/>
              <a:gd name="connsiteY1171" fmla="*/ 143246 h 7305087"/>
              <a:gd name="connsiteX1172" fmla="*/ 7116329 w 8266922"/>
              <a:gd name="connsiteY1172" fmla="*/ 175491 h 7305087"/>
              <a:gd name="connsiteX1173" fmla="*/ 7135882 w 8266922"/>
              <a:gd name="connsiteY1173" fmla="*/ 210703 h 7305087"/>
              <a:gd name="connsiteX1174" fmla="*/ 7152814 w 8266922"/>
              <a:gd name="connsiteY1174" fmla="*/ 248801 h 7305087"/>
              <a:gd name="connsiteX1175" fmla="*/ 7167257 w 8266922"/>
              <a:gd name="connsiteY1175" fmla="*/ 289704 h 7305087"/>
              <a:gd name="connsiteX1176" fmla="*/ 7179344 w 8266922"/>
              <a:gd name="connsiteY1176" fmla="*/ 333329 h 7305087"/>
              <a:gd name="connsiteX1177" fmla="*/ 7189207 w 8266922"/>
              <a:gd name="connsiteY1177" fmla="*/ 379596 h 7305087"/>
              <a:gd name="connsiteX1178" fmla="*/ 7196979 w 8266922"/>
              <a:gd name="connsiteY1178" fmla="*/ 428424 h 7305087"/>
              <a:gd name="connsiteX1179" fmla="*/ 7202793 w 8266922"/>
              <a:gd name="connsiteY1179" fmla="*/ 479731 h 7305087"/>
              <a:gd name="connsiteX1180" fmla="*/ 7206781 w 8266922"/>
              <a:gd name="connsiteY1180" fmla="*/ 533435 h 7305087"/>
              <a:gd name="connsiteX1181" fmla="*/ 7209077 w 8266922"/>
              <a:gd name="connsiteY1181" fmla="*/ 589455 h 7305087"/>
              <a:gd name="connsiteX1182" fmla="*/ 7209813 w 8266922"/>
              <a:gd name="connsiteY1182" fmla="*/ 647711 h 7305087"/>
              <a:gd name="connsiteX1183" fmla="*/ 7209113 w 8266922"/>
              <a:gd name="connsiteY1183" fmla="*/ 706216 h 7305087"/>
              <a:gd name="connsiteX1184" fmla="*/ 7206916 w 8266922"/>
              <a:gd name="connsiteY1184" fmla="*/ 762486 h 7305087"/>
              <a:gd name="connsiteX1185" fmla="*/ 7203080 w 8266922"/>
              <a:gd name="connsiteY1185" fmla="*/ 816437 h 7305087"/>
              <a:gd name="connsiteX1186" fmla="*/ 7197459 w 8266922"/>
              <a:gd name="connsiteY1186" fmla="*/ 867986 h 7305087"/>
              <a:gd name="connsiteX1187" fmla="*/ 7189911 w 8266922"/>
              <a:gd name="connsiteY1187" fmla="*/ 917051 h 7305087"/>
              <a:gd name="connsiteX1188" fmla="*/ 7180290 w 8266922"/>
              <a:gd name="connsiteY1188" fmla="*/ 963550 h 7305087"/>
              <a:gd name="connsiteX1189" fmla="*/ 7168453 w 8266922"/>
              <a:gd name="connsiteY1189" fmla="*/ 1007400 h 7305087"/>
              <a:gd name="connsiteX1190" fmla="*/ 7154256 w 8266922"/>
              <a:gd name="connsiteY1190" fmla="*/ 1048517 h 7305087"/>
              <a:gd name="connsiteX1191" fmla="*/ 7137555 w 8266922"/>
              <a:gd name="connsiteY1191" fmla="*/ 1086819 h 7305087"/>
              <a:gd name="connsiteX1192" fmla="*/ 7118206 w 8266922"/>
              <a:gd name="connsiteY1192" fmla="*/ 1122225 h 7305087"/>
              <a:gd name="connsiteX1193" fmla="*/ 7096065 w 8266922"/>
              <a:gd name="connsiteY1193" fmla="*/ 1154652 h 7305087"/>
              <a:gd name="connsiteX1194" fmla="*/ 7070989 w 8266922"/>
              <a:gd name="connsiteY1194" fmla="*/ 1184015 h 7305087"/>
              <a:gd name="connsiteX1195" fmla="*/ 7042832 w 8266922"/>
              <a:gd name="connsiteY1195" fmla="*/ 1210234 h 7305087"/>
              <a:gd name="connsiteX1196" fmla="*/ 7011451 w 8266922"/>
              <a:gd name="connsiteY1196" fmla="*/ 1233224 h 7305087"/>
              <a:gd name="connsiteX1197" fmla="*/ 6976702 w 8266922"/>
              <a:gd name="connsiteY1197" fmla="*/ 1252906 h 7305087"/>
              <a:gd name="connsiteX1198" fmla="*/ 6938442 w 8266922"/>
              <a:gd name="connsiteY1198" fmla="*/ 1269193 h 7305087"/>
              <a:gd name="connsiteX1199" fmla="*/ 6896525 w 8266922"/>
              <a:gd name="connsiteY1199" fmla="*/ 1282004 h 7305087"/>
              <a:gd name="connsiteX1200" fmla="*/ 6850809 w 8266922"/>
              <a:gd name="connsiteY1200" fmla="*/ 1291259 h 7305087"/>
              <a:gd name="connsiteX1201" fmla="*/ 6801149 w 8266922"/>
              <a:gd name="connsiteY1201" fmla="*/ 1296872 h 7305087"/>
              <a:gd name="connsiteX1202" fmla="*/ 6747401 w 8266922"/>
              <a:gd name="connsiteY1202" fmla="*/ 1298760 h 7305087"/>
              <a:gd name="connsiteX1203" fmla="*/ 6747401 w 8266922"/>
              <a:gd name="connsiteY1203" fmla="*/ 1201937 h 7305087"/>
              <a:gd name="connsiteX1204" fmla="*/ 6797086 w 8266922"/>
              <a:gd name="connsiteY1204" fmla="*/ 1199704 h 7305087"/>
              <a:gd name="connsiteX1205" fmla="*/ 6842006 w 8266922"/>
              <a:gd name="connsiteY1205" fmla="*/ 1193083 h 7305087"/>
              <a:gd name="connsiteX1206" fmla="*/ 6882389 w 8266922"/>
              <a:gd name="connsiteY1206" fmla="*/ 1182194 h 7305087"/>
              <a:gd name="connsiteX1207" fmla="*/ 6918460 w 8266922"/>
              <a:gd name="connsiteY1207" fmla="*/ 1167155 h 7305087"/>
              <a:gd name="connsiteX1208" fmla="*/ 6978571 w 8266922"/>
              <a:gd name="connsiteY1208" fmla="*/ 1125095 h 7305087"/>
              <a:gd name="connsiteX1209" fmla="*/ 7024150 w 8266922"/>
              <a:gd name="connsiteY1209" fmla="*/ 1067850 h 7305087"/>
              <a:gd name="connsiteX1210" fmla="*/ 7042056 w 8266922"/>
              <a:gd name="connsiteY1210" fmla="*/ 1033830 h 7305087"/>
              <a:gd name="connsiteX1211" fmla="*/ 7057008 w 8266922"/>
              <a:gd name="connsiteY1211" fmla="*/ 996368 h 7305087"/>
              <a:gd name="connsiteX1212" fmla="*/ 7069232 w 8266922"/>
              <a:gd name="connsiteY1212" fmla="*/ 955584 h 7305087"/>
              <a:gd name="connsiteX1213" fmla="*/ 7078955 w 8266922"/>
              <a:gd name="connsiteY1213" fmla="*/ 911594 h 7305087"/>
              <a:gd name="connsiteX1214" fmla="*/ 7086402 w 8266922"/>
              <a:gd name="connsiteY1214" fmla="*/ 864517 h 7305087"/>
              <a:gd name="connsiteX1215" fmla="*/ 7091801 w 8266922"/>
              <a:gd name="connsiteY1215" fmla="*/ 814473 h 7305087"/>
              <a:gd name="connsiteX1216" fmla="*/ 7095377 w 8266922"/>
              <a:gd name="connsiteY1216" fmla="*/ 761578 h 7305087"/>
              <a:gd name="connsiteX1217" fmla="*/ 7097356 w 8266922"/>
              <a:gd name="connsiteY1217" fmla="*/ 705951 h 7305087"/>
              <a:gd name="connsiteX1218" fmla="*/ 7097966 w 8266922"/>
              <a:gd name="connsiteY1218" fmla="*/ 647711 h 7305087"/>
              <a:gd name="connsiteX1219" fmla="*/ 7097324 w 8266922"/>
              <a:gd name="connsiteY1219" fmla="*/ 590042 h 7305087"/>
              <a:gd name="connsiteX1220" fmla="*/ 7095254 w 8266922"/>
              <a:gd name="connsiteY1220" fmla="*/ 534953 h 7305087"/>
              <a:gd name="connsiteX1221" fmla="*/ 7091544 w 8266922"/>
              <a:gd name="connsiteY1221" fmla="*/ 482560 h 7305087"/>
              <a:gd name="connsiteX1222" fmla="*/ 7085978 w 8266922"/>
              <a:gd name="connsiteY1222" fmla="*/ 432984 h 7305087"/>
              <a:gd name="connsiteX1223" fmla="*/ 7078343 w 8266922"/>
              <a:gd name="connsiteY1223" fmla="*/ 386340 h 7305087"/>
              <a:gd name="connsiteX1224" fmla="*/ 7068425 w 8266922"/>
              <a:gd name="connsiteY1224" fmla="*/ 342749 h 7305087"/>
              <a:gd name="connsiteX1225" fmla="*/ 7056009 w 8266922"/>
              <a:gd name="connsiteY1225" fmla="*/ 302328 h 7305087"/>
              <a:gd name="connsiteX1226" fmla="*/ 7040882 w 8266922"/>
              <a:gd name="connsiteY1226" fmla="*/ 265196 h 7305087"/>
              <a:gd name="connsiteX1227" fmla="*/ 7022829 w 8266922"/>
              <a:gd name="connsiteY1227" fmla="*/ 231470 h 7305087"/>
              <a:gd name="connsiteX1228" fmla="*/ 6977091 w 8266922"/>
              <a:gd name="connsiteY1228" fmla="*/ 174711 h 7305087"/>
              <a:gd name="connsiteX1229" fmla="*/ 6917082 w 8266922"/>
              <a:gd name="connsiteY1229" fmla="*/ 132998 h 7305087"/>
              <a:gd name="connsiteX1230" fmla="*/ 6881190 w 8266922"/>
              <a:gd name="connsiteY1230" fmla="*/ 118079 h 7305087"/>
              <a:gd name="connsiteX1231" fmla="*/ 6841089 w 8266922"/>
              <a:gd name="connsiteY1231" fmla="*/ 107276 h 7305087"/>
              <a:gd name="connsiteX1232" fmla="*/ 6796564 w 8266922"/>
              <a:gd name="connsiteY1232" fmla="*/ 100708 h 7305087"/>
              <a:gd name="connsiteX1233" fmla="*/ 6747401 w 8266922"/>
              <a:gd name="connsiteY1233" fmla="*/ 98492 h 73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Lst>
            <a:rect l="l" t="t" r="r" b="b"/>
            <a:pathLst>
              <a:path w="8266922" h="7305087">
                <a:moveTo>
                  <a:pt x="5241587" y="7031344"/>
                </a:moveTo>
                <a:lnTo>
                  <a:pt x="5448586" y="7031344"/>
                </a:lnTo>
                <a:lnTo>
                  <a:pt x="5448586" y="7204957"/>
                </a:lnTo>
                <a:lnTo>
                  <a:pt x="5241587" y="7204957"/>
                </a:lnTo>
                <a:close/>
                <a:moveTo>
                  <a:pt x="2946862" y="7031344"/>
                </a:moveTo>
                <a:lnTo>
                  <a:pt x="3153861" y="7031344"/>
                </a:lnTo>
                <a:lnTo>
                  <a:pt x="3153861" y="7204957"/>
                </a:lnTo>
                <a:lnTo>
                  <a:pt x="2946862" y="7204957"/>
                </a:lnTo>
                <a:close/>
                <a:moveTo>
                  <a:pt x="4247643" y="6016037"/>
                </a:moveTo>
                <a:lnTo>
                  <a:pt x="4621582" y="6016037"/>
                </a:lnTo>
                <a:lnTo>
                  <a:pt x="4621582" y="6111287"/>
                </a:lnTo>
                <a:lnTo>
                  <a:pt x="4621582" y="7209837"/>
                </a:lnTo>
                <a:lnTo>
                  <a:pt x="4621582" y="7305087"/>
                </a:lnTo>
                <a:lnTo>
                  <a:pt x="4247643" y="7305087"/>
                </a:lnTo>
                <a:lnTo>
                  <a:pt x="4247643" y="7209837"/>
                </a:lnTo>
                <a:lnTo>
                  <a:pt x="4506393" y="7209837"/>
                </a:lnTo>
                <a:lnTo>
                  <a:pt x="4506393" y="6111287"/>
                </a:lnTo>
                <a:lnTo>
                  <a:pt x="4247643" y="6111287"/>
                </a:lnTo>
                <a:close/>
                <a:moveTo>
                  <a:pt x="3773921" y="6016037"/>
                </a:moveTo>
                <a:lnTo>
                  <a:pt x="4147860" y="6016037"/>
                </a:lnTo>
                <a:lnTo>
                  <a:pt x="4147860" y="6111287"/>
                </a:lnTo>
                <a:lnTo>
                  <a:pt x="3889111" y="6111287"/>
                </a:lnTo>
                <a:lnTo>
                  <a:pt x="3889111" y="7209837"/>
                </a:lnTo>
                <a:lnTo>
                  <a:pt x="4147860" y="7209837"/>
                </a:lnTo>
                <a:lnTo>
                  <a:pt x="4147860" y="7305087"/>
                </a:lnTo>
                <a:lnTo>
                  <a:pt x="3773921" y="7305087"/>
                </a:lnTo>
                <a:lnTo>
                  <a:pt x="3773921" y="7209837"/>
                </a:lnTo>
                <a:lnTo>
                  <a:pt x="3773921" y="6111287"/>
                </a:lnTo>
                <a:close/>
                <a:moveTo>
                  <a:pt x="6688042" y="5528924"/>
                </a:moveTo>
                <a:lnTo>
                  <a:pt x="6895043" y="5528924"/>
                </a:lnTo>
                <a:lnTo>
                  <a:pt x="6895043" y="5702536"/>
                </a:lnTo>
                <a:lnTo>
                  <a:pt x="6688042" y="5702536"/>
                </a:lnTo>
                <a:close/>
                <a:moveTo>
                  <a:pt x="3990746" y="5378675"/>
                </a:moveTo>
                <a:lnTo>
                  <a:pt x="4895538" y="5378675"/>
                </a:lnTo>
                <a:lnTo>
                  <a:pt x="4895538" y="5485512"/>
                </a:lnTo>
                <a:lnTo>
                  <a:pt x="3990746" y="5485512"/>
                </a:lnTo>
                <a:close/>
                <a:moveTo>
                  <a:pt x="1270097" y="5378675"/>
                </a:moveTo>
                <a:lnTo>
                  <a:pt x="2174890" y="5378675"/>
                </a:lnTo>
                <a:lnTo>
                  <a:pt x="2174890" y="5485512"/>
                </a:lnTo>
                <a:lnTo>
                  <a:pt x="1270097" y="5485512"/>
                </a:lnTo>
                <a:close/>
                <a:moveTo>
                  <a:pt x="3990746" y="5029777"/>
                </a:moveTo>
                <a:lnTo>
                  <a:pt x="4895538" y="5029777"/>
                </a:lnTo>
                <a:lnTo>
                  <a:pt x="4895538" y="5136615"/>
                </a:lnTo>
                <a:lnTo>
                  <a:pt x="3990746" y="5136615"/>
                </a:lnTo>
                <a:close/>
                <a:moveTo>
                  <a:pt x="1270097" y="5029777"/>
                </a:moveTo>
                <a:lnTo>
                  <a:pt x="2174890" y="5029777"/>
                </a:lnTo>
                <a:lnTo>
                  <a:pt x="2174890" y="5136615"/>
                </a:lnTo>
                <a:lnTo>
                  <a:pt x="1270097" y="5136615"/>
                </a:lnTo>
                <a:close/>
                <a:moveTo>
                  <a:pt x="6062007" y="4507277"/>
                </a:moveTo>
                <a:lnTo>
                  <a:pt x="6115077" y="4509153"/>
                </a:lnTo>
                <a:lnTo>
                  <a:pt x="6164198" y="4514730"/>
                </a:lnTo>
                <a:lnTo>
                  <a:pt x="6209503" y="4523925"/>
                </a:lnTo>
                <a:lnTo>
                  <a:pt x="6251125" y="4536657"/>
                </a:lnTo>
                <a:lnTo>
                  <a:pt x="6289196" y="4552845"/>
                </a:lnTo>
                <a:lnTo>
                  <a:pt x="6323849" y="4572406"/>
                </a:lnTo>
                <a:lnTo>
                  <a:pt x="6355216" y="4595261"/>
                </a:lnTo>
                <a:lnTo>
                  <a:pt x="6383431" y="4621327"/>
                </a:lnTo>
                <a:lnTo>
                  <a:pt x="6408627" y="4650523"/>
                </a:lnTo>
                <a:lnTo>
                  <a:pt x="6430935" y="4682768"/>
                </a:lnTo>
                <a:lnTo>
                  <a:pt x="6450488" y="4717980"/>
                </a:lnTo>
                <a:lnTo>
                  <a:pt x="6467420" y="4756077"/>
                </a:lnTo>
                <a:lnTo>
                  <a:pt x="6481863" y="4796980"/>
                </a:lnTo>
                <a:lnTo>
                  <a:pt x="6493950" y="4840605"/>
                </a:lnTo>
                <a:lnTo>
                  <a:pt x="6503813" y="4886873"/>
                </a:lnTo>
                <a:lnTo>
                  <a:pt x="6511585" y="4935701"/>
                </a:lnTo>
                <a:lnTo>
                  <a:pt x="6517399" y="4987008"/>
                </a:lnTo>
                <a:lnTo>
                  <a:pt x="6521387" y="5040712"/>
                </a:lnTo>
                <a:lnTo>
                  <a:pt x="6523683" y="5096732"/>
                </a:lnTo>
                <a:lnTo>
                  <a:pt x="6524419" y="5154988"/>
                </a:lnTo>
                <a:lnTo>
                  <a:pt x="6523719" y="5213493"/>
                </a:lnTo>
                <a:lnTo>
                  <a:pt x="6521522" y="5269763"/>
                </a:lnTo>
                <a:lnTo>
                  <a:pt x="6517686" y="5323713"/>
                </a:lnTo>
                <a:lnTo>
                  <a:pt x="6512065" y="5375263"/>
                </a:lnTo>
                <a:lnTo>
                  <a:pt x="6504517" y="5424328"/>
                </a:lnTo>
                <a:lnTo>
                  <a:pt x="6494896" y="5470827"/>
                </a:lnTo>
                <a:lnTo>
                  <a:pt x="6483059" y="5514676"/>
                </a:lnTo>
                <a:lnTo>
                  <a:pt x="6468862" y="5555794"/>
                </a:lnTo>
                <a:lnTo>
                  <a:pt x="6452162" y="5594097"/>
                </a:lnTo>
                <a:lnTo>
                  <a:pt x="6432813" y="5629503"/>
                </a:lnTo>
                <a:lnTo>
                  <a:pt x="6410672" y="5661929"/>
                </a:lnTo>
                <a:lnTo>
                  <a:pt x="6385595" y="5691293"/>
                </a:lnTo>
                <a:lnTo>
                  <a:pt x="6357438" y="5717511"/>
                </a:lnTo>
                <a:lnTo>
                  <a:pt x="6326057" y="5740502"/>
                </a:lnTo>
                <a:lnTo>
                  <a:pt x="6291309" y="5760183"/>
                </a:lnTo>
                <a:lnTo>
                  <a:pt x="6253048" y="5776470"/>
                </a:lnTo>
                <a:lnTo>
                  <a:pt x="6211131" y="5789282"/>
                </a:lnTo>
                <a:lnTo>
                  <a:pt x="6165415" y="5798536"/>
                </a:lnTo>
                <a:lnTo>
                  <a:pt x="6115755" y="5804149"/>
                </a:lnTo>
                <a:lnTo>
                  <a:pt x="6062007" y="5806038"/>
                </a:lnTo>
                <a:lnTo>
                  <a:pt x="6062007" y="5709215"/>
                </a:lnTo>
                <a:lnTo>
                  <a:pt x="6111692" y="5706982"/>
                </a:lnTo>
                <a:lnTo>
                  <a:pt x="6156613" y="5700361"/>
                </a:lnTo>
                <a:lnTo>
                  <a:pt x="6196995" y="5689472"/>
                </a:lnTo>
                <a:lnTo>
                  <a:pt x="6233066" y="5674432"/>
                </a:lnTo>
                <a:lnTo>
                  <a:pt x="6293177" y="5632372"/>
                </a:lnTo>
                <a:lnTo>
                  <a:pt x="6338757" y="5575128"/>
                </a:lnTo>
                <a:lnTo>
                  <a:pt x="6356662" y="5541107"/>
                </a:lnTo>
                <a:lnTo>
                  <a:pt x="6371614" y="5503645"/>
                </a:lnTo>
                <a:lnTo>
                  <a:pt x="6383838" y="5462861"/>
                </a:lnTo>
                <a:lnTo>
                  <a:pt x="6393561" y="5418871"/>
                </a:lnTo>
                <a:lnTo>
                  <a:pt x="6401008" y="5371794"/>
                </a:lnTo>
                <a:lnTo>
                  <a:pt x="6406407" y="5321750"/>
                </a:lnTo>
                <a:lnTo>
                  <a:pt x="6409983" y="5268855"/>
                </a:lnTo>
                <a:lnTo>
                  <a:pt x="6411962" y="5213228"/>
                </a:lnTo>
                <a:lnTo>
                  <a:pt x="6412572" y="5154988"/>
                </a:lnTo>
                <a:lnTo>
                  <a:pt x="6411930" y="5097319"/>
                </a:lnTo>
                <a:lnTo>
                  <a:pt x="6409860" y="5042230"/>
                </a:lnTo>
                <a:lnTo>
                  <a:pt x="6406150" y="4989837"/>
                </a:lnTo>
                <a:lnTo>
                  <a:pt x="6400584" y="4940261"/>
                </a:lnTo>
                <a:lnTo>
                  <a:pt x="6392949" y="4893617"/>
                </a:lnTo>
                <a:lnTo>
                  <a:pt x="6383031" y="4850025"/>
                </a:lnTo>
                <a:lnTo>
                  <a:pt x="6370615" y="4809604"/>
                </a:lnTo>
                <a:lnTo>
                  <a:pt x="6355488" y="4772472"/>
                </a:lnTo>
                <a:lnTo>
                  <a:pt x="6337435" y="4738746"/>
                </a:lnTo>
                <a:lnTo>
                  <a:pt x="6291697" y="4681987"/>
                </a:lnTo>
                <a:lnTo>
                  <a:pt x="6231688" y="4640273"/>
                </a:lnTo>
                <a:lnTo>
                  <a:pt x="6195796" y="4625355"/>
                </a:lnTo>
                <a:lnTo>
                  <a:pt x="6155695" y="4614552"/>
                </a:lnTo>
                <a:lnTo>
                  <a:pt x="6111170" y="4607983"/>
                </a:lnTo>
                <a:lnTo>
                  <a:pt x="6062007" y="4605768"/>
                </a:lnTo>
                <a:close/>
                <a:moveTo>
                  <a:pt x="5970138" y="4507277"/>
                </a:moveTo>
                <a:lnTo>
                  <a:pt x="5970138" y="4605768"/>
                </a:lnTo>
                <a:lnTo>
                  <a:pt x="5921252" y="4607983"/>
                </a:lnTo>
                <a:lnTo>
                  <a:pt x="5876971" y="4614552"/>
                </a:lnTo>
                <a:lnTo>
                  <a:pt x="5837085" y="4625355"/>
                </a:lnTo>
                <a:lnTo>
                  <a:pt x="5801379" y="4640273"/>
                </a:lnTo>
                <a:lnTo>
                  <a:pt x="5741664" y="4681987"/>
                </a:lnTo>
                <a:lnTo>
                  <a:pt x="5696130" y="4738746"/>
                </a:lnTo>
                <a:lnTo>
                  <a:pt x="5678151" y="4772472"/>
                </a:lnTo>
                <a:lnTo>
                  <a:pt x="5663081" y="4809604"/>
                </a:lnTo>
                <a:lnTo>
                  <a:pt x="5650709" y="4850025"/>
                </a:lnTo>
                <a:lnTo>
                  <a:pt x="5640821" y="4893617"/>
                </a:lnTo>
                <a:lnTo>
                  <a:pt x="5633207" y="4940261"/>
                </a:lnTo>
                <a:lnTo>
                  <a:pt x="5627654" y="4989837"/>
                </a:lnTo>
                <a:lnTo>
                  <a:pt x="5623950" y="5042230"/>
                </a:lnTo>
                <a:lnTo>
                  <a:pt x="5621883" y="5097319"/>
                </a:lnTo>
                <a:lnTo>
                  <a:pt x="5621241" y="5154988"/>
                </a:lnTo>
                <a:lnTo>
                  <a:pt x="5621867" y="5213228"/>
                </a:lnTo>
                <a:lnTo>
                  <a:pt x="5623889" y="5268855"/>
                </a:lnTo>
                <a:lnTo>
                  <a:pt x="5627526" y="5321750"/>
                </a:lnTo>
                <a:lnTo>
                  <a:pt x="5632995" y="5371794"/>
                </a:lnTo>
                <a:lnTo>
                  <a:pt x="5640516" y="5418871"/>
                </a:lnTo>
                <a:lnTo>
                  <a:pt x="5650305" y="5462861"/>
                </a:lnTo>
                <a:lnTo>
                  <a:pt x="5662582" y="5503645"/>
                </a:lnTo>
                <a:lnTo>
                  <a:pt x="5677564" y="5541107"/>
                </a:lnTo>
                <a:lnTo>
                  <a:pt x="5695470" y="5575128"/>
                </a:lnTo>
                <a:lnTo>
                  <a:pt x="5740924" y="5632372"/>
                </a:lnTo>
                <a:lnTo>
                  <a:pt x="5800690" y="5674432"/>
                </a:lnTo>
                <a:lnTo>
                  <a:pt x="5836485" y="5689472"/>
                </a:lnTo>
                <a:lnTo>
                  <a:pt x="5876513" y="5700361"/>
                </a:lnTo>
                <a:lnTo>
                  <a:pt x="5920991" y="5706982"/>
                </a:lnTo>
                <a:lnTo>
                  <a:pt x="5970138" y="5709215"/>
                </a:lnTo>
                <a:lnTo>
                  <a:pt x="5970138" y="5806038"/>
                </a:lnTo>
                <a:lnTo>
                  <a:pt x="5916615" y="5804149"/>
                </a:lnTo>
                <a:lnTo>
                  <a:pt x="5867135" y="5798536"/>
                </a:lnTo>
                <a:lnTo>
                  <a:pt x="5821555" y="5789282"/>
                </a:lnTo>
                <a:lnTo>
                  <a:pt x="5779737" y="5776470"/>
                </a:lnTo>
                <a:lnTo>
                  <a:pt x="5741540" y="5760183"/>
                </a:lnTo>
                <a:lnTo>
                  <a:pt x="5706823" y="5740502"/>
                </a:lnTo>
                <a:lnTo>
                  <a:pt x="5675446" y="5717511"/>
                </a:lnTo>
                <a:lnTo>
                  <a:pt x="5647270" y="5691293"/>
                </a:lnTo>
                <a:lnTo>
                  <a:pt x="5622154" y="5661929"/>
                </a:lnTo>
                <a:lnTo>
                  <a:pt x="5599957" y="5629503"/>
                </a:lnTo>
                <a:lnTo>
                  <a:pt x="5580540" y="5594097"/>
                </a:lnTo>
                <a:lnTo>
                  <a:pt x="5563762" y="5555794"/>
                </a:lnTo>
                <a:lnTo>
                  <a:pt x="5549483" y="5514676"/>
                </a:lnTo>
                <a:lnTo>
                  <a:pt x="5537563" y="5470827"/>
                </a:lnTo>
                <a:lnTo>
                  <a:pt x="5527862" y="5424328"/>
                </a:lnTo>
                <a:lnTo>
                  <a:pt x="5520239" y="5375263"/>
                </a:lnTo>
                <a:lnTo>
                  <a:pt x="5514554" y="5323713"/>
                </a:lnTo>
                <a:lnTo>
                  <a:pt x="5510667" y="5269763"/>
                </a:lnTo>
                <a:lnTo>
                  <a:pt x="5508437" y="5213493"/>
                </a:lnTo>
                <a:lnTo>
                  <a:pt x="5507726" y="5154988"/>
                </a:lnTo>
                <a:lnTo>
                  <a:pt x="5508461" y="5096732"/>
                </a:lnTo>
                <a:lnTo>
                  <a:pt x="5510757" y="5040712"/>
                </a:lnTo>
                <a:lnTo>
                  <a:pt x="5514746" y="4987008"/>
                </a:lnTo>
                <a:lnTo>
                  <a:pt x="5520559" y="4935701"/>
                </a:lnTo>
                <a:lnTo>
                  <a:pt x="5528332" y="4886873"/>
                </a:lnTo>
                <a:lnTo>
                  <a:pt x="5538195" y="4840605"/>
                </a:lnTo>
                <a:lnTo>
                  <a:pt x="5550281" y="4796980"/>
                </a:lnTo>
                <a:lnTo>
                  <a:pt x="5564724" y="4756077"/>
                </a:lnTo>
                <a:lnTo>
                  <a:pt x="5581656" y="4717980"/>
                </a:lnTo>
                <a:lnTo>
                  <a:pt x="5601209" y="4682768"/>
                </a:lnTo>
                <a:lnTo>
                  <a:pt x="5623517" y="4650523"/>
                </a:lnTo>
                <a:lnTo>
                  <a:pt x="5648713" y="4621327"/>
                </a:lnTo>
                <a:lnTo>
                  <a:pt x="5676928" y="4595261"/>
                </a:lnTo>
                <a:lnTo>
                  <a:pt x="5708295" y="4572406"/>
                </a:lnTo>
                <a:lnTo>
                  <a:pt x="5742948" y="4552845"/>
                </a:lnTo>
                <a:lnTo>
                  <a:pt x="5781019" y="4536657"/>
                </a:lnTo>
                <a:lnTo>
                  <a:pt x="5822641" y="4523925"/>
                </a:lnTo>
                <a:lnTo>
                  <a:pt x="5867946" y="4514730"/>
                </a:lnTo>
                <a:lnTo>
                  <a:pt x="5917067" y="4509153"/>
                </a:lnTo>
                <a:close/>
                <a:moveTo>
                  <a:pt x="2916306" y="4507277"/>
                </a:moveTo>
                <a:lnTo>
                  <a:pt x="2969376" y="4509153"/>
                </a:lnTo>
                <a:lnTo>
                  <a:pt x="3018497" y="4514730"/>
                </a:lnTo>
                <a:lnTo>
                  <a:pt x="3063803" y="4523925"/>
                </a:lnTo>
                <a:lnTo>
                  <a:pt x="3105426" y="4536657"/>
                </a:lnTo>
                <a:lnTo>
                  <a:pt x="3143497" y="4552845"/>
                </a:lnTo>
                <a:lnTo>
                  <a:pt x="3178150" y="4572406"/>
                </a:lnTo>
                <a:lnTo>
                  <a:pt x="3209516" y="4595261"/>
                </a:lnTo>
                <a:lnTo>
                  <a:pt x="3237732" y="4621327"/>
                </a:lnTo>
                <a:lnTo>
                  <a:pt x="3262928" y="4650523"/>
                </a:lnTo>
                <a:lnTo>
                  <a:pt x="3285236" y="4682768"/>
                </a:lnTo>
                <a:lnTo>
                  <a:pt x="3304789" y="4717980"/>
                </a:lnTo>
                <a:lnTo>
                  <a:pt x="3321718" y="4756077"/>
                </a:lnTo>
                <a:lnTo>
                  <a:pt x="3336161" y="4796980"/>
                </a:lnTo>
                <a:lnTo>
                  <a:pt x="3348248" y="4840605"/>
                </a:lnTo>
                <a:lnTo>
                  <a:pt x="3358111" y="4886873"/>
                </a:lnTo>
                <a:lnTo>
                  <a:pt x="3365883" y="4935701"/>
                </a:lnTo>
                <a:lnTo>
                  <a:pt x="3371697" y="4987008"/>
                </a:lnTo>
                <a:lnTo>
                  <a:pt x="3375685" y="5040712"/>
                </a:lnTo>
                <a:lnTo>
                  <a:pt x="3377981" y="5096732"/>
                </a:lnTo>
                <a:lnTo>
                  <a:pt x="3378717" y="5154988"/>
                </a:lnTo>
                <a:lnTo>
                  <a:pt x="3378017" y="5213493"/>
                </a:lnTo>
                <a:lnTo>
                  <a:pt x="3375820" y="5269763"/>
                </a:lnTo>
                <a:lnTo>
                  <a:pt x="3371984" y="5323713"/>
                </a:lnTo>
                <a:lnTo>
                  <a:pt x="3366363" y="5375263"/>
                </a:lnTo>
                <a:lnTo>
                  <a:pt x="3358815" y="5424328"/>
                </a:lnTo>
                <a:lnTo>
                  <a:pt x="3349194" y="5470827"/>
                </a:lnTo>
                <a:lnTo>
                  <a:pt x="3337357" y="5514676"/>
                </a:lnTo>
                <a:lnTo>
                  <a:pt x="3323160" y="5555794"/>
                </a:lnTo>
                <a:lnTo>
                  <a:pt x="3306462" y="5594097"/>
                </a:lnTo>
                <a:lnTo>
                  <a:pt x="3287114" y="5629503"/>
                </a:lnTo>
                <a:lnTo>
                  <a:pt x="3264973" y="5661929"/>
                </a:lnTo>
                <a:lnTo>
                  <a:pt x="3239895" y="5691293"/>
                </a:lnTo>
                <a:lnTo>
                  <a:pt x="3211738" y="5717511"/>
                </a:lnTo>
                <a:lnTo>
                  <a:pt x="3180357" y="5740502"/>
                </a:lnTo>
                <a:lnTo>
                  <a:pt x="3145609" y="5760183"/>
                </a:lnTo>
                <a:lnTo>
                  <a:pt x="3107348" y="5776470"/>
                </a:lnTo>
                <a:lnTo>
                  <a:pt x="3065431" y="5789282"/>
                </a:lnTo>
                <a:lnTo>
                  <a:pt x="3019716" y="5798536"/>
                </a:lnTo>
                <a:lnTo>
                  <a:pt x="2970054" y="5804149"/>
                </a:lnTo>
                <a:lnTo>
                  <a:pt x="2916306" y="5806038"/>
                </a:lnTo>
                <a:lnTo>
                  <a:pt x="2916306" y="5709215"/>
                </a:lnTo>
                <a:lnTo>
                  <a:pt x="2965992" y="5706982"/>
                </a:lnTo>
                <a:lnTo>
                  <a:pt x="3010913" y="5700361"/>
                </a:lnTo>
                <a:lnTo>
                  <a:pt x="3051294" y="5689472"/>
                </a:lnTo>
                <a:lnTo>
                  <a:pt x="3087367" y="5674432"/>
                </a:lnTo>
                <a:lnTo>
                  <a:pt x="3147477" y="5632372"/>
                </a:lnTo>
                <a:lnTo>
                  <a:pt x="3193057" y="5575128"/>
                </a:lnTo>
                <a:lnTo>
                  <a:pt x="3210963" y="5541107"/>
                </a:lnTo>
                <a:lnTo>
                  <a:pt x="3225916" y="5503645"/>
                </a:lnTo>
                <a:lnTo>
                  <a:pt x="3238139" y="5462861"/>
                </a:lnTo>
                <a:lnTo>
                  <a:pt x="3247862" y="5418871"/>
                </a:lnTo>
                <a:lnTo>
                  <a:pt x="3255309" y="5371794"/>
                </a:lnTo>
                <a:lnTo>
                  <a:pt x="3260708" y="5321750"/>
                </a:lnTo>
                <a:lnTo>
                  <a:pt x="3264284" y="5268855"/>
                </a:lnTo>
                <a:lnTo>
                  <a:pt x="3266263" y="5213228"/>
                </a:lnTo>
                <a:lnTo>
                  <a:pt x="3266872" y="5154988"/>
                </a:lnTo>
                <a:lnTo>
                  <a:pt x="3266231" y="5097319"/>
                </a:lnTo>
                <a:lnTo>
                  <a:pt x="3264161" y="5042230"/>
                </a:lnTo>
                <a:lnTo>
                  <a:pt x="3260451" y="4989837"/>
                </a:lnTo>
                <a:lnTo>
                  <a:pt x="3254885" y="4940261"/>
                </a:lnTo>
                <a:lnTo>
                  <a:pt x="3247250" y="4893617"/>
                </a:lnTo>
                <a:lnTo>
                  <a:pt x="3237332" y="4850025"/>
                </a:lnTo>
                <a:lnTo>
                  <a:pt x="3224916" y="4809604"/>
                </a:lnTo>
                <a:lnTo>
                  <a:pt x="3209789" y="4772472"/>
                </a:lnTo>
                <a:lnTo>
                  <a:pt x="3191735" y="4738746"/>
                </a:lnTo>
                <a:lnTo>
                  <a:pt x="3145998" y="4681987"/>
                </a:lnTo>
                <a:lnTo>
                  <a:pt x="3085988" y="4640273"/>
                </a:lnTo>
                <a:lnTo>
                  <a:pt x="3050095" y="4625355"/>
                </a:lnTo>
                <a:lnTo>
                  <a:pt x="3009995" y="4614552"/>
                </a:lnTo>
                <a:lnTo>
                  <a:pt x="2965470" y="4607983"/>
                </a:lnTo>
                <a:lnTo>
                  <a:pt x="2916306" y="4605768"/>
                </a:lnTo>
                <a:close/>
                <a:moveTo>
                  <a:pt x="2824439" y="4507277"/>
                </a:moveTo>
                <a:lnTo>
                  <a:pt x="2824439" y="4605768"/>
                </a:lnTo>
                <a:lnTo>
                  <a:pt x="2775553" y="4607983"/>
                </a:lnTo>
                <a:lnTo>
                  <a:pt x="2731271" y="4614552"/>
                </a:lnTo>
                <a:lnTo>
                  <a:pt x="2691385" y="4625355"/>
                </a:lnTo>
                <a:lnTo>
                  <a:pt x="2655680" y="4640273"/>
                </a:lnTo>
                <a:lnTo>
                  <a:pt x="2595965" y="4681987"/>
                </a:lnTo>
                <a:lnTo>
                  <a:pt x="2550430" y="4738746"/>
                </a:lnTo>
                <a:lnTo>
                  <a:pt x="2532451" y="4772472"/>
                </a:lnTo>
                <a:lnTo>
                  <a:pt x="2517381" y="4809604"/>
                </a:lnTo>
                <a:lnTo>
                  <a:pt x="2505009" y="4850025"/>
                </a:lnTo>
                <a:lnTo>
                  <a:pt x="2495121" y="4893617"/>
                </a:lnTo>
                <a:lnTo>
                  <a:pt x="2487508" y="4940261"/>
                </a:lnTo>
                <a:lnTo>
                  <a:pt x="2481955" y="4989837"/>
                </a:lnTo>
                <a:lnTo>
                  <a:pt x="2478251" y="5042230"/>
                </a:lnTo>
                <a:lnTo>
                  <a:pt x="2476183" y="5097319"/>
                </a:lnTo>
                <a:lnTo>
                  <a:pt x="2475541" y="5154988"/>
                </a:lnTo>
                <a:lnTo>
                  <a:pt x="2476168" y="5213228"/>
                </a:lnTo>
                <a:lnTo>
                  <a:pt x="2478189" y="5268855"/>
                </a:lnTo>
                <a:lnTo>
                  <a:pt x="2481827" y="5321750"/>
                </a:lnTo>
                <a:lnTo>
                  <a:pt x="2487296" y="5371794"/>
                </a:lnTo>
                <a:lnTo>
                  <a:pt x="2494816" y="5418871"/>
                </a:lnTo>
                <a:lnTo>
                  <a:pt x="2504605" y="5462861"/>
                </a:lnTo>
                <a:lnTo>
                  <a:pt x="2516882" y="5503645"/>
                </a:lnTo>
                <a:lnTo>
                  <a:pt x="2531865" y="5541107"/>
                </a:lnTo>
                <a:lnTo>
                  <a:pt x="2549770" y="5575128"/>
                </a:lnTo>
                <a:lnTo>
                  <a:pt x="2595224" y="5632372"/>
                </a:lnTo>
                <a:lnTo>
                  <a:pt x="2654990" y="5674432"/>
                </a:lnTo>
                <a:lnTo>
                  <a:pt x="2690785" y="5689472"/>
                </a:lnTo>
                <a:lnTo>
                  <a:pt x="2730814" y="5700361"/>
                </a:lnTo>
                <a:lnTo>
                  <a:pt x="2775291" y="5706982"/>
                </a:lnTo>
                <a:lnTo>
                  <a:pt x="2824439" y="5709215"/>
                </a:lnTo>
                <a:lnTo>
                  <a:pt x="2824439" y="5806038"/>
                </a:lnTo>
                <a:lnTo>
                  <a:pt x="2770915" y="5804149"/>
                </a:lnTo>
                <a:lnTo>
                  <a:pt x="2721436" y="5798536"/>
                </a:lnTo>
                <a:lnTo>
                  <a:pt x="2675855" y="5789282"/>
                </a:lnTo>
                <a:lnTo>
                  <a:pt x="2634037" y="5776470"/>
                </a:lnTo>
                <a:lnTo>
                  <a:pt x="2595840" y="5760183"/>
                </a:lnTo>
                <a:lnTo>
                  <a:pt x="2561122" y="5740502"/>
                </a:lnTo>
                <a:lnTo>
                  <a:pt x="2529747" y="5717511"/>
                </a:lnTo>
                <a:lnTo>
                  <a:pt x="2501571" y="5691293"/>
                </a:lnTo>
                <a:lnTo>
                  <a:pt x="2476454" y="5661929"/>
                </a:lnTo>
                <a:lnTo>
                  <a:pt x="2454257" y="5629503"/>
                </a:lnTo>
                <a:lnTo>
                  <a:pt x="2434840" y="5594097"/>
                </a:lnTo>
                <a:lnTo>
                  <a:pt x="2418062" y="5555794"/>
                </a:lnTo>
                <a:lnTo>
                  <a:pt x="2403783" y="5514676"/>
                </a:lnTo>
                <a:lnTo>
                  <a:pt x="2391863" y="5470827"/>
                </a:lnTo>
                <a:lnTo>
                  <a:pt x="2382162" y="5424328"/>
                </a:lnTo>
                <a:lnTo>
                  <a:pt x="2374539" y="5375263"/>
                </a:lnTo>
                <a:lnTo>
                  <a:pt x="2368854" y="5323713"/>
                </a:lnTo>
                <a:lnTo>
                  <a:pt x="2364967" y="5269763"/>
                </a:lnTo>
                <a:lnTo>
                  <a:pt x="2362736" y="5213493"/>
                </a:lnTo>
                <a:lnTo>
                  <a:pt x="2362026" y="5154988"/>
                </a:lnTo>
                <a:lnTo>
                  <a:pt x="2362760" y="5096732"/>
                </a:lnTo>
                <a:lnTo>
                  <a:pt x="2365057" y="5040712"/>
                </a:lnTo>
                <a:lnTo>
                  <a:pt x="2369046" y="4987008"/>
                </a:lnTo>
                <a:lnTo>
                  <a:pt x="2374859" y="4935701"/>
                </a:lnTo>
                <a:lnTo>
                  <a:pt x="2382632" y="4886873"/>
                </a:lnTo>
                <a:lnTo>
                  <a:pt x="2392495" y="4840605"/>
                </a:lnTo>
                <a:lnTo>
                  <a:pt x="2404581" y="4796980"/>
                </a:lnTo>
                <a:lnTo>
                  <a:pt x="2419024" y="4756077"/>
                </a:lnTo>
                <a:lnTo>
                  <a:pt x="2435956" y="4717980"/>
                </a:lnTo>
                <a:lnTo>
                  <a:pt x="2455509" y="4682768"/>
                </a:lnTo>
                <a:lnTo>
                  <a:pt x="2477817" y="4650523"/>
                </a:lnTo>
                <a:lnTo>
                  <a:pt x="2503013" y="4621327"/>
                </a:lnTo>
                <a:lnTo>
                  <a:pt x="2531228" y="4595261"/>
                </a:lnTo>
                <a:lnTo>
                  <a:pt x="2562596" y="4572406"/>
                </a:lnTo>
                <a:lnTo>
                  <a:pt x="2597248" y="4552845"/>
                </a:lnTo>
                <a:lnTo>
                  <a:pt x="2635318" y="4536657"/>
                </a:lnTo>
                <a:lnTo>
                  <a:pt x="2676942" y="4523925"/>
                </a:lnTo>
                <a:lnTo>
                  <a:pt x="2722247" y="4514730"/>
                </a:lnTo>
                <a:lnTo>
                  <a:pt x="2771367" y="4509153"/>
                </a:lnTo>
                <a:close/>
                <a:moveTo>
                  <a:pt x="2506783" y="4026496"/>
                </a:moveTo>
                <a:lnTo>
                  <a:pt x="2549012" y="4030174"/>
                </a:lnTo>
                <a:lnTo>
                  <a:pt x="2581695" y="4043398"/>
                </a:lnTo>
                <a:lnTo>
                  <a:pt x="2602796" y="4069456"/>
                </a:lnTo>
                <a:lnTo>
                  <a:pt x="2610283" y="4111633"/>
                </a:lnTo>
                <a:lnTo>
                  <a:pt x="2602796" y="4155741"/>
                </a:lnTo>
                <a:lnTo>
                  <a:pt x="2581695" y="4182790"/>
                </a:lnTo>
                <a:lnTo>
                  <a:pt x="2549012" y="4196380"/>
                </a:lnTo>
                <a:lnTo>
                  <a:pt x="2506783" y="4200110"/>
                </a:lnTo>
                <a:lnTo>
                  <a:pt x="2464554" y="4196380"/>
                </a:lnTo>
                <a:lnTo>
                  <a:pt x="2431870" y="4182790"/>
                </a:lnTo>
                <a:lnTo>
                  <a:pt x="2410769" y="4155741"/>
                </a:lnTo>
                <a:lnTo>
                  <a:pt x="2403283" y="4111633"/>
                </a:lnTo>
                <a:lnTo>
                  <a:pt x="2411003" y="4069456"/>
                </a:lnTo>
                <a:lnTo>
                  <a:pt x="2432496" y="4043398"/>
                </a:lnTo>
                <a:lnTo>
                  <a:pt x="2465257" y="4030174"/>
                </a:lnTo>
                <a:close/>
                <a:moveTo>
                  <a:pt x="2506783" y="3325365"/>
                </a:moveTo>
                <a:lnTo>
                  <a:pt x="2549012" y="3328834"/>
                </a:lnTo>
                <a:lnTo>
                  <a:pt x="2581695" y="3341849"/>
                </a:lnTo>
                <a:lnTo>
                  <a:pt x="2602796" y="3368324"/>
                </a:lnTo>
                <a:lnTo>
                  <a:pt x="2610283" y="3412171"/>
                </a:lnTo>
                <a:lnTo>
                  <a:pt x="2602796" y="3454609"/>
                </a:lnTo>
                <a:lnTo>
                  <a:pt x="2581695" y="3481240"/>
                </a:lnTo>
                <a:lnTo>
                  <a:pt x="2549012" y="3495038"/>
                </a:lnTo>
                <a:lnTo>
                  <a:pt x="2506783" y="3498977"/>
                </a:lnTo>
                <a:lnTo>
                  <a:pt x="2465519" y="3495038"/>
                </a:lnTo>
                <a:lnTo>
                  <a:pt x="2433331" y="3481240"/>
                </a:lnTo>
                <a:lnTo>
                  <a:pt x="2412411" y="3454609"/>
                </a:lnTo>
                <a:lnTo>
                  <a:pt x="2404952" y="3412171"/>
                </a:lnTo>
                <a:lnTo>
                  <a:pt x="2412411" y="3368324"/>
                </a:lnTo>
                <a:lnTo>
                  <a:pt x="2433331" y="3341849"/>
                </a:lnTo>
                <a:lnTo>
                  <a:pt x="2465519" y="3328834"/>
                </a:lnTo>
                <a:close/>
                <a:moveTo>
                  <a:pt x="3576931" y="3011218"/>
                </a:moveTo>
                <a:lnTo>
                  <a:pt x="3950858" y="3011218"/>
                </a:lnTo>
                <a:lnTo>
                  <a:pt x="3950858" y="3106468"/>
                </a:lnTo>
                <a:lnTo>
                  <a:pt x="3950858" y="4205018"/>
                </a:lnTo>
                <a:lnTo>
                  <a:pt x="3950858" y="4300268"/>
                </a:lnTo>
                <a:lnTo>
                  <a:pt x="3576931" y="4300268"/>
                </a:lnTo>
                <a:lnTo>
                  <a:pt x="3576931" y="4205018"/>
                </a:lnTo>
                <a:lnTo>
                  <a:pt x="3835681" y="4205018"/>
                </a:lnTo>
                <a:lnTo>
                  <a:pt x="3835681" y="3106468"/>
                </a:lnTo>
                <a:lnTo>
                  <a:pt x="3576931" y="3106468"/>
                </a:lnTo>
                <a:close/>
                <a:moveTo>
                  <a:pt x="1487809" y="3011218"/>
                </a:moveTo>
                <a:lnTo>
                  <a:pt x="1861748" y="3011218"/>
                </a:lnTo>
                <a:lnTo>
                  <a:pt x="1861748" y="3106468"/>
                </a:lnTo>
                <a:lnTo>
                  <a:pt x="1602998" y="3106468"/>
                </a:lnTo>
                <a:lnTo>
                  <a:pt x="1602998" y="4205018"/>
                </a:lnTo>
                <a:lnTo>
                  <a:pt x="1861748" y="4205018"/>
                </a:lnTo>
                <a:lnTo>
                  <a:pt x="1861748" y="4300268"/>
                </a:lnTo>
                <a:lnTo>
                  <a:pt x="1487809" y="4300268"/>
                </a:lnTo>
                <a:lnTo>
                  <a:pt x="1487809" y="4205018"/>
                </a:lnTo>
                <a:lnTo>
                  <a:pt x="1487809" y="3106468"/>
                </a:lnTo>
                <a:close/>
                <a:moveTo>
                  <a:pt x="7212302" y="3004847"/>
                </a:moveTo>
                <a:lnTo>
                  <a:pt x="7265372" y="3006723"/>
                </a:lnTo>
                <a:lnTo>
                  <a:pt x="7314493" y="3012300"/>
                </a:lnTo>
                <a:lnTo>
                  <a:pt x="7359798" y="3021495"/>
                </a:lnTo>
                <a:lnTo>
                  <a:pt x="7401420" y="3034227"/>
                </a:lnTo>
                <a:lnTo>
                  <a:pt x="7439491" y="3050415"/>
                </a:lnTo>
                <a:lnTo>
                  <a:pt x="7474144" y="3069977"/>
                </a:lnTo>
                <a:lnTo>
                  <a:pt x="7505511" y="3092831"/>
                </a:lnTo>
                <a:lnTo>
                  <a:pt x="7533726" y="3118897"/>
                </a:lnTo>
                <a:lnTo>
                  <a:pt x="7558922" y="3148093"/>
                </a:lnTo>
                <a:lnTo>
                  <a:pt x="7581230" y="3180338"/>
                </a:lnTo>
                <a:lnTo>
                  <a:pt x="7600783" y="3215550"/>
                </a:lnTo>
                <a:lnTo>
                  <a:pt x="7617715" y="3253648"/>
                </a:lnTo>
                <a:lnTo>
                  <a:pt x="7632158" y="3294551"/>
                </a:lnTo>
                <a:lnTo>
                  <a:pt x="7644245" y="3338176"/>
                </a:lnTo>
                <a:lnTo>
                  <a:pt x="7654108" y="3384443"/>
                </a:lnTo>
                <a:lnTo>
                  <a:pt x="7661880" y="3433271"/>
                </a:lnTo>
                <a:lnTo>
                  <a:pt x="7667694" y="3484578"/>
                </a:lnTo>
                <a:lnTo>
                  <a:pt x="7671682" y="3538282"/>
                </a:lnTo>
                <a:lnTo>
                  <a:pt x="7673978" y="3594302"/>
                </a:lnTo>
                <a:lnTo>
                  <a:pt x="7674714" y="3652558"/>
                </a:lnTo>
                <a:lnTo>
                  <a:pt x="7674014" y="3711063"/>
                </a:lnTo>
                <a:lnTo>
                  <a:pt x="7671817" y="3767333"/>
                </a:lnTo>
                <a:lnTo>
                  <a:pt x="7667981" y="3821283"/>
                </a:lnTo>
                <a:lnTo>
                  <a:pt x="7662360" y="3872833"/>
                </a:lnTo>
                <a:lnTo>
                  <a:pt x="7654812" y="3921898"/>
                </a:lnTo>
                <a:lnTo>
                  <a:pt x="7645191" y="3968397"/>
                </a:lnTo>
                <a:lnTo>
                  <a:pt x="7633354" y="4012246"/>
                </a:lnTo>
                <a:lnTo>
                  <a:pt x="7619157" y="4053364"/>
                </a:lnTo>
                <a:lnTo>
                  <a:pt x="7602457" y="4091667"/>
                </a:lnTo>
                <a:lnTo>
                  <a:pt x="7583108" y="4127073"/>
                </a:lnTo>
                <a:lnTo>
                  <a:pt x="7560967" y="4159499"/>
                </a:lnTo>
                <a:lnTo>
                  <a:pt x="7535890" y="4188862"/>
                </a:lnTo>
                <a:lnTo>
                  <a:pt x="7507733" y="4215081"/>
                </a:lnTo>
                <a:lnTo>
                  <a:pt x="7476352" y="4238071"/>
                </a:lnTo>
                <a:lnTo>
                  <a:pt x="7441604" y="4257752"/>
                </a:lnTo>
                <a:lnTo>
                  <a:pt x="7403343" y="4274039"/>
                </a:lnTo>
                <a:lnTo>
                  <a:pt x="7361426" y="4286851"/>
                </a:lnTo>
                <a:lnTo>
                  <a:pt x="7315710" y="4296105"/>
                </a:lnTo>
                <a:lnTo>
                  <a:pt x="7266050" y="4301718"/>
                </a:lnTo>
                <a:lnTo>
                  <a:pt x="7212302" y="4303607"/>
                </a:lnTo>
                <a:lnTo>
                  <a:pt x="7212302" y="4206785"/>
                </a:lnTo>
                <a:lnTo>
                  <a:pt x="7261987" y="4204552"/>
                </a:lnTo>
                <a:lnTo>
                  <a:pt x="7306907" y="4197931"/>
                </a:lnTo>
                <a:lnTo>
                  <a:pt x="7347290" y="4187042"/>
                </a:lnTo>
                <a:lnTo>
                  <a:pt x="7383361" y="4172002"/>
                </a:lnTo>
                <a:lnTo>
                  <a:pt x="7443472" y="4129942"/>
                </a:lnTo>
                <a:lnTo>
                  <a:pt x="7489051" y="4072698"/>
                </a:lnTo>
                <a:lnTo>
                  <a:pt x="7506957" y="4038677"/>
                </a:lnTo>
                <a:lnTo>
                  <a:pt x="7521909" y="4001216"/>
                </a:lnTo>
                <a:lnTo>
                  <a:pt x="7534133" y="3960431"/>
                </a:lnTo>
                <a:lnTo>
                  <a:pt x="7543856" y="3916441"/>
                </a:lnTo>
                <a:lnTo>
                  <a:pt x="7551303" y="3869364"/>
                </a:lnTo>
                <a:lnTo>
                  <a:pt x="7556702" y="3819320"/>
                </a:lnTo>
                <a:lnTo>
                  <a:pt x="7560278" y="3766425"/>
                </a:lnTo>
                <a:lnTo>
                  <a:pt x="7562257" y="3710798"/>
                </a:lnTo>
                <a:lnTo>
                  <a:pt x="7562867" y="3652558"/>
                </a:lnTo>
                <a:lnTo>
                  <a:pt x="7562225" y="3594889"/>
                </a:lnTo>
                <a:lnTo>
                  <a:pt x="7560155" y="3539800"/>
                </a:lnTo>
                <a:lnTo>
                  <a:pt x="7556445" y="3487407"/>
                </a:lnTo>
                <a:lnTo>
                  <a:pt x="7550879" y="3437831"/>
                </a:lnTo>
                <a:lnTo>
                  <a:pt x="7543244" y="3391187"/>
                </a:lnTo>
                <a:lnTo>
                  <a:pt x="7533326" y="3347596"/>
                </a:lnTo>
                <a:lnTo>
                  <a:pt x="7520910" y="3307175"/>
                </a:lnTo>
                <a:lnTo>
                  <a:pt x="7505783" y="3270043"/>
                </a:lnTo>
                <a:lnTo>
                  <a:pt x="7487730" y="3236317"/>
                </a:lnTo>
                <a:lnTo>
                  <a:pt x="7441992" y="3179558"/>
                </a:lnTo>
                <a:lnTo>
                  <a:pt x="7381983" y="3137845"/>
                </a:lnTo>
                <a:lnTo>
                  <a:pt x="7346091" y="3122926"/>
                </a:lnTo>
                <a:lnTo>
                  <a:pt x="7305990" y="3112123"/>
                </a:lnTo>
                <a:lnTo>
                  <a:pt x="7261465" y="3105555"/>
                </a:lnTo>
                <a:lnTo>
                  <a:pt x="7212302" y="3103339"/>
                </a:lnTo>
                <a:close/>
                <a:moveTo>
                  <a:pt x="6695380" y="3004847"/>
                </a:moveTo>
                <a:lnTo>
                  <a:pt x="6695380" y="3103339"/>
                </a:lnTo>
                <a:lnTo>
                  <a:pt x="6646494" y="3105555"/>
                </a:lnTo>
                <a:lnTo>
                  <a:pt x="6602213" y="3112123"/>
                </a:lnTo>
                <a:lnTo>
                  <a:pt x="6562327" y="3122926"/>
                </a:lnTo>
                <a:lnTo>
                  <a:pt x="6526621" y="3137845"/>
                </a:lnTo>
                <a:lnTo>
                  <a:pt x="6466906" y="3179558"/>
                </a:lnTo>
                <a:lnTo>
                  <a:pt x="6421372" y="3236317"/>
                </a:lnTo>
                <a:lnTo>
                  <a:pt x="6403393" y="3270043"/>
                </a:lnTo>
                <a:lnTo>
                  <a:pt x="6388323" y="3307175"/>
                </a:lnTo>
                <a:lnTo>
                  <a:pt x="6375951" y="3347596"/>
                </a:lnTo>
                <a:lnTo>
                  <a:pt x="6366063" y="3391187"/>
                </a:lnTo>
                <a:lnTo>
                  <a:pt x="6358449" y="3437831"/>
                </a:lnTo>
                <a:lnTo>
                  <a:pt x="6352896" y="3487407"/>
                </a:lnTo>
                <a:lnTo>
                  <a:pt x="6349192" y="3539800"/>
                </a:lnTo>
                <a:lnTo>
                  <a:pt x="6347125" y="3594889"/>
                </a:lnTo>
                <a:lnTo>
                  <a:pt x="6346483" y="3652558"/>
                </a:lnTo>
                <a:lnTo>
                  <a:pt x="6347109" y="3710798"/>
                </a:lnTo>
                <a:lnTo>
                  <a:pt x="6349131" y="3766425"/>
                </a:lnTo>
                <a:lnTo>
                  <a:pt x="6352768" y="3819320"/>
                </a:lnTo>
                <a:lnTo>
                  <a:pt x="6358237" y="3869364"/>
                </a:lnTo>
                <a:lnTo>
                  <a:pt x="6365758" y="3916441"/>
                </a:lnTo>
                <a:lnTo>
                  <a:pt x="6375547" y="3960431"/>
                </a:lnTo>
                <a:lnTo>
                  <a:pt x="6387824" y="4001216"/>
                </a:lnTo>
                <a:lnTo>
                  <a:pt x="6402806" y="4038677"/>
                </a:lnTo>
                <a:lnTo>
                  <a:pt x="6420712" y="4072698"/>
                </a:lnTo>
                <a:lnTo>
                  <a:pt x="6466166" y="4129942"/>
                </a:lnTo>
                <a:lnTo>
                  <a:pt x="6525932" y="4172002"/>
                </a:lnTo>
                <a:lnTo>
                  <a:pt x="6561727" y="4187042"/>
                </a:lnTo>
                <a:lnTo>
                  <a:pt x="6601755" y="4197931"/>
                </a:lnTo>
                <a:lnTo>
                  <a:pt x="6646233" y="4204552"/>
                </a:lnTo>
                <a:lnTo>
                  <a:pt x="6695380" y="4206785"/>
                </a:lnTo>
                <a:lnTo>
                  <a:pt x="6695380" y="4303607"/>
                </a:lnTo>
                <a:lnTo>
                  <a:pt x="6641857" y="4301718"/>
                </a:lnTo>
                <a:lnTo>
                  <a:pt x="6592377" y="4296105"/>
                </a:lnTo>
                <a:lnTo>
                  <a:pt x="6546797" y="4286851"/>
                </a:lnTo>
                <a:lnTo>
                  <a:pt x="6504979" y="4274039"/>
                </a:lnTo>
                <a:lnTo>
                  <a:pt x="6466782" y="4257752"/>
                </a:lnTo>
                <a:lnTo>
                  <a:pt x="6432065" y="4238071"/>
                </a:lnTo>
                <a:lnTo>
                  <a:pt x="6400688" y="4215081"/>
                </a:lnTo>
                <a:lnTo>
                  <a:pt x="6372512" y="4188862"/>
                </a:lnTo>
                <a:lnTo>
                  <a:pt x="6347396" y="4159499"/>
                </a:lnTo>
                <a:lnTo>
                  <a:pt x="6325199" y="4127073"/>
                </a:lnTo>
                <a:lnTo>
                  <a:pt x="6305782" y="4091667"/>
                </a:lnTo>
                <a:lnTo>
                  <a:pt x="6289004" y="4053364"/>
                </a:lnTo>
                <a:lnTo>
                  <a:pt x="6274725" y="4012246"/>
                </a:lnTo>
                <a:lnTo>
                  <a:pt x="6262805" y="3968397"/>
                </a:lnTo>
                <a:lnTo>
                  <a:pt x="6253104" y="3921898"/>
                </a:lnTo>
                <a:lnTo>
                  <a:pt x="6245481" y="3872833"/>
                </a:lnTo>
                <a:lnTo>
                  <a:pt x="6239796" y="3821283"/>
                </a:lnTo>
                <a:lnTo>
                  <a:pt x="6235909" y="3767333"/>
                </a:lnTo>
                <a:lnTo>
                  <a:pt x="6233679" y="3711063"/>
                </a:lnTo>
                <a:lnTo>
                  <a:pt x="6232968" y="3652558"/>
                </a:lnTo>
                <a:lnTo>
                  <a:pt x="6233703" y="3594302"/>
                </a:lnTo>
                <a:lnTo>
                  <a:pt x="6235999" y="3538282"/>
                </a:lnTo>
                <a:lnTo>
                  <a:pt x="6239988" y="3484578"/>
                </a:lnTo>
                <a:lnTo>
                  <a:pt x="6245801" y="3433271"/>
                </a:lnTo>
                <a:lnTo>
                  <a:pt x="6253574" y="3384443"/>
                </a:lnTo>
                <a:lnTo>
                  <a:pt x="6263437" y="3338176"/>
                </a:lnTo>
                <a:lnTo>
                  <a:pt x="6275523" y="3294551"/>
                </a:lnTo>
                <a:lnTo>
                  <a:pt x="6289966" y="3253648"/>
                </a:lnTo>
                <a:lnTo>
                  <a:pt x="6306898" y="3215550"/>
                </a:lnTo>
                <a:lnTo>
                  <a:pt x="6326451" y="3180338"/>
                </a:lnTo>
                <a:lnTo>
                  <a:pt x="6348759" y="3148093"/>
                </a:lnTo>
                <a:lnTo>
                  <a:pt x="6373955" y="3118897"/>
                </a:lnTo>
                <a:lnTo>
                  <a:pt x="6402170" y="3092831"/>
                </a:lnTo>
                <a:lnTo>
                  <a:pt x="6433537" y="3069977"/>
                </a:lnTo>
                <a:lnTo>
                  <a:pt x="6468190" y="3050415"/>
                </a:lnTo>
                <a:lnTo>
                  <a:pt x="6506261" y="3034227"/>
                </a:lnTo>
                <a:lnTo>
                  <a:pt x="6547883" y="3021495"/>
                </a:lnTo>
                <a:lnTo>
                  <a:pt x="6593188" y="3012300"/>
                </a:lnTo>
                <a:lnTo>
                  <a:pt x="6642309" y="3006723"/>
                </a:lnTo>
                <a:close/>
                <a:moveTo>
                  <a:pt x="5578527" y="3004847"/>
                </a:moveTo>
                <a:lnTo>
                  <a:pt x="5631597" y="3006723"/>
                </a:lnTo>
                <a:lnTo>
                  <a:pt x="5680718" y="3012300"/>
                </a:lnTo>
                <a:lnTo>
                  <a:pt x="5726023" y="3021495"/>
                </a:lnTo>
                <a:lnTo>
                  <a:pt x="5767645" y="3034227"/>
                </a:lnTo>
                <a:lnTo>
                  <a:pt x="5805716" y="3050415"/>
                </a:lnTo>
                <a:lnTo>
                  <a:pt x="5840369" y="3069977"/>
                </a:lnTo>
                <a:lnTo>
                  <a:pt x="5871736" y="3092831"/>
                </a:lnTo>
                <a:lnTo>
                  <a:pt x="5899951" y="3118897"/>
                </a:lnTo>
                <a:lnTo>
                  <a:pt x="5925147" y="3148093"/>
                </a:lnTo>
                <a:lnTo>
                  <a:pt x="5947455" y="3180338"/>
                </a:lnTo>
                <a:lnTo>
                  <a:pt x="5967008" y="3215550"/>
                </a:lnTo>
                <a:lnTo>
                  <a:pt x="5983940" y="3253648"/>
                </a:lnTo>
                <a:lnTo>
                  <a:pt x="5998383" y="3294551"/>
                </a:lnTo>
                <a:lnTo>
                  <a:pt x="6010470" y="3338176"/>
                </a:lnTo>
                <a:lnTo>
                  <a:pt x="6020333" y="3384443"/>
                </a:lnTo>
                <a:lnTo>
                  <a:pt x="6028105" y="3433271"/>
                </a:lnTo>
                <a:lnTo>
                  <a:pt x="6033919" y="3484578"/>
                </a:lnTo>
                <a:lnTo>
                  <a:pt x="6037907" y="3538282"/>
                </a:lnTo>
                <a:lnTo>
                  <a:pt x="6040203" y="3594302"/>
                </a:lnTo>
                <a:lnTo>
                  <a:pt x="6040939" y="3652558"/>
                </a:lnTo>
                <a:lnTo>
                  <a:pt x="6040239" y="3711063"/>
                </a:lnTo>
                <a:lnTo>
                  <a:pt x="6038042" y="3767333"/>
                </a:lnTo>
                <a:lnTo>
                  <a:pt x="6034206" y="3821283"/>
                </a:lnTo>
                <a:lnTo>
                  <a:pt x="6028585" y="3872833"/>
                </a:lnTo>
                <a:lnTo>
                  <a:pt x="6021037" y="3921898"/>
                </a:lnTo>
                <a:lnTo>
                  <a:pt x="6011416" y="3968397"/>
                </a:lnTo>
                <a:lnTo>
                  <a:pt x="5999579" y="4012246"/>
                </a:lnTo>
                <a:lnTo>
                  <a:pt x="5985382" y="4053364"/>
                </a:lnTo>
                <a:lnTo>
                  <a:pt x="5968682" y="4091667"/>
                </a:lnTo>
                <a:lnTo>
                  <a:pt x="5949333" y="4127073"/>
                </a:lnTo>
                <a:lnTo>
                  <a:pt x="5927192" y="4159499"/>
                </a:lnTo>
                <a:lnTo>
                  <a:pt x="5902115" y="4188862"/>
                </a:lnTo>
                <a:lnTo>
                  <a:pt x="5873958" y="4215081"/>
                </a:lnTo>
                <a:lnTo>
                  <a:pt x="5842577" y="4238071"/>
                </a:lnTo>
                <a:lnTo>
                  <a:pt x="5807829" y="4257752"/>
                </a:lnTo>
                <a:lnTo>
                  <a:pt x="5769568" y="4274039"/>
                </a:lnTo>
                <a:lnTo>
                  <a:pt x="5727651" y="4286851"/>
                </a:lnTo>
                <a:lnTo>
                  <a:pt x="5681935" y="4296105"/>
                </a:lnTo>
                <a:lnTo>
                  <a:pt x="5632275" y="4301718"/>
                </a:lnTo>
                <a:lnTo>
                  <a:pt x="5578527" y="4303607"/>
                </a:lnTo>
                <a:lnTo>
                  <a:pt x="5578527" y="4206785"/>
                </a:lnTo>
                <a:lnTo>
                  <a:pt x="5628212" y="4204552"/>
                </a:lnTo>
                <a:lnTo>
                  <a:pt x="5673133" y="4197931"/>
                </a:lnTo>
                <a:lnTo>
                  <a:pt x="5713515" y="4187042"/>
                </a:lnTo>
                <a:lnTo>
                  <a:pt x="5749586" y="4172002"/>
                </a:lnTo>
                <a:lnTo>
                  <a:pt x="5809697" y="4129942"/>
                </a:lnTo>
                <a:lnTo>
                  <a:pt x="5855277" y="4072698"/>
                </a:lnTo>
                <a:lnTo>
                  <a:pt x="5873182" y="4038677"/>
                </a:lnTo>
                <a:lnTo>
                  <a:pt x="5888134" y="4001216"/>
                </a:lnTo>
                <a:lnTo>
                  <a:pt x="5900358" y="3960431"/>
                </a:lnTo>
                <a:lnTo>
                  <a:pt x="5910081" y="3916441"/>
                </a:lnTo>
                <a:lnTo>
                  <a:pt x="5917528" y="3869364"/>
                </a:lnTo>
                <a:lnTo>
                  <a:pt x="5922927" y="3819320"/>
                </a:lnTo>
                <a:lnTo>
                  <a:pt x="5926503" y="3766425"/>
                </a:lnTo>
                <a:lnTo>
                  <a:pt x="5928482" y="3710798"/>
                </a:lnTo>
                <a:lnTo>
                  <a:pt x="5929092" y="3652558"/>
                </a:lnTo>
                <a:lnTo>
                  <a:pt x="5928450" y="3594889"/>
                </a:lnTo>
                <a:lnTo>
                  <a:pt x="5926380" y="3539800"/>
                </a:lnTo>
                <a:lnTo>
                  <a:pt x="5922670" y="3487407"/>
                </a:lnTo>
                <a:lnTo>
                  <a:pt x="5917104" y="3437831"/>
                </a:lnTo>
                <a:lnTo>
                  <a:pt x="5909469" y="3391187"/>
                </a:lnTo>
                <a:lnTo>
                  <a:pt x="5899551" y="3347596"/>
                </a:lnTo>
                <a:lnTo>
                  <a:pt x="5887135" y="3307175"/>
                </a:lnTo>
                <a:lnTo>
                  <a:pt x="5872008" y="3270043"/>
                </a:lnTo>
                <a:lnTo>
                  <a:pt x="5853955" y="3236317"/>
                </a:lnTo>
                <a:lnTo>
                  <a:pt x="5808217" y="3179558"/>
                </a:lnTo>
                <a:lnTo>
                  <a:pt x="5748208" y="3137845"/>
                </a:lnTo>
                <a:lnTo>
                  <a:pt x="5712316" y="3122926"/>
                </a:lnTo>
                <a:lnTo>
                  <a:pt x="5672215" y="3112123"/>
                </a:lnTo>
                <a:lnTo>
                  <a:pt x="5627690" y="3105555"/>
                </a:lnTo>
                <a:lnTo>
                  <a:pt x="5578527" y="3103339"/>
                </a:lnTo>
                <a:close/>
                <a:moveTo>
                  <a:pt x="5061625" y="3004847"/>
                </a:moveTo>
                <a:lnTo>
                  <a:pt x="5061625" y="3103339"/>
                </a:lnTo>
                <a:lnTo>
                  <a:pt x="5012739" y="3105555"/>
                </a:lnTo>
                <a:lnTo>
                  <a:pt x="4968459" y="3112123"/>
                </a:lnTo>
                <a:lnTo>
                  <a:pt x="4928572" y="3122926"/>
                </a:lnTo>
                <a:lnTo>
                  <a:pt x="4892867" y="3137845"/>
                </a:lnTo>
                <a:lnTo>
                  <a:pt x="4833152" y="3179558"/>
                </a:lnTo>
                <a:lnTo>
                  <a:pt x="4787618" y="3236317"/>
                </a:lnTo>
                <a:lnTo>
                  <a:pt x="4769639" y="3270043"/>
                </a:lnTo>
                <a:lnTo>
                  <a:pt x="4754569" y="3307175"/>
                </a:lnTo>
                <a:lnTo>
                  <a:pt x="4742197" y="3347596"/>
                </a:lnTo>
                <a:lnTo>
                  <a:pt x="4732309" y="3391187"/>
                </a:lnTo>
                <a:lnTo>
                  <a:pt x="4724695" y="3437831"/>
                </a:lnTo>
                <a:lnTo>
                  <a:pt x="4719142" y="3487407"/>
                </a:lnTo>
                <a:lnTo>
                  <a:pt x="4715437" y="3539800"/>
                </a:lnTo>
                <a:lnTo>
                  <a:pt x="4713370" y="3594889"/>
                </a:lnTo>
                <a:lnTo>
                  <a:pt x="4712728" y="3652558"/>
                </a:lnTo>
                <a:lnTo>
                  <a:pt x="4713354" y="3710798"/>
                </a:lnTo>
                <a:lnTo>
                  <a:pt x="4715376" y="3766425"/>
                </a:lnTo>
                <a:lnTo>
                  <a:pt x="4719014" y="3819320"/>
                </a:lnTo>
                <a:lnTo>
                  <a:pt x="4724483" y="3869364"/>
                </a:lnTo>
                <a:lnTo>
                  <a:pt x="4732004" y="3916441"/>
                </a:lnTo>
                <a:lnTo>
                  <a:pt x="4741793" y="3960431"/>
                </a:lnTo>
                <a:lnTo>
                  <a:pt x="4754070" y="4001216"/>
                </a:lnTo>
                <a:lnTo>
                  <a:pt x="4769052" y="4038677"/>
                </a:lnTo>
                <a:lnTo>
                  <a:pt x="4786958" y="4072698"/>
                </a:lnTo>
                <a:lnTo>
                  <a:pt x="4832412" y="4129942"/>
                </a:lnTo>
                <a:lnTo>
                  <a:pt x="4892178" y="4172002"/>
                </a:lnTo>
                <a:lnTo>
                  <a:pt x="4927973" y="4187042"/>
                </a:lnTo>
                <a:lnTo>
                  <a:pt x="4968000" y="4197931"/>
                </a:lnTo>
                <a:lnTo>
                  <a:pt x="5012478" y="4204552"/>
                </a:lnTo>
                <a:lnTo>
                  <a:pt x="5061625" y="4206785"/>
                </a:lnTo>
                <a:lnTo>
                  <a:pt x="5061625" y="4303607"/>
                </a:lnTo>
                <a:lnTo>
                  <a:pt x="5008102" y="4301718"/>
                </a:lnTo>
                <a:lnTo>
                  <a:pt x="4958622" y="4296105"/>
                </a:lnTo>
                <a:lnTo>
                  <a:pt x="4913043" y="4286851"/>
                </a:lnTo>
                <a:lnTo>
                  <a:pt x="4871225" y="4274039"/>
                </a:lnTo>
                <a:lnTo>
                  <a:pt x="4833027" y="4257752"/>
                </a:lnTo>
                <a:lnTo>
                  <a:pt x="4798310" y="4238071"/>
                </a:lnTo>
                <a:lnTo>
                  <a:pt x="4766934" y="4215081"/>
                </a:lnTo>
                <a:lnTo>
                  <a:pt x="4738758" y="4188862"/>
                </a:lnTo>
                <a:lnTo>
                  <a:pt x="4713641" y="4159499"/>
                </a:lnTo>
                <a:lnTo>
                  <a:pt x="4691444" y="4127073"/>
                </a:lnTo>
                <a:lnTo>
                  <a:pt x="4672027" y="4091667"/>
                </a:lnTo>
                <a:lnTo>
                  <a:pt x="4655249" y="4053364"/>
                </a:lnTo>
                <a:lnTo>
                  <a:pt x="4640970" y="4012246"/>
                </a:lnTo>
                <a:lnTo>
                  <a:pt x="4629050" y="3968397"/>
                </a:lnTo>
                <a:lnTo>
                  <a:pt x="4619349" y="3921898"/>
                </a:lnTo>
                <a:lnTo>
                  <a:pt x="4611726" y="3872833"/>
                </a:lnTo>
                <a:lnTo>
                  <a:pt x="4606041" y="3821283"/>
                </a:lnTo>
                <a:lnTo>
                  <a:pt x="4602154" y="3767333"/>
                </a:lnTo>
                <a:lnTo>
                  <a:pt x="4599924" y="3711063"/>
                </a:lnTo>
                <a:lnTo>
                  <a:pt x="4599213" y="3652558"/>
                </a:lnTo>
                <a:lnTo>
                  <a:pt x="4599948" y="3594302"/>
                </a:lnTo>
                <a:lnTo>
                  <a:pt x="4602244" y="3538282"/>
                </a:lnTo>
                <a:lnTo>
                  <a:pt x="4606233" y="3484578"/>
                </a:lnTo>
                <a:lnTo>
                  <a:pt x="4612046" y="3433271"/>
                </a:lnTo>
                <a:lnTo>
                  <a:pt x="4619819" y="3384443"/>
                </a:lnTo>
                <a:lnTo>
                  <a:pt x="4629682" y="3338176"/>
                </a:lnTo>
                <a:lnTo>
                  <a:pt x="4641768" y="3294551"/>
                </a:lnTo>
                <a:lnTo>
                  <a:pt x="4656211" y="3253648"/>
                </a:lnTo>
                <a:lnTo>
                  <a:pt x="4673143" y="3215550"/>
                </a:lnTo>
                <a:lnTo>
                  <a:pt x="4692696" y="3180338"/>
                </a:lnTo>
                <a:lnTo>
                  <a:pt x="4715004" y="3148093"/>
                </a:lnTo>
                <a:lnTo>
                  <a:pt x="4740200" y="3118897"/>
                </a:lnTo>
                <a:lnTo>
                  <a:pt x="4768415" y="3092831"/>
                </a:lnTo>
                <a:lnTo>
                  <a:pt x="4799783" y="3069977"/>
                </a:lnTo>
                <a:lnTo>
                  <a:pt x="4834436" y="3050415"/>
                </a:lnTo>
                <a:lnTo>
                  <a:pt x="4872507" y="3034227"/>
                </a:lnTo>
                <a:lnTo>
                  <a:pt x="4914128" y="3021495"/>
                </a:lnTo>
                <a:lnTo>
                  <a:pt x="4959433" y="3012300"/>
                </a:lnTo>
                <a:lnTo>
                  <a:pt x="5008555" y="3006723"/>
                </a:lnTo>
                <a:close/>
                <a:moveTo>
                  <a:pt x="887436" y="3004847"/>
                </a:moveTo>
                <a:lnTo>
                  <a:pt x="887436" y="3103339"/>
                </a:lnTo>
                <a:lnTo>
                  <a:pt x="838550" y="3105555"/>
                </a:lnTo>
                <a:lnTo>
                  <a:pt x="794269" y="3112123"/>
                </a:lnTo>
                <a:lnTo>
                  <a:pt x="754383" y="3122926"/>
                </a:lnTo>
                <a:lnTo>
                  <a:pt x="718677" y="3137845"/>
                </a:lnTo>
                <a:lnTo>
                  <a:pt x="658962" y="3179558"/>
                </a:lnTo>
                <a:lnTo>
                  <a:pt x="613427" y="3236317"/>
                </a:lnTo>
                <a:lnTo>
                  <a:pt x="595448" y="3270043"/>
                </a:lnTo>
                <a:lnTo>
                  <a:pt x="580378" y="3307175"/>
                </a:lnTo>
                <a:lnTo>
                  <a:pt x="568006" y="3347596"/>
                </a:lnTo>
                <a:lnTo>
                  <a:pt x="558118" y="3391187"/>
                </a:lnTo>
                <a:lnTo>
                  <a:pt x="550504" y="3437831"/>
                </a:lnTo>
                <a:lnTo>
                  <a:pt x="544951" y="3487407"/>
                </a:lnTo>
                <a:lnTo>
                  <a:pt x="541247" y="3539800"/>
                </a:lnTo>
                <a:lnTo>
                  <a:pt x="539180" y="3594889"/>
                </a:lnTo>
                <a:lnTo>
                  <a:pt x="538538" y="3652558"/>
                </a:lnTo>
                <a:lnTo>
                  <a:pt x="539164" y="3710798"/>
                </a:lnTo>
                <a:lnTo>
                  <a:pt x="541186" y="3766425"/>
                </a:lnTo>
                <a:lnTo>
                  <a:pt x="544823" y="3819320"/>
                </a:lnTo>
                <a:lnTo>
                  <a:pt x="550292" y="3869364"/>
                </a:lnTo>
                <a:lnTo>
                  <a:pt x="557813" y="3916441"/>
                </a:lnTo>
                <a:lnTo>
                  <a:pt x="567602" y="3960431"/>
                </a:lnTo>
                <a:lnTo>
                  <a:pt x="579880" y="4001216"/>
                </a:lnTo>
                <a:lnTo>
                  <a:pt x="594862" y="4038677"/>
                </a:lnTo>
                <a:lnTo>
                  <a:pt x="612768" y="4072698"/>
                </a:lnTo>
                <a:lnTo>
                  <a:pt x="658222" y="4129942"/>
                </a:lnTo>
                <a:lnTo>
                  <a:pt x="717988" y="4172002"/>
                </a:lnTo>
                <a:lnTo>
                  <a:pt x="753783" y="4187042"/>
                </a:lnTo>
                <a:lnTo>
                  <a:pt x="793811" y="4197931"/>
                </a:lnTo>
                <a:lnTo>
                  <a:pt x="838289" y="4204552"/>
                </a:lnTo>
                <a:lnTo>
                  <a:pt x="887436" y="4206785"/>
                </a:lnTo>
                <a:lnTo>
                  <a:pt x="887436" y="4303607"/>
                </a:lnTo>
                <a:lnTo>
                  <a:pt x="833914" y="4301718"/>
                </a:lnTo>
                <a:lnTo>
                  <a:pt x="784433" y="4296105"/>
                </a:lnTo>
                <a:lnTo>
                  <a:pt x="738854" y="4286851"/>
                </a:lnTo>
                <a:lnTo>
                  <a:pt x="697035" y="4274039"/>
                </a:lnTo>
                <a:lnTo>
                  <a:pt x="658838" y="4257752"/>
                </a:lnTo>
                <a:lnTo>
                  <a:pt x="624121" y="4238071"/>
                </a:lnTo>
                <a:lnTo>
                  <a:pt x="592745" y="4215081"/>
                </a:lnTo>
                <a:lnTo>
                  <a:pt x="564568" y="4188862"/>
                </a:lnTo>
                <a:lnTo>
                  <a:pt x="539451" y="4159499"/>
                </a:lnTo>
                <a:lnTo>
                  <a:pt x="517255" y="4127073"/>
                </a:lnTo>
                <a:lnTo>
                  <a:pt x="497837" y="4091667"/>
                </a:lnTo>
                <a:lnTo>
                  <a:pt x="481060" y="4053364"/>
                </a:lnTo>
                <a:lnTo>
                  <a:pt x="466781" y="4012246"/>
                </a:lnTo>
                <a:lnTo>
                  <a:pt x="454861" y="3968397"/>
                </a:lnTo>
                <a:lnTo>
                  <a:pt x="445159" y="3921898"/>
                </a:lnTo>
                <a:lnTo>
                  <a:pt x="437536" y="3872833"/>
                </a:lnTo>
                <a:lnTo>
                  <a:pt x="431851" y="3821283"/>
                </a:lnTo>
                <a:lnTo>
                  <a:pt x="427964" y="3767333"/>
                </a:lnTo>
                <a:lnTo>
                  <a:pt x="425734" y="3711063"/>
                </a:lnTo>
                <a:lnTo>
                  <a:pt x="425023" y="3652558"/>
                </a:lnTo>
                <a:lnTo>
                  <a:pt x="425758" y="3594302"/>
                </a:lnTo>
                <a:lnTo>
                  <a:pt x="428054" y="3538282"/>
                </a:lnTo>
                <a:lnTo>
                  <a:pt x="432043" y="3484578"/>
                </a:lnTo>
                <a:lnTo>
                  <a:pt x="437856" y="3433271"/>
                </a:lnTo>
                <a:lnTo>
                  <a:pt x="445629" y="3384443"/>
                </a:lnTo>
                <a:lnTo>
                  <a:pt x="455492" y="3338176"/>
                </a:lnTo>
                <a:lnTo>
                  <a:pt x="467578" y="3294551"/>
                </a:lnTo>
                <a:lnTo>
                  <a:pt x="482021" y="3253648"/>
                </a:lnTo>
                <a:lnTo>
                  <a:pt x="498953" y="3215550"/>
                </a:lnTo>
                <a:lnTo>
                  <a:pt x="518506" y="3180338"/>
                </a:lnTo>
                <a:lnTo>
                  <a:pt x="540814" y="3148093"/>
                </a:lnTo>
                <a:lnTo>
                  <a:pt x="566010" y="3118897"/>
                </a:lnTo>
                <a:lnTo>
                  <a:pt x="594226" y="3092831"/>
                </a:lnTo>
                <a:lnTo>
                  <a:pt x="625592" y="3069977"/>
                </a:lnTo>
                <a:lnTo>
                  <a:pt x="660246" y="3050415"/>
                </a:lnTo>
                <a:lnTo>
                  <a:pt x="698317" y="3034227"/>
                </a:lnTo>
                <a:lnTo>
                  <a:pt x="739939" y="3021495"/>
                </a:lnTo>
                <a:lnTo>
                  <a:pt x="785244" y="3012300"/>
                </a:lnTo>
                <a:lnTo>
                  <a:pt x="834365" y="3006723"/>
                </a:lnTo>
                <a:close/>
                <a:moveTo>
                  <a:pt x="7060934" y="2524077"/>
                </a:moveTo>
                <a:lnTo>
                  <a:pt x="7267935" y="2524077"/>
                </a:lnTo>
                <a:lnTo>
                  <a:pt x="7267935" y="2697690"/>
                </a:lnTo>
                <a:lnTo>
                  <a:pt x="7060934" y="2697690"/>
                </a:lnTo>
                <a:close/>
                <a:moveTo>
                  <a:pt x="2536338" y="2373825"/>
                </a:moveTo>
                <a:lnTo>
                  <a:pt x="3441128" y="2373825"/>
                </a:lnTo>
                <a:lnTo>
                  <a:pt x="3441128" y="2480664"/>
                </a:lnTo>
                <a:lnTo>
                  <a:pt x="2536338" y="2480664"/>
                </a:lnTo>
                <a:close/>
                <a:moveTo>
                  <a:pt x="1024388" y="2373825"/>
                </a:moveTo>
                <a:lnTo>
                  <a:pt x="1929180" y="2373825"/>
                </a:lnTo>
                <a:lnTo>
                  <a:pt x="1929180" y="2480664"/>
                </a:lnTo>
                <a:lnTo>
                  <a:pt x="1024388" y="2480664"/>
                </a:lnTo>
                <a:close/>
                <a:moveTo>
                  <a:pt x="2536338" y="2024932"/>
                </a:moveTo>
                <a:lnTo>
                  <a:pt x="3441128" y="2024932"/>
                </a:lnTo>
                <a:lnTo>
                  <a:pt x="3441128" y="2131770"/>
                </a:lnTo>
                <a:lnTo>
                  <a:pt x="2536338" y="2131770"/>
                </a:lnTo>
                <a:close/>
                <a:moveTo>
                  <a:pt x="1024388" y="2024932"/>
                </a:moveTo>
                <a:lnTo>
                  <a:pt x="1929180" y="2024932"/>
                </a:lnTo>
                <a:lnTo>
                  <a:pt x="1929180" y="2131770"/>
                </a:lnTo>
                <a:lnTo>
                  <a:pt x="1024388" y="2131770"/>
                </a:lnTo>
                <a:close/>
                <a:moveTo>
                  <a:pt x="6145468" y="1508808"/>
                </a:moveTo>
                <a:lnTo>
                  <a:pt x="6519394" y="1508808"/>
                </a:lnTo>
                <a:lnTo>
                  <a:pt x="6519394" y="1604058"/>
                </a:lnTo>
                <a:lnTo>
                  <a:pt x="6260644" y="1604058"/>
                </a:lnTo>
                <a:lnTo>
                  <a:pt x="6260644" y="2702607"/>
                </a:lnTo>
                <a:lnTo>
                  <a:pt x="6519394" y="2702607"/>
                </a:lnTo>
                <a:lnTo>
                  <a:pt x="6519394" y="2797857"/>
                </a:lnTo>
                <a:lnTo>
                  <a:pt x="6145468" y="2797857"/>
                </a:lnTo>
                <a:lnTo>
                  <a:pt x="6145468" y="2702607"/>
                </a:lnTo>
                <a:lnTo>
                  <a:pt x="6145468" y="1604058"/>
                </a:lnTo>
                <a:close/>
                <a:moveTo>
                  <a:pt x="7804510" y="1502430"/>
                </a:moveTo>
                <a:lnTo>
                  <a:pt x="7857580" y="1504306"/>
                </a:lnTo>
                <a:lnTo>
                  <a:pt x="7906701" y="1509883"/>
                </a:lnTo>
                <a:lnTo>
                  <a:pt x="7952006" y="1519078"/>
                </a:lnTo>
                <a:lnTo>
                  <a:pt x="7993628" y="1531810"/>
                </a:lnTo>
                <a:lnTo>
                  <a:pt x="8031699" y="1547998"/>
                </a:lnTo>
                <a:lnTo>
                  <a:pt x="8066352" y="1567559"/>
                </a:lnTo>
                <a:lnTo>
                  <a:pt x="8097719" y="1590414"/>
                </a:lnTo>
                <a:lnTo>
                  <a:pt x="8125934" y="1616479"/>
                </a:lnTo>
                <a:lnTo>
                  <a:pt x="8151130" y="1645676"/>
                </a:lnTo>
                <a:lnTo>
                  <a:pt x="8173438" y="1677921"/>
                </a:lnTo>
                <a:lnTo>
                  <a:pt x="8192991" y="1713133"/>
                </a:lnTo>
                <a:lnTo>
                  <a:pt x="8209923" y="1751231"/>
                </a:lnTo>
                <a:lnTo>
                  <a:pt x="8224366" y="1792133"/>
                </a:lnTo>
                <a:lnTo>
                  <a:pt x="8236453" y="1835759"/>
                </a:lnTo>
                <a:lnTo>
                  <a:pt x="8246316" y="1882026"/>
                </a:lnTo>
                <a:lnTo>
                  <a:pt x="8254088" y="1930854"/>
                </a:lnTo>
                <a:lnTo>
                  <a:pt x="8259902" y="1982160"/>
                </a:lnTo>
                <a:lnTo>
                  <a:pt x="8263890" y="2035865"/>
                </a:lnTo>
                <a:lnTo>
                  <a:pt x="8266186" y="2091886"/>
                </a:lnTo>
                <a:lnTo>
                  <a:pt x="8266922" y="2150141"/>
                </a:lnTo>
                <a:lnTo>
                  <a:pt x="8266222" y="2208645"/>
                </a:lnTo>
                <a:lnTo>
                  <a:pt x="8264025" y="2264915"/>
                </a:lnTo>
                <a:lnTo>
                  <a:pt x="8260189" y="2318865"/>
                </a:lnTo>
                <a:lnTo>
                  <a:pt x="8254568" y="2370415"/>
                </a:lnTo>
                <a:lnTo>
                  <a:pt x="8247020" y="2419480"/>
                </a:lnTo>
                <a:lnTo>
                  <a:pt x="8237399" y="2465979"/>
                </a:lnTo>
                <a:lnTo>
                  <a:pt x="8225562" y="2509828"/>
                </a:lnTo>
                <a:lnTo>
                  <a:pt x="8211365" y="2550946"/>
                </a:lnTo>
                <a:lnTo>
                  <a:pt x="8194665" y="2589249"/>
                </a:lnTo>
                <a:lnTo>
                  <a:pt x="8175316" y="2624655"/>
                </a:lnTo>
                <a:lnTo>
                  <a:pt x="8153175" y="2657081"/>
                </a:lnTo>
                <a:lnTo>
                  <a:pt x="8128098" y="2686444"/>
                </a:lnTo>
                <a:lnTo>
                  <a:pt x="8099941" y="2712663"/>
                </a:lnTo>
                <a:lnTo>
                  <a:pt x="8068560" y="2735653"/>
                </a:lnTo>
                <a:lnTo>
                  <a:pt x="8033812" y="2755334"/>
                </a:lnTo>
                <a:lnTo>
                  <a:pt x="7995551" y="2771621"/>
                </a:lnTo>
                <a:lnTo>
                  <a:pt x="7953634" y="2784433"/>
                </a:lnTo>
                <a:lnTo>
                  <a:pt x="7907918" y="2793687"/>
                </a:lnTo>
                <a:lnTo>
                  <a:pt x="7858258" y="2799300"/>
                </a:lnTo>
                <a:lnTo>
                  <a:pt x="7804510" y="2801189"/>
                </a:lnTo>
                <a:lnTo>
                  <a:pt x="7804510" y="2704367"/>
                </a:lnTo>
                <a:lnTo>
                  <a:pt x="7854195" y="2702134"/>
                </a:lnTo>
                <a:lnTo>
                  <a:pt x="7899116" y="2695513"/>
                </a:lnTo>
                <a:lnTo>
                  <a:pt x="7939498" y="2684624"/>
                </a:lnTo>
                <a:lnTo>
                  <a:pt x="7975569" y="2669584"/>
                </a:lnTo>
                <a:lnTo>
                  <a:pt x="8035680" y="2627524"/>
                </a:lnTo>
                <a:lnTo>
                  <a:pt x="8081260" y="2570280"/>
                </a:lnTo>
                <a:lnTo>
                  <a:pt x="8099165" y="2536259"/>
                </a:lnTo>
                <a:lnTo>
                  <a:pt x="8114117" y="2498797"/>
                </a:lnTo>
                <a:lnTo>
                  <a:pt x="8126341" y="2458012"/>
                </a:lnTo>
                <a:lnTo>
                  <a:pt x="8136064" y="2414022"/>
                </a:lnTo>
                <a:lnTo>
                  <a:pt x="8143511" y="2366946"/>
                </a:lnTo>
                <a:lnTo>
                  <a:pt x="8148910" y="2316901"/>
                </a:lnTo>
                <a:lnTo>
                  <a:pt x="8152486" y="2264006"/>
                </a:lnTo>
                <a:lnTo>
                  <a:pt x="8154465" y="2208380"/>
                </a:lnTo>
                <a:lnTo>
                  <a:pt x="8155075" y="2150141"/>
                </a:lnTo>
                <a:lnTo>
                  <a:pt x="8154433" y="2092472"/>
                </a:lnTo>
                <a:lnTo>
                  <a:pt x="8152363" y="2037383"/>
                </a:lnTo>
                <a:lnTo>
                  <a:pt x="8148653" y="1984990"/>
                </a:lnTo>
                <a:lnTo>
                  <a:pt x="8143087" y="1935414"/>
                </a:lnTo>
                <a:lnTo>
                  <a:pt x="8135452" y="1888770"/>
                </a:lnTo>
                <a:lnTo>
                  <a:pt x="8125534" y="1845179"/>
                </a:lnTo>
                <a:lnTo>
                  <a:pt x="8113118" y="1804759"/>
                </a:lnTo>
                <a:lnTo>
                  <a:pt x="8097991" y="1767626"/>
                </a:lnTo>
                <a:lnTo>
                  <a:pt x="8079938" y="1733900"/>
                </a:lnTo>
                <a:lnTo>
                  <a:pt x="8034200" y="1677141"/>
                </a:lnTo>
                <a:lnTo>
                  <a:pt x="7974191" y="1635428"/>
                </a:lnTo>
                <a:lnTo>
                  <a:pt x="7938299" y="1620509"/>
                </a:lnTo>
                <a:lnTo>
                  <a:pt x="7898198" y="1609705"/>
                </a:lnTo>
                <a:lnTo>
                  <a:pt x="7853673" y="1603138"/>
                </a:lnTo>
                <a:lnTo>
                  <a:pt x="7804510" y="1600921"/>
                </a:lnTo>
                <a:close/>
                <a:moveTo>
                  <a:pt x="5032599" y="1502430"/>
                </a:moveTo>
                <a:lnTo>
                  <a:pt x="5085669" y="1504306"/>
                </a:lnTo>
                <a:lnTo>
                  <a:pt x="5134790" y="1509883"/>
                </a:lnTo>
                <a:lnTo>
                  <a:pt x="5180096" y="1519078"/>
                </a:lnTo>
                <a:lnTo>
                  <a:pt x="5221718" y="1531810"/>
                </a:lnTo>
                <a:lnTo>
                  <a:pt x="5259789" y="1547998"/>
                </a:lnTo>
                <a:lnTo>
                  <a:pt x="5294442" y="1567559"/>
                </a:lnTo>
                <a:lnTo>
                  <a:pt x="5325809" y="1590414"/>
                </a:lnTo>
                <a:lnTo>
                  <a:pt x="5354024" y="1616479"/>
                </a:lnTo>
                <a:lnTo>
                  <a:pt x="5379220" y="1645676"/>
                </a:lnTo>
                <a:lnTo>
                  <a:pt x="5401528" y="1677921"/>
                </a:lnTo>
                <a:lnTo>
                  <a:pt x="5421081" y="1713133"/>
                </a:lnTo>
                <a:lnTo>
                  <a:pt x="5438013" y="1751231"/>
                </a:lnTo>
                <a:lnTo>
                  <a:pt x="5452456" y="1792133"/>
                </a:lnTo>
                <a:lnTo>
                  <a:pt x="5464543" y="1835759"/>
                </a:lnTo>
                <a:lnTo>
                  <a:pt x="5474406" y="1882026"/>
                </a:lnTo>
                <a:lnTo>
                  <a:pt x="5482178" y="1930854"/>
                </a:lnTo>
                <a:lnTo>
                  <a:pt x="5487992" y="1982160"/>
                </a:lnTo>
                <a:lnTo>
                  <a:pt x="5491980" y="2035865"/>
                </a:lnTo>
                <a:lnTo>
                  <a:pt x="5494276" y="2091886"/>
                </a:lnTo>
                <a:lnTo>
                  <a:pt x="5495012" y="2150141"/>
                </a:lnTo>
                <a:lnTo>
                  <a:pt x="5494312" y="2208645"/>
                </a:lnTo>
                <a:lnTo>
                  <a:pt x="5492115" y="2264915"/>
                </a:lnTo>
                <a:lnTo>
                  <a:pt x="5488279" y="2318865"/>
                </a:lnTo>
                <a:lnTo>
                  <a:pt x="5482658" y="2370415"/>
                </a:lnTo>
                <a:lnTo>
                  <a:pt x="5475110" y="2419480"/>
                </a:lnTo>
                <a:lnTo>
                  <a:pt x="5465489" y="2465979"/>
                </a:lnTo>
                <a:lnTo>
                  <a:pt x="5453652" y="2509828"/>
                </a:lnTo>
                <a:lnTo>
                  <a:pt x="5439455" y="2550946"/>
                </a:lnTo>
                <a:lnTo>
                  <a:pt x="5422755" y="2589249"/>
                </a:lnTo>
                <a:lnTo>
                  <a:pt x="5403406" y="2624655"/>
                </a:lnTo>
                <a:lnTo>
                  <a:pt x="5381265" y="2657081"/>
                </a:lnTo>
                <a:lnTo>
                  <a:pt x="5356188" y="2686444"/>
                </a:lnTo>
                <a:lnTo>
                  <a:pt x="5328031" y="2712663"/>
                </a:lnTo>
                <a:lnTo>
                  <a:pt x="5296650" y="2735653"/>
                </a:lnTo>
                <a:lnTo>
                  <a:pt x="5261902" y="2755334"/>
                </a:lnTo>
                <a:lnTo>
                  <a:pt x="5223641" y="2771621"/>
                </a:lnTo>
                <a:lnTo>
                  <a:pt x="5181724" y="2784433"/>
                </a:lnTo>
                <a:lnTo>
                  <a:pt x="5136007" y="2793687"/>
                </a:lnTo>
                <a:lnTo>
                  <a:pt x="5086347" y="2799300"/>
                </a:lnTo>
                <a:lnTo>
                  <a:pt x="5032599" y="2801189"/>
                </a:lnTo>
                <a:lnTo>
                  <a:pt x="5032599" y="2704367"/>
                </a:lnTo>
                <a:lnTo>
                  <a:pt x="5082284" y="2702134"/>
                </a:lnTo>
                <a:lnTo>
                  <a:pt x="5127205" y="2695513"/>
                </a:lnTo>
                <a:lnTo>
                  <a:pt x="5167588" y="2684624"/>
                </a:lnTo>
                <a:lnTo>
                  <a:pt x="5203659" y="2669584"/>
                </a:lnTo>
                <a:lnTo>
                  <a:pt x="5263770" y="2627524"/>
                </a:lnTo>
                <a:lnTo>
                  <a:pt x="5309350" y="2570280"/>
                </a:lnTo>
                <a:lnTo>
                  <a:pt x="5327255" y="2536259"/>
                </a:lnTo>
                <a:lnTo>
                  <a:pt x="5342207" y="2498797"/>
                </a:lnTo>
                <a:lnTo>
                  <a:pt x="5354431" y="2458012"/>
                </a:lnTo>
                <a:lnTo>
                  <a:pt x="5364154" y="2414022"/>
                </a:lnTo>
                <a:lnTo>
                  <a:pt x="5371601" y="2366946"/>
                </a:lnTo>
                <a:lnTo>
                  <a:pt x="5377000" y="2316901"/>
                </a:lnTo>
                <a:lnTo>
                  <a:pt x="5380576" y="2264006"/>
                </a:lnTo>
                <a:lnTo>
                  <a:pt x="5382555" y="2208380"/>
                </a:lnTo>
                <a:lnTo>
                  <a:pt x="5383165" y="2150141"/>
                </a:lnTo>
                <a:lnTo>
                  <a:pt x="5382523" y="2092472"/>
                </a:lnTo>
                <a:lnTo>
                  <a:pt x="5380453" y="2037383"/>
                </a:lnTo>
                <a:lnTo>
                  <a:pt x="5376743" y="1984990"/>
                </a:lnTo>
                <a:lnTo>
                  <a:pt x="5371177" y="1935414"/>
                </a:lnTo>
                <a:lnTo>
                  <a:pt x="5363542" y="1888770"/>
                </a:lnTo>
                <a:lnTo>
                  <a:pt x="5353624" y="1845179"/>
                </a:lnTo>
                <a:lnTo>
                  <a:pt x="5341208" y="1804759"/>
                </a:lnTo>
                <a:lnTo>
                  <a:pt x="5326081" y="1767626"/>
                </a:lnTo>
                <a:lnTo>
                  <a:pt x="5308028" y="1733900"/>
                </a:lnTo>
                <a:lnTo>
                  <a:pt x="5262290" y="1677141"/>
                </a:lnTo>
                <a:lnTo>
                  <a:pt x="5202281" y="1635428"/>
                </a:lnTo>
                <a:lnTo>
                  <a:pt x="5166389" y="1620509"/>
                </a:lnTo>
                <a:lnTo>
                  <a:pt x="5126287" y="1609705"/>
                </a:lnTo>
                <a:lnTo>
                  <a:pt x="5081762" y="1603138"/>
                </a:lnTo>
                <a:lnTo>
                  <a:pt x="5032599" y="1600921"/>
                </a:lnTo>
                <a:close/>
                <a:moveTo>
                  <a:pt x="4515699" y="1502430"/>
                </a:moveTo>
                <a:lnTo>
                  <a:pt x="4515699" y="1600921"/>
                </a:lnTo>
                <a:lnTo>
                  <a:pt x="4466813" y="1603138"/>
                </a:lnTo>
                <a:lnTo>
                  <a:pt x="4422532" y="1609705"/>
                </a:lnTo>
                <a:lnTo>
                  <a:pt x="4382646" y="1620509"/>
                </a:lnTo>
                <a:lnTo>
                  <a:pt x="4346940" y="1635428"/>
                </a:lnTo>
                <a:lnTo>
                  <a:pt x="4287225" y="1677141"/>
                </a:lnTo>
                <a:lnTo>
                  <a:pt x="4241691" y="1733900"/>
                </a:lnTo>
                <a:lnTo>
                  <a:pt x="4223712" y="1767626"/>
                </a:lnTo>
                <a:lnTo>
                  <a:pt x="4208642" y="1804759"/>
                </a:lnTo>
                <a:lnTo>
                  <a:pt x="4196270" y="1845179"/>
                </a:lnTo>
                <a:lnTo>
                  <a:pt x="4186382" y="1888770"/>
                </a:lnTo>
                <a:lnTo>
                  <a:pt x="4178768" y="1935414"/>
                </a:lnTo>
                <a:lnTo>
                  <a:pt x="4173215" y="1984990"/>
                </a:lnTo>
                <a:lnTo>
                  <a:pt x="4169510" y="2037383"/>
                </a:lnTo>
                <a:lnTo>
                  <a:pt x="4167443" y="2092472"/>
                </a:lnTo>
                <a:lnTo>
                  <a:pt x="4166801" y="2150141"/>
                </a:lnTo>
                <a:lnTo>
                  <a:pt x="4167427" y="2208380"/>
                </a:lnTo>
                <a:lnTo>
                  <a:pt x="4169449" y="2264006"/>
                </a:lnTo>
                <a:lnTo>
                  <a:pt x="4173087" y="2316901"/>
                </a:lnTo>
                <a:lnTo>
                  <a:pt x="4178556" y="2366946"/>
                </a:lnTo>
                <a:lnTo>
                  <a:pt x="4186077" y="2414022"/>
                </a:lnTo>
                <a:lnTo>
                  <a:pt x="4195866" y="2458012"/>
                </a:lnTo>
                <a:lnTo>
                  <a:pt x="4208143" y="2498797"/>
                </a:lnTo>
                <a:lnTo>
                  <a:pt x="4223125" y="2536259"/>
                </a:lnTo>
                <a:lnTo>
                  <a:pt x="4241031" y="2570280"/>
                </a:lnTo>
                <a:lnTo>
                  <a:pt x="4286485" y="2627524"/>
                </a:lnTo>
                <a:lnTo>
                  <a:pt x="4346251" y="2669584"/>
                </a:lnTo>
                <a:lnTo>
                  <a:pt x="4382046" y="2684624"/>
                </a:lnTo>
                <a:lnTo>
                  <a:pt x="4422074" y="2695513"/>
                </a:lnTo>
                <a:lnTo>
                  <a:pt x="4466552" y="2702134"/>
                </a:lnTo>
                <a:lnTo>
                  <a:pt x="4515699" y="2704367"/>
                </a:lnTo>
                <a:lnTo>
                  <a:pt x="4515699" y="2801189"/>
                </a:lnTo>
                <a:lnTo>
                  <a:pt x="4462176" y="2799300"/>
                </a:lnTo>
                <a:lnTo>
                  <a:pt x="4412696" y="2793687"/>
                </a:lnTo>
                <a:lnTo>
                  <a:pt x="4367116" y="2784433"/>
                </a:lnTo>
                <a:lnTo>
                  <a:pt x="4325298" y="2771621"/>
                </a:lnTo>
                <a:lnTo>
                  <a:pt x="4287101" y="2755334"/>
                </a:lnTo>
                <a:lnTo>
                  <a:pt x="4252384" y="2735653"/>
                </a:lnTo>
                <a:lnTo>
                  <a:pt x="4221007" y="2712663"/>
                </a:lnTo>
                <a:lnTo>
                  <a:pt x="4192831" y="2686444"/>
                </a:lnTo>
                <a:lnTo>
                  <a:pt x="4167714" y="2657081"/>
                </a:lnTo>
                <a:lnTo>
                  <a:pt x="4145517" y="2624655"/>
                </a:lnTo>
                <a:lnTo>
                  <a:pt x="4126100" y="2589249"/>
                </a:lnTo>
                <a:lnTo>
                  <a:pt x="4109322" y="2550946"/>
                </a:lnTo>
                <a:lnTo>
                  <a:pt x="4095043" y="2509828"/>
                </a:lnTo>
                <a:lnTo>
                  <a:pt x="4083123" y="2465979"/>
                </a:lnTo>
                <a:lnTo>
                  <a:pt x="4073422" y="2419480"/>
                </a:lnTo>
                <a:lnTo>
                  <a:pt x="4065799" y="2370415"/>
                </a:lnTo>
                <a:lnTo>
                  <a:pt x="4060114" y="2318865"/>
                </a:lnTo>
                <a:lnTo>
                  <a:pt x="4056227" y="2264915"/>
                </a:lnTo>
                <a:lnTo>
                  <a:pt x="4053997" y="2208645"/>
                </a:lnTo>
                <a:lnTo>
                  <a:pt x="4053286" y="2150141"/>
                </a:lnTo>
                <a:lnTo>
                  <a:pt x="4054021" y="2091886"/>
                </a:lnTo>
                <a:lnTo>
                  <a:pt x="4056317" y="2035865"/>
                </a:lnTo>
                <a:lnTo>
                  <a:pt x="4060306" y="1982160"/>
                </a:lnTo>
                <a:lnTo>
                  <a:pt x="4066119" y="1930854"/>
                </a:lnTo>
                <a:lnTo>
                  <a:pt x="4073892" y="1882026"/>
                </a:lnTo>
                <a:lnTo>
                  <a:pt x="4083755" y="1835759"/>
                </a:lnTo>
                <a:lnTo>
                  <a:pt x="4095841" y="1792133"/>
                </a:lnTo>
                <a:lnTo>
                  <a:pt x="4110284" y="1751231"/>
                </a:lnTo>
                <a:lnTo>
                  <a:pt x="4127216" y="1713133"/>
                </a:lnTo>
                <a:lnTo>
                  <a:pt x="4146769" y="1677921"/>
                </a:lnTo>
                <a:lnTo>
                  <a:pt x="4169077" y="1645676"/>
                </a:lnTo>
                <a:lnTo>
                  <a:pt x="4194274" y="1616479"/>
                </a:lnTo>
                <a:lnTo>
                  <a:pt x="4222489" y="1590414"/>
                </a:lnTo>
                <a:lnTo>
                  <a:pt x="4253856" y="1567559"/>
                </a:lnTo>
                <a:lnTo>
                  <a:pt x="4288509" y="1547998"/>
                </a:lnTo>
                <a:lnTo>
                  <a:pt x="4326580" y="1531810"/>
                </a:lnTo>
                <a:lnTo>
                  <a:pt x="4368202" y="1519078"/>
                </a:lnTo>
                <a:lnTo>
                  <a:pt x="4413507" y="1509883"/>
                </a:lnTo>
                <a:lnTo>
                  <a:pt x="4462628" y="1504306"/>
                </a:lnTo>
                <a:close/>
                <a:moveTo>
                  <a:pt x="462412" y="1502430"/>
                </a:moveTo>
                <a:lnTo>
                  <a:pt x="462412" y="1600921"/>
                </a:lnTo>
                <a:lnTo>
                  <a:pt x="413526" y="1603138"/>
                </a:lnTo>
                <a:lnTo>
                  <a:pt x="369246" y="1609705"/>
                </a:lnTo>
                <a:lnTo>
                  <a:pt x="329359" y="1620509"/>
                </a:lnTo>
                <a:lnTo>
                  <a:pt x="293653" y="1635428"/>
                </a:lnTo>
                <a:lnTo>
                  <a:pt x="233938" y="1677141"/>
                </a:lnTo>
                <a:lnTo>
                  <a:pt x="188404" y="1733900"/>
                </a:lnTo>
                <a:lnTo>
                  <a:pt x="170425" y="1767626"/>
                </a:lnTo>
                <a:lnTo>
                  <a:pt x="155356" y="1804759"/>
                </a:lnTo>
                <a:lnTo>
                  <a:pt x="142983" y="1845179"/>
                </a:lnTo>
                <a:lnTo>
                  <a:pt x="133096" y="1888770"/>
                </a:lnTo>
                <a:lnTo>
                  <a:pt x="125482" y="1935414"/>
                </a:lnTo>
                <a:lnTo>
                  <a:pt x="119929" y="1984990"/>
                </a:lnTo>
                <a:lnTo>
                  <a:pt x="116225" y="2037383"/>
                </a:lnTo>
                <a:lnTo>
                  <a:pt x="114158" y="2092472"/>
                </a:lnTo>
                <a:lnTo>
                  <a:pt x="113516" y="2150141"/>
                </a:lnTo>
                <a:lnTo>
                  <a:pt x="114141" y="2208380"/>
                </a:lnTo>
                <a:lnTo>
                  <a:pt x="116163" y="2264006"/>
                </a:lnTo>
                <a:lnTo>
                  <a:pt x="119800" y="2316901"/>
                </a:lnTo>
                <a:lnTo>
                  <a:pt x="125270" y="2366946"/>
                </a:lnTo>
                <a:lnTo>
                  <a:pt x="132790" y="2414022"/>
                </a:lnTo>
                <a:lnTo>
                  <a:pt x="142580" y="2458012"/>
                </a:lnTo>
                <a:lnTo>
                  <a:pt x="154856" y="2498797"/>
                </a:lnTo>
                <a:lnTo>
                  <a:pt x="169838" y="2536259"/>
                </a:lnTo>
                <a:lnTo>
                  <a:pt x="187744" y="2570280"/>
                </a:lnTo>
                <a:lnTo>
                  <a:pt x="233198" y="2627524"/>
                </a:lnTo>
                <a:lnTo>
                  <a:pt x="292964" y="2669584"/>
                </a:lnTo>
                <a:lnTo>
                  <a:pt x="328759" y="2684624"/>
                </a:lnTo>
                <a:lnTo>
                  <a:pt x="368787" y="2695513"/>
                </a:lnTo>
                <a:lnTo>
                  <a:pt x="413265" y="2702134"/>
                </a:lnTo>
                <a:lnTo>
                  <a:pt x="462412" y="2704367"/>
                </a:lnTo>
                <a:lnTo>
                  <a:pt x="462412" y="2801189"/>
                </a:lnTo>
                <a:lnTo>
                  <a:pt x="408890" y="2799300"/>
                </a:lnTo>
                <a:lnTo>
                  <a:pt x="359409" y="2793687"/>
                </a:lnTo>
                <a:lnTo>
                  <a:pt x="313830" y="2784433"/>
                </a:lnTo>
                <a:lnTo>
                  <a:pt x="272011" y="2771621"/>
                </a:lnTo>
                <a:lnTo>
                  <a:pt x="233814" y="2755334"/>
                </a:lnTo>
                <a:lnTo>
                  <a:pt x="199097" y="2735653"/>
                </a:lnTo>
                <a:lnTo>
                  <a:pt x="167721" y="2712663"/>
                </a:lnTo>
                <a:lnTo>
                  <a:pt x="139544" y="2686444"/>
                </a:lnTo>
                <a:lnTo>
                  <a:pt x="114428" y="2657081"/>
                </a:lnTo>
                <a:lnTo>
                  <a:pt x="92232" y="2624655"/>
                </a:lnTo>
                <a:lnTo>
                  <a:pt x="72814" y="2589249"/>
                </a:lnTo>
                <a:lnTo>
                  <a:pt x="56037" y="2550946"/>
                </a:lnTo>
                <a:lnTo>
                  <a:pt x="41758" y="2509828"/>
                </a:lnTo>
                <a:lnTo>
                  <a:pt x="29838" y="2465979"/>
                </a:lnTo>
                <a:lnTo>
                  <a:pt x="20136" y="2419480"/>
                </a:lnTo>
                <a:lnTo>
                  <a:pt x="12513" y="2370415"/>
                </a:lnTo>
                <a:lnTo>
                  <a:pt x="6828" y="2318865"/>
                </a:lnTo>
                <a:lnTo>
                  <a:pt x="2941" y="2264915"/>
                </a:lnTo>
                <a:lnTo>
                  <a:pt x="711" y="2208645"/>
                </a:lnTo>
                <a:lnTo>
                  <a:pt x="0" y="2150141"/>
                </a:lnTo>
                <a:lnTo>
                  <a:pt x="735" y="2091886"/>
                </a:lnTo>
                <a:lnTo>
                  <a:pt x="3031" y="2035865"/>
                </a:lnTo>
                <a:lnTo>
                  <a:pt x="7020" y="1982160"/>
                </a:lnTo>
                <a:lnTo>
                  <a:pt x="12834" y="1930854"/>
                </a:lnTo>
                <a:lnTo>
                  <a:pt x="20606" y="1882026"/>
                </a:lnTo>
                <a:lnTo>
                  <a:pt x="30469" y="1835759"/>
                </a:lnTo>
                <a:lnTo>
                  <a:pt x="42555" y="1792133"/>
                </a:lnTo>
                <a:lnTo>
                  <a:pt x="56998" y="1751231"/>
                </a:lnTo>
                <a:lnTo>
                  <a:pt x="73930" y="1713133"/>
                </a:lnTo>
                <a:lnTo>
                  <a:pt x="93484" y="1677921"/>
                </a:lnTo>
                <a:lnTo>
                  <a:pt x="115792" y="1645676"/>
                </a:lnTo>
                <a:lnTo>
                  <a:pt x="140987" y="1616479"/>
                </a:lnTo>
                <a:lnTo>
                  <a:pt x="169202" y="1590414"/>
                </a:lnTo>
                <a:lnTo>
                  <a:pt x="200570" y="1567559"/>
                </a:lnTo>
                <a:lnTo>
                  <a:pt x="235222" y="1547998"/>
                </a:lnTo>
                <a:lnTo>
                  <a:pt x="273293" y="1531810"/>
                </a:lnTo>
                <a:lnTo>
                  <a:pt x="314915" y="1519078"/>
                </a:lnTo>
                <a:lnTo>
                  <a:pt x="360220" y="1509883"/>
                </a:lnTo>
                <a:lnTo>
                  <a:pt x="409342" y="1504306"/>
                </a:lnTo>
                <a:close/>
                <a:moveTo>
                  <a:pt x="5280527" y="871409"/>
                </a:moveTo>
                <a:lnTo>
                  <a:pt x="6185319" y="871409"/>
                </a:lnTo>
                <a:lnTo>
                  <a:pt x="6185319" y="978246"/>
                </a:lnTo>
                <a:lnTo>
                  <a:pt x="5280527" y="978246"/>
                </a:lnTo>
                <a:close/>
                <a:moveTo>
                  <a:pt x="1874462" y="871408"/>
                </a:moveTo>
                <a:lnTo>
                  <a:pt x="2779254" y="871408"/>
                </a:lnTo>
                <a:lnTo>
                  <a:pt x="2779254" y="978246"/>
                </a:lnTo>
                <a:lnTo>
                  <a:pt x="1874462" y="978246"/>
                </a:lnTo>
                <a:close/>
                <a:moveTo>
                  <a:pt x="5280527" y="522512"/>
                </a:moveTo>
                <a:lnTo>
                  <a:pt x="6185319" y="522512"/>
                </a:lnTo>
                <a:lnTo>
                  <a:pt x="6185319" y="629349"/>
                </a:lnTo>
                <a:lnTo>
                  <a:pt x="5280527" y="629349"/>
                </a:lnTo>
                <a:close/>
                <a:moveTo>
                  <a:pt x="1874462" y="522511"/>
                </a:moveTo>
                <a:lnTo>
                  <a:pt x="2779254" y="522511"/>
                </a:lnTo>
                <a:lnTo>
                  <a:pt x="2779254" y="629349"/>
                </a:lnTo>
                <a:lnTo>
                  <a:pt x="1874462" y="629349"/>
                </a:lnTo>
                <a:close/>
                <a:moveTo>
                  <a:pt x="4621539" y="116859"/>
                </a:moveTo>
                <a:lnTo>
                  <a:pt x="4740064" y="116859"/>
                </a:lnTo>
                <a:lnTo>
                  <a:pt x="4386160" y="1185248"/>
                </a:lnTo>
                <a:lnTo>
                  <a:pt x="4264297" y="1185248"/>
                </a:lnTo>
                <a:close/>
                <a:moveTo>
                  <a:pt x="3314617" y="116858"/>
                </a:moveTo>
                <a:lnTo>
                  <a:pt x="3439819" y="116858"/>
                </a:lnTo>
                <a:lnTo>
                  <a:pt x="3795392" y="1185248"/>
                </a:lnTo>
                <a:lnTo>
                  <a:pt x="3670190" y="1185248"/>
                </a:lnTo>
                <a:close/>
                <a:moveTo>
                  <a:pt x="1312489" y="1"/>
                </a:moveTo>
                <a:lnTo>
                  <a:pt x="1312489" y="98493"/>
                </a:lnTo>
                <a:lnTo>
                  <a:pt x="1263604" y="100709"/>
                </a:lnTo>
                <a:lnTo>
                  <a:pt x="1219322" y="107277"/>
                </a:lnTo>
                <a:lnTo>
                  <a:pt x="1179437" y="118080"/>
                </a:lnTo>
                <a:lnTo>
                  <a:pt x="1143731" y="132999"/>
                </a:lnTo>
                <a:lnTo>
                  <a:pt x="1084016" y="174712"/>
                </a:lnTo>
                <a:lnTo>
                  <a:pt x="1038482" y="231471"/>
                </a:lnTo>
                <a:lnTo>
                  <a:pt x="1020503" y="265197"/>
                </a:lnTo>
                <a:lnTo>
                  <a:pt x="1005433" y="302330"/>
                </a:lnTo>
                <a:lnTo>
                  <a:pt x="993061" y="342750"/>
                </a:lnTo>
                <a:lnTo>
                  <a:pt x="983172" y="386342"/>
                </a:lnTo>
                <a:lnTo>
                  <a:pt x="975559" y="432985"/>
                </a:lnTo>
                <a:lnTo>
                  <a:pt x="970006" y="482562"/>
                </a:lnTo>
                <a:lnTo>
                  <a:pt x="966302" y="534954"/>
                </a:lnTo>
                <a:lnTo>
                  <a:pt x="964235" y="590043"/>
                </a:lnTo>
                <a:lnTo>
                  <a:pt x="963593" y="647712"/>
                </a:lnTo>
                <a:lnTo>
                  <a:pt x="964219" y="705953"/>
                </a:lnTo>
                <a:lnTo>
                  <a:pt x="966241" y="761579"/>
                </a:lnTo>
                <a:lnTo>
                  <a:pt x="969878" y="814474"/>
                </a:lnTo>
                <a:lnTo>
                  <a:pt x="975347" y="864518"/>
                </a:lnTo>
                <a:lnTo>
                  <a:pt x="982868" y="911596"/>
                </a:lnTo>
                <a:lnTo>
                  <a:pt x="992658" y="955586"/>
                </a:lnTo>
                <a:lnTo>
                  <a:pt x="1004934" y="996370"/>
                </a:lnTo>
                <a:lnTo>
                  <a:pt x="1019916" y="1033831"/>
                </a:lnTo>
                <a:lnTo>
                  <a:pt x="1037822" y="1067851"/>
                </a:lnTo>
                <a:lnTo>
                  <a:pt x="1083276" y="1125096"/>
                </a:lnTo>
                <a:lnTo>
                  <a:pt x="1143042" y="1167155"/>
                </a:lnTo>
                <a:lnTo>
                  <a:pt x="1178837" y="1182194"/>
                </a:lnTo>
                <a:lnTo>
                  <a:pt x="1218864" y="1193084"/>
                </a:lnTo>
                <a:lnTo>
                  <a:pt x="1263342" y="1199705"/>
                </a:lnTo>
                <a:lnTo>
                  <a:pt x="1312489" y="1201938"/>
                </a:lnTo>
                <a:lnTo>
                  <a:pt x="1312489" y="1298761"/>
                </a:lnTo>
                <a:lnTo>
                  <a:pt x="1258966" y="1296873"/>
                </a:lnTo>
                <a:lnTo>
                  <a:pt x="1209487" y="1291259"/>
                </a:lnTo>
                <a:lnTo>
                  <a:pt x="1163908" y="1282006"/>
                </a:lnTo>
                <a:lnTo>
                  <a:pt x="1122089" y="1269194"/>
                </a:lnTo>
                <a:lnTo>
                  <a:pt x="1083893" y="1252907"/>
                </a:lnTo>
                <a:lnTo>
                  <a:pt x="1049176" y="1233225"/>
                </a:lnTo>
                <a:lnTo>
                  <a:pt x="1017798" y="1210234"/>
                </a:lnTo>
                <a:lnTo>
                  <a:pt x="989622" y="1184015"/>
                </a:lnTo>
                <a:lnTo>
                  <a:pt x="964506" y="1154652"/>
                </a:lnTo>
                <a:lnTo>
                  <a:pt x="942309" y="1122226"/>
                </a:lnTo>
                <a:lnTo>
                  <a:pt x="922891" y="1086820"/>
                </a:lnTo>
                <a:lnTo>
                  <a:pt x="906113" y="1048518"/>
                </a:lnTo>
                <a:lnTo>
                  <a:pt x="891835" y="1007402"/>
                </a:lnTo>
                <a:lnTo>
                  <a:pt x="879914" y="963551"/>
                </a:lnTo>
                <a:lnTo>
                  <a:pt x="870214" y="917053"/>
                </a:lnTo>
                <a:lnTo>
                  <a:pt x="862590" y="867987"/>
                </a:lnTo>
                <a:lnTo>
                  <a:pt x="856906" y="816438"/>
                </a:lnTo>
                <a:lnTo>
                  <a:pt x="853019" y="762487"/>
                </a:lnTo>
                <a:lnTo>
                  <a:pt x="850789" y="706217"/>
                </a:lnTo>
                <a:lnTo>
                  <a:pt x="850077" y="647712"/>
                </a:lnTo>
                <a:lnTo>
                  <a:pt x="850812" y="589457"/>
                </a:lnTo>
                <a:lnTo>
                  <a:pt x="853109" y="533437"/>
                </a:lnTo>
                <a:lnTo>
                  <a:pt x="857098" y="479733"/>
                </a:lnTo>
                <a:lnTo>
                  <a:pt x="862911" y="428425"/>
                </a:lnTo>
                <a:lnTo>
                  <a:pt x="870684" y="379597"/>
                </a:lnTo>
                <a:lnTo>
                  <a:pt x="880547" y="333331"/>
                </a:lnTo>
                <a:lnTo>
                  <a:pt x="892633" y="289705"/>
                </a:lnTo>
                <a:lnTo>
                  <a:pt x="907076" y="248802"/>
                </a:lnTo>
                <a:lnTo>
                  <a:pt x="924008" y="210704"/>
                </a:lnTo>
                <a:lnTo>
                  <a:pt x="943561" y="175493"/>
                </a:lnTo>
                <a:lnTo>
                  <a:pt x="965869" y="143247"/>
                </a:lnTo>
                <a:lnTo>
                  <a:pt x="991066" y="114051"/>
                </a:lnTo>
                <a:lnTo>
                  <a:pt x="1019280" y="87986"/>
                </a:lnTo>
                <a:lnTo>
                  <a:pt x="1050647" y="65131"/>
                </a:lnTo>
                <a:lnTo>
                  <a:pt x="1085300" y="45570"/>
                </a:lnTo>
                <a:lnTo>
                  <a:pt x="1123371" y="29382"/>
                </a:lnTo>
                <a:lnTo>
                  <a:pt x="1164993" y="16650"/>
                </a:lnTo>
                <a:lnTo>
                  <a:pt x="1210299" y="7455"/>
                </a:lnTo>
                <a:lnTo>
                  <a:pt x="1259419" y="1877"/>
                </a:lnTo>
                <a:close/>
                <a:moveTo>
                  <a:pt x="6747401" y="0"/>
                </a:moveTo>
                <a:lnTo>
                  <a:pt x="6800471" y="1876"/>
                </a:lnTo>
                <a:lnTo>
                  <a:pt x="6849592" y="7453"/>
                </a:lnTo>
                <a:lnTo>
                  <a:pt x="6894897" y="16648"/>
                </a:lnTo>
                <a:lnTo>
                  <a:pt x="6936519" y="29380"/>
                </a:lnTo>
                <a:lnTo>
                  <a:pt x="6974590" y="45568"/>
                </a:lnTo>
                <a:lnTo>
                  <a:pt x="7009243" y="65130"/>
                </a:lnTo>
                <a:lnTo>
                  <a:pt x="7040610" y="87984"/>
                </a:lnTo>
                <a:lnTo>
                  <a:pt x="7068825" y="114050"/>
                </a:lnTo>
                <a:lnTo>
                  <a:pt x="7094021" y="143246"/>
                </a:lnTo>
                <a:lnTo>
                  <a:pt x="7116329" y="175491"/>
                </a:lnTo>
                <a:lnTo>
                  <a:pt x="7135882" y="210703"/>
                </a:lnTo>
                <a:lnTo>
                  <a:pt x="7152814" y="248801"/>
                </a:lnTo>
                <a:lnTo>
                  <a:pt x="7167257" y="289704"/>
                </a:lnTo>
                <a:lnTo>
                  <a:pt x="7179344" y="333329"/>
                </a:lnTo>
                <a:lnTo>
                  <a:pt x="7189207" y="379596"/>
                </a:lnTo>
                <a:lnTo>
                  <a:pt x="7196979" y="428424"/>
                </a:lnTo>
                <a:lnTo>
                  <a:pt x="7202793" y="479731"/>
                </a:lnTo>
                <a:lnTo>
                  <a:pt x="7206781" y="533435"/>
                </a:lnTo>
                <a:lnTo>
                  <a:pt x="7209077" y="589455"/>
                </a:lnTo>
                <a:lnTo>
                  <a:pt x="7209813" y="647711"/>
                </a:lnTo>
                <a:lnTo>
                  <a:pt x="7209113" y="706216"/>
                </a:lnTo>
                <a:lnTo>
                  <a:pt x="7206916" y="762486"/>
                </a:lnTo>
                <a:lnTo>
                  <a:pt x="7203080" y="816437"/>
                </a:lnTo>
                <a:lnTo>
                  <a:pt x="7197459" y="867986"/>
                </a:lnTo>
                <a:lnTo>
                  <a:pt x="7189911" y="917051"/>
                </a:lnTo>
                <a:lnTo>
                  <a:pt x="7180290" y="963550"/>
                </a:lnTo>
                <a:lnTo>
                  <a:pt x="7168453" y="1007400"/>
                </a:lnTo>
                <a:lnTo>
                  <a:pt x="7154256" y="1048517"/>
                </a:lnTo>
                <a:lnTo>
                  <a:pt x="7137555" y="1086819"/>
                </a:lnTo>
                <a:lnTo>
                  <a:pt x="7118206" y="1122225"/>
                </a:lnTo>
                <a:lnTo>
                  <a:pt x="7096065" y="1154652"/>
                </a:lnTo>
                <a:lnTo>
                  <a:pt x="7070989" y="1184015"/>
                </a:lnTo>
                <a:lnTo>
                  <a:pt x="7042832" y="1210234"/>
                </a:lnTo>
                <a:lnTo>
                  <a:pt x="7011451" y="1233224"/>
                </a:lnTo>
                <a:lnTo>
                  <a:pt x="6976702" y="1252906"/>
                </a:lnTo>
                <a:lnTo>
                  <a:pt x="6938442" y="1269193"/>
                </a:lnTo>
                <a:lnTo>
                  <a:pt x="6896525" y="1282004"/>
                </a:lnTo>
                <a:lnTo>
                  <a:pt x="6850809" y="1291259"/>
                </a:lnTo>
                <a:lnTo>
                  <a:pt x="6801149" y="1296872"/>
                </a:lnTo>
                <a:lnTo>
                  <a:pt x="6747401" y="1298760"/>
                </a:lnTo>
                <a:lnTo>
                  <a:pt x="6747401" y="1201937"/>
                </a:lnTo>
                <a:lnTo>
                  <a:pt x="6797086" y="1199704"/>
                </a:lnTo>
                <a:lnTo>
                  <a:pt x="6842006" y="1193083"/>
                </a:lnTo>
                <a:lnTo>
                  <a:pt x="6882389" y="1182194"/>
                </a:lnTo>
                <a:lnTo>
                  <a:pt x="6918460" y="1167155"/>
                </a:lnTo>
                <a:lnTo>
                  <a:pt x="6978571" y="1125095"/>
                </a:lnTo>
                <a:lnTo>
                  <a:pt x="7024150" y="1067850"/>
                </a:lnTo>
                <a:lnTo>
                  <a:pt x="7042056" y="1033830"/>
                </a:lnTo>
                <a:lnTo>
                  <a:pt x="7057008" y="996368"/>
                </a:lnTo>
                <a:lnTo>
                  <a:pt x="7069232" y="955584"/>
                </a:lnTo>
                <a:lnTo>
                  <a:pt x="7078955" y="911594"/>
                </a:lnTo>
                <a:lnTo>
                  <a:pt x="7086402" y="864517"/>
                </a:lnTo>
                <a:lnTo>
                  <a:pt x="7091801" y="814473"/>
                </a:lnTo>
                <a:lnTo>
                  <a:pt x="7095377" y="761578"/>
                </a:lnTo>
                <a:lnTo>
                  <a:pt x="7097356" y="705951"/>
                </a:lnTo>
                <a:lnTo>
                  <a:pt x="7097966" y="647711"/>
                </a:lnTo>
                <a:lnTo>
                  <a:pt x="7097324" y="590042"/>
                </a:lnTo>
                <a:lnTo>
                  <a:pt x="7095254" y="534953"/>
                </a:lnTo>
                <a:lnTo>
                  <a:pt x="7091544" y="482560"/>
                </a:lnTo>
                <a:lnTo>
                  <a:pt x="7085978" y="432984"/>
                </a:lnTo>
                <a:lnTo>
                  <a:pt x="7078343" y="386340"/>
                </a:lnTo>
                <a:lnTo>
                  <a:pt x="7068425" y="342749"/>
                </a:lnTo>
                <a:lnTo>
                  <a:pt x="7056009" y="302328"/>
                </a:lnTo>
                <a:lnTo>
                  <a:pt x="7040882" y="265196"/>
                </a:lnTo>
                <a:lnTo>
                  <a:pt x="7022829" y="231470"/>
                </a:lnTo>
                <a:lnTo>
                  <a:pt x="6977091" y="174711"/>
                </a:lnTo>
                <a:lnTo>
                  <a:pt x="6917082" y="132998"/>
                </a:lnTo>
                <a:lnTo>
                  <a:pt x="6881190" y="118079"/>
                </a:lnTo>
                <a:lnTo>
                  <a:pt x="6841089" y="107276"/>
                </a:lnTo>
                <a:lnTo>
                  <a:pt x="6796564" y="100708"/>
                </a:lnTo>
                <a:lnTo>
                  <a:pt x="6747401" y="98492"/>
                </a:lnTo>
                <a:close/>
              </a:path>
            </a:pathLst>
          </a:custGeom>
          <a:solidFill>
            <a:srgbClr val="88C66D"/>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160248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reakslide 2">
    <p:spTree>
      <p:nvGrpSpPr>
        <p:cNvPr id="1" name=""/>
        <p:cNvGrpSpPr/>
        <p:nvPr/>
      </p:nvGrpSpPr>
      <p:grpSpPr>
        <a:xfrm>
          <a:off x="0" y="0"/>
          <a:ext cx="0" cy="0"/>
          <a:chOff x="0" y="0"/>
          <a:chExt cx="0" cy="0"/>
        </a:xfrm>
      </p:grpSpPr>
      <p:sp>
        <p:nvSpPr>
          <p:cNvPr id="6" name="Pladsholder til billede 5">
            <a:extLst>
              <a:ext uri="{FF2B5EF4-FFF2-40B4-BE49-F238E27FC236}">
                <a16:creationId xmlns:a16="http://schemas.microsoft.com/office/drawing/2014/main" id="{DD8828A6-E585-6B4F-A1C8-1DBE6955925F}"/>
              </a:ext>
            </a:extLst>
          </p:cNvPr>
          <p:cNvSpPr>
            <a:spLocks noGrp="1"/>
          </p:cNvSpPr>
          <p:nvPr>
            <p:ph type="pic" sz="quarter" idx="10"/>
          </p:nvPr>
        </p:nvSpPr>
        <p:spPr>
          <a:xfrm>
            <a:off x="0" y="0"/>
            <a:ext cx="9144000" cy="5143500"/>
          </a:xfrm>
          <a:solidFill>
            <a:srgbClr val="111111">
              <a:alpha val="10000"/>
            </a:srgbClr>
          </a:solidFill>
        </p:spPr>
        <p:txBody>
          <a:bodyPr>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3" name="Titel 2">
            <a:extLst>
              <a:ext uri="{FF2B5EF4-FFF2-40B4-BE49-F238E27FC236}">
                <a16:creationId xmlns:a16="http://schemas.microsoft.com/office/drawing/2014/main" id="{6CA1908E-B102-3A42-9341-8E6A8F89063B}"/>
              </a:ext>
            </a:extLst>
          </p:cNvPr>
          <p:cNvSpPr>
            <a:spLocks noGrp="1"/>
          </p:cNvSpPr>
          <p:nvPr>
            <p:ph type="title"/>
          </p:nvPr>
        </p:nvSpPr>
        <p:spPr>
          <a:xfrm>
            <a:off x="1619672" y="1419623"/>
            <a:ext cx="5904656" cy="1152128"/>
          </a:xfrm>
        </p:spPr>
        <p:txBody>
          <a:bodyPr anchor="b"/>
          <a:lstStyle>
            <a:lvl1pPr algn="ctr">
              <a:defRPr sz="3200" baseline="0">
                <a:solidFill>
                  <a:schemeClr val="bg1"/>
                </a:solidFill>
              </a:defRPr>
            </a:lvl1pPr>
          </a:lstStyle>
          <a:p>
            <a:r>
              <a:rPr lang="da-DK"/>
              <a:t>Klik for at redigere titeltypografien i masteren</a:t>
            </a:r>
          </a:p>
        </p:txBody>
      </p:sp>
      <p:sp>
        <p:nvSpPr>
          <p:cNvPr id="4" name="Pladsholder til tekst 3">
            <a:extLst>
              <a:ext uri="{FF2B5EF4-FFF2-40B4-BE49-F238E27FC236}">
                <a16:creationId xmlns:a16="http://schemas.microsoft.com/office/drawing/2014/main" id="{C496093B-37A6-AD4C-9138-3E8BD436EBD5}"/>
              </a:ext>
            </a:extLst>
          </p:cNvPr>
          <p:cNvSpPr>
            <a:spLocks noGrp="1"/>
          </p:cNvSpPr>
          <p:nvPr>
            <p:ph type="body" sz="quarter" idx="15"/>
          </p:nvPr>
        </p:nvSpPr>
        <p:spPr>
          <a:xfrm>
            <a:off x="1907704" y="2715766"/>
            <a:ext cx="5328592" cy="1152128"/>
          </a:xfrm>
        </p:spPr>
        <p:txBody>
          <a:bodyPr rIns="0" anchor="t"/>
          <a:lstStyle>
            <a:lvl1pPr marL="0" indent="0" algn="ctr">
              <a:buNone/>
              <a:defRPr sz="1100" kern="0" baseline="0">
                <a:solidFill>
                  <a:schemeClr val="bg1"/>
                </a:solidFill>
              </a:defRPr>
            </a:lvl1pPr>
          </a:lstStyle>
          <a:p>
            <a:pPr lvl="0"/>
            <a:r>
              <a:rPr lang="da-DK"/>
              <a:t>Klik for at redigere teksttypografierne i masteren</a:t>
            </a:r>
          </a:p>
        </p:txBody>
      </p:sp>
      <p:sp>
        <p:nvSpPr>
          <p:cNvPr id="2" name="Pladsholder til tekst 6">
            <a:extLst>
              <a:ext uri="{FF2B5EF4-FFF2-40B4-BE49-F238E27FC236}">
                <a16:creationId xmlns:a16="http://schemas.microsoft.com/office/drawing/2014/main" id="{62788691-1556-FA1E-C496-6C79B160F7D5}"/>
              </a:ext>
            </a:extLst>
          </p:cNvPr>
          <p:cNvSpPr>
            <a:spLocks noGrp="1"/>
          </p:cNvSpPr>
          <p:nvPr>
            <p:ph type="body" sz="quarter" idx="18"/>
          </p:nvPr>
        </p:nvSpPr>
        <p:spPr>
          <a:xfrm>
            <a:off x="186110" y="4728638"/>
            <a:ext cx="219600" cy="219600"/>
          </a:xfrm>
          <a:blipFill>
            <a:blip r:embed="rId2"/>
            <a:stretch>
              <a:fillRect/>
            </a:stretch>
          </a:blipFill>
        </p:spPr>
        <p:txBody>
          <a:bodyPr/>
          <a:lstStyle>
            <a:lvl1pPr marL="0" indent="0">
              <a:buNone/>
              <a:defRPr>
                <a:noFill/>
              </a:defRPr>
            </a:lvl1pPr>
          </a:lstStyle>
          <a:p>
            <a:pPr lvl="0"/>
            <a:r>
              <a:rPr lang="da-DK"/>
              <a:t>Klik for at redigere teksttypografierne i masteren</a:t>
            </a:r>
          </a:p>
        </p:txBody>
      </p:sp>
    </p:spTree>
    <p:extLst>
      <p:ext uri="{BB962C8B-B14F-4D97-AF65-F5344CB8AC3E}">
        <p14:creationId xmlns:p14="http://schemas.microsoft.com/office/powerpoint/2010/main" val="368635493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18" name="Baggrund højre">
            <a:extLst>
              <a:ext uri="{FF2B5EF4-FFF2-40B4-BE49-F238E27FC236}">
                <a16:creationId xmlns:a16="http://schemas.microsoft.com/office/drawing/2014/main" id="{FBEA3A33-4B5E-F835-AD9A-4D073373C2FC}"/>
              </a:ext>
            </a:extLst>
          </p:cNvPr>
          <p:cNvSpPr/>
          <p:nvPr userDrawn="1"/>
        </p:nvSpPr>
        <p:spPr bwMode="white">
          <a:xfrm>
            <a:off x="5344716" y="675001"/>
            <a:ext cx="3799284" cy="4468178"/>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da-DK" sz="1500" noProof="0" err="1"/>
          </a:p>
        </p:txBody>
      </p:sp>
      <p:sp>
        <p:nvSpPr>
          <p:cNvPr id="3" name="Citationstegn">
            <a:extLst>
              <a:ext uri="{FF2B5EF4-FFF2-40B4-BE49-F238E27FC236}">
                <a16:creationId xmlns:a16="http://schemas.microsoft.com/office/drawing/2014/main" id="{1FAC5EE6-E68B-F16E-524C-FE647D1186F7}"/>
              </a:ext>
            </a:extLst>
          </p:cNvPr>
          <p:cNvSpPr/>
          <p:nvPr userDrawn="1"/>
        </p:nvSpPr>
        <p:spPr>
          <a:xfrm>
            <a:off x="398590" y="1664093"/>
            <a:ext cx="504876" cy="462242"/>
          </a:xfrm>
          <a:custGeom>
            <a:avLst/>
            <a:gdLst>
              <a:gd name="connsiteX0" fmla="*/ 2778504 w 3721210"/>
              <a:gd name="connsiteY0" fmla="*/ 0 h 3406975"/>
              <a:gd name="connsiteX1" fmla="*/ 3340820 w 3721210"/>
              <a:gd name="connsiteY1" fmla="*/ 0 h 3406975"/>
              <a:gd name="connsiteX2" fmla="*/ 2877736 w 3721210"/>
              <a:gd name="connsiteY2" fmla="*/ 2100417 h 3406975"/>
              <a:gd name="connsiteX3" fmla="*/ 3717553 w 3721210"/>
              <a:gd name="connsiteY3" fmla="*/ 2640065 h 3406975"/>
              <a:gd name="connsiteX4" fmla="*/ 3721210 w 3721210"/>
              <a:gd name="connsiteY4" fmla="*/ 2728864 h 3406975"/>
              <a:gd name="connsiteX5" fmla="*/ 3721210 w 3721210"/>
              <a:gd name="connsiteY5" fmla="*/ 2728915 h 3406975"/>
              <a:gd name="connsiteX6" fmla="*/ 3717573 w 3721210"/>
              <a:gd name="connsiteY6" fmla="*/ 2826445 h 3406975"/>
              <a:gd name="connsiteX7" fmla="*/ 2960430 w 3721210"/>
              <a:gd name="connsiteY7" fmla="*/ 3406975 h 3406975"/>
              <a:gd name="connsiteX8" fmla="*/ 2216187 w 3721210"/>
              <a:gd name="connsiteY8" fmla="*/ 2728888 h 3406975"/>
              <a:gd name="connsiteX9" fmla="*/ 2282342 w 3721210"/>
              <a:gd name="connsiteY9" fmla="*/ 2265804 h 3406975"/>
              <a:gd name="connsiteX10" fmla="*/ 562316 w 3721210"/>
              <a:gd name="connsiteY10" fmla="*/ 0 h 3406975"/>
              <a:gd name="connsiteX11" fmla="*/ 1124633 w 3721210"/>
              <a:gd name="connsiteY11" fmla="*/ 0 h 3406975"/>
              <a:gd name="connsiteX12" fmla="*/ 661548 w 3721210"/>
              <a:gd name="connsiteY12" fmla="*/ 2100417 h 3406975"/>
              <a:gd name="connsiteX13" fmla="*/ 1505023 w 3721210"/>
              <a:gd name="connsiteY13" fmla="*/ 2728888 h 3406975"/>
              <a:gd name="connsiteX14" fmla="*/ 744242 w 3721210"/>
              <a:gd name="connsiteY14" fmla="*/ 3406975 h 3406975"/>
              <a:gd name="connsiteX15" fmla="*/ 0 w 3721210"/>
              <a:gd name="connsiteY15" fmla="*/ 2728888 h 3406975"/>
              <a:gd name="connsiteX16" fmla="*/ 66155 w 3721210"/>
              <a:gd name="connsiteY16" fmla="*/ 2265804 h 340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21210" h="3406975">
                <a:moveTo>
                  <a:pt x="2778504" y="0"/>
                </a:moveTo>
                <a:lnTo>
                  <a:pt x="3340820" y="0"/>
                </a:lnTo>
                <a:lnTo>
                  <a:pt x="2877736" y="2100417"/>
                </a:lnTo>
                <a:cubicBezTo>
                  <a:pt x="3373898" y="2100417"/>
                  <a:pt x="3681092" y="2216705"/>
                  <a:pt x="3717553" y="2640065"/>
                </a:cubicBezTo>
                <a:lnTo>
                  <a:pt x="3721210" y="2728864"/>
                </a:lnTo>
                <a:lnTo>
                  <a:pt x="3721210" y="2728915"/>
                </a:lnTo>
                <a:lnTo>
                  <a:pt x="3717573" y="2826445"/>
                </a:lnTo>
                <a:cubicBezTo>
                  <a:pt x="3681415" y="3290688"/>
                  <a:pt x="3379066" y="3406975"/>
                  <a:pt x="2960430" y="3406975"/>
                </a:cubicBezTo>
                <a:cubicBezTo>
                  <a:pt x="2530423" y="3406975"/>
                  <a:pt x="2216187" y="3274666"/>
                  <a:pt x="2216187" y="2728888"/>
                </a:cubicBezTo>
                <a:cubicBezTo>
                  <a:pt x="2216187" y="2646194"/>
                  <a:pt x="2232726" y="2464269"/>
                  <a:pt x="2282342" y="2265804"/>
                </a:cubicBezTo>
                <a:close/>
                <a:moveTo>
                  <a:pt x="562316" y="0"/>
                </a:moveTo>
                <a:lnTo>
                  <a:pt x="1124633" y="0"/>
                </a:lnTo>
                <a:lnTo>
                  <a:pt x="661548" y="2100417"/>
                </a:lnTo>
                <a:cubicBezTo>
                  <a:pt x="1190787" y="2100417"/>
                  <a:pt x="1505023" y="2232727"/>
                  <a:pt x="1505023" y="2728888"/>
                </a:cubicBezTo>
                <a:cubicBezTo>
                  <a:pt x="1505023" y="3274666"/>
                  <a:pt x="1190787" y="3406975"/>
                  <a:pt x="744242" y="3406975"/>
                </a:cubicBezTo>
                <a:cubicBezTo>
                  <a:pt x="314235" y="3406975"/>
                  <a:pt x="0" y="3274666"/>
                  <a:pt x="0" y="2728888"/>
                </a:cubicBezTo>
                <a:cubicBezTo>
                  <a:pt x="0" y="2646194"/>
                  <a:pt x="16539" y="2464269"/>
                  <a:pt x="66155" y="2265804"/>
                </a:cubicBezTo>
                <a:close/>
              </a:path>
            </a:pathLst>
          </a:cu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oAutofit/>
          </a:bodyPr>
          <a:lstStyle/>
          <a:p>
            <a:pPr algn="ctr"/>
            <a:endParaRPr lang="da-DK" sz="1200" noProof="0" err="1">
              <a:solidFill>
                <a:schemeClr val="bg1"/>
              </a:solidFill>
            </a:endParaRPr>
          </a:p>
        </p:txBody>
      </p:sp>
      <p:sp>
        <p:nvSpPr>
          <p:cNvPr id="7" name="Titel 6">
            <a:extLst>
              <a:ext uri="{FF2B5EF4-FFF2-40B4-BE49-F238E27FC236}">
                <a16:creationId xmlns:a16="http://schemas.microsoft.com/office/drawing/2014/main" id="{8F7A2D9C-EAFA-3270-E382-715F84BCCAE7}"/>
              </a:ext>
            </a:extLst>
          </p:cNvPr>
          <p:cNvSpPr>
            <a:spLocks noGrp="1"/>
          </p:cNvSpPr>
          <p:nvPr>
            <p:ph type="title" hasCustomPrompt="1"/>
          </p:nvPr>
        </p:nvSpPr>
        <p:spPr>
          <a:xfrm>
            <a:off x="405000" y="2367137"/>
            <a:ext cx="3396600" cy="621000"/>
          </a:xfrm>
        </p:spPr>
        <p:txBody>
          <a:bodyPr/>
          <a:lstStyle>
            <a:lvl1pPr>
              <a:defRPr/>
            </a:lvl1pPr>
          </a:lstStyle>
          <a:p>
            <a:r>
              <a:rPr lang="da-DK"/>
              <a:t>Klik for at tilføje citat</a:t>
            </a:r>
          </a:p>
        </p:txBody>
      </p:sp>
      <p:sp>
        <p:nvSpPr>
          <p:cNvPr id="17" name="Text Placeholder 2">
            <a:extLst>
              <a:ext uri="{FF2B5EF4-FFF2-40B4-BE49-F238E27FC236}">
                <a16:creationId xmlns:a16="http://schemas.microsoft.com/office/drawing/2014/main" id="{260F894D-D8AD-CA81-C1F4-E27837EF5DFB}"/>
              </a:ext>
            </a:extLst>
          </p:cNvPr>
          <p:cNvSpPr>
            <a:spLocks noGrp="1"/>
          </p:cNvSpPr>
          <p:nvPr>
            <p:ph type="body" sz="quarter" idx="13" hasCustomPrompt="1"/>
          </p:nvPr>
        </p:nvSpPr>
        <p:spPr>
          <a:xfrm>
            <a:off x="405000" y="3095875"/>
            <a:ext cx="3396600" cy="213856"/>
          </a:xfrm>
        </p:spPr>
        <p:txBody>
          <a:bodyPr/>
          <a:lstStyle>
            <a:lvl1pPr marL="0" indent="0">
              <a:lnSpc>
                <a:spcPct val="100000"/>
              </a:lnSpc>
              <a:spcAft>
                <a:spcPts val="0"/>
              </a:spcAft>
              <a:buFont typeface="Arial" panose="020B0604020202020204" pitchFamily="34" charset="0"/>
              <a:buNone/>
              <a:defRPr sz="1200" b="0">
                <a:latin typeface="+mn-lt"/>
              </a:defRPr>
            </a:lvl1pPr>
            <a:lvl2pPr marL="0" indent="0">
              <a:lnSpc>
                <a:spcPct val="100000"/>
              </a:lnSpc>
              <a:spcBef>
                <a:spcPts val="0"/>
              </a:spcBef>
              <a:spcAft>
                <a:spcPts val="0"/>
              </a:spcAft>
              <a:buFont typeface="Arial" panose="020B0604020202020204" pitchFamily="34" charset="0"/>
              <a:buChar char="​"/>
              <a:defRPr sz="1200" b="0">
                <a:latin typeface="+mn-lt"/>
              </a:defRPr>
            </a:lvl2pPr>
            <a:lvl3pPr marL="0" indent="0">
              <a:lnSpc>
                <a:spcPct val="100000"/>
              </a:lnSpc>
              <a:spcBef>
                <a:spcPts val="0"/>
              </a:spcBef>
              <a:spcAft>
                <a:spcPts val="0"/>
              </a:spcAft>
              <a:buFont typeface="Arial" panose="020B0604020202020204" pitchFamily="34" charset="0"/>
              <a:buChar char="​"/>
              <a:defRPr sz="1200" b="0">
                <a:latin typeface="+mn-lt"/>
              </a:defRPr>
            </a:lvl3pPr>
            <a:lvl4pPr marL="0" indent="0">
              <a:lnSpc>
                <a:spcPct val="100000"/>
              </a:lnSpc>
              <a:spcBef>
                <a:spcPts val="0"/>
              </a:spcBef>
              <a:spcAft>
                <a:spcPts val="0"/>
              </a:spcAft>
              <a:buFont typeface="Arial" panose="020B0604020202020204" pitchFamily="34" charset="0"/>
              <a:buChar char="​"/>
              <a:defRPr sz="1200" b="0">
                <a:latin typeface="+mn-lt"/>
              </a:defRPr>
            </a:lvl4pPr>
            <a:lvl5pPr marL="0" indent="0">
              <a:lnSpc>
                <a:spcPct val="100000"/>
              </a:lnSpc>
              <a:spcBef>
                <a:spcPts val="0"/>
              </a:spcBef>
              <a:spcAft>
                <a:spcPts val="0"/>
              </a:spcAft>
              <a:buFont typeface="Arial" panose="020B0604020202020204" pitchFamily="34" charset="0"/>
              <a:buChar char="​"/>
              <a:defRPr sz="1200" b="0">
                <a:latin typeface="+mn-lt"/>
              </a:defRPr>
            </a:lvl5pPr>
            <a:lvl6pPr marL="0" indent="0">
              <a:lnSpc>
                <a:spcPct val="100000"/>
              </a:lnSpc>
              <a:spcBef>
                <a:spcPts val="0"/>
              </a:spcBef>
              <a:spcAft>
                <a:spcPts val="0"/>
              </a:spcAft>
              <a:buFont typeface="Arial" panose="020B0604020202020204" pitchFamily="34" charset="0"/>
              <a:buChar char="​"/>
              <a:defRPr sz="1200" b="0">
                <a:latin typeface="+mn-lt"/>
              </a:defRPr>
            </a:lvl6pPr>
            <a:lvl7pPr marL="0" indent="0">
              <a:lnSpc>
                <a:spcPct val="100000"/>
              </a:lnSpc>
              <a:spcBef>
                <a:spcPts val="0"/>
              </a:spcBef>
              <a:spcAft>
                <a:spcPts val="0"/>
              </a:spcAft>
              <a:buFont typeface="Arial" panose="020B0604020202020204" pitchFamily="34" charset="0"/>
              <a:buChar char="​"/>
              <a:defRPr sz="1200" b="0">
                <a:latin typeface="+mn-lt"/>
              </a:defRPr>
            </a:lvl7pPr>
            <a:lvl8pPr marL="0" indent="0">
              <a:lnSpc>
                <a:spcPct val="100000"/>
              </a:lnSpc>
              <a:spcBef>
                <a:spcPts val="0"/>
              </a:spcBef>
              <a:spcAft>
                <a:spcPts val="0"/>
              </a:spcAft>
              <a:buFont typeface="Arial" panose="020B0604020202020204" pitchFamily="34" charset="0"/>
              <a:buChar char="​"/>
              <a:defRPr sz="1200" b="0">
                <a:latin typeface="+mn-lt"/>
              </a:defRPr>
            </a:lvl8pPr>
            <a:lvl9pPr marL="0" indent="0">
              <a:lnSpc>
                <a:spcPct val="100000"/>
              </a:lnSpc>
              <a:spcBef>
                <a:spcPts val="0"/>
              </a:spcBef>
              <a:buFont typeface="Arial" panose="020B0604020202020204" pitchFamily="34" charset="0"/>
              <a:buChar char="​"/>
              <a:defRPr sz="1200" b="0">
                <a:latin typeface="+mn-lt"/>
              </a:defRPr>
            </a:lvl9pPr>
          </a:lstStyle>
          <a:p>
            <a:pPr lvl="0"/>
            <a:r>
              <a:rPr lang="da-DK" noProof="0"/>
              <a:t>Klik for at tilføje navn</a:t>
            </a:r>
          </a:p>
        </p:txBody>
      </p:sp>
      <p:sp>
        <p:nvSpPr>
          <p:cNvPr id="16" name="Text Placeholder 3">
            <a:extLst>
              <a:ext uri="{FF2B5EF4-FFF2-40B4-BE49-F238E27FC236}">
                <a16:creationId xmlns:a16="http://schemas.microsoft.com/office/drawing/2014/main" id="{145BFAFA-19B6-8EEB-8CBF-2C31E2CEB6F0}"/>
              </a:ext>
            </a:extLst>
          </p:cNvPr>
          <p:cNvSpPr>
            <a:spLocks noGrp="1"/>
          </p:cNvSpPr>
          <p:nvPr>
            <p:ph type="body" sz="quarter" idx="21" hasCustomPrompt="1"/>
          </p:nvPr>
        </p:nvSpPr>
        <p:spPr>
          <a:xfrm>
            <a:off x="405000" y="3356793"/>
            <a:ext cx="3396600" cy="193755"/>
          </a:xfrm>
        </p:spPr>
        <p:txBody>
          <a:bodyPr/>
          <a:lstStyle>
            <a:lvl1pPr marL="0" indent="0">
              <a:lnSpc>
                <a:spcPct val="100000"/>
              </a:lnSpc>
              <a:spcBef>
                <a:spcPts val="0"/>
              </a:spcBef>
              <a:spcAft>
                <a:spcPts val="0"/>
              </a:spcAft>
              <a:buFont typeface="Arial" panose="020B0604020202020204" pitchFamily="34" charset="0"/>
              <a:buNone/>
              <a:defRPr sz="750" b="0">
                <a:latin typeface="+mn-lt"/>
              </a:defRPr>
            </a:lvl1pPr>
            <a:lvl2pPr marL="0" indent="0">
              <a:lnSpc>
                <a:spcPct val="100000"/>
              </a:lnSpc>
              <a:spcBef>
                <a:spcPts val="0"/>
              </a:spcBef>
              <a:spcAft>
                <a:spcPts val="0"/>
              </a:spcAft>
              <a:buFont typeface="Arial" panose="020B0604020202020204" pitchFamily="34" charset="0"/>
              <a:buChar char="​"/>
              <a:defRPr sz="750" b="0">
                <a:latin typeface="+mn-lt"/>
              </a:defRPr>
            </a:lvl2pPr>
            <a:lvl3pPr marL="0" indent="0">
              <a:lnSpc>
                <a:spcPct val="100000"/>
              </a:lnSpc>
              <a:spcBef>
                <a:spcPts val="0"/>
              </a:spcBef>
              <a:spcAft>
                <a:spcPts val="0"/>
              </a:spcAft>
              <a:buFont typeface="Arial" panose="020B0604020202020204" pitchFamily="34" charset="0"/>
              <a:buChar char="​"/>
              <a:defRPr sz="750" b="0">
                <a:latin typeface="+mn-lt"/>
              </a:defRPr>
            </a:lvl3pPr>
            <a:lvl4pPr>
              <a:lnSpc>
                <a:spcPct val="100000"/>
              </a:lnSpc>
              <a:spcBef>
                <a:spcPts val="0"/>
              </a:spcBef>
              <a:spcAft>
                <a:spcPts val="0"/>
              </a:spcAft>
              <a:buFont typeface="Arial" panose="020B0604020202020204" pitchFamily="34" charset="0"/>
              <a:buChar char="​"/>
              <a:defRPr sz="750" b="0">
                <a:latin typeface="+mn-lt"/>
              </a:defRPr>
            </a:lvl4pPr>
            <a:lvl5pPr>
              <a:lnSpc>
                <a:spcPct val="100000"/>
              </a:lnSpc>
              <a:spcBef>
                <a:spcPts val="0"/>
              </a:spcBef>
              <a:spcAft>
                <a:spcPts val="0"/>
              </a:spcAft>
              <a:buFont typeface="Arial" panose="020B0604020202020204" pitchFamily="34" charset="0"/>
              <a:buChar char="​"/>
              <a:defRPr sz="750" b="0">
                <a:latin typeface="+mn-lt"/>
              </a:defRPr>
            </a:lvl5pPr>
            <a:lvl6pPr marL="0" indent="0">
              <a:lnSpc>
                <a:spcPct val="100000"/>
              </a:lnSpc>
              <a:spcBef>
                <a:spcPts val="0"/>
              </a:spcBef>
              <a:spcAft>
                <a:spcPts val="0"/>
              </a:spcAft>
              <a:buFont typeface="Arial" panose="020B0604020202020204" pitchFamily="34" charset="0"/>
              <a:buChar char="​"/>
              <a:defRPr sz="750" b="0">
                <a:latin typeface="+mn-lt"/>
              </a:defRPr>
            </a:lvl6pPr>
            <a:lvl7pPr>
              <a:lnSpc>
                <a:spcPct val="100000"/>
              </a:lnSpc>
              <a:spcBef>
                <a:spcPts val="0"/>
              </a:spcBef>
              <a:spcAft>
                <a:spcPts val="0"/>
              </a:spcAft>
              <a:defRPr sz="750" b="0">
                <a:latin typeface="+mn-lt"/>
              </a:defRPr>
            </a:lvl7pPr>
            <a:lvl8pPr>
              <a:lnSpc>
                <a:spcPct val="100000"/>
              </a:lnSpc>
              <a:spcBef>
                <a:spcPts val="0"/>
              </a:spcBef>
              <a:spcAft>
                <a:spcPts val="0"/>
              </a:spcAft>
              <a:defRPr sz="750" b="0">
                <a:latin typeface="+mn-lt"/>
              </a:defRPr>
            </a:lvl8pPr>
            <a:lvl9pPr>
              <a:lnSpc>
                <a:spcPct val="100000"/>
              </a:lnSpc>
              <a:spcBef>
                <a:spcPts val="0"/>
              </a:spcBef>
              <a:spcAft>
                <a:spcPts val="0"/>
              </a:spcAft>
              <a:defRPr sz="750" b="0">
                <a:latin typeface="+mn-lt"/>
              </a:defRPr>
            </a:lvl9pPr>
          </a:lstStyle>
          <a:p>
            <a:pPr lvl="0"/>
            <a:r>
              <a:rPr lang="da-DK"/>
              <a:t>Klik for at tilføje titel</a:t>
            </a:r>
          </a:p>
        </p:txBody>
      </p:sp>
      <p:sp>
        <p:nvSpPr>
          <p:cNvPr id="20" name="Makro grafik 1">
            <a:extLst>
              <a:ext uri="{FF2B5EF4-FFF2-40B4-BE49-F238E27FC236}">
                <a16:creationId xmlns:a16="http://schemas.microsoft.com/office/drawing/2014/main" id="{FC1D0852-DEFD-91A1-6E00-B4A6FF9E00D7}"/>
              </a:ext>
            </a:extLst>
          </p:cNvPr>
          <p:cNvSpPr>
            <a:spLocks noGrp="1" noChangeAspect="1"/>
          </p:cNvSpPr>
          <p:nvPr>
            <p:ph type="body" sz="quarter" idx="18" hasCustomPrompt="1"/>
          </p:nvPr>
        </p:nvSpPr>
        <p:spPr>
          <a:xfrm>
            <a:off x="7129898" y="1183240"/>
            <a:ext cx="2584852" cy="2609850"/>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5" name="Pladsholder til billede 24">
            <a:extLst>
              <a:ext uri="{FF2B5EF4-FFF2-40B4-BE49-F238E27FC236}">
                <a16:creationId xmlns:a16="http://schemas.microsoft.com/office/drawing/2014/main" id="{CEEC097F-0B93-D144-2154-34F7FADB7981}"/>
              </a:ext>
            </a:extLst>
          </p:cNvPr>
          <p:cNvSpPr>
            <a:spLocks noGrp="1"/>
          </p:cNvSpPr>
          <p:nvPr>
            <p:ph type="pic" sz="quarter" idx="22" hasCustomPrompt="1"/>
          </p:nvPr>
        </p:nvSpPr>
        <p:spPr>
          <a:xfrm>
            <a:off x="4877211" y="675000"/>
            <a:ext cx="4275392" cy="4468500"/>
          </a:xfrm>
          <a:noFill/>
        </p:spPr>
        <p:txBody>
          <a:bodyPr lIns="1080000" rIns="612000"/>
          <a:lstStyle>
            <a:lvl1pPr marL="0" indent="0" algn="ctr">
              <a:buNone/>
              <a:defRPr>
                <a:solidFill>
                  <a:schemeClr val="bg1"/>
                </a:solidFill>
              </a:defRPr>
            </a:lvl1pPr>
          </a:lstStyle>
          <a:p>
            <a:r>
              <a:rPr lang="da-DK" noProof="0"/>
              <a:t>Klik her på rammen, klik Indsæt/Billeder og indsæt fritlagt billede (uden baggrund)</a:t>
            </a:r>
          </a:p>
        </p:txBody>
      </p:sp>
      <p:sp>
        <p:nvSpPr>
          <p:cNvPr id="22" name="Makro grafik 2">
            <a:extLst>
              <a:ext uri="{FF2B5EF4-FFF2-40B4-BE49-F238E27FC236}">
                <a16:creationId xmlns:a16="http://schemas.microsoft.com/office/drawing/2014/main" id="{79AB4A1A-85C8-A7A7-D645-2EC9A8882985}"/>
              </a:ext>
            </a:extLst>
          </p:cNvPr>
          <p:cNvSpPr>
            <a:spLocks noGrp="1" noChangeAspect="1"/>
          </p:cNvSpPr>
          <p:nvPr>
            <p:ph type="body" sz="quarter" idx="19" hasCustomPrompt="1"/>
          </p:nvPr>
        </p:nvSpPr>
        <p:spPr>
          <a:xfrm>
            <a:off x="5043369" y="2139957"/>
            <a:ext cx="2584852" cy="2609850"/>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a:t>.</a:t>
            </a:r>
          </a:p>
        </p:txBody>
      </p:sp>
      <p:sp>
        <p:nvSpPr>
          <p:cNvPr id="2" name="Date Placeholder 1">
            <a:extLst>
              <a:ext uri="{FF2B5EF4-FFF2-40B4-BE49-F238E27FC236}">
                <a16:creationId xmlns:a16="http://schemas.microsoft.com/office/drawing/2014/main" id="{D6CD7A3F-33C8-C798-8ED1-304A132B715D}"/>
              </a:ext>
            </a:extLst>
          </p:cNvPr>
          <p:cNvSpPr>
            <a:spLocks noGrp="1"/>
          </p:cNvSpPr>
          <p:nvPr>
            <p:ph type="dt" sz="half" idx="23"/>
          </p:nvPr>
        </p:nvSpPr>
        <p:spPr/>
        <p:txBody>
          <a:bodyPr/>
          <a:lstStyle/>
          <a:p>
            <a:fld id="{A2446D3D-F608-46B7-8E05-81FCF9BDF507}" type="datetime2">
              <a:rPr lang="da-DK" smtClean="0"/>
              <a:t>11. december 2025</a:t>
            </a:fld>
            <a:endParaRPr lang="da-DK"/>
          </a:p>
        </p:txBody>
      </p:sp>
      <p:sp>
        <p:nvSpPr>
          <p:cNvPr id="6" name="Footer Placeholder 5">
            <a:extLst>
              <a:ext uri="{FF2B5EF4-FFF2-40B4-BE49-F238E27FC236}">
                <a16:creationId xmlns:a16="http://schemas.microsoft.com/office/drawing/2014/main" id="{E7EC2575-A0D9-01D6-1777-0877C4AFA02C}"/>
              </a:ext>
            </a:extLst>
          </p:cNvPr>
          <p:cNvSpPr>
            <a:spLocks noGrp="1"/>
          </p:cNvSpPr>
          <p:nvPr>
            <p:ph type="ftr" sz="quarter" idx="24"/>
          </p:nvPr>
        </p:nvSpPr>
        <p:spPr/>
        <p:txBody>
          <a:bodyPr/>
          <a:lstStyle>
            <a:lvl1pPr>
              <a:defRPr>
                <a:solidFill>
                  <a:schemeClr val="bg1"/>
                </a:solidFill>
              </a:defRPr>
            </a:lvl1pPr>
          </a:lstStyle>
          <a:p>
            <a:r>
              <a:rPr lang="da-DK"/>
              <a:t>Digitaliseringsstyrelsen</a:t>
            </a:r>
          </a:p>
        </p:txBody>
      </p:sp>
      <p:sp>
        <p:nvSpPr>
          <p:cNvPr id="8" name="Slide Number Placeholder 7">
            <a:extLst>
              <a:ext uri="{FF2B5EF4-FFF2-40B4-BE49-F238E27FC236}">
                <a16:creationId xmlns:a16="http://schemas.microsoft.com/office/drawing/2014/main" id="{B0F34EA2-C025-23CF-3CE0-0A87EFCE1936}"/>
              </a:ext>
            </a:extLst>
          </p:cNvPr>
          <p:cNvSpPr>
            <a:spLocks noGrp="1"/>
          </p:cNvSpPr>
          <p:nvPr>
            <p:ph type="sldNum" sz="quarter" idx="25"/>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273717391"/>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1988">
          <p15:clr>
            <a:srgbClr val="A4A3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2F440956-886F-E399-F5DC-83BF1413FB55}"/>
              </a:ext>
            </a:extLst>
          </p:cNvPr>
          <p:cNvSpPr>
            <a:spLocks noGrp="1"/>
          </p:cNvSpPr>
          <p:nvPr>
            <p:ph type="subTitle" idx="13" hasCustomPrompt="1"/>
          </p:nvPr>
        </p:nvSpPr>
        <p:spPr>
          <a:xfrm>
            <a:off x="405000" y="270000"/>
            <a:ext cx="83349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tilføje sektionstitel</a:t>
            </a:r>
          </a:p>
        </p:txBody>
      </p:sp>
      <p:sp>
        <p:nvSpPr>
          <p:cNvPr id="2" name="Title 1">
            <a:extLst>
              <a:ext uri="{FF2B5EF4-FFF2-40B4-BE49-F238E27FC236}">
                <a16:creationId xmlns:a16="http://schemas.microsoft.com/office/drawing/2014/main" id="{FFDCBCB9-EF2E-470C-9EE7-EF220DB3612D}"/>
              </a:ext>
            </a:extLst>
          </p:cNvPr>
          <p:cNvSpPr>
            <a:spLocks noGrp="1"/>
          </p:cNvSpPr>
          <p:nvPr>
            <p:ph type="title" hasCustomPrompt="1"/>
          </p:nvPr>
        </p:nvSpPr>
        <p:spPr/>
        <p:txBody>
          <a:bodyPr/>
          <a:lstStyle/>
          <a:p>
            <a:r>
              <a:rPr lang="da-DK"/>
              <a:t>Klik for at tilføje titel</a:t>
            </a:r>
          </a:p>
        </p:txBody>
      </p:sp>
      <p:sp>
        <p:nvSpPr>
          <p:cNvPr id="7" name="Date Placeholder 6">
            <a:extLst>
              <a:ext uri="{FF2B5EF4-FFF2-40B4-BE49-F238E27FC236}">
                <a16:creationId xmlns:a16="http://schemas.microsoft.com/office/drawing/2014/main" id="{5697AA78-99F6-2A25-0CFB-FAE5615D16FF}"/>
              </a:ext>
            </a:extLst>
          </p:cNvPr>
          <p:cNvSpPr>
            <a:spLocks noGrp="1"/>
          </p:cNvSpPr>
          <p:nvPr>
            <p:ph type="dt" sz="half" idx="14"/>
          </p:nvPr>
        </p:nvSpPr>
        <p:spPr/>
        <p:txBody>
          <a:bodyPr/>
          <a:lstStyle/>
          <a:p>
            <a:fld id="{A2446D3D-F608-46B7-8E05-81FCF9BDF507}" type="datetime2">
              <a:rPr lang="da-DK" smtClean="0"/>
              <a:t>11. december 2025</a:t>
            </a:fld>
            <a:endParaRPr lang="da-DK"/>
          </a:p>
        </p:txBody>
      </p:sp>
      <p:sp>
        <p:nvSpPr>
          <p:cNvPr id="8" name="Footer Placeholder 7">
            <a:extLst>
              <a:ext uri="{FF2B5EF4-FFF2-40B4-BE49-F238E27FC236}">
                <a16:creationId xmlns:a16="http://schemas.microsoft.com/office/drawing/2014/main" id="{69377A66-687C-DB1F-9BCD-5498C880EEDF}"/>
              </a:ext>
            </a:extLst>
          </p:cNvPr>
          <p:cNvSpPr>
            <a:spLocks noGrp="1"/>
          </p:cNvSpPr>
          <p:nvPr>
            <p:ph type="ftr" sz="quarter" idx="15"/>
          </p:nvPr>
        </p:nvSpPr>
        <p:spPr/>
        <p:txBody>
          <a:bodyPr/>
          <a:lstStyle/>
          <a:p>
            <a:r>
              <a:rPr lang="da-DK"/>
              <a:t>Digitaliseringsstyrelsen</a:t>
            </a:r>
          </a:p>
        </p:txBody>
      </p:sp>
      <p:sp>
        <p:nvSpPr>
          <p:cNvPr id="9" name="Slide Number Placeholder 8">
            <a:extLst>
              <a:ext uri="{FF2B5EF4-FFF2-40B4-BE49-F238E27FC236}">
                <a16:creationId xmlns:a16="http://schemas.microsoft.com/office/drawing/2014/main" id="{C38F4F72-305D-C46D-5D41-5F0FC6B92E3C}"/>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44822637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DA92360-CC53-0085-455A-FD783E26F1E4}"/>
              </a:ext>
            </a:extLst>
          </p:cNvPr>
          <p:cNvSpPr>
            <a:spLocks noGrp="1"/>
          </p:cNvSpPr>
          <p:nvPr>
            <p:ph type="dt" sz="half" idx="10"/>
          </p:nvPr>
        </p:nvSpPr>
        <p:spPr/>
        <p:txBody>
          <a:bodyPr/>
          <a:lstStyle/>
          <a:p>
            <a:fld id="{A2446D3D-F608-46B7-8E05-81FCF9BDF507}" type="datetime2">
              <a:rPr lang="da-DK" smtClean="0"/>
              <a:t>11. december 2025</a:t>
            </a:fld>
            <a:endParaRPr lang="da-DK"/>
          </a:p>
        </p:txBody>
      </p:sp>
      <p:sp>
        <p:nvSpPr>
          <p:cNvPr id="3" name="Footer Placeholder 2">
            <a:extLst>
              <a:ext uri="{FF2B5EF4-FFF2-40B4-BE49-F238E27FC236}">
                <a16:creationId xmlns:a16="http://schemas.microsoft.com/office/drawing/2014/main" id="{CF1DA727-6CC9-BD98-0DDA-D7D6A36D0C56}"/>
              </a:ext>
            </a:extLst>
          </p:cNvPr>
          <p:cNvSpPr>
            <a:spLocks noGrp="1"/>
          </p:cNvSpPr>
          <p:nvPr>
            <p:ph type="ftr" sz="quarter" idx="11"/>
          </p:nvPr>
        </p:nvSpPr>
        <p:spPr/>
        <p:txBody>
          <a:bodyPr/>
          <a:lstStyle/>
          <a:p>
            <a:r>
              <a:rPr lang="da-DK"/>
              <a:t>Digitaliseringsstyrelsen</a:t>
            </a:r>
          </a:p>
        </p:txBody>
      </p:sp>
      <p:sp>
        <p:nvSpPr>
          <p:cNvPr id="4" name="Slide Number Placeholder 3">
            <a:extLst>
              <a:ext uri="{FF2B5EF4-FFF2-40B4-BE49-F238E27FC236}">
                <a16:creationId xmlns:a16="http://schemas.microsoft.com/office/drawing/2014/main" id="{719D9D9B-BFFA-CE30-D752-40AF41EABFC3}"/>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27597905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rugerdefineret layout">
    <p:bg>
      <p:bgPr>
        <a:solidFill>
          <a:schemeClr val="bg1"/>
        </a:solidFill>
        <a:effectLst/>
      </p:bgPr>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3041CE90-C6C1-8D1D-CE8E-1B2E9DEC9C41}"/>
              </a:ext>
            </a:extLst>
          </p:cNvPr>
          <p:cNvSpPr/>
          <p:nvPr userDrawn="1"/>
        </p:nvSpPr>
        <p:spPr>
          <a:xfrm>
            <a:off x="0" y="0"/>
            <a:ext cx="9144000" cy="51435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da-DK" sz="1200" noProof="0" err="1">
              <a:solidFill>
                <a:schemeClr val="bg1"/>
              </a:solidFill>
            </a:endParaRPr>
          </a:p>
        </p:txBody>
      </p:sp>
      <p:sp>
        <p:nvSpPr>
          <p:cNvPr id="2" name="Titel 1">
            <a:extLst>
              <a:ext uri="{FF2B5EF4-FFF2-40B4-BE49-F238E27FC236}">
                <a16:creationId xmlns:a16="http://schemas.microsoft.com/office/drawing/2014/main" id="{6F2199A3-A2CD-DF7F-4719-E6FD96D6321D}"/>
              </a:ext>
            </a:extLst>
          </p:cNvPr>
          <p:cNvSpPr>
            <a:spLocks noGrp="1"/>
          </p:cNvSpPr>
          <p:nvPr>
            <p:ph type="title"/>
          </p:nvPr>
        </p:nvSpPr>
        <p:spPr/>
        <p:txBody>
          <a:bodyPr/>
          <a:lstStyle/>
          <a:p>
            <a:r>
              <a:rPr lang="da-DK"/>
              <a:t>Klik for at redigere titeltypografien i masteren</a:t>
            </a:r>
          </a:p>
        </p:txBody>
      </p:sp>
      <p:sp>
        <p:nvSpPr>
          <p:cNvPr id="3" name="Pladsholder til slidenummer 2">
            <a:extLst>
              <a:ext uri="{FF2B5EF4-FFF2-40B4-BE49-F238E27FC236}">
                <a16:creationId xmlns:a16="http://schemas.microsoft.com/office/drawing/2014/main" id="{7C1DE225-AC66-5C4B-56C1-4DAA96D101E5}"/>
              </a:ext>
            </a:extLst>
          </p:cNvPr>
          <p:cNvSpPr>
            <a:spLocks noGrp="1"/>
          </p:cNvSpPr>
          <p:nvPr>
            <p:ph type="sldNum" sz="quarter" idx="10"/>
          </p:nvPr>
        </p:nvSpPr>
        <p:spPr/>
        <p:txBody>
          <a:bodyPr/>
          <a:lstStyle/>
          <a:p>
            <a:fld id="{24C8C45C-947F-4981-8B3F-4F32E973C901}" type="slidenum">
              <a:rPr lang="da-DK" smtClean="0"/>
              <a:pPr/>
              <a:t>‹nr.›</a:t>
            </a:fld>
            <a:endParaRPr lang="da-DK"/>
          </a:p>
        </p:txBody>
      </p:sp>
      <p:sp>
        <p:nvSpPr>
          <p:cNvPr id="4" name="Pladsholder til dato 3">
            <a:extLst>
              <a:ext uri="{FF2B5EF4-FFF2-40B4-BE49-F238E27FC236}">
                <a16:creationId xmlns:a16="http://schemas.microsoft.com/office/drawing/2014/main" id="{0D39C83D-817A-8387-6DC9-58324751B857}"/>
              </a:ext>
            </a:extLst>
          </p:cNvPr>
          <p:cNvSpPr>
            <a:spLocks noGrp="1"/>
          </p:cNvSpPr>
          <p:nvPr>
            <p:ph type="dt" sz="half" idx="11"/>
          </p:nvPr>
        </p:nvSpPr>
        <p:spPr/>
        <p:txBody>
          <a:bodyPr/>
          <a:lstStyle/>
          <a:p>
            <a:fld id="{A2446D3D-F608-46B7-8E05-81FCF9BDF507}" type="datetime2">
              <a:rPr lang="da-DK" smtClean="0"/>
              <a:t>11. december 2025</a:t>
            </a:fld>
            <a:endParaRPr lang="da-DK"/>
          </a:p>
        </p:txBody>
      </p:sp>
      <p:sp>
        <p:nvSpPr>
          <p:cNvPr id="5" name="Pladsholder til sidefod 4">
            <a:extLst>
              <a:ext uri="{FF2B5EF4-FFF2-40B4-BE49-F238E27FC236}">
                <a16:creationId xmlns:a16="http://schemas.microsoft.com/office/drawing/2014/main" id="{DED19BD5-2677-8CE6-1678-7B6874B04B7A}"/>
              </a:ext>
            </a:extLst>
          </p:cNvPr>
          <p:cNvSpPr>
            <a:spLocks noGrp="1"/>
          </p:cNvSpPr>
          <p:nvPr>
            <p:ph type="ftr" sz="quarter" idx="12"/>
          </p:nvPr>
        </p:nvSpPr>
        <p:spPr/>
        <p:txBody>
          <a:bodyPr/>
          <a:lstStyle/>
          <a:p>
            <a:r>
              <a:rPr lang="da-DK"/>
              <a:t>Digitaliseringsstyrelsen</a:t>
            </a:r>
          </a:p>
        </p:txBody>
      </p:sp>
    </p:spTree>
    <p:extLst>
      <p:ext uri="{BB962C8B-B14F-4D97-AF65-F5344CB8AC3E}">
        <p14:creationId xmlns:p14="http://schemas.microsoft.com/office/powerpoint/2010/main" val="355377840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rugerguide">
    <p:spTree>
      <p:nvGrpSpPr>
        <p:cNvPr id="1" name=""/>
        <p:cNvGrpSpPr/>
        <p:nvPr/>
      </p:nvGrpSpPr>
      <p:grpSpPr>
        <a:xfrm>
          <a:off x="0" y="0"/>
          <a:ext cx="0" cy="0"/>
          <a:chOff x="0" y="0"/>
          <a:chExt cx="0" cy="0"/>
        </a:xfrm>
      </p:grpSpPr>
      <p:sp>
        <p:nvSpPr>
          <p:cNvPr id="9" name="Fast overskrift"/>
          <p:cNvSpPr txBox="1"/>
          <p:nvPr userDrawn="1"/>
        </p:nvSpPr>
        <p:spPr>
          <a:xfrm>
            <a:off x="404814" y="274445"/>
            <a:ext cx="8331991" cy="487628"/>
          </a:xfrm>
          <a:prstGeom prst="rect">
            <a:avLst/>
          </a:prstGeom>
          <a:noFill/>
        </p:spPr>
        <p:txBody>
          <a:bodyPr wrap="square" lIns="0" tIns="0" rIns="0" bIns="0" rtlCol="0" anchor="t" anchorCtr="0">
            <a:noAutofit/>
          </a:bodyPr>
          <a:lstStyle/>
          <a:p>
            <a:r>
              <a:rPr lang="da-DK" sz="2400" b="0" noProof="1">
                <a:solidFill>
                  <a:schemeClr val="tx1"/>
                </a:solidFill>
                <a:latin typeface="+mj-lt"/>
                <a:cs typeface="Arial" panose="020B0604020202020204" pitchFamily="34" charset="0"/>
              </a:rPr>
              <a:t>TIPS &amp; TRICKS - DIN BRUGERGUIDE</a:t>
            </a:r>
          </a:p>
        </p:txBody>
      </p:sp>
      <p:sp>
        <p:nvSpPr>
          <p:cNvPr id="27" name="Text Box 2">
            <a:extLst>
              <a:ext uri="{FF2B5EF4-FFF2-40B4-BE49-F238E27FC236}">
                <a16:creationId xmlns:a16="http://schemas.microsoft.com/office/drawing/2014/main" id="{1E86B7E7-F87D-4375-BAE3-34A81C5D0F8B}"/>
              </a:ext>
            </a:extLst>
          </p:cNvPr>
          <p:cNvSpPr txBox="1">
            <a:spLocks noChangeArrowheads="1"/>
          </p:cNvSpPr>
          <p:nvPr userDrawn="1"/>
        </p:nvSpPr>
        <p:spPr bwMode="auto">
          <a:xfrm>
            <a:off x="404814" y="1211236"/>
            <a:ext cx="1836683" cy="308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da-DK" sz="1200">
                <a:latin typeface="+mn-lt"/>
                <a:cs typeface="Arial" panose="020B0604020202020204" pitchFamily="34" charset="0"/>
              </a:rPr>
              <a:t>TYPOGRAFIER</a:t>
            </a:r>
            <a:endParaRPr lang="da-DK" altLang="da-DK" sz="1200" b="0" noProof="1">
              <a:solidFill>
                <a:schemeClr val="tx1"/>
              </a:solidFill>
              <a:latin typeface="+mn-lt"/>
              <a:cs typeface="Arial" panose="020B0604020202020204" pitchFamily="34" charset="0"/>
            </a:endParaRPr>
          </a:p>
          <a:p>
            <a:pPr eaLnBrk="1" hangingPunct="1">
              <a:spcAft>
                <a:spcPts val="450"/>
              </a:spcAft>
              <a:defRPr/>
            </a:pPr>
            <a:r>
              <a:rPr lang="da-DK" altLang="da-DK" sz="675" b="0" noProof="1">
                <a:solidFill>
                  <a:schemeClr val="tx1"/>
                </a:solidFill>
                <a:latin typeface="+mn-lt"/>
                <a:cs typeface="Arial" panose="020B0604020202020204" pitchFamily="34" charset="0"/>
              </a:rPr>
              <a:t>Brug</a:t>
            </a:r>
            <a:r>
              <a:rPr lang="da-DK" altLang="da-DK" sz="675" b="1" noProof="1">
                <a:solidFill>
                  <a:schemeClr val="tx1"/>
                </a:solidFill>
                <a:latin typeface="+mn-lt"/>
                <a:cs typeface="Arial" panose="020B0604020202020204" pitchFamily="34" charset="0"/>
              </a:rPr>
              <a:t> </a:t>
            </a:r>
            <a:r>
              <a:rPr lang="da-DK" altLang="da-DK" sz="675" b="0" noProof="1">
                <a:solidFill>
                  <a:schemeClr val="tx1"/>
                </a:solidFill>
                <a:latin typeface="Franklin Gothic Medium" panose="020B0603020102020204" pitchFamily="34" charset="0"/>
                <a:cs typeface="Arial" panose="020B0604020202020204" pitchFamily="34" charset="0"/>
              </a:rPr>
              <a:t>TAB</a:t>
            </a:r>
            <a:r>
              <a:rPr lang="da-DK" altLang="da-DK" sz="675" b="1" noProof="1">
                <a:solidFill>
                  <a:schemeClr val="tx1"/>
                </a:solidFill>
                <a:latin typeface="+mn-lt"/>
                <a:cs typeface="Arial" panose="020B0604020202020204" pitchFamily="34" charset="0"/>
              </a:rPr>
              <a:t> </a:t>
            </a:r>
            <a:r>
              <a:rPr lang="da-DK" altLang="da-DK" sz="675" b="0" noProof="1">
                <a:solidFill>
                  <a:schemeClr val="tx1"/>
                </a:solidFill>
                <a:latin typeface="+mn-lt"/>
                <a:cs typeface="Arial" panose="020B0604020202020204" pitchFamily="34" charset="0"/>
              </a:rPr>
              <a:t>for at gå frem i tekst-niveauer. Klik </a:t>
            </a:r>
            <a:r>
              <a:rPr lang="da-DK" altLang="da-DK" sz="675" b="0" noProof="1">
                <a:solidFill>
                  <a:schemeClr val="tx1"/>
                </a:solidFill>
                <a:latin typeface="Franklin Gothic Medium" panose="020B0603020102020204" pitchFamily="34" charset="0"/>
                <a:cs typeface="Arial" panose="020B0604020202020204" pitchFamily="34" charset="0"/>
              </a:rPr>
              <a:t>ENTER</a:t>
            </a:r>
            <a:r>
              <a:rPr lang="da-DK" altLang="da-DK" sz="675" b="0" noProof="1">
                <a:solidFill>
                  <a:schemeClr val="tx1"/>
                </a:solidFill>
                <a:latin typeface="+mn-lt"/>
                <a:cs typeface="Arial" panose="020B0604020202020204" pitchFamily="34" charset="0"/>
              </a:rPr>
              <a:t>, derefter </a:t>
            </a:r>
            <a:r>
              <a:rPr lang="da-DK" altLang="da-DK" sz="675" b="0" noProof="1">
                <a:solidFill>
                  <a:schemeClr val="tx1"/>
                </a:solidFill>
                <a:latin typeface="Franklin Gothic Medium" panose="020B0603020102020204" pitchFamily="34" charset="0"/>
                <a:cs typeface="Arial" panose="020B0604020202020204" pitchFamily="34" charset="0"/>
              </a:rPr>
              <a:t>TAB</a:t>
            </a:r>
            <a:r>
              <a:rPr lang="da-DK" altLang="da-DK" sz="675" b="0" noProof="1">
                <a:solidFill>
                  <a:schemeClr val="tx1"/>
                </a:solidFill>
                <a:latin typeface="+mn-lt"/>
                <a:cs typeface="Arial" panose="020B0604020202020204" pitchFamily="34" charset="0"/>
              </a:rPr>
              <a:t> for at skifte fra et niveau til det næste</a:t>
            </a:r>
          </a:p>
          <a:p>
            <a:pPr eaLnBrk="1" hangingPunct="1">
              <a:spcAft>
                <a:spcPts val="450"/>
              </a:spcAft>
              <a:defRPr/>
            </a:pPr>
            <a:r>
              <a:rPr lang="da-DK" altLang="da-DK" sz="675" b="0" noProof="1">
                <a:solidFill>
                  <a:schemeClr val="tx1"/>
                </a:solidFill>
                <a:latin typeface="+mn-lt"/>
                <a:cs typeface="Arial" panose="020B0604020202020204" pitchFamily="34" charset="0"/>
              </a:rPr>
              <a:t>For at gå tilbage i tekst-niveauer,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brug </a:t>
            </a:r>
            <a:r>
              <a:rPr lang="da-DK" altLang="da-DK" sz="675" b="0" noProof="1">
                <a:solidFill>
                  <a:schemeClr val="tx1"/>
                </a:solidFill>
                <a:latin typeface="Franklin Gothic Medium" panose="020B0603020102020204" pitchFamily="34" charset="0"/>
                <a:cs typeface="Arial" panose="020B0604020202020204" pitchFamily="34" charset="0"/>
              </a:rPr>
              <a:t>SHIFT+TAB</a:t>
            </a:r>
          </a:p>
          <a:p>
            <a:pPr eaLnBrk="1" hangingPunct="1">
              <a:spcAft>
                <a:spcPts val="450"/>
              </a:spcAft>
              <a:defRPr/>
            </a:pPr>
            <a:r>
              <a:rPr lang="da-DK" altLang="da-DK" sz="675" b="0" noProof="1">
                <a:solidFill>
                  <a:schemeClr val="tx1"/>
                </a:solidFill>
                <a:latin typeface="+mn-lt"/>
                <a:cs typeface="Arial" panose="020B0604020202020204" pitchFamily="34" charset="0"/>
              </a:rPr>
              <a:t>Alternativt kan </a:t>
            </a:r>
            <a:r>
              <a:rPr lang="da-DK" altLang="da-DK" sz="675" b="0" noProof="1">
                <a:solidFill>
                  <a:schemeClr val="tx1"/>
                </a:solidFill>
                <a:latin typeface="Franklin Gothic Medium" panose="020B0603020102020204" pitchFamily="34" charset="0"/>
                <a:cs typeface="Arial" panose="020B0604020202020204" pitchFamily="34" charset="0"/>
              </a:rPr>
              <a:t>Forøg</a:t>
            </a:r>
            <a:r>
              <a:rPr lang="da-DK" altLang="da-DK" sz="675" b="0" noProof="1">
                <a:solidFill>
                  <a:schemeClr val="tx1"/>
                </a:solidFill>
                <a:latin typeface="+mn-lt"/>
                <a:cs typeface="Arial" panose="020B0604020202020204" pitchFamily="34" charset="0"/>
              </a:rPr>
              <a:t> og </a:t>
            </a:r>
            <a:r>
              <a:rPr lang="da-DK" altLang="da-DK" sz="675" b="0" noProof="1">
                <a:solidFill>
                  <a:schemeClr val="tx1"/>
                </a:solidFill>
                <a:latin typeface="Franklin Gothic Medium" panose="020B0603020102020204" pitchFamily="34" charset="0"/>
                <a:cs typeface="Arial" panose="020B0604020202020204" pitchFamily="34" charset="0"/>
              </a:rPr>
              <a:t>Formindsk</a:t>
            </a:r>
            <a:r>
              <a:rPr lang="da-DK" altLang="da-DK" sz="675" b="0" noProof="1">
                <a:solidFill>
                  <a:schemeClr val="tx1"/>
                </a:solidFill>
                <a:latin typeface="+mn-lt"/>
                <a:cs typeface="Arial" panose="020B0604020202020204" pitchFamily="34" charset="0"/>
              </a:rPr>
              <a:t> listeniveau bruges</a:t>
            </a:r>
            <a:br>
              <a:rPr lang="da-DK" altLang="da-DK" sz="675" b="0" noProof="1">
                <a:solidFill>
                  <a:schemeClr val="tx1"/>
                </a:solidFill>
                <a:latin typeface="+mn-lt"/>
                <a:cs typeface="Arial" panose="020B0604020202020204" pitchFamily="34" charset="0"/>
              </a:rPr>
            </a:br>
            <a:endParaRPr lang="da-DK" altLang="da-DK" sz="675" b="0" noProof="1">
              <a:solidFill>
                <a:schemeClr val="tx1"/>
              </a:solidFill>
              <a:latin typeface="+mn-lt"/>
              <a:cs typeface="Arial" panose="020B0604020202020204" pitchFamily="34" charset="0"/>
            </a:endParaRPr>
          </a:p>
          <a:p>
            <a:pPr eaLnBrk="1" hangingPunct="1">
              <a:spcAft>
                <a:spcPts val="450"/>
              </a:spcAft>
              <a:defRPr/>
            </a:pPr>
            <a:r>
              <a:rPr lang="da-DK" sz="675" b="0" noProof="1">
                <a:latin typeface="Franklin Gothic Medium" panose="020B0603020102020204" pitchFamily="34" charset="0"/>
                <a:cs typeface="Arial" panose="020B0604020202020204" pitchFamily="34" charset="0"/>
              </a:rPr>
              <a:t>TIP: Brug</a:t>
            </a:r>
            <a:r>
              <a:rPr lang="da-DK" sz="675" b="0" baseline="0" noProof="1">
                <a:latin typeface="Franklin Gothic Medium" panose="020B0603020102020204" pitchFamily="34" charset="0"/>
                <a:cs typeface="Arial" panose="020B0604020202020204" pitchFamily="34" charset="0"/>
              </a:rPr>
              <a:t> bullet knappen</a:t>
            </a:r>
            <a:endParaRPr lang="da-DK" sz="675" b="0" noProof="1">
              <a:latin typeface="Franklin Gothic Medium" panose="020B0603020102020204" pitchFamily="34" charset="0"/>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da-DK" altLang="da-DK" sz="675" b="0" noProof="1">
                <a:solidFill>
                  <a:schemeClr val="tx1"/>
                </a:solidFill>
                <a:latin typeface="+mn-lt"/>
                <a:cs typeface="Arial" panose="020B0604020202020204" pitchFamily="34" charset="0"/>
              </a:rPr>
              <a:t>Fjern bullet for almindelig tekst.</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Klik på bullet knappen for at sætte korrekt bullet igen</a:t>
            </a:r>
          </a:p>
          <a:p>
            <a:pPr marL="0" marR="0" lvl="0" indent="0" algn="l" defTabSz="685800" rtl="0" eaLnBrk="1" fontAlgn="auto" latinLnBrk="0" hangingPunct="1">
              <a:lnSpc>
                <a:spcPct val="100000"/>
              </a:lnSpc>
              <a:spcBef>
                <a:spcPts val="0"/>
              </a:spcBef>
              <a:spcAft>
                <a:spcPts val="450"/>
              </a:spcAft>
              <a:buClrTx/>
              <a:buSzTx/>
              <a:buFontTx/>
              <a:buNone/>
              <a:tabLst/>
              <a:defRPr/>
            </a:pPr>
            <a:br>
              <a:rPr lang="da-DK" altLang="da-DK" sz="1200" b="1" noProof="1">
                <a:solidFill>
                  <a:schemeClr val="tx1"/>
                </a:solidFill>
                <a:latin typeface="+mn-lt"/>
                <a:cs typeface="Arial" panose="020B0604020202020204" pitchFamily="34" charset="0"/>
              </a:rPr>
            </a:br>
            <a:r>
              <a:rPr lang="da-DK" sz="1200">
                <a:latin typeface="+mn-lt"/>
                <a:cs typeface="Arial" panose="020B0604020202020204" pitchFamily="34" charset="0"/>
              </a:rPr>
              <a:t>SLIDES &amp; LAYOUTS</a:t>
            </a:r>
            <a:br>
              <a:rPr lang="da-DK" altLang="da-DK" sz="1200" b="1" noProof="1">
                <a:solidFill>
                  <a:schemeClr val="tx1"/>
                </a:solidFill>
                <a:latin typeface="+mn-lt"/>
                <a:cs typeface="Arial" panose="020B0604020202020204" pitchFamily="34" charset="0"/>
              </a:rPr>
            </a:br>
            <a:br>
              <a:rPr lang="da-DK" altLang="da-DK" sz="675" b="1"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Klik på menupunktet </a:t>
            </a:r>
            <a:r>
              <a:rPr lang="da-DK" altLang="da-DK" sz="675" b="0" noProof="1">
                <a:solidFill>
                  <a:schemeClr val="tx1"/>
                </a:solidFill>
                <a:latin typeface="Franklin Gothic Medium" panose="020B0603020102020204" pitchFamily="34" charset="0"/>
                <a:cs typeface="Arial" panose="020B0604020202020204" pitchFamily="34" charset="0"/>
              </a:rPr>
              <a:t>Nyt Slide </a:t>
            </a:r>
            <a:r>
              <a:rPr lang="da-DK" altLang="da-DK" sz="675" b="0" noProof="1">
                <a:solidFill>
                  <a:schemeClr val="tx1"/>
                </a:solidFill>
                <a:latin typeface="+mn-lt"/>
                <a:cs typeface="Arial" panose="020B0604020202020204" pitchFamily="34" charset="0"/>
              </a:rPr>
              <a:t>i </a:t>
            </a:r>
            <a:r>
              <a:rPr lang="da-DK" altLang="da-DK" sz="675" b="0" noProof="1">
                <a:solidFill>
                  <a:schemeClr val="tx1"/>
                </a:solidFill>
                <a:latin typeface="Franklin Gothic Medium" panose="020B0603020102020204" pitchFamily="34" charset="0"/>
                <a:cs typeface="Arial" panose="020B0604020202020204" pitchFamily="34" charset="0"/>
              </a:rPr>
              <a:t>Hjem</a:t>
            </a:r>
            <a:r>
              <a:rPr lang="da-DK" altLang="da-DK" sz="675" b="0" noProof="1">
                <a:solidFill>
                  <a:schemeClr val="tx1"/>
                </a:solidFill>
                <a:latin typeface="+mn-lt"/>
                <a:cs typeface="Arial" panose="020B0604020202020204" pitchFamily="34" charset="0"/>
              </a:rPr>
              <a:t> fanen for at indsætte nyt slide</a:t>
            </a:r>
            <a:br>
              <a:rPr lang="da-DK" altLang="da-DK" sz="675" b="0" noProof="1">
                <a:solidFill>
                  <a:schemeClr val="tx1"/>
                </a:solidFill>
                <a:latin typeface="+mn-lt"/>
                <a:cs typeface="Arial" panose="020B0604020202020204" pitchFamily="34" charset="0"/>
              </a:rPr>
            </a:b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Franklin Gothic Medium" panose="020B0603020102020204" pitchFamily="34" charset="0"/>
                <a:cs typeface="Arial" panose="020B0604020202020204" pitchFamily="34" charset="0"/>
              </a:rPr>
              <a:t>Ændre layout</a:t>
            </a:r>
          </a:p>
          <a:p>
            <a:pPr eaLnBrk="1" hangingPunct="1">
              <a:spcAft>
                <a:spcPts val="450"/>
              </a:spcAft>
              <a:defRPr/>
            </a:pPr>
            <a:r>
              <a:rPr lang="da-DK" altLang="da-DK" sz="675" b="0" noProof="1">
                <a:solidFill>
                  <a:schemeClr val="tx1"/>
                </a:solidFill>
                <a:latin typeface="+mn-lt"/>
                <a:cs typeface="Arial" panose="020B0604020202020204" pitchFamily="34" charset="0"/>
              </a:rPr>
              <a:t>Klik på pilen</a:t>
            </a:r>
            <a:r>
              <a:rPr lang="da-DK" altLang="da-DK" sz="675" b="0" baseline="0" noProof="1">
                <a:solidFill>
                  <a:schemeClr val="tx1"/>
                </a:solidFill>
                <a:latin typeface="+mn-lt"/>
                <a:cs typeface="Arial" panose="020B0604020202020204" pitchFamily="34" charset="0"/>
              </a:rPr>
              <a:t> ved siden af </a:t>
            </a:r>
            <a:r>
              <a:rPr lang="da-DK" altLang="da-DK" sz="675" b="0" baseline="0" noProof="1">
                <a:solidFill>
                  <a:schemeClr val="tx1"/>
                </a:solidFill>
                <a:latin typeface="Franklin Gothic Medium" panose="020B0603020102020204" pitchFamily="34" charset="0"/>
                <a:cs typeface="Arial" panose="020B0604020202020204" pitchFamily="34" charset="0"/>
              </a:rPr>
              <a:t>Layout</a:t>
            </a:r>
            <a:br>
              <a:rPr lang="da-DK" altLang="da-DK" sz="675" b="0" baseline="0" noProof="1">
                <a:solidFill>
                  <a:schemeClr val="tx1"/>
                </a:solidFill>
                <a:latin typeface="+mn-lt"/>
                <a:cs typeface="Arial" panose="020B0604020202020204" pitchFamily="34" charset="0"/>
              </a:rPr>
            </a:br>
            <a:r>
              <a:rPr lang="da-DK" altLang="da-DK" sz="675" b="0" baseline="0" noProof="1">
                <a:solidFill>
                  <a:schemeClr val="tx1"/>
                </a:solidFill>
                <a:latin typeface="+mn-lt"/>
                <a:cs typeface="Arial" panose="020B0604020202020204" pitchFamily="34" charset="0"/>
              </a:rPr>
              <a:t>for at få vist en dropdown menu af </a:t>
            </a:r>
            <a:br>
              <a:rPr lang="da-DK" altLang="da-DK" sz="675" b="0" baseline="0" noProof="1">
                <a:solidFill>
                  <a:schemeClr val="tx1"/>
                </a:solidFill>
                <a:latin typeface="+mn-lt"/>
                <a:cs typeface="Arial" panose="020B0604020202020204" pitchFamily="34" charset="0"/>
              </a:rPr>
            </a:br>
            <a:r>
              <a:rPr lang="da-DK" altLang="da-DK" sz="675" b="0" baseline="0" noProof="1">
                <a:solidFill>
                  <a:schemeClr val="tx1"/>
                </a:solidFill>
                <a:latin typeface="+mn-lt"/>
                <a:cs typeface="Arial" panose="020B0604020202020204" pitchFamily="34" charset="0"/>
              </a:rPr>
              <a:t>mulige slides layout</a:t>
            </a:r>
            <a:endParaRPr lang="da-DK" altLang="da-DK" sz="675" b="0" noProof="1">
              <a:solidFill>
                <a:schemeClr val="tx1"/>
              </a:solidFill>
              <a:latin typeface="+mn-lt"/>
              <a:cs typeface="Arial" panose="020B0604020202020204" pitchFamily="34" charset="0"/>
            </a:endParaRPr>
          </a:p>
        </p:txBody>
      </p:sp>
      <p:sp>
        <p:nvSpPr>
          <p:cNvPr id="28" name="Text Box 3">
            <a:extLst>
              <a:ext uri="{FF2B5EF4-FFF2-40B4-BE49-F238E27FC236}">
                <a16:creationId xmlns:a16="http://schemas.microsoft.com/office/drawing/2014/main" id="{F5D76AC5-956B-497C-88E2-05290D3AAF8A}"/>
              </a:ext>
            </a:extLst>
          </p:cNvPr>
          <p:cNvSpPr txBox="1">
            <a:spLocks noChangeArrowheads="1"/>
          </p:cNvSpPr>
          <p:nvPr userDrawn="1"/>
        </p:nvSpPr>
        <p:spPr bwMode="auto">
          <a:xfrm>
            <a:off x="3230814" y="1211236"/>
            <a:ext cx="1836683" cy="312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900"/>
              </a:spcBef>
              <a:spcAft>
                <a:spcPts val="450"/>
              </a:spcAft>
              <a:buFont typeface="+mj-lt"/>
              <a:buNone/>
              <a:defRPr/>
            </a:pPr>
            <a:r>
              <a:rPr lang="da-DK" sz="675" b="0" noProof="1">
                <a:solidFill>
                  <a:schemeClr val="tx1"/>
                </a:solidFill>
                <a:latin typeface="Franklin Gothic Medium" panose="020B0603020102020204" pitchFamily="34" charset="0"/>
                <a:cs typeface="Arial" panose="020B0604020202020204" pitchFamily="34" charset="0"/>
              </a:rPr>
              <a:t>Nulstil slide</a:t>
            </a:r>
          </a:p>
          <a:p>
            <a:pPr marL="0" marR="0" indent="0" algn="l" defTabSz="685800" rtl="0" eaLnBrk="1" fontAlgn="auto" latinLnBrk="0" hangingPunct="1">
              <a:lnSpc>
                <a:spcPct val="100000"/>
              </a:lnSpc>
              <a:spcBef>
                <a:spcPts val="0"/>
              </a:spcBef>
              <a:spcAft>
                <a:spcPts val="450"/>
              </a:spcAft>
              <a:buClrTx/>
              <a:buSzTx/>
              <a:buFont typeface="+mj-lt"/>
              <a:buNone/>
              <a:tabLst/>
              <a:defRPr/>
            </a:pPr>
            <a:r>
              <a:rPr lang="da-DK" altLang="da-DK" sz="675" b="0" noProof="1">
                <a:solidFill>
                  <a:schemeClr val="tx1"/>
                </a:solidFill>
                <a:latin typeface="Franklin Gothic Medium" panose="020B0603020102020204" pitchFamily="34" charset="0"/>
                <a:cs typeface="Arial" panose="020B0604020202020204" pitchFamily="34" charset="0"/>
              </a:rPr>
              <a:t>1. </a:t>
            </a:r>
            <a:r>
              <a:rPr lang="da-DK" altLang="da-DK" sz="675" b="0" noProof="1">
                <a:solidFill>
                  <a:schemeClr val="tx1"/>
                </a:solidFill>
                <a:latin typeface="+mn-lt"/>
                <a:cs typeface="Arial" panose="020B0604020202020204" pitchFamily="34" charset="0"/>
              </a:rPr>
              <a:t>Klik på </a:t>
            </a:r>
            <a:r>
              <a:rPr lang="da-DK" altLang="da-DK" sz="675" b="0" noProof="1">
                <a:solidFill>
                  <a:schemeClr val="tx1"/>
                </a:solidFill>
                <a:latin typeface="Franklin Gothic Medium" panose="020B0603020102020204" pitchFamily="34" charset="0"/>
                <a:cs typeface="Arial" panose="020B0604020202020204" pitchFamily="34" charset="0"/>
              </a:rPr>
              <a:t>Hjem</a:t>
            </a:r>
            <a:r>
              <a:rPr lang="da-DK" altLang="da-DK" sz="675" b="0" noProof="1">
                <a:solidFill>
                  <a:schemeClr val="tx1"/>
                </a:solidFill>
                <a:latin typeface="+mn-lt"/>
                <a:cs typeface="Arial" panose="020B0604020202020204" pitchFamily="34" charset="0"/>
              </a:rPr>
              <a:t> knappen</a:t>
            </a:r>
          </a:p>
          <a:p>
            <a:pPr marL="0" marR="0" indent="0" algn="l" defTabSz="685800" rtl="0" eaLnBrk="1" fontAlgn="auto" latinLnBrk="0" hangingPunct="1">
              <a:lnSpc>
                <a:spcPct val="100000"/>
              </a:lnSpc>
              <a:spcBef>
                <a:spcPts val="0"/>
              </a:spcBef>
              <a:spcAft>
                <a:spcPts val="450"/>
              </a:spcAft>
              <a:buClrTx/>
              <a:buSzTx/>
              <a:buFont typeface="+mj-lt"/>
              <a:buNone/>
              <a:tabLst/>
              <a:defRPr/>
            </a:pPr>
            <a:r>
              <a:rPr lang="da-DK" altLang="da-DK" sz="675" b="0" noProof="1">
                <a:solidFill>
                  <a:schemeClr val="tx1"/>
                </a:solidFill>
                <a:latin typeface="Franklin Gothic Medium" panose="020B0603020102020204" pitchFamily="34" charset="0"/>
                <a:cs typeface="Arial" panose="020B0604020202020204" pitchFamily="34" charset="0"/>
              </a:rPr>
              <a:t>2. </a:t>
            </a:r>
            <a:r>
              <a:rPr lang="da-DK" altLang="da-DK" sz="675" b="0" noProof="1">
                <a:solidFill>
                  <a:schemeClr val="tx1"/>
                </a:solidFill>
                <a:latin typeface="+mn-lt"/>
                <a:cs typeface="Arial" panose="020B0604020202020204" pitchFamily="34" charset="0"/>
              </a:rPr>
              <a:t>Vælg </a:t>
            </a:r>
            <a:r>
              <a:rPr lang="da-DK" altLang="da-DK" sz="675" b="0" noProof="1">
                <a:solidFill>
                  <a:schemeClr val="tx1"/>
                </a:solidFill>
                <a:latin typeface="Franklin Gothic Medium" panose="020B0603020102020204" pitchFamily="34" charset="0"/>
                <a:cs typeface="Arial" panose="020B0604020202020204" pitchFamily="34" charset="0"/>
              </a:rPr>
              <a:t>Nulstil </a:t>
            </a:r>
            <a:r>
              <a:rPr lang="da-DK" altLang="da-DK" sz="675" b="0" noProof="1">
                <a:solidFill>
                  <a:schemeClr val="tx1"/>
                </a:solidFill>
                <a:latin typeface="+mn-lt"/>
                <a:cs typeface="Arial" panose="020B0604020202020204" pitchFamily="34" charset="0"/>
              </a:rPr>
              <a:t>for at nulstille placering, størrelse og formatering af pladsholdere til layoutets oprindelige design i </a:t>
            </a:r>
            <a:r>
              <a:rPr lang="da-DK" altLang="da-DK" sz="675" b="0" noProof="1">
                <a:solidFill>
                  <a:schemeClr val="tx1"/>
                </a:solidFill>
                <a:latin typeface="Franklin Gothic Medium" panose="020B0603020102020204" pitchFamily="34" charset="0"/>
                <a:cs typeface="Arial" panose="020B0604020202020204" pitchFamily="34" charset="0"/>
              </a:rPr>
              <a:t>Hjem</a:t>
            </a:r>
            <a:r>
              <a:rPr lang="da-DK" altLang="da-DK" sz="675" b="0" noProof="1">
                <a:solidFill>
                  <a:schemeClr val="tx1"/>
                </a:solidFill>
                <a:latin typeface="+mn-lt"/>
                <a:cs typeface="Arial" panose="020B0604020202020204" pitchFamily="34" charset="0"/>
              </a:rPr>
              <a:t> fanen</a:t>
            </a:r>
            <a:endParaRPr lang="da-DK" sz="675" b="1" noProof="1">
              <a:solidFill>
                <a:schemeClr val="tx1"/>
              </a:solidFill>
              <a:latin typeface="+mn-lt"/>
              <a:cs typeface="Arial" panose="020B0604020202020204" pitchFamily="34" charset="0"/>
            </a:endParaRPr>
          </a:p>
          <a:p>
            <a:pPr marL="0" marR="0" indent="0" algn="l" defTabSz="685800" rtl="0" eaLnBrk="1" fontAlgn="auto" latinLnBrk="0" hangingPunct="1">
              <a:lnSpc>
                <a:spcPct val="100000"/>
              </a:lnSpc>
              <a:spcBef>
                <a:spcPts val="0"/>
              </a:spcBef>
              <a:spcAft>
                <a:spcPts val="450"/>
              </a:spcAft>
              <a:buClrTx/>
              <a:buSzTx/>
              <a:buFont typeface="+mj-lt"/>
              <a:buNone/>
              <a:tabLst/>
              <a:defRPr/>
            </a:pPr>
            <a:endParaRPr lang="da-DK" sz="675" b="1" noProof="1">
              <a:solidFill>
                <a:schemeClr val="tx1"/>
              </a:solidFill>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da-DK" sz="1200">
                <a:latin typeface="+mn-lt"/>
                <a:cs typeface="Arial" panose="020B0604020202020204" pitchFamily="34" charset="0"/>
              </a:rPr>
              <a:t>BILLEDER</a:t>
            </a:r>
            <a:endParaRPr lang="da-DK" sz="1200" b="1" noProof="1">
              <a:solidFill>
                <a:schemeClr val="tx1"/>
              </a:solidFill>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da-DK" altLang="da-DK" sz="675" b="0" noProof="1">
                <a:solidFill>
                  <a:schemeClr val="tx1"/>
                </a:solidFill>
                <a:latin typeface="+mn-lt"/>
                <a:cs typeface="Arial" panose="020B0604020202020204" pitchFamily="34" charset="0"/>
              </a:rPr>
              <a:t>På slides med billedpladsholder,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klik på ikonet og vælg </a:t>
            </a:r>
            <a:r>
              <a:rPr lang="da-DK" altLang="da-DK" sz="675" b="0" noProof="1">
                <a:solidFill>
                  <a:schemeClr val="tx1"/>
                </a:solidFill>
                <a:latin typeface="Franklin Gothic Medium" panose="020B0603020102020204" pitchFamily="34" charset="0"/>
                <a:cs typeface="Arial" panose="020B0604020202020204" pitchFamily="34" charset="0"/>
              </a:rPr>
              <a:t>Indsæt </a:t>
            </a:r>
            <a:r>
              <a:rPr lang="da-DK" altLang="da-DK" sz="675" b="0" noProof="1">
                <a:solidFill>
                  <a:schemeClr val="tx1"/>
                </a:solidFill>
                <a:latin typeface="+mn-lt"/>
                <a:cs typeface="Arial" panose="020B0604020202020204" pitchFamily="34" charset="0"/>
              </a:rPr>
              <a:t>for at søge efter billede</a:t>
            </a:r>
          </a:p>
          <a:p>
            <a:pPr eaLnBrk="1" hangingPunct="1">
              <a:spcBef>
                <a:spcPts val="900"/>
              </a:spcBef>
              <a:spcAft>
                <a:spcPts val="450"/>
              </a:spcAft>
              <a:defRPr/>
            </a:pPr>
            <a:r>
              <a:rPr lang="da-DK" sz="675" b="0" noProof="1">
                <a:solidFill>
                  <a:schemeClr val="tx1"/>
                </a:solidFill>
                <a:latin typeface="Franklin Gothic Medium" panose="020B0603020102020204" pitchFamily="34" charset="0"/>
                <a:cs typeface="Arial" panose="020B0604020202020204" pitchFamily="34" charset="0"/>
              </a:rPr>
              <a:t>Beskær billede</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1. </a:t>
            </a:r>
            <a:r>
              <a:rPr lang="da-DK" altLang="da-DK" sz="675" b="0" noProof="1">
                <a:solidFill>
                  <a:schemeClr val="tx1"/>
                </a:solidFill>
                <a:latin typeface="+mn-lt"/>
                <a:cs typeface="Arial" panose="020B0604020202020204" pitchFamily="34" charset="0"/>
              </a:rPr>
              <a:t>Klik </a:t>
            </a:r>
            <a:r>
              <a:rPr lang="da-DK" altLang="da-DK" sz="675" b="0" noProof="1">
                <a:solidFill>
                  <a:schemeClr val="tx1"/>
                </a:solidFill>
                <a:latin typeface="Franklin Gothic Medium" panose="020B0603020102020204" pitchFamily="34" charset="0"/>
                <a:cs typeface="Arial" panose="020B0604020202020204" pitchFamily="34" charset="0"/>
              </a:rPr>
              <a:t>Beskær</a:t>
            </a:r>
            <a:r>
              <a:rPr lang="da-DK" altLang="da-DK" sz="675" b="0" noProof="1">
                <a:solidFill>
                  <a:schemeClr val="tx1"/>
                </a:solidFill>
                <a:latin typeface="+mn-lt"/>
                <a:cs typeface="Arial" panose="020B0604020202020204" pitchFamily="34" charset="0"/>
              </a:rPr>
              <a:t> for at ændre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billedets fokus/størrelse</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2. </a:t>
            </a:r>
            <a:r>
              <a:rPr lang="da-DK" altLang="da-DK" sz="675" b="0" noProof="1">
                <a:solidFill>
                  <a:schemeClr val="tx1"/>
                </a:solidFill>
                <a:latin typeface="+mn-lt"/>
                <a:cs typeface="Arial" panose="020B0604020202020204" pitchFamily="34" charset="0"/>
              </a:rPr>
              <a:t>Ønsker du at skalere billedet, så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hold </a:t>
            </a:r>
            <a:r>
              <a:rPr lang="da-DK" altLang="da-DK" sz="675" b="0" noProof="1">
                <a:solidFill>
                  <a:schemeClr val="tx1"/>
                </a:solidFill>
                <a:latin typeface="Franklin Gothic Medium" panose="020B0603020102020204" pitchFamily="34" charset="0"/>
                <a:cs typeface="Arial" panose="020B0604020202020204" pitchFamily="34" charset="0"/>
              </a:rPr>
              <a:t>SHIFT</a:t>
            </a:r>
            <a:r>
              <a:rPr lang="da-DK" altLang="da-DK" sz="675" b="0" noProof="1">
                <a:solidFill>
                  <a:schemeClr val="tx1"/>
                </a:solidFill>
                <a:latin typeface="+mn-lt"/>
                <a:cs typeface="Arial" panose="020B0604020202020204" pitchFamily="34" charset="0"/>
              </a:rPr>
              <a:t>-knappen nede, mens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du trækker i billedets hjørner</a:t>
            </a:r>
          </a:p>
          <a:p>
            <a:pPr eaLnBrk="1" hangingPunct="1">
              <a:spcAft>
                <a:spcPts val="450"/>
              </a:spcAft>
              <a:defRPr/>
            </a:pP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Franklin Gothic Medium" panose="020B0603020102020204" pitchFamily="34" charset="0"/>
                <a:cs typeface="Arial" panose="020B0604020202020204" pitchFamily="34" charset="0"/>
              </a:rPr>
              <a:t>TIP: </a:t>
            </a:r>
            <a:r>
              <a:rPr lang="da-DK" altLang="da-DK" sz="675" b="0" noProof="1">
                <a:solidFill>
                  <a:schemeClr val="tx1"/>
                </a:solidFill>
                <a:latin typeface="+mn-lt"/>
                <a:cs typeface="Arial" panose="020B0604020202020204" pitchFamily="34" charset="0"/>
              </a:rPr>
              <a:t>Hvis du sletter billedet og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indsætter et nyt, kan billedet lægge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sig foran tekst og grafik. Hvis dette sker, højreklik på billedet og vælg </a:t>
            </a:r>
            <a:r>
              <a:rPr lang="da-DK" altLang="da-DK" sz="675" b="0" noProof="1">
                <a:solidFill>
                  <a:schemeClr val="tx1"/>
                </a:solidFill>
                <a:latin typeface="Franklin Gothic Medium" panose="020B0603020102020204" pitchFamily="34" charset="0"/>
                <a:cs typeface="Arial" panose="020B0604020202020204" pitchFamily="34" charset="0"/>
              </a:rPr>
              <a:t>Placer bagest</a:t>
            </a:r>
          </a:p>
          <a:p>
            <a:pPr eaLnBrk="1" hangingPunct="1">
              <a:spcAft>
                <a:spcPts val="450"/>
              </a:spcAft>
              <a:defRPr/>
            </a:pPr>
            <a:endParaRPr lang="da-DK" altLang="da-DK" sz="675" b="1" noProof="1">
              <a:solidFill>
                <a:schemeClr val="tx1"/>
              </a:solidFill>
              <a:latin typeface="+mn-lt"/>
              <a:cs typeface="Arial" panose="020B0604020202020204" pitchFamily="34" charset="0"/>
            </a:endParaRPr>
          </a:p>
        </p:txBody>
      </p:sp>
      <p:sp>
        <p:nvSpPr>
          <p:cNvPr id="30" name="Text Box 4">
            <a:extLst>
              <a:ext uri="{FF2B5EF4-FFF2-40B4-BE49-F238E27FC236}">
                <a16:creationId xmlns:a16="http://schemas.microsoft.com/office/drawing/2014/main" id="{460FBAEE-DC7E-44A6-BEA8-1DCAE4DE7726}"/>
              </a:ext>
            </a:extLst>
          </p:cNvPr>
          <p:cNvSpPr txBox="1">
            <a:spLocks noChangeArrowheads="1"/>
          </p:cNvSpPr>
          <p:nvPr userDrawn="1"/>
        </p:nvSpPr>
        <p:spPr bwMode="auto">
          <a:xfrm>
            <a:off x="6057161" y="1211235"/>
            <a:ext cx="1836683" cy="3648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81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da-DK" sz="1200">
                <a:latin typeface="+mn-lt"/>
                <a:cs typeface="Arial" panose="020B0604020202020204" pitchFamily="34" charset="0"/>
              </a:rPr>
              <a:t>SIDEHOVED &amp; -FOD</a:t>
            </a:r>
            <a:endParaRPr lang="da-DK" altLang="da-DK" sz="1200" b="0" noProof="1">
              <a:solidFill>
                <a:schemeClr val="tx1"/>
              </a:solidFill>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da-DK" altLang="da-DK" sz="675" b="0" noProof="1">
                <a:solidFill>
                  <a:schemeClr val="tx1"/>
                </a:solidFill>
                <a:latin typeface="+mn-lt"/>
                <a:cs typeface="Arial" panose="020B0604020202020204" pitchFamily="34" charset="0"/>
              </a:rPr>
              <a:t>Gør dette som</a:t>
            </a:r>
            <a:r>
              <a:rPr lang="da-DK" altLang="da-DK" sz="675" b="0" baseline="0" noProof="1">
                <a:solidFill>
                  <a:schemeClr val="tx1"/>
                </a:solidFill>
                <a:latin typeface="+mn-lt"/>
                <a:cs typeface="Arial" panose="020B0604020202020204" pitchFamily="34" charset="0"/>
              </a:rPr>
              <a:t> det sidste i din præsentation, så ændringerne slår igennem på alle slides</a:t>
            </a:r>
            <a:endParaRPr lang="da-DK" sz="675" b="1" noProof="1">
              <a:solidFill>
                <a:schemeClr val="tx1"/>
              </a:solidFill>
              <a:latin typeface="+mn-lt"/>
              <a:cs typeface="Arial" panose="020B0604020202020204" pitchFamily="34" charset="0"/>
            </a:endParaRPr>
          </a:p>
          <a:p>
            <a:pPr eaLnBrk="1" hangingPunct="1">
              <a:spcAft>
                <a:spcPts val="450"/>
              </a:spcAft>
              <a:defRPr/>
            </a:pPr>
            <a:r>
              <a:rPr lang="da-DK" altLang="da-DK" sz="675" b="0" noProof="1">
                <a:solidFill>
                  <a:schemeClr val="tx1"/>
                </a:solidFill>
                <a:latin typeface="+mn-lt"/>
                <a:cs typeface="Arial" panose="020B0604020202020204" pitchFamily="34" charset="0"/>
              </a:rPr>
              <a:t>Klik </a:t>
            </a:r>
            <a:r>
              <a:rPr lang="da-DK" altLang="da-DK" sz="675" b="0" noProof="1">
                <a:solidFill>
                  <a:schemeClr val="tx1"/>
                </a:solidFill>
                <a:latin typeface="Franklin Gothic Medium" panose="020B0603020102020204" pitchFamily="34" charset="0"/>
                <a:cs typeface="Arial" panose="020B0604020202020204" pitchFamily="34" charset="0"/>
              </a:rPr>
              <a:t>Sidehoved og Sidefod </a:t>
            </a:r>
            <a:r>
              <a:rPr lang="da-DK" altLang="da-DK" sz="675" b="0" noProof="1">
                <a:solidFill>
                  <a:schemeClr val="tx1"/>
                </a:solidFill>
                <a:latin typeface="+mn-lt"/>
                <a:cs typeface="Arial" panose="020B0604020202020204" pitchFamily="34" charset="0"/>
              </a:rPr>
              <a:t>i fanen </a:t>
            </a:r>
            <a:r>
              <a:rPr lang="da-DK" altLang="da-DK" sz="675" b="0" noProof="1">
                <a:solidFill>
                  <a:schemeClr val="tx1"/>
                </a:solidFill>
                <a:latin typeface="Franklin Gothic Medium" panose="020B0603020102020204" pitchFamily="34" charset="0"/>
                <a:cs typeface="Arial" panose="020B0604020202020204" pitchFamily="34" charset="0"/>
              </a:rPr>
              <a:t>Indsæt</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standard tekst er Digitaliseringsstyrelsen)</a:t>
            </a:r>
          </a:p>
          <a:p>
            <a:pPr eaLnBrk="1" hangingPunct="1">
              <a:spcAft>
                <a:spcPts val="450"/>
              </a:spcAft>
              <a:defRPr/>
            </a:pPr>
            <a:r>
              <a:rPr lang="da-DK" altLang="da-DK" sz="675" b="0" noProof="1">
                <a:solidFill>
                  <a:schemeClr val="tx1"/>
                </a:solidFill>
                <a:latin typeface="+mn-lt"/>
                <a:cs typeface="Arial" panose="020B0604020202020204" pitchFamily="34" charset="0"/>
              </a:rPr>
              <a:t>Vælg </a:t>
            </a:r>
            <a:r>
              <a:rPr lang="da-DK" altLang="da-DK" sz="675" b="0" noProof="1">
                <a:solidFill>
                  <a:schemeClr val="tx1"/>
                </a:solidFill>
                <a:latin typeface="Franklin Gothic Medium" panose="020B0603020102020204" pitchFamily="34" charset="0"/>
                <a:cs typeface="Arial" panose="020B0604020202020204" pitchFamily="34" charset="0"/>
              </a:rPr>
              <a:t>Anvend på alle </a:t>
            </a:r>
            <a:r>
              <a:rPr lang="da-DK" altLang="da-DK" sz="675" b="0" noProof="1">
                <a:solidFill>
                  <a:schemeClr val="tx1"/>
                </a:solidFill>
                <a:latin typeface="+mn-lt"/>
                <a:cs typeface="Arial" panose="020B0604020202020204" pitchFamily="34" charset="0"/>
              </a:rPr>
              <a:t>eller </a:t>
            </a:r>
            <a:r>
              <a:rPr lang="da-DK" altLang="da-DK" sz="675" b="0" noProof="1">
                <a:solidFill>
                  <a:schemeClr val="tx1"/>
                </a:solidFill>
                <a:latin typeface="Franklin Gothic Medium" panose="020B0603020102020204" pitchFamily="34" charset="0"/>
                <a:cs typeface="Arial" panose="020B0604020202020204" pitchFamily="34" charset="0"/>
              </a:rPr>
              <a:t>Anvend</a:t>
            </a:r>
            <a:r>
              <a:rPr lang="da-DK" altLang="da-DK" sz="675" b="0" noProof="1">
                <a:solidFill>
                  <a:schemeClr val="tx1"/>
                </a:solidFill>
                <a:latin typeface="+mn-lt"/>
                <a:cs typeface="Arial" panose="020B0604020202020204" pitchFamily="34" charset="0"/>
              </a:rPr>
              <a:t> hvis det kun skal være på et enkelt slide</a:t>
            </a:r>
          </a:p>
          <a:p>
            <a:pPr eaLnBrk="1" hangingPunct="1">
              <a:spcAft>
                <a:spcPts val="450"/>
              </a:spcAft>
              <a:defRPr/>
            </a:pPr>
            <a:endParaRPr lang="da-DK" sz="675" b="0" noProof="1">
              <a:solidFill>
                <a:schemeClr val="tx1"/>
              </a:solidFill>
              <a:latin typeface="+mn-lt"/>
              <a:cs typeface="Arial" panose="020B0604020202020204" pitchFamily="34" charset="0"/>
            </a:endParaRPr>
          </a:p>
          <a:p>
            <a:pPr eaLnBrk="1" hangingPunct="1">
              <a:spcAft>
                <a:spcPts val="450"/>
              </a:spcAft>
              <a:defRPr/>
            </a:pPr>
            <a:r>
              <a:rPr lang="da-DK" sz="1200">
                <a:latin typeface="+mn-lt"/>
                <a:cs typeface="Arial" panose="020B0604020202020204" pitchFamily="34" charset="0"/>
              </a:rPr>
              <a:t>HJÆLPELINJER</a:t>
            </a:r>
            <a:endParaRPr lang="da-DK" sz="1200" b="1" noProof="1">
              <a:solidFill>
                <a:schemeClr val="tx1"/>
              </a:solidFill>
              <a:latin typeface="+mn-lt"/>
              <a:cs typeface="Arial" panose="020B0604020202020204" pitchFamily="34" charset="0"/>
            </a:endParaRPr>
          </a:p>
          <a:p>
            <a:pPr eaLnBrk="1" hangingPunct="1">
              <a:spcAft>
                <a:spcPts val="450"/>
              </a:spcAft>
              <a:defRPr/>
            </a:pPr>
            <a:r>
              <a:rPr lang="da-DK" altLang="da-DK" sz="675" b="0" noProof="1">
                <a:solidFill>
                  <a:schemeClr val="tx1"/>
                </a:solidFill>
                <a:latin typeface="+mn-lt"/>
                <a:cs typeface="Arial" panose="020B0604020202020204" pitchFamily="34" charset="0"/>
              </a:rPr>
              <a:t>Klik på fanen </a:t>
            </a:r>
            <a:r>
              <a:rPr lang="da-DK" altLang="da-DK" sz="675" b="0" noProof="1">
                <a:solidFill>
                  <a:schemeClr val="tx1"/>
                </a:solidFill>
                <a:latin typeface="Franklin Gothic Medium" panose="020B0603020102020204" pitchFamily="34" charset="0"/>
                <a:cs typeface="Arial" panose="020B0604020202020204" pitchFamily="34" charset="0"/>
              </a:rPr>
              <a:t>Vis </a:t>
            </a:r>
            <a:r>
              <a:rPr lang="da-DK" altLang="da-DK" sz="675" b="0" noProof="1">
                <a:solidFill>
                  <a:schemeClr val="tx1"/>
                </a:solidFill>
                <a:latin typeface="+mn-lt"/>
                <a:cs typeface="Arial" panose="020B0604020202020204" pitchFamily="34" charset="0"/>
              </a:rPr>
              <a:t>og sæt hak ved </a:t>
            </a:r>
            <a:r>
              <a:rPr lang="da-DK" altLang="da-DK" sz="675" b="0" noProof="1">
                <a:solidFill>
                  <a:schemeClr val="tx1"/>
                </a:solidFill>
                <a:latin typeface="Franklin Gothic Medium" panose="020B0603020102020204" pitchFamily="34" charset="0"/>
                <a:cs typeface="Arial" panose="020B0604020202020204" pitchFamily="34" charset="0"/>
              </a:rPr>
              <a:t>Hjælpelinjer</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TIP: Alt + F9 </a:t>
            </a:r>
            <a:r>
              <a:rPr lang="da-DK" altLang="da-DK" sz="675" b="0" noProof="1">
                <a:solidFill>
                  <a:schemeClr val="tx1"/>
                </a:solidFill>
                <a:latin typeface="+mn-lt"/>
                <a:cs typeface="Arial" panose="020B0604020202020204" pitchFamily="34" charset="0"/>
              </a:rPr>
              <a:t>for hurtig visning af hjælpelinjer</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Franklin Gothic Medium" panose="020B0603020102020204" pitchFamily="34" charset="0"/>
                <a:cs typeface="Arial" panose="020B0604020202020204" pitchFamily="34" charset="0"/>
              </a:rPr>
              <a:t>Mac: </a:t>
            </a:r>
            <a:r>
              <a:rPr lang="da-DK" sz="675" b="0" i="0">
                <a:solidFill>
                  <a:srgbClr val="333333"/>
                </a:solidFill>
                <a:effectLst/>
                <a:latin typeface="Arial"/>
              </a:rPr>
              <a:t>⌘ </a:t>
            </a:r>
            <a:r>
              <a:rPr lang="da-DK" altLang="da-DK" sz="675" b="0" noProof="1">
                <a:solidFill>
                  <a:schemeClr val="tx1"/>
                </a:solidFill>
                <a:latin typeface="+mn-lt"/>
                <a:cs typeface="Arial" panose="020B0604020202020204" pitchFamily="34" charset="0"/>
              </a:rPr>
              <a:t>+ option + ctrl + G</a:t>
            </a:r>
            <a:br>
              <a:rPr lang="da-DK" altLang="da-DK" sz="675" b="0" noProof="1">
                <a:solidFill>
                  <a:schemeClr val="tx1"/>
                </a:solidFill>
                <a:latin typeface="+mn-lt"/>
                <a:cs typeface="Arial" panose="020B0604020202020204" pitchFamily="34" charset="0"/>
              </a:rPr>
            </a:br>
            <a:endParaRPr lang="da-DK" altLang="da-DK" sz="675" b="0" noProof="1">
              <a:solidFill>
                <a:schemeClr val="tx1"/>
              </a:solidFill>
              <a:latin typeface="+mn-lt"/>
              <a:cs typeface="Arial" panose="020B0604020202020204" pitchFamily="34" charset="0"/>
            </a:endParaRPr>
          </a:p>
          <a:p>
            <a:pPr eaLnBrk="1" hangingPunct="1">
              <a:spcAft>
                <a:spcPts val="450"/>
              </a:spcAft>
              <a:defRPr/>
            </a:pPr>
            <a:r>
              <a:rPr lang="da-DK" altLang="da-DK" sz="1200" b="0" noProof="1">
                <a:solidFill>
                  <a:schemeClr val="tx1"/>
                </a:solidFill>
                <a:latin typeface="+mn-lt"/>
                <a:cs typeface="Arial" panose="020B0604020202020204" pitchFamily="34" charset="0"/>
              </a:rPr>
              <a:t>COPY/PASTE INDHOLD</a:t>
            </a:r>
          </a:p>
          <a:p>
            <a:pPr eaLnBrk="1" hangingPunct="1">
              <a:spcAft>
                <a:spcPts val="450"/>
              </a:spcAft>
              <a:defRPr/>
            </a:pPr>
            <a:r>
              <a:rPr lang="da-DK" altLang="da-DK" sz="675" b="0" noProof="1">
                <a:solidFill>
                  <a:schemeClr val="tx1"/>
                </a:solidFill>
                <a:latin typeface="+mn-lt"/>
                <a:cs typeface="Arial" panose="020B0604020202020204" pitchFamily="34" charset="0"/>
              </a:rPr>
              <a:t>Du har 2 muligheder, når du kopierer gammelt indhold over i din nye præsentation:</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1. Best practice: </a:t>
            </a:r>
            <a:r>
              <a:rPr lang="da-DK" altLang="da-DK" sz="675" b="0" noProof="1">
                <a:solidFill>
                  <a:schemeClr val="tx1"/>
                </a:solidFill>
                <a:latin typeface="+mn-lt"/>
                <a:cs typeface="Arial" panose="020B0604020202020204" pitchFamily="34" charset="0"/>
              </a:rPr>
              <a:t>Opret et slide i din nye præsentation og kopier ét indholdselement ad gangen (fx kopier al tekst fra én tekstboks)</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2. </a:t>
            </a:r>
            <a:r>
              <a:rPr lang="da-DK" altLang="da-DK" sz="675" b="0" noProof="1">
                <a:solidFill>
                  <a:schemeClr val="tx1"/>
                </a:solidFill>
                <a:latin typeface="+mn-lt"/>
                <a:cs typeface="Arial" panose="020B0604020202020204" pitchFamily="34" charset="0"/>
              </a:rPr>
              <a:t>Eller kopier et helt slide over i din nye præsentation og vælg derefter et passende layout. </a:t>
            </a:r>
            <a:r>
              <a:rPr lang="da-DK" altLang="da-DK" sz="675" b="0" noProof="1">
                <a:solidFill>
                  <a:srgbClr val="000000"/>
                </a:solidFill>
                <a:latin typeface="+mn-lt"/>
                <a:cs typeface="Arial" panose="020B0604020202020204" pitchFamily="34" charset="0"/>
              </a:rPr>
              <a:t>Når din præsentation er klar, åbner du en tom præsentation (tryk Ctrl+N). Kopier alle dias fra den nye præsentation, indsæt dem i den tomme præsentation. Dette vil sikre, at der ikke er ekstra layouts</a:t>
            </a:r>
            <a:endParaRPr lang="da-DK" altLang="da-DK" sz="675" b="0" noProof="1">
              <a:solidFill>
                <a:schemeClr val="tx1"/>
              </a:solidFill>
              <a:latin typeface="+mn-lt"/>
              <a:cs typeface="Arial" panose="020B0604020202020204" pitchFamily="34" charset="0"/>
            </a:endParaRPr>
          </a:p>
        </p:txBody>
      </p:sp>
      <p:pic>
        <p:nvPicPr>
          <p:cNvPr id="31" name="Picture 30">
            <a:extLst>
              <a:ext uri="{FF2B5EF4-FFF2-40B4-BE49-F238E27FC236}">
                <a16:creationId xmlns:a16="http://schemas.microsoft.com/office/drawing/2014/main" id="{E7B73ADD-C9A2-4CC9-B9B1-829AB8120F3E}"/>
              </a:ext>
            </a:extLst>
          </p:cNvPr>
          <p:cNvPicPr>
            <a:picLocks noChangeAspect="1"/>
          </p:cNvPicPr>
          <p:nvPr userDrawn="1"/>
        </p:nvPicPr>
        <p:blipFill>
          <a:blip r:embed="rId2"/>
          <a:stretch>
            <a:fillRect/>
          </a:stretch>
        </p:blipFill>
        <p:spPr>
          <a:xfrm>
            <a:off x="2166155" y="2630205"/>
            <a:ext cx="192857" cy="214286"/>
          </a:xfrm>
          <a:prstGeom prst="rect">
            <a:avLst/>
          </a:prstGeom>
        </p:spPr>
      </p:pic>
      <p:pic>
        <p:nvPicPr>
          <p:cNvPr id="32" name="Picture 31">
            <a:extLst>
              <a:ext uri="{FF2B5EF4-FFF2-40B4-BE49-F238E27FC236}">
                <a16:creationId xmlns:a16="http://schemas.microsoft.com/office/drawing/2014/main" id="{94E7EF11-FB06-4FF3-89B6-C9C7B40D4DAE}"/>
              </a:ext>
            </a:extLst>
          </p:cNvPr>
          <p:cNvPicPr>
            <a:picLocks noChangeAspect="1"/>
          </p:cNvPicPr>
          <p:nvPr userDrawn="1"/>
        </p:nvPicPr>
        <p:blipFill rotWithShape="1">
          <a:blip r:embed="rId3"/>
          <a:srcRect l="3901" t="45142" r="62601" b="9046"/>
          <a:stretch/>
        </p:blipFill>
        <p:spPr>
          <a:xfrm>
            <a:off x="4909000" y="2361252"/>
            <a:ext cx="255903" cy="241280"/>
          </a:xfrm>
          <a:prstGeom prst="rect">
            <a:avLst/>
          </a:prstGeom>
        </p:spPr>
      </p:pic>
      <p:pic>
        <p:nvPicPr>
          <p:cNvPr id="33" name="Billede 1">
            <a:extLst>
              <a:ext uri="{FF2B5EF4-FFF2-40B4-BE49-F238E27FC236}">
                <a16:creationId xmlns:a16="http://schemas.microsoft.com/office/drawing/2014/main" id="{58944A03-80A9-4768-89E7-4E910EFFBC28}"/>
              </a:ext>
            </a:extLst>
          </p:cNvPr>
          <p:cNvPicPr>
            <a:picLocks noChangeAspect="1"/>
          </p:cNvPicPr>
          <p:nvPr userDrawn="1"/>
        </p:nvPicPr>
        <p:blipFill>
          <a:blip r:embed="rId4"/>
          <a:stretch>
            <a:fillRect/>
          </a:stretch>
        </p:blipFill>
        <p:spPr>
          <a:xfrm>
            <a:off x="2170240" y="3394029"/>
            <a:ext cx="231442" cy="396023"/>
          </a:xfrm>
          <a:prstGeom prst="rect">
            <a:avLst/>
          </a:prstGeom>
        </p:spPr>
      </p:pic>
      <p:pic>
        <p:nvPicPr>
          <p:cNvPr id="35" name="Billede 4">
            <a:extLst>
              <a:ext uri="{FF2B5EF4-FFF2-40B4-BE49-F238E27FC236}">
                <a16:creationId xmlns:a16="http://schemas.microsoft.com/office/drawing/2014/main" id="{51BFC2D6-78F9-4DE9-9EA2-2262FCDF4EAF}"/>
              </a:ext>
            </a:extLst>
          </p:cNvPr>
          <p:cNvPicPr>
            <a:picLocks noChangeAspect="1"/>
          </p:cNvPicPr>
          <p:nvPr userDrawn="1"/>
        </p:nvPicPr>
        <p:blipFill rotWithShape="1">
          <a:blip r:embed="rId5"/>
          <a:srcRect l="3031"/>
          <a:stretch/>
        </p:blipFill>
        <p:spPr>
          <a:xfrm>
            <a:off x="4963310" y="1635073"/>
            <a:ext cx="372455" cy="129632"/>
          </a:xfrm>
          <a:prstGeom prst="rect">
            <a:avLst/>
          </a:prstGeom>
        </p:spPr>
      </p:pic>
      <p:pic>
        <p:nvPicPr>
          <p:cNvPr id="36" name="Billede 5">
            <a:extLst>
              <a:ext uri="{FF2B5EF4-FFF2-40B4-BE49-F238E27FC236}">
                <a16:creationId xmlns:a16="http://schemas.microsoft.com/office/drawing/2014/main" id="{EBC4A3E5-1D15-4741-BFC6-17ACF4D5CD3D}"/>
              </a:ext>
            </a:extLst>
          </p:cNvPr>
          <p:cNvPicPr>
            <a:picLocks noChangeAspect="1"/>
          </p:cNvPicPr>
          <p:nvPr userDrawn="1"/>
        </p:nvPicPr>
        <p:blipFill>
          <a:blip r:embed="rId6"/>
          <a:stretch>
            <a:fillRect/>
          </a:stretch>
        </p:blipFill>
        <p:spPr>
          <a:xfrm>
            <a:off x="4966108" y="2844491"/>
            <a:ext cx="274532" cy="360323"/>
          </a:xfrm>
          <a:prstGeom prst="rect">
            <a:avLst/>
          </a:prstGeom>
        </p:spPr>
      </p:pic>
      <p:pic>
        <p:nvPicPr>
          <p:cNvPr id="37" name="Picture 36">
            <a:extLst>
              <a:ext uri="{FF2B5EF4-FFF2-40B4-BE49-F238E27FC236}">
                <a16:creationId xmlns:a16="http://schemas.microsoft.com/office/drawing/2014/main" id="{6C19287C-813E-4966-89A1-64D6247DEA84}"/>
              </a:ext>
            </a:extLst>
          </p:cNvPr>
          <p:cNvPicPr>
            <a:picLocks noChangeAspect="1"/>
          </p:cNvPicPr>
          <p:nvPr userDrawn="1"/>
        </p:nvPicPr>
        <p:blipFill>
          <a:blip r:embed="rId7"/>
          <a:stretch>
            <a:fillRect/>
          </a:stretch>
        </p:blipFill>
        <p:spPr>
          <a:xfrm>
            <a:off x="2166561" y="2061675"/>
            <a:ext cx="342857" cy="192857"/>
          </a:xfrm>
          <a:prstGeom prst="rect">
            <a:avLst/>
          </a:prstGeom>
        </p:spPr>
      </p:pic>
      <p:pic>
        <p:nvPicPr>
          <p:cNvPr id="38" name="Picture 37">
            <a:extLst>
              <a:ext uri="{FF2B5EF4-FFF2-40B4-BE49-F238E27FC236}">
                <a16:creationId xmlns:a16="http://schemas.microsoft.com/office/drawing/2014/main" id="{007658DD-99CF-4B02-82C0-E6D1C908CA1A}"/>
              </a:ext>
            </a:extLst>
          </p:cNvPr>
          <p:cNvPicPr>
            <a:picLocks noChangeAspect="1"/>
          </p:cNvPicPr>
          <p:nvPr userDrawn="1"/>
        </p:nvPicPr>
        <p:blipFill>
          <a:blip r:embed="rId8"/>
          <a:stretch>
            <a:fillRect/>
          </a:stretch>
        </p:blipFill>
        <p:spPr>
          <a:xfrm>
            <a:off x="2170970" y="3902355"/>
            <a:ext cx="356571" cy="132572"/>
          </a:xfrm>
          <a:prstGeom prst="rect">
            <a:avLst/>
          </a:prstGeom>
        </p:spPr>
      </p:pic>
      <p:pic>
        <p:nvPicPr>
          <p:cNvPr id="13" name="Billede 12">
            <a:extLst>
              <a:ext uri="{FF2B5EF4-FFF2-40B4-BE49-F238E27FC236}">
                <a16:creationId xmlns:a16="http://schemas.microsoft.com/office/drawing/2014/main" id="{35803521-009F-447D-8D16-21D9EADF441A}"/>
              </a:ext>
            </a:extLst>
          </p:cNvPr>
          <p:cNvPicPr>
            <a:picLocks noChangeAspect="1"/>
          </p:cNvPicPr>
          <p:nvPr userDrawn="1"/>
        </p:nvPicPr>
        <p:blipFill>
          <a:blip r:embed="rId9"/>
          <a:stretch>
            <a:fillRect/>
          </a:stretch>
        </p:blipFill>
        <p:spPr>
          <a:xfrm>
            <a:off x="8038003" y="1608222"/>
            <a:ext cx="330146" cy="407525"/>
          </a:xfrm>
          <a:prstGeom prst="rect">
            <a:avLst/>
          </a:prstGeom>
        </p:spPr>
      </p:pic>
      <p:sp>
        <p:nvSpPr>
          <p:cNvPr id="14" name="Date Placeholder 6" hidden="1">
            <a:extLst>
              <a:ext uri="{FF2B5EF4-FFF2-40B4-BE49-F238E27FC236}">
                <a16:creationId xmlns:a16="http://schemas.microsoft.com/office/drawing/2014/main" id="{E4FD2B6E-39A9-4094-A5FF-CBA180265C06}"/>
              </a:ext>
            </a:extLst>
          </p:cNvPr>
          <p:cNvSpPr>
            <a:spLocks noGrp="1"/>
          </p:cNvSpPr>
          <p:nvPr>
            <p:ph type="dt" sz="half" idx="15"/>
          </p:nvPr>
        </p:nvSpPr>
        <p:spPr>
          <a:xfrm>
            <a:off x="0" y="5143500"/>
            <a:ext cx="0" cy="0"/>
          </a:xfrm>
        </p:spPr>
        <p:txBody>
          <a:bodyPr/>
          <a:lstStyle>
            <a:lvl1pPr>
              <a:defRPr sz="100">
                <a:noFill/>
              </a:defRPr>
            </a:lvl1pPr>
          </a:lstStyle>
          <a:p>
            <a:fld id="{FD8881F8-C1FF-49C4-949D-5147689C28DF}" type="datetime2">
              <a:rPr lang="da-DK" smtClean="0"/>
              <a:t>11. december 2025</a:t>
            </a:fld>
            <a:endParaRPr lang="da-DK"/>
          </a:p>
        </p:txBody>
      </p:sp>
      <p:sp>
        <p:nvSpPr>
          <p:cNvPr id="15" name="Footer Placeholder 8" hidden="1">
            <a:extLst>
              <a:ext uri="{FF2B5EF4-FFF2-40B4-BE49-F238E27FC236}">
                <a16:creationId xmlns:a16="http://schemas.microsoft.com/office/drawing/2014/main" id="{AAFF8183-88DB-4217-8B14-93C3A2F3C637}"/>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16" name="Slide Number Placeholder 10" hidden="1">
            <a:extLst>
              <a:ext uri="{FF2B5EF4-FFF2-40B4-BE49-F238E27FC236}">
                <a16:creationId xmlns:a16="http://schemas.microsoft.com/office/drawing/2014/main" id="{2ECA3156-EAFA-499A-BDD3-C3FE309B5732}"/>
              </a:ext>
            </a:extLst>
          </p:cNvPr>
          <p:cNvSpPr>
            <a:spLocks noGrp="1"/>
          </p:cNvSpPr>
          <p:nvPr>
            <p:ph type="sldNum" sz="quarter" idx="17"/>
          </p:nvPr>
        </p:nvSpPr>
        <p:spPr>
          <a:xfrm>
            <a:off x="0" y="5143500"/>
            <a:ext cx="0" cy="0"/>
          </a:xfrm>
        </p:spPr>
        <p:txBody>
          <a:bodyPr/>
          <a:lstStyle>
            <a:lvl1pPr>
              <a:defRPr sz="100">
                <a:no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77949509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gt;Brug ikke layouts efter dette &g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9144000" cy="51435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450"/>
              </a:spcBef>
              <a:buClr>
                <a:srgbClr val="003755"/>
              </a:buClr>
            </a:pPr>
            <a:endParaRPr lang="da-DK" sz="1050" err="1">
              <a:solidFill>
                <a:schemeClr val="tx1"/>
              </a:solidFill>
            </a:endParaRPr>
          </a:p>
        </p:txBody>
      </p:sp>
      <p:sp>
        <p:nvSpPr>
          <p:cNvPr id="5" name="Do not use"/>
          <p:cNvSpPr txBox="1"/>
          <p:nvPr userDrawn="1"/>
        </p:nvSpPr>
        <p:spPr>
          <a:xfrm>
            <a:off x="322660" y="492618"/>
            <a:ext cx="8517733" cy="2169825"/>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da-DK" sz="3300" b="0" noProof="1">
                <a:solidFill>
                  <a:schemeClr val="bg1"/>
                </a:solidFill>
              </a:rPr>
              <a:t>Hvis du ser andre </a:t>
            </a:r>
            <a:r>
              <a:rPr lang="da-DK" sz="3300" b="1" i="1" noProof="1">
                <a:solidFill>
                  <a:schemeClr val="bg1"/>
                </a:solidFill>
              </a:rPr>
              <a:t>layouts efter dette,</a:t>
            </a:r>
            <a:br>
              <a:rPr lang="da-DK" sz="3300" b="0" i="0" noProof="1">
                <a:solidFill>
                  <a:schemeClr val="bg1"/>
                </a:solidFill>
              </a:rPr>
            </a:br>
            <a:r>
              <a:rPr lang="da-DK" sz="3300" b="0" noProof="1">
                <a:solidFill>
                  <a:schemeClr val="bg1"/>
                </a:solidFill>
              </a:rPr>
              <a:t>brug dem ikke. Disse layouts </a:t>
            </a:r>
            <a:r>
              <a:rPr lang="da-DK" sz="3300" b="1" i="1" u="none" noProof="1">
                <a:solidFill>
                  <a:schemeClr val="bg1"/>
                </a:solidFill>
              </a:rPr>
              <a:t>tilhører ikke </a:t>
            </a:r>
            <a:r>
              <a:rPr lang="da-DK" sz="3300" b="0" i="0" u="none" noProof="1">
                <a:solidFill>
                  <a:schemeClr val="bg1"/>
                </a:solidFill>
              </a:rPr>
              <a:t>vores corporate </a:t>
            </a:r>
            <a:r>
              <a:rPr lang="da-DK" sz="3300" b="0" noProof="1">
                <a:solidFill>
                  <a:schemeClr val="bg1"/>
                </a:solidFill>
              </a:rPr>
              <a:t>skabelon.</a:t>
            </a:r>
            <a:br>
              <a:rPr lang="da-DK" sz="2100" b="0" noProof="1">
                <a:solidFill>
                  <a:schemeClr val="bg1"/>
                </a:solidFill>
              </a:rPr>
            </a:br>
            <a:br>
              <a:rPr lang="da-DK" sz="2100" b="0" noProof="1">
                <a:solidFill>
                  <a:schemeClr val="bg1"/>
                </a:solidFill>
              </a:rPr>
            </a:br>
            <a:endParaRPr lang="da-DK" sz="2100" b="0" noProof="1">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7803656" y="2493920"/>
            <a:ext cx="777591" cy="777591"/>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da-DK" sz="105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da-DK" sz="105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354402" y="2240014"/>
            <a:ext cx="7614260" cy="1246495"/>
          </a:xfrm>
          <a:prstGeom prst="rect">
            <a:avLst/>
          </a:prstGeom>
        </p:spPr>
        <p:txBody>
          <a:bodyPr wrap="square">
            <a:spAutoFit/>
          </a:bodyPr>
          <a:lstStyle/>
          <a:p>
            <a:pPr algn="ctr"/>
            <a:r>
              <a:rPr lang="da-DK" sz="7500" b="1" i="1" noProof="1">
                <a:solidFill>
                  <a:schemeClr val="bg1"/>
                </a:solidFill>
              </a:rPr>
              <a:t>Brug dem ikke </a:t>
            </a:r>
            <a:endParaRPr lang="da-DK" sz="7500" b="1" i="1" noProof="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22660" y="3889841"/>
            <a:ext cx="8517731" cy="733534"/>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da-DK" sz="1500" b="0" noProof="1">
                <a:solidFill>
                  <a:schemeClr val="bg1"/>
                </a:solidFill>
              </a:rPr>
              <a:t>Pga. PowerPoints standard Kopier/Indsæt funktionalitet kan ekstra uønskede layouts forekomme.</a:t>
            </a:r>
          </a:p>
          <a:p>
            <a:pPr marL="0" marR="0" indent="0" algn="ctr" fontAlgn="auto">
              <a:lnSpc>
                <a:spcPct val="100000"/>
              </a:lnSpc>
              <a:spcBef>
                <a:spcPts val="450"/>
              </a:spcBef>
              <a:spcAft>
                <a:spcPts val="0"/>
              </a:spcAft>
              <a:buClr>
                <a:srgbClr val="003755"/>
              </a:buClr>
              <a:buSzTx/>
              <a:buFontTx/>
              <a:buNone/>
              <a:tabLst/>
            </a:pPr>
            <a:r>
              <a:rPr lang="da-DK" sz="1500" b="0" noProof="1">
                <a:solidFill>
                  <a:schemeClr val="bg1"/>
                </a:solidFill>
              </a:rPr>
              <a:t>OBS! Layouts efter dette kan indeholde potentiel fortrolig information.</a:t>
            </a:r>
            <a:br>
              <a:rPr lang="da-DK" sz="1350" b="0" noProof="1">
                <a:solidFill>
                  <a:schemeClr val="bg1"/>
                </a:solidFill>
              </a:rPr>
            </a:br>
            <a:endParaRPr lang="da-DK" sz="1350" b="0" noProof="1">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5143500"/>
            <a:ext cx="0" cy="0"/>
          </a:xfrm>
        </p:spPr>
        <p:txBody>
          <a:bodyPr/>
          <a:lstStyle>
            <a:lvl1pPr>
              <a:defRPr sz="100">
                <a:noFill/>
              </a:defRPr>
            </a:lvl1pPr>
          </a:lstStyle>
          <a:p>
            <a:fld id="{205F122B-2541-481B-A65D-B7A79C5314AF}" type="datetime2">
              <a:rPr lang="da-DK" smtClean="0"/>
              <a:t>11. december 2025</a:t>
            </a:fld>
            <a:endParaRPr lang="da-DK"/>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5143500"/>
            <a:ext cx="0" cy="0"/>
          </a:xfrm>
        </p:spPr>
        <p:txBody>
          <a:bodyPr/>
          <a:lstStyle>
            <a:lvl1pPr>
              <a:defRPr sz="100">
                <a:noFill/>
              </a:defRPr>
            </a:lvl1pPr>
          </a:lstStyle>
          <a:p>
            <a:r>
              <a:rPr lang="da-DK"/>
              <a:t>Digitaliseringsstyrelsen</a:t>
            </a:r>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38398234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_Overskrift og indho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8" name="Objekt 7"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ktangel 6" hidden="1"/>
          <p:cNvSpPr/>
          <p:nvPr userDrawn="1">
            <p:custDataLst>
              <p:tags r:id="rId2"/>
            </p:custDataLst>
          </p:nvPr>
        </p:nvSpPr>
        <p:spPr bwMode="auto">
          <a:xfrm>
            <a:off x="0" y="0"/>
            <a:ext cx="119063" cy="119063"/>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683846" rtl="0" eaLnBrk="1" fontAlgn="base" latinLnBrk="0" hangingPunct="1">
              <a:lnSpc>
                <a:spcPct val="90000"/>
              </a:lnSpc>
              <a:spcBef>
                <a:spcPct val="0"/>
              </a:spcBef>
              <a:spcAft>
                <a:spcPct val="0"/>
              </a:spcAft>
              <a:buClrTx/>
              <a:buSzTx/>
              <a:buFontTx/>
              <a:buNone/>
              <a:tabLst/>
            </a:pPr>
            <a:endParaRPr kumimoji="0" lang="da-DK" sz="1645" b="1" i="0" u="none" strike="noStrike" cap="none" normalizeH="0" baseline="0" err="1">
              <a:ln>
                <a:noFill/>
              </a:ln>
              <a:solidFill>
                <a:schemeClr val="bg1"/>
              </a:solidFill>
              <a:effectLst/>
              <a:latin typeface="Arial"/>
              <a:ea typeface="+mj-ea"/>
              <a:cs typeface="+mj-cs"/>
              <a:sym typeface="Arial"/>
            </a:endParaRPr>
          </a:p>
        </p:txBody>
      </p:sp>
      <p:sp>
        <p:nvSpPr>
          <p:cNvPr id="4" name="Date Placeholder 3"/>
          <p:cNvSpPr>
            <a:spLocks noGrp="1"/>
          </p:cNvSpPr>
          <p:nvPr>
            <p:ph type="dt" sz="half" idx="10"/>
          </p:nvPr>
        </p:nvSpPr>
        <p:spPr/>
        <p:txBody>
          <a:bodyPr/>
          <a:lstStyle/>
          <a:p>
            <a:fld id="{D709F18B-C64D-467D-95E0-03999A31A181}" type="datetime1">
              <a:rPr lang="da-DK" smtClean="0"/>
              <a:t>11-12-2025</a:t>
            </a:fld>
            <a:endParaRPr lang="da-DK"/>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a:p>
        </p:txBody>
      </p:sp>
      <p:sp>
        <p:nvSpPr>
          <p:cNvPr id="20" name="Pladsholder til tekst 19"/>
          <p:cNvSpPr>
            <a:spLocks noGrp="1"/>
          </p:cNvSpPr>
          <p:nvPr>
            <p:ph type="body" sz="quarter" idx="13" hasCustomPrompt="1"/>
          </p:nvPr>
        </p:nvSpPr>
        <p:spPr>
          <a:xfrm>
            <a:off x="525101" y="119063"/>
            <a:ext cx="4046935" cy="189310"/>
          </a:xfrm>
        </p:spPr>
        <p:txBody>
          <a:bodyPr anchor="ctr" anchorCtr="0"/>
          <a:lstStyle>
            <a:lvl1pPr marL="0" indent="0">
              <a:buNone/>
              <a:defRPr sz="748" baseline="0">
                <a:solidFill>
                  <a:srgbClr val="031D5C"/>
                </a:solidFill>
              </a:defRPr>
            </a:lvl1pPr>
          </a:lstStyle>
          <a:p>
            <a:pPr lvl="0"/>
            <a:r>
              <a:rPr lang="da-DK"/>
              <a:t>KLIK FOR AT TILFØJE TEKST</a:t>
            </a:r>
          </a:p>
        </p:txBody>
      </p:sp>
      <p:sp>
        <p:nvSpPr>
          <p:cNvPr id="22" name="Pladsholder til tekst 21"/>
          <p:cNvSpPr>
            <a:spLocks noGrp="1"/>
          </p:cNvSpPr>
          <p:nvPr>
            <p:ph type="body" sz="quarter" idx="14" hasCustomPrompt="1"/>
          </p:nvPr>
        </p:nvSpPr>
        <p:spPr>
          <a:xfrm>
            <a:off x="791769" y="4786313"/>
            <a:ext cx="2483644" cy="161925"/>
          </a:xfrm>
        </p:spPr>
        <p:txBody>
          <a:bodyPr/>
          <a:lstStyle>
            <a:lvl1pPr marL="0" indent="0">
              <a:buNone/>
              <a:defRPr sz="748"/>
            </a:lvl1pPr>
          </a:lstStyle>
          <a:p>
            <a:pPr lvl="0"/>
            <a:r>
              <a:rPr lang="da-DK"/>
              <a:t>Skriv kilde eller anm.:</a:t>
            </a:r>
          </a:p>
        </p:txBody>
      </p:sp>
      <p:sp>
        <p:nvSpPr>
          <p:cNvPr id="2" name="Titel 1"/>
          <p:cNvSpPr>
            <a:spLocks noGrp="1"/>
          </p:cNvSpPr>
          <p:nvPr>
            <p:ph type="title"/>
          </p:nvPr>
        </p:nvSpPr>
        <p:spPr>
          <a:xfrm>
            <a:off x="526258" y="465516"/>
            <a:ext cx="8089106" cy="540060"/>
          </a:xfrm>
        </p:spPr>
        <p:txBody>
          <a:bodyPr/>
          <a:lstStyle/>
          <a:p>
            <a:r>
              <a:rPr lang="da-DK"/>
              <a:t>Klik for at redigere i master</a:t>
            </a:r>
          </a:p>
        </p:txBody>
      </p:sp>
    </p:spTree>
    <p:extLst>
      <p:ext uri="{BB962C8B-B14F-4D97-AF65-F5344CB8AC3E}">
        <p14:creationId xmlns:p14="http://schemas.microsoft.com/office/powerpoint/2010/main" val="335950914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47810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side 3">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2CCE40-CB87-CF3D-3C78-4E5925E60970}"/>
              </a:ext>
            </a:extLst>
          </p:cNvPr>
          <p:cNvSpPr>
            <a:spLocks noGrp="1"/>
          </p:cNvSpPr>
          <p:nvPr>
            <p:ph type="title" hasCustomPrompt="1"/>
          </p:nvPr>
        </p:nvSpPr>
        <p:spPr>
          <a:xfrm>
            <a:off x="468313" y="1432426"/>
            <a:ext cx="6119911" cy="792088"/>
          </a:xfrm>
        </p:spPr>
        <p:txBody>
          <a:bodyPr anchor="b"/>
          <a:lstStyle>
            <a:lvl1pPr>
              <a:defRPr sz="3200">
                <a:solidFill>
                  <a:schemeClr val="tx1"/>
                </a:solidFill>
              </a:defRPr>
            </a:lvl1pPr>
          </a:lstStyle>
          <a:p>
            <a:r>
              <a:rPr lang="da-DK"/>
              <a:t>Klik for at redigere titeltypografien </a:t>
            </a:r>
            <a:br>
              <a:rPr lang="da-DK"/>
            </a:br>
            <a:r>
              <a:rPr lang="da-DK"/>
              <a:t>i masteren</a:t>
            </a:r>
            <a:endParaRPr lang="en-GB"/>
          </a:p>
        </p:txBody>
      </p:sp>
      <p:sp>
        <p:nvSpPr>
          <p:cNvPr id="6" name="Pladsholder til tekst 3">
            <a:extLst>
              <a:ext uri="{FF2B5EF4-FFF2-40B4-BE49-F238E27FC236}">
                <a16:creationId xmlns:a16="http://schemas.microsoft.com/office/drawing/2014/main" id="{5757799A-0EC8-8FFE-391A-C705EF55A04A}"/>
              </a:ext>
            </a:extLst>
          </p:cNvPr>
          <p:cNvSpPr>
            <a:spLocks noGrp="1"/>
          </p:cNvSpPr>
          <p:nvPr>
            <p:ph type="body" sz="quarter" idx="15"/>
          </p:nvPr>
        </p:nvSpPr>
        <p:spPr>
          <a:xfrm>
            <a:off x="468313" y="2386850"/>
            <a:ext cx="6119911" cy="1133807"/>
          </a:xfrm>
        </p:spPr>
        <p:txBody>
          <a:bodyPr rIns="0" anchor="t"/>
          <a:lstStyle>
            <a:lvl1pPr marL="0" indent="0" algn="l">
              <a:buNone/>
              <a:defRPr sz="1000" kern="0" baseline="0">
                <a:solidFill>
                  <a:schemeClr val="tx1"/>
                </a:solidFill>
              </a:defRPr>
            </a:lvl1pPr>
          </a:lstStyle>
          <a:p>
            <a:pPr lvl="0"/>
            <a:r>
              <a:rPr lang="da-DK"/>
              <a:t>Klik for at redigere teksttypografierne i masteren</a:t>
            </a:r>
          </a:p>
        </p:txBody>
      </p:sp>
      <p:sp>
        <p:nvSpPr>
          <p:cNvPr id="9" name="Pladsholder til tekst 6">
            <a:extLst>
              <a:ext uri="{FF2B5EF4-FFF2-40B4-BE49-F238E27FC236}">
                <a16:creationId xmlns:a16="http://schemas.microsoft.com/office/drawing/2014/main" id="{8ECC06A8-D032-5014-F9A2-748351BB8C88}"/>
              </a:ext>
            </a:extLst>
          </p:cNvPr>
          <p:cNvSpPr>
            <a:spLocks noGrp="1"/>
          </p:cNvSpPr>
          <p:nvPr>
            <p:ph type="body" sz="quarter" idx="18"/>
          </p:nvPr>
        </p:nvSpPr>
        <p:spPr>
          <a:xfrm>
            <a:off x="186110" y="4728638"/>
            <a:ext cx="1321200" cy="219600"/>
          </a:xfrm>
          <a:blipFill>
            <a:blip r:embed="rId2"/>
            <a:stretch>
              <a:fillRect/>
            </a:stretch>
          </a:blipFill>
        </p:spPr>
        <p:txBody>
          <a:bodyPr/>
          <a:lstStyle>
            <a:lvl1pPr marL="0" indent="0">
              <a:buNone/>
              <a:defRPr>
                <a:noFill/>
              </a:defRPr>
            </a:lvl1pPr>
          </a:lstStyle>
          <a:p>
            <a:pPr lvl="0"/>
            <a:r>
              <a:rPr lang="da-DK"/>
              <a:t>Klik for at redigere teksttypografierne i masteren</a:t>
            </a:r>
          </a:p>
        </p:txBody>
      </p:sp>
      <p:pic>
        <p:nvPicPr>
          <p:cNvPr id="3" name="Grafik 2">
            <a:extLst>
              <a:ext uri="{FF2B5EF4-FFF2-40B4-BE49-F238E27FC236}">
                <a16:creationId xmlns:a16="http://schemas.microsoft.com/office/drawing/2014/main" id="{2C59C273-8F97-8FCF-65FE-26C9B203B4A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741757" y="431651"/>
            <a:ext cx="931391" cy="4284398"/>
          </a:xfrm>
          <a:prstGeom prst="rect">
            <a:avLst/>
          </a:prstGeom>
        </p:spPr>
      </p:pic>
    </p:spTree>
    <p:extLst>
      <p:ext uri="{BB962C8B-B14F-4D97-AF65-F5344CB8AC3E}">
        <p14:creationId xmlns:p14="http://schemas.microsoft.com/office/powerpoint/2010/main" val="30522814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aptop">
    <p:bg>
      <p:bgPr>
        <a:solidFill>
          <a:schemeClr val="bg2"/>
        </a:solidFill>
        <a:effectLst/>
      </p:bgPr>
    </p:bg>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35BA2296-979E-3FB0-09F8-0AD56B4FF9D6}"/>
              </a:ext>
            </a:extLst>
          </p:cNvPr>
          <p:cNvPicPr>
            <a:picLocks noChangeAspect="1"/>
          </p:cNvPicPr>
          <p:nvPr userDrawn="1"/>
        </p:nvPicPr>
        <p:blipFill rotWithShape="1">
          <a:blip r:embed="rId2"/>
          <a:srcRect l="8822" r="3939" b="5345"/>
          <a:stretch/>
        </p:blipFill>
        <p:spPr>
          <a:xfrm>
            <a:off x="2555776" y="788063"/>
            <a:ext cx="6408837" cy="4355437"/>
          </a:xfrm>
          <a:prstGeom prst="rect">
            <a:avLst/>
          </a:prstGeom>
        </p:spPr>
      </p:pic>
      <p:sp>
        <p:nvSpPr>
          <p:cNvPr id="6" name="Pladsholder til billede 5">
            <a:extLst>
              <a:ext uri="{FF2B5EF4-FFF2-40B4-BE49-F238E27FC236}">
                <a16:creationId xmlns:a16="http://schemas.microsoft.com/office/drawing/2014/main" id="{DD8828A6-E585-6B4F-A1C8-1DBE6955925F}"/>
              </a:ext>
            </a:extLst>
          </p:cNvPr>
          <p:cNvSpPr>
            <a:spLocks noGrp="1"/>
          </p:cNvSpPr>
          <p:nvPr>
            <p:ph type="pic" sz="quarter" idx="10"/>
          </p:nvPr>
        </p:nvSpPr>
        <p:spPr>
          <a:xfrm>
            <a:off x="3452326" y="931985"/>
            <a:ext cx="4744424" cy="3024319"/>
          </a:xfrm>
          <a:prstGeom prst="roundRect">
            <a:avLst>
              <a:gd name="adj" fmla="val 2571"/>
            </a:avLst>
          </a:prstGeom>
          <a:solidFill>
            <a:schemeClr val="bg2"/>
          </a:solidFill>
          <a:ln>
            <a:noFill/>
          </a:ln>
        </p:spPr>
        <p:txBody>
          <a:bodyPr>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3" name="Titel 2">
            <a:extLst>
              <a:ext uri="{FF2B5EF4-FFF2-40B4-BE49-F238E27FC236}">
                <a16:creationId xmlns:a16="http://schemas.microsoft.com/office/drawing/2014/main" id="{6CA1908E-B102-3A42-9341-8E6A8F89063B}"/>
              </a:ext>
            </a:extLst>
          </p:cNvPr>
          <p:cNvSpPr>
            <a:spLocks noGrp="1"/>
          </p:cNvSpPr>
          <p:nvPr>
            <p:ph type="title"/>
          </p:nvPr>
        </p:nvSpPr>
        <p:spPr>
          <a:xfrm>
            <a:off x="971600" y="2068092"/>
            <a:ext cx="2088232" cy="1152127"/>
          </a:xfrm>
        </p:spPr>
        <p:txBody>
          <a:bodyPr anchor="t"/>
          <a:lstStyle>
            <a:lvl1pPr algn="l">
              <a:defRPr sz="2400" baseline="0">
                <a:solidFill>
                  <a:schemeClr val="tx1"/>
                </a:solidFill>
                <a:latin typeface="Neue Haas Grotesk Text Pro" panose="020B0504020202020204" pitchFamily="34" charset="77"/>
              </a:defRPr>
            </a:lvl1pPr>
          </a:lstStyle>
          <a:p>
            <a:r>
              <a:rPr lang="da-DK"/>
              <a:t>Klik for at redigere titeltypografien i masteren</a:t>
            </a:r>
          </a:p>
        </p:txBody>
      </p:sp>
      <p:sp>
        <p:nvSpPr>
          <p:cNvPr id="4" name="Pladsholder til tekst 3">
            <a:extLst>
              <a:ext uri="{FF2B5EF4-FFF2-40B4-BE49-F238E27FC236}">
                <a16:creationId xmlns:a16="http://schemas.microsoft.com/office/drawing/2014/main" id="{C496093B-37A6-AD4C-9138-3E8BD436EBD5}"/>
              </a:ext>
            </a:extLst>
          </p:cNvPr>
          <p:cNvSpPr>
            <a:spLocks noGrp="1"/>
          </p:cNvSpPr>
          <p:nvPr>
            <p:ph type="body" sz="quarter" idx="15"/>
          </p:nvPr>
        </p:nvSpPr>
        <p:spPr>
          <a:xfrm>
            <a:off x="971600" y="1635646"/>
            <a:ext cx="2088232" cy="360437"/>
          </a:xfrm>
        </p:spPr>
        <p:txBody>
          <a:bodyPr rIns="0" anchor="b"/>
          <a:lstStyle>
            <a:lvl1pPr marL="0" indent="0" algn="l">
              <a:buNone/>
              <a:defRPr sz="1000" b="0" i="0" kern="0" cap="all" baseline="0">
                <a:solidFill>
                  <a:srgbClr val="878787"/>
                </a:solidFill>
                <a:latin typeface="Neue Haas Grotesk Text Pro" panose="020B0504020202020204" pitchFamily="34" charset="77"/>
              </a:defRPr>
            </a:lvl1pPr>
          </a:lstStyle>
          <a:p>
            <a:pPr lvl="0"/>
            <a:r>
              <a:rPr lang="da-DK"/>
              <a:t>Klik for at redigere teksttypografierne i masteren</a:t>
            </a:r>
          </a:p>
        </p:txBody>
      </p:sp>
      <p:sp>
        <p:nvSpPr>
          <p:cNvPr id="2" name="Pladsholder til tekst 6">
            <a:extLst>
              <a:ext uri="{FF2B5EF4-FFF2-40B4-BE49-F238E27FC236}">
                <a16:creationId xmlns:a16="http://schemas.microsoft.com/office/drawing/2014/main" id="{62788691-1556-FA1E-C496-6C79B160F7D5}"/>
              </a:ext>
            </a:extLst>
          </p:cNvPr>
          <p:cNvSpPr>
            <a:spLocks noGrp="1"/>
          </p:cNvSpPr>
          <p:nvPr>
            <p:ph type="body" sz="quarter" idx="18"/>
          </p:nvPr>
        </p:nvSpPr>
        <p:spPr>
          <a:xfrm>
            <a:off x="186110" y="4728638"/>
            <a:ext cx="219600" cy="219600"/>
          </a:xfrm>
          <a:blipFill>
            <a:blip r:embed="rId3"/>
            <a:stretch>
              <a:fillRect/>
            </a:stretch>
          </a:blipFill>
        </p:spPr>
        <p:txBody>
          <a:bodyPr/>
          <a:lstStyle>
            <a:lvl1pPr marL="0" indent="0">
              <a:buNone/>
              <a:defRPr>
                <a:noFill/>
                <a:latin typeface="Neue Haas Grotesk Text Pro" panose="020B0504020202020204" pitchFamily="34" charset="77"/>
              </a:defRPr>
            </a:lvl1pPr>
          </a:lstStyle>
          <a:p>
            <a:pPr lvl="0"/>
            <a:r>
              <a:rPr lang="da-DK"/>
              <a:t>Klik for at redigere teksttypografierne i masteren</a:t>
            </a:r>
          </a:p>
        </p:txBody>
      </p:sp>
    </p:spTree>
    <p:extLst>
      <p:ext uri="{BB962C8B-B14F-4D97-AF65-F5344CB8AC3E}">
        <p14:creationId xmlns:p14="http://schemas.microsoft.com/office/powerpoint/2010/main" val="22576254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ablet">
    <p:bg>
      <p:bgPr>
        <a:solidFill>
          <a:schemeClr val="bg2"/>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990C8EEF-CE7A-51CE-1C18-940BF683D7EE}"/>
              </a:ext>
            </a:extLst>
          </p:cNvPr>
          <p:cNvPicPr>
            <a:picLocks/>
          </p:cNvPicPr>
          <p:nvPr userDrawn="1"/>
        </p:nvPicPr>
        <p:blipFill rotWithShape="1">
          <a:blip r:embed="rId2"/>
          <a:srcRect l="6864" r="1466" b="1287"/>
          <a:stretch/>
        </p:blipFill>
        <p:spPr>
          <a:xfrm>
            <a:off x="2411760" y="843558"/>
            <a:ext cx="6732240" cy="4299942"/>
          </a:xfrm>
          <a:prstGeom prst="rect">
            <a:avLst/>
          </a:prstGeom>
        </p:spPr>
      </p:pic>
      <p:sp>
        <p:nvSpPr>
          <p:cNvPr id="6" name="Pladsholder til billede 5">
            <a:extLst>
              <a:ext uri="{FF2B5EF4-FFF2-40B4-BE49-F238E27FC236}">
                <a16:creationId xmlns:a16="http://schemas.microsoft.com/office/drawing/2014/main" id="{DD8828A6-E585-6B4F-A1C8-1DBE6955925F}"/>
              </a:ext>
            </a:extLst>
          </p:cNvPr>
          <p:cNvSpPr>
            <a:spLocks noGrp="1"/>
          </p:cNvSpPr>
          <p:nvPr>
            <p:ph type="pic" sz="quarter" idx="10"/>
          </p:nvPr>
        </p:nvSpPr>
        <p:spPr>
          <a:xfrm>
            <a:off x="3452326" y="968122"/>
            <a:ext cx="4744424" cy="2988182"/>
          </a:xfrm>
          <a:prstGeom prst="roundRect">
            <a:avLst>
              <a:gd name="adj" fmla="val 2613"/>
            </a:avLst>
          </a:prstGeom>
          <a:solidFill>
            <a:schemeClr val="bg2"/>
          </a:solidFill>
          <a:ln>
            <a:noFill/>
          </a:ln>
        </p:spPr>
        <p:txBody>
          <a:bodyPr>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3" name="Titel 2">
            <a:extLst>
              <a:ext uri="{FF2B5EF4-FFF2-40B4-BE49-F238E27FC236}">
                <a16:creationId xmlns:a16="http://schemas.microsoft.com/office/drawing/2014/main" id="{6CA1908E-B102-3A42-9341-8E6A8F89063B}"/>
              </a:ext>
            </a:extLst>
          </p:cNvPr>
          <p:cNvSpPr>
            <a:spLocks noGrp="1"/>
          </p:cNvSpPr>
          <p:nvPr>
            <p:ph type="title"/>
          </p:nvPr>
        </p:nvSpPr>
        <p:spPr>
          <a:xfrm>
            <a:off x="971600" y="2068092"/>
            <a:ext cx="2088232" cy="1152127"/>
          </a:xfrm>
        </p:spPr>
        <p:txBody>
          <a:bodyPr anchor="t"/>
          <a:lstStyle>
            <a:lvl1pPr algn="l">
              <a:defRPr sz="2400" baseline="0">
                <a:solidFill>
                  <a:schemeClr val="tx1"/>
                </a:solidFill>
                <a:latin typeface="Neue Haas Grotesk Text Pro" panose="020B0504020202020204" pitchFamily="34" charset="77"/>
              </a:defRPr>
            </a:lvl1pPr>
          </a:lstStyle>
          <a:p>
            <a:r>
              <a:rPr lang="da-DK"/>
              <a:t>Klik for at redigere titeltypografien i masteren</a:t>
            </a:r>
          </a:p>
        </p:txBody>
      </p:sp>
      <p:sp>
        <p:nvSpPr>
          <p:cNvPr id="4" name="Pladsholder til tekst 3">
            <a:extLst>
              <a:ext uri="{FF2B5EF4-FFF2-40B4-BE49-F238E27FC236}">
                <a16:creationId xmlns:a16="http://schemas.microsoft.com/office/drawing/2014/main" id="{C496093B-37A6-AD4C-9138-3E8BD436EBD5}"/>
              </a:ext>
            </a:extLst>
          </p:cNvPr>
          <p:cNvSpPr>
            <a:spLocks noGrp="1"/>
          </p:cNvSpPr>
          <p:nvPr>
            <p:ph type="body" sz="quarter" idx="15"/>
          </p:nvPr>
        </p:nvSpPr>
        <p:spPr>
          <a:xfrm>
            <a:off x="971600" y="1635646"/>
            <a:ext cx="2088232" cy="360437"/>
          </a:xfrm>
        </p:spPr>
        <p:txBody>
          <a:bodyPr rIns="0" anchor="b"/>
          <a:lstStyle>
            <a:lvl1pPr marL="0" indent="0" algn="l">
              <a:buNone/>
              <a:defRPr lang="da-DK" sz="1000" b="0" i="0" kern="0" cap="all" baseline="0" smtClean="0">
                <a:solidFill>
                  <a:srgbClr val="878787"/>
                </a:solidFill>
                <a:latin typeface="Neue Haas Grotesk Text Pro" panose="020B0504020202020204" pitchFamily="34" charset="77"/>
                <a:ea typeface="+mn-ea"/>
                <a:cs typeface="Arial"/>
              </a:defRPr>
            </a:lvl1pPr>
          </a:lstStyle>
          <a:p>
            <a:pPr lvl="0"/>
            <a:r>
              <a:rPr lang="da-DK"/>
              <a:t>Klik for at redigere teksttypografierne i masteren</a:t>
            </a:r>
          </a:p>
        </p:txBody>
      </p:sp>
      <p:sp>
        <p:nvSpPr>
          <p:cNvPr id="2" name="Pladsholder til tekst 6">
            <a:extLst>
              <a:ext uri="{FF2B5EF4-FFF2-40B4-BE49-F238E27FC236}">
                <a16:creationId xmlns:a16="http://schemas.microsoft.com/office/drawing/2014/main" id="{62788691-1556-FA1E-C496-6C79B160F7D5}"/>
              </a:ext>
            </a:extLst>
          </p:cNvPr>
          <p:cNvSpPr>
            <a:spLocks noGrp="1"/>
          </p:cNvSpPr>
          <p:nvPr>
            <p:ph type="body" sz="quarter" idx="18"/>
          </p:nvPr>
        </p:nvSpPr>
        <p:spPr>
          <a:xfrm>
            <a:off x="186110" y="4728638"/>
            <a:ext cx="219600" cy="219600"/>
          </a:xfrm>
          <a:blipFill>
            <a:blip r:embed="rId3"/>
            <a:stretch>
              <a:fillRect/>
            </a:stretch>
          </a:blipFill>
        </p:spPr>
        <p:txBody>
          <a:bodyPr/>
          <a:lstStyle>
            <a:lvl1pPr marL="0" indent="0">
              <a:buNone/>
              <a:defRPr>
                <a:noFill/>
                <a:latin typeface="Neue Haas Grotesk Text Pro" panose="020B0504020202020204" pitchFamily="34" charset="77"/>
              </a:defRPr>
            </a:lvl1pPr>
          </a:lstStyle>
          <a:p>
            <a:pPr lvl="0"/>
            <a:r>
              <a:rPr lang="da-DK"/>
              <a:t>Klik for at redigere teksttypografierne i masteren</a:t>
            </a:r>
          </a:p>
        </p:txBody>
      </p:sp>
    </p:spTree>
    <p:extLst>
      <p:ext uri="{BB962C8B-B14F-4D97-AF65-F5344CB8AC3E}">
        <p14:creationId xmlns:p14="http://schemas.microsoft.com/office/powerpoint/2010/main" val="27734838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martphone">
    <p:bg>
      <p:bgPr>
        <a:solidFill>
          <a:schemeClr val="bg2"/>
        </a:solidFill>
        <a:effectLst/>
      </p:bgPr>
    </p:bg>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E5159541-E76D-3FB8-C96E-91B4E9E95D0E}"/>
              </a:ext>
            </a:extLst>
          </p:cNvPr>
          <p:cNvPicPr>
            <a:picLocks noChangeAspect="1"/>
          </p:cNvPicPr>
          <p:nvPr userDrawn="1"/>
        </p:nvPicPr>
        <p:blipFill>
          <a:blip r:embed="rId2"/>
          <a:stretch>
            <a:fillRect/>
          </a:stretch>
        </p:blipFill>
        <p:spPr>
          <a:xfrm>
            <a:off x="3776216" y="484188"/>
            <a:ext cx="4180683" cy="4659312"/>
          </a:xfrm>
          <a:prstGeom prst="rect">
            <a:avLst/>
          </a:prstGeom>
        </p:spPr>
      </p:pic>
      <p:sp>
        <p:nvSpPr>
          <p:cNvPr id="6" name="Pladsholder til billede 5">
            <a:extLst>
              <a:ext uri="{FF2B5EF4-FFF2-40B4-BE49-F238E27FC236}">
                <a16:creationId xmlns:a16="http://schemas.microsoft.com/office/drawing/2014/main" id="{DD8828A6-E585-6B4F-A1C8-1DBE6955925F}"/>
              </a:ext>
            </a:extLst>
          </p:cNvPr>
          <p:cNvSpPr>
            <a:spLocks noGrp="1"/>
          </p:cNvSpPr>
          <p:nvPr>
            <p:ph type="pic" sz="quarter" idx="10"/>
          </p:nvPr>
        </p:nvSpPr>
        <p:spPr>
          <a:xfrm>
            <a:off x="4921251" y="541909"/>
            <a:ext cx="1895474" cy="4094608"/>
          </a:xfrm>
          <a:prstGeom prst="roundRect">
            <a:avLst>
              <a:gd name="adj" fmla="val 3616"/>
            </a:avLst>
          </a:prstGeom>
          <a:solidFill>
            <a:schemeClr val="bg2"/>
          </a:solidFill>
          <a:ln>
            <a:noFill/>
          </a:ln>
        </p:spPr>
        <p:txBody>
          <a:bodyPr>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3" name="Titel 2">
            <a:extLst>
              <a:ext uri="{FF2B5EF4-FFF2-40B4-BE49-F238E27FC236}">
                <a16:creationId xmlns:a16="http://schemas.microsoft.com/office/drawing/2014/main" id="{6CA1908E-B102-3A42-9341-8E6A8F89063B}"/>
              </a:ext>
            </a:extLst>
          </p:cNvPr>
          <p:cNvSpPr>
            <a:spLocks noGrp="1"/>
          </p:cNvSpPr>
          <p:nvPr>
            <p:ph type="title"/>
          </p:nvPr>
        </p:nvSpPr>
        <p:spPr>
          <a:xfrm>
            <a:off x="971600" y="2068092"/>
            <a:ext cx="2088232" cy="1152127"/>
          </a:xfrm>
        </p:spPr>
        <p:txBody>
          <a:bodyPr anchor="t"/>
          <a:lstStyle>
            <a:lvl1pPr algn="l">
              <a:defRPr sz="2400" baseline="0">
                <a:solidFill>
                  <a:schemeClr val="tx1"/>
                </a:solidFill>
                <a:latin typeface="Neue Haas Grotesk Text Pro" panose="020B0504020202020204" pitchFamily="34" charset="77"/>
              </a:defRPr>
            </a:lvl1pPr>
          </a:lstStyle>
          <a:p>
            <a:r>
              <a:rPr lang="da-DK"/>
              <a:t>Klik for at redigere titeltypografien i masteren</a:t>
            </a:r>
          </a:p>
        </p:txBody>
      </p:sp>
      <p:sp>
        <p:nvSpPr>
          <p:cNvPr id="4" name="Pladsholder til tekst 3">
            <a:extLst>
              <a:ext uri="{FF2B5EF4-FFF2-40B4-BE49-F238E27FC236}">
                <a16:creationId xmlns:a16="http://schemas.microsoft.com/office/drawing/2014/main" id="{C496093B-37A6-AD4C-9138-3E8BD436EBD5}"/>
              </a:ext>
            </a:extLst>
          </p:cNvPr>
          <p:cNvSpPr>
            <a:spLocks noGrp="1"/>
          </p:cNvSpPr>
          <p:nvPr>
            <p:ph type="body" sz="quarter" idx="15"/>
          </p:nvPr>
        </p:nvSpPr>
        <p:spPr>
          <a:xfrm>
            <a:off x="971600" y="1635646"/>
            <a:ext cx="2088232" cy="360437"/>
          </a:xfrm>
        </p:spPr>
        <p:txBody>
          <a:bodyPr rIns="0" anchor="b"/>
          <a:lstStyle>
            <a:lvl1pPr marL="0" indent="0" algn="l">
              <a:buNone/>
              <a:defRPr lang="da-DK" sz="1000" b="0" i="0" kern="0" cap="all" baseline="0" smtClean="0">
                <a:solidFill>
                  <a:srgbClr val="878787"/>
                </a:solidFill>
                <a:latin typeface="Neue Haas Grotesk Text Pro" panose="020B0504020202020204" pitchFamily="34" charset="77"/>
                <a:ea typeface="+mn-ea"/>
                <a:cs typeface="Arial"/>
              </a:defRPr>
            </a:lvl1pPr>
          </a:lstStyle>
          <a:p>
            <a:pPr lvl="0"/>
            <a:r>
              <a:rPr lang="da-DK"/>
              <a:t>Klik for at redigere teksttypografierne i masteren</a:t>
            </a:r>
          </a:p>
        </p:txBody>
      </p:sp>
      <p:sp>
        <p:nvSpPr>
          <p:cNvPr id="2" name="Pladsholder til tekst 6">
            <a:extLst>
              <a:ext uri="{FF2B5EF4-FFF2-40B4-BE49-F238E27FC236}">
                <a16:creationId xmlns:a16="http://schemas.microsoft.com/office/drawing/2014/main" id="{62788691-1556-FA1E-C496-6C79B160F7D5}"/>
              </a:ext>
            </a:extLst>
          </p:cNvPr>
          <p:cNvSpPr>
            <a:spLocks noGrp="1"/>
          </p:cNvSpPr>
          <p:nvPr>
            <p:ph type="body" sz="quarter" idx="18"/>
          </p:nvPr>
        </p:nvSpPr>
        <p:spPr>
          <a:xfrm>
            <a:off x="186110" y="4728638"/>
            <a:ext cx="219600" cy="219600"/>
          </a:xfrm>
          <a:blipFill>
            <a:blip r:embed="rId3"/>
            <a:stretch>
              <a:fillRect/>
            </a:stretch>
          </a:blipFill>
        </p:spPr>
        <p:txBody>
          <a:bodyPr/>
          <a:lstStyle>
            <a:lvl1pPr marL="0" indent="0">
              <a:buNone/>
              <a:defRPr>
                <a:noFill/>
                <a:latin typeface="Neue Haas Grotesk Text Pro" panose="020B0504020202020204" pitchFamily="34" charset="77"/>
              </a:defRPr>
            </a:lvl1pPr>
          </a:lstStyle>
          <a:p>
            <a:pPr lvl="0"/>
            <a:r>
              <a:rPr lang="da-DK"/>
              <a:t>Klik for at redigere teksttypografierne i masteren</a:t>
            </a:r>
          </a:p>
        </p:txBody>
      </p:sp>
    </p:spTree>
    <p:extLst>
      <p:ext uri="{BB962C8B-B14F-4D97-AF65-F5344CB8AC3E}">
        <p14:creationId xmlns:p14="http://schemas.microsoft.com/office/powerpoint/2010/main" val="19753116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itat">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A7503E-2469-3E05-3EA0-4DF2EED4DD8F}"/>
              </a:ext>
            </a:extLst>
          </p:cNvPr>
          <p:cNvSpPr>
            <a:spLocks noGrp="1"/>
          </p:cNvSpPr>
          <p:nvPr>
            <p:ph type="title"/>
          </p:nvPr>
        </p:nvSpPr>
        <p:spPr>
          <a:xfrm>
            <a:off x="1691680" y="1635744"/>
            <a:ext cx="6552728" cy="1296045"/>
          </a:xfrm>
        </p:spPr>
        <p:txBody>
          <a:bodyPr/>
          <a:lstStyle>
            <a:lvl1pPr>
              <a:defRPr>
                <a:solidFill>
                  <a:schemeClr val="accent1"/>
                </a:solidFill>
              </a:defRPr>
            </a:lvl1pPr>
          </a:lstStyle>
          <a:p>
            <a:r>
              <a:rPr lang="da-DK"/>
              <a:t>Klik for at redigere titeltypografien i masteren</a:t>
            </a:r>
            <a:endParaRPr lang="en-GB"/>
          </a:p>
        </p:txBody>
      </p:sp>
      <p:sp>
        <p:nvSpPr>
          <p:cNvPr id="3" name="Pladsholder til tekst 3">
            <a:extLst>
              <a:ext uri="{FF2B5EF4-FFF2-40B4-BE49-F238E27FC236}">
                <a16:creationId xmlns:a16="http://schemas.microsoft.com/office/drawing/2014/main" id="{F479E89F-175C-C02F-72CE-0AE3ABC83953}"/>
              </a:ext>
            </a:extLst>
          </p:cNvPr>
          <p:cNvSpPr>
            <a:spLocks noGrp="1"/>
          </p:cNvSpPr>
          <p:nvPr>
            <p:ph type="body" sz="quarter" idx="15"/>
          </p:nvPr>
        </p:nvSpPr>
        <p:spPr>
          <a:xfrm>
            <a:off x="1691680" y="2931790"/>
            <a:ext cx="6552728" cy="216024"/>
          </a:xfrm>
        </p:spPr>
        <p:txBody>
          <a:bodyPr rIns="0" anchor="t"/>
          <a:lstStyle>
            <a:lvl1pPr marL="0" indent="0" algn="l">
              <a:buNone/>
              <a:defRPr sz="1100" kern="0" baseline="0">
                <a:solidFill>
                  <a:schemeClr val="accent1"/>
                </a:solidFill>
              </a:defRPr>
            </a:lvl1pPr>
          </a:lstStyle>
          <a:p>
            <a:pPr lvl="0"/>
            <a:r>
              <a:rPr lang="da-DK"/>
              <a:t>Klik for at redigere teksttypografierne i masteren</a:t>
            </a:r>
          </a:p>
        </p:txBody>
      </p:sp>
      <p:pic>
        <p:nvPicPr>
          <p:cNvPr id="7" name="Billede 6">
            <a:extLst>
              <a:ext uri="{FF2B5EF4-FFF2-40B4-BE49-F238E27FC236}">
                <a16:creationId xmlns:a16="http://schemas.microsoft.com/office/drawing/2014/main" id="{9305FE54-DDF6-0A14-2408-33976177F0B2}"/>
              </a:ext>
            </a:extLst>
          </p:cNvPr>
          <p:cNvPicPr>
            <a:picLocks noChangeAspect="1"/>
          </p:cNvPicPr>
          <p:nvPr userDrawn="1"/>
        </p:nvPicPr>
        <p:blipFill>
          <a:blip r:embed="rId2"/>
          <a:stretch>
            <a:fillRect/>
          </a:stretch>
        </p:blipFill>
        <p:spPr>
          <a:xfrm>
            <a:off x="755576" y="1332632"/>
            <a:ext cx="683537" cy="503659"/>
          </a:xfrm>
          <a:prstGeom prst="rect">
            <a:avLst/>
          </a:prstGeom>
        </p:spPr>
      </p:pic>
    </p:spTree>
    <p:extLst>
      <p:ext uri="{BB962C8B-B14F-4D97-AF65-F5344CB8AC3E}">
        <p14:creationId xmlns:p14="http://schemas.microsoft.com/office/powerpoint/2010/main" val="12867958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fsluttende information">
    <p:spTree>
      <p:nvGrpSpPr>
        <p:cNvPr id="1" name=""/>
        <p:cNvGrpSpPr/>
        <p:nvPr/>
      </p:nvGrpSpPr>
      <p:grpSpPr>
        <a:xfrm>
          <a:off x="0" y="0"/>
          <a:ext cx="0" cy="0"/>
          <a:chOff x="0" y="0"/>
          <a:chExt cx="0" cy="0"/>
        </a:xfrm>
      </p:grpSpPr>
      <p:sp>
        <p:nvSpPr>
          <p:cNvPr id="5" name="Pladsholder til billede 5">
            <a:extLst>
              <a:ext uri="{FF2B5EF4-FFF2-40B4-BE49-F238E27FC236}">
                <a16:creationId xmlns:a16="http://schemas.microsoft.com/office/drawing/2014/main" id="{21388F4B-459C-62E7-B17F-7FDB3EC404BB}"/>
              </a:ext>
            </a:extLst>
          </p:cNvPr>
          <p:cNvSpPr>
            <a:spLocks noGrp="1"/>
          </p:cNvSpPr>
          <p:nvPr>
            <p:ph type="pic" sz="quarter" idx="12"/>
          </p:nvPr>
        </p:nvSpPr>
        <p:spPr>
          <a:xfrm>
            <a:off x="0" y="0"/>
            <a:ext cx="4572000" cy="5143499"/>
          </a:xfrm>
        </p:spPr>
        <p:txBody>
          <a:bodyPr>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4" name="Pladsholder til tekst 3">
            <a:extLst>
              <a:ext uri="{FF2B5EF4-FFF2-40B4-BE49-F238E27FC236}">
                <a16:creationId xmlns:a16="http://schemas.microsoft.com/office/drawing/2014/main" id="{E4635518-A0E4-AE02-8A01-B963156D663C}"/>
              </a:ext>
            </a:extLst>
          </p:cNvPr>
          <p:cNvSpPr>
            <a:spLocks noGrp="1"/>
          </p:cNvSpPr>
          <p:nvPr>
            <p:ph type="body" sz="quarter" idx="10"/>
          </p:nvPr>
        </p:nvSpPr>
        <p:spPr>
          <a:xfrm>
            <a:off x="5148263" y="1419225"/>
            <a:ext cx="2880121" cy="216421"/>
          </a:xfrm>
        </p:spPr>
        <p:txBody>
          <a:bodyPr/>
          <a:lstStyle>
            <a:lvl1pPr marL="0" indent="0">
              <a:buNone/>
              <a:defRPr sz="1000" b="1" i="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3" name="Pladsholder til tekst 6">
            <a:extLst>
              <a:ext uri="{FF2B5EF4-FFF2-40B4-BE49-F238E27FC236}">
                <a16:creationId xmlns:a16="http://schemas.microsoft.com/office/drawing/2014/main" id="{AA27B9A2-5D4D-7109-EA87-D243A871B710}"/>
              </a:ext>
            </a:extLst>
          </p:cNvPr>
          <p:cNvSpPr>
            <a:spLocks noGrp="1"/>
          </p:cNvSpPr>
          <p:nvPr>
            <p:ph type="body" sz="quarter" idx="18"/>
          </p:nvPr>
        </p:nvSpPr>
        <p:spPr>
          <a:xfrm>
            <a:off x="186110" y="4728638"/>
            <a:ext cx="219600" cy="219600"/>
          </a:xfrm>
          <a:blipFill>
            <a:blip r:embed="rId2"/>
            <a:stretch>
              <a:fillRect/>
            </a:stretch>
          </a:blipFill>
        </p:spPr>
        <p:txBody>
          <a:bodyPr/>
          <a:lstStyle>
            <a:lvl1pPr marL="0" indent="0">
              <a:buNone/>
              <a:defRPr>
                <a:noFill/>
              </a:defRPr>
            </a:lvl1pPr>
          </a:lstStyle>
          <a:p>
            <a:pPr lvl="0"/>
            <a:r>
              <a:rPr lang="da-DK"/>
              <a:t>Klik for at redigere teksttypografierne i masteren</a:t>
            </a:r>
          </a:p>
        </p:txBody>
      </p:sp>
      <p:sp>
        <p:nvSpPr>
          <p:cNvPr id="9" name="Pladsholder til tekst 8">
            <a:extLst>
              <a:ext uri="{FF2B5EF4-FFF2-40B4-BE49-F238E27FC236}">
                <a16:creationId xmlns:a16="http://schemas.microsoft.com/office/drawing/2014/main" id="{44FB3C53-B6B9-8DE9-14A0-F134E791ED7E}"/>
              </a:ext>
            </a:extLst>
          </p:cNvPr>
          <p:cNvSpPr>
            <a:spLocks noGrp="1" noChangeAspect="1"/>
          </p:cNvSpPr>
          <p:nvPr>
            <p:ph type="body" sz="quarter" idx="19"/>
          </p:nvPr>
        </p:nvSpPr>
        <p:spPr>
          <a:xfrm>
            <a:off x="5148263" y="1635646"/>
            <a:ext cx="1188000" cy="1188000"/>
          </a:xfrm>
          <a:solidFill>
            <a:schemeClr val="bg2"/>
          </a:solidFill>
        </p:spPr>
        <p:txBody>
          <a:bodyPr lIns="144000" tIns="72000" rIns="144000" bIns="72000" anchor="ctr"/>
          <a:lstStyle>
            <a:lvl1pPr marL="0" indent="0" algn="ctr">
              <a:buNone/>
              <a:defRPr sz="800" b="0" i="0">
                <a:latin typeface="Neue Haas Grotesk Text Pro" panose="020B0504020202020204" pitchFamily="34" charset="77"/>
              </a:defRPr>
            </a:lvl1pPr>
            <a:lvl2pPr marL="72000" indent="0" algn="ctr">
              <a:buNone/>
              <a:defRPr sz="700" b="0" i="0">
                <a:latin typeface="Helvetica" pitchFamily="2" charset="0"/>
              </a:defRPr>
            </a:lvl2pPr>
            <a:lvl3pPr marL="252000" indent="0" algn="ctr">
              <a:buNone/>
              <a:defRPr sz="600" b="0" i="0">
                <a:latin typeface="Helvetica" pitchFamily="2" charset="0"/>
              </a:defRPr>
            </a:lvl3pPr>
            <a:lvl4pPr marL="378000" indent="0" algn="ctr">
              <a:buFont typeface="Arial" panose="020B0604020202020204" pitchFamily="34" charset="0"/>
              <a:buNone/>
              <a:defRPr sz="700" b="0" i="0">
                <a:latin typeface="Helvetica" pitchFamily="2" charset="0"/>
              </a:defRPr>
            </a:lvl4pPr>
            <a:lvl5pPr marL="252000" indent="0" algn="ctr">
              <a:buNone/>
              <a:defRPr sz="600" b="0" i="0">
                <a:latin typeface="Helvetica" pitchFamily="2" charset="0"/>
              </a:defRPr>
            </a:lvl5pPr>
          </a:lstStyle>
          <a:p>
            <a:pPr lvl="0"/>
            <a:r>
              <a:rPr lang="da-DK"/>
              <a:t>Klik for at redigere teksttypografierne i masteren</a:t>
            </a:r>
          </a:p>
        </p:txBody>
      </p:sp>
      <p:sp>
        <p:nvSpPr>
          <p:cNvPr id="13" name="Pladsholder til tekst 8">
            <a:extLst>
              <a:ext uri="{FF2B5EF4-FFF2-40B4-BE49-F238E27FC236}">
                <a16:creationId xmlns:a16="http://schemas.microsoft.com/office/drawing/2014/main" id="{3D9F1629-6815-2D36-E116-E5D22010D8C2}"/>
              </a:ext>
            </a:extLst>
          </p:cNvPr>
          <p:cNvSpPr>
            <a:spLocks noGrp="1" noChangeAspect="1"/>
          </p:cNvSpPr>
          <p:nvPr>
            <p:ph type="body" sz="quarter" idx="20"/>
          </p:nvPr>
        </p:nvSpPr>
        <p:spPr>
          <a:xfrm>
            <a:off x="5148263" y="2975896"/>
            <a:ext cx="1188000" cy="1188000"/>
          </a:xfrm>
          <a:solidFill>
            <a:schemeClr val="bg2"/>
          </a:solidFill>
        </p:spPr>
        <p:txBody>
          <a:bodyPr lIns="144000" tIns="72000" rIns="144000" bIns="72000" anchor="ctr"/>
          <a:lstStyle>
            <a:lvl1pPr marL="0" indent="0" algn="ctr">
              <a:buNone/>
              <a:defRPr sz="800" b="0" i="0">
                <a:latin typeface="Neue Haas Grotesk Text Pro" panose="020B0504020202020204" pitchFamily="34" charset="77"/>
              </a:defRPr>
            </a:lvl1pPr>
            <a:lvl2pPr marL="72000" indent="0" algn="ctr">
              <a:buNone/>
              <a:defRPr sz="700" b="0" i="0">
                <a:latin typeface="Helvetica" pitchFamily="2" charset="0"/>
              </a:defRPr>
            </a:lvl2pPr>
            <a:lvl3pPr marL="252000" indent="0" algn="ctr">
              <a:buNone/>
              <a:defRPr sz="600" b="0" i="0">
                <a:latin typeface="Helvetica" pitchFamily="2" charset="0"/>
              </a:defRPr>
            </a:lvl3pPr>
            <a:lvl4pPr marL="378000" indent="0" algn="ctr">
              <a:buFont typeface="Arial" panose="020B0604020202020204" pitchFamily="34" charset="0"/>
              <a:buNone/>
              <a:defRPr sz="700" b="0" i="0">
                <a:latin typeface="Helvetica" pitchFamily="2" charset="0"/>
              </a:defRPr>
            </a:lvl4pPr>
            <a:lvl5pPr marL="252000" indent="0" algn="ctr">
              <a:buNone/>
              <a:defRPr sz="600" b="0" i="0">
                <a:latin typeface="Helvetica" pitchFamily="2" charset="0"/>
              </a:defRPr>
            </a:lvl5pPr>
          </a:lstStyle>
          <a:p>
            <a:pPr lvl="0"/>
            <a:r>
              <a:rPr lang="da-DK"/>
              <a:t>Klik for at redigere teksttypografierne i masteren</a:t>
            </a:r>
          </a:p>
        </p:txBody>
      </p:sp>
      <p:sp>
        <p:nvSpPr>
          <p:cNvPr id="14" name="Pladsholder til tekst 8">
            <a:extLst>
              <a:ext uri="{FF2B5EF4-FFF2-40B4-BE49-F238E27FC236}">
                <a16:creationId xmlns:a16="http://schemas.microsoft.com/office/drawing/2014/main" id="{51D22C36-A4AD-B530-07AC-5C2F4E49745E}"/>
              </a:ext>
            </a:extLst>
          </p:cNvPr>
          <p:cNvSpPr>
            <a:spLocks noGrp="1" noChangeAspect="1"/>
          </p:cNvSpPr>
          <p:nvPr>
            <p:ph type="body" sz="quarter" idx="21"/>
          </p:nvPr>
        </p:nvSpPr>
        <p:spPr>
          <a:xfrm>
            <a:off x="6516216" y="1635646"/>
            <a:ext cx="1188000" cy="2528250"/>
          </a:xfrm>
          <a:solidFill>
            <a:schemeClr val="bg2"/>
          </a:solidFill>
        </p:spPr>
        <p:txBody>
          <a:bodyPr lIns="144000" tIns="72000" rIns="144000" bIns="72000" anchor="ctr"/>
          <a:lstStyle>
            <a:lvl1pPr marL="0" indent="0" algn="ctr">
              <a:buNone/>
              <a:defRPr sz="800" b="0" i="0">
                <a:latin typeface="Neue Haas Grotesk Text Pro" panose="020B0504020202020204" pitchFamily="34" charset="77"/>
              </a:defRPr>
            </a:lvl1pPr>
            <a:lvl2pPr marL="72000" indent="0" algn="ctr">
              <a:buNone/>
              <a:defRPr sz="700" b="0" i="0">
                <a:latin typeface="Helvetica" pitchFamily="2" charset="0"/>
              </a:defRPr>
            </a:lvl2pPr>
            <a:lvl3pPr marL="252000" indent="0" algn="ctr">
              <a:buNone/>
              <a:defRPr sz="600" b="0" i="0">
                <a:latin typeface="Helvetica" pitchFamily="2" charset="0"/>
              </a:defRPr>
            </a:lvl3pPr>
            <a:lvl4pPr marL="378000" indent="0" algn="ctr">
              <a:buFont typeface="Arial" panose="020B0604020202020204" pitchFamily="34" charset="0"/>
              <a:buNone/>
              <a:defRPr sz="700" b="0" i="0">
                <a:latin typeface="Helvetica" pitchFamily="2" charset="0"/>
              </a:defRPr>
            </a:lvl4pPr>
            <a:lvl5pPr marL="252000" indent="0" algn="ctr">
              <a:buNone/>
              <a:defRPr sz="600" b="0" i="0">
                <a:latin typeface="Helvetica" pitchFamily="2" charset="0"/>
              </a:defRPr>
            </a:lvl5pPr>
          </a:lstStyle>
          <a:p>
            <a:pPr lvl="0"/>
            <a:r>
              <a:rPr lang="da-DK"/>
              <a:t>Klik for at redigere teksttypografierne i masteren</a:t>
            </a:r>
          </a:p>
        </p:txBody>
      </p:sp>
    </p:spTree>
    <p:extLst>
      <p:ext uri="{BB962C8B-B14F-4D97-AF65-F5344CB8AC3E}">
        <p14:creationId xmlns:p14="http://schemas.microsoft.com/office/powerpoint/2010/main" val="20715977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cSld name="Baggrundsbillede og tekstboks">
    <p:bg>
      <p:bgPr>
        <a:solidFill>
          <a:schemeClr val="bg1"/>
        </a:solidFill>
        <a:effectLst/>
      </p:bgPr>
    </p:bg>
    <p:spTree>
      <p:nvGrpSpPr>
        <p:cNvPr id="1" name=""/>
        <p:cNvGrpSpPr/>
        <p:nvPr/>
      </p:nvGrpSpPr>
      <p:grpSpPr>
        <a:xfrm>
          <a:off x="0" y="0"/>
          <a:ext cx="0" cy="0"/>
          <a:chOff x="0" y="0"/>
          <a:chExt cx="0" cy="0"/>
        </a:xfrm>
      </p:grpSpPr>
      <p:sp>
        <p:nvSpPr>
          <p:cNvPr id="7" name="Pladsholder til billede 6" descr="[logo:BlackWhite]&#10;[imagefolder:Background]"/>
          <p:cNvSpPr>
            <a:spLocks noGrp="1" noChangeAspect="1"/>
          </p:cNvSpPr>
          <p:nvPr>
            <p:ph type="pic" sz="quarter" idx="15" hasCustomPrompt="1"/>
          </p:nvPr>
        </p:nvSpPr>
        <p:spPr>
          <a:xfrm>
            <a:off x="0" y="1"/>
            <a:ext cx="9144000" cy="5143500"/>
          </a:xfrm>
          <a:solidFill>
            <a:schemeClr val="bg1">
              <a:lumMod val="75000"/>
            </a:schemeClr>
          </a:solidFill>
        </p:spPr>
        <p:txBody>
          <a:bodyPr lIns="540000" rIns="6480000" anchor="t" anchorCtr="0"/>
          <a:lstStyle>
            <a:lvl1pPr algn="l">
              <a:tabLst/>
              <a:defRPr sz="1200" baseline="0"/>
            </a:lvl1pPr>
          </a:lstStyle>
          <a:p>
            <a:endParaRPr lang="en-US"/>
          </a:p>
        </p:txBody>
      </p:sp>
      <p:sp>
        <p:nvSpPr>
          <p:cNvPr id="3" name="Pladsholder til dato 2"/>
          <p:cNvSpPr>
            <a:spLocks noGrp="1"/>
          </p:cNvSpPr>
          <p:nvPr>
            <p:ph type="dt" sz="half" idx="10"/>
          </p:nvPr>
        </p:nvSpPr>
        <p:spPr/>
        <p:txBody>
          <a:bodyPr/>
          <a:lstStyle>
            <a:lvl1pPr>
              <a:defRPr>
                <a:solidFill>
                  <a:schemeClr val="bg1"/>
                </a:solidFill>
              </a:defRPr>
            </a:lvl1pPr>
          </a:lstStyle>
          <a:p>
            <a:fld id="{ECE0649F-FA7C-4CDA-B758-7821CB283D70}" type="datetimeFigureOut">
              <a:rPr lang="en-US" dirty="0"/>
              <a:t>12/11/2025</a:t>
            </a:fld>
            <a:endParaRPr lang="en-US"/>
          </a:p>
        </p:txBody>
      </p:sp>
      <p:sp>
        <p:nvSpPr>
          <p:cNvPr id="4" name="Pladsholder til sidefod 3"/>
          <p:cNvSpPr>
            <a:spLocks noGrp="1"/>
          </p:cNvSpPr>
          <p:nvPr>
            <p:ph type="ftr" sz="quarter" idx="11"/>
          </p:nvPr>
        </p:nvSpPr>
        <p:spPr/>
        <p:txBody>
          <a:bodyPr/>
          <a:lstStyle>
            <a:lvl1pPr>
              <a:defRPr>
                <a:solidFill>
                  <a:schemeClr val="bg1"/>
                </a:solidFill>
              </a:defRPr>
            </a:lvl1pPr>
          </a:lstStyle>
          <a:p>
            <a:r>
              <a:rPr lang="en-US"/>
              <a:t>
              </a:t>
            </a:r>
          </a:p>
        </p:txBody>
      </p:sp>
      <p:sp>
        <p:nvSpPr>
          <p:cNvPr id="5" name="Pladsholder til diasnummer 4"/>
          <p:cNvSpPr>
            <a:spLocks noGrp="1"/>
          </p:cNvSpPr>
          <p:nvPr>
            <p:ph type="sldNum" sz="quarter" idx="12"/>
          </p:nvPr>
        </p:nvSpPr>
        <p:spPr/>
        <p:txBody>
          <a:bodyPr/>
          <a:lstStyle>
            <a:lvl1pPr>
              <a:defRPr>
                <a:solidFill>
                  <a:schemeClr val="bg1"/>
                </a:solidFill>
              </a:defRPr>
            </a:lvl1pPr>
          </a:lstStyle>
          <a:p>
            <a:fld id="{5D63841E-FDE4-4F95-B5AA-F5EB88A7EDBE}" type="slidenum">
              <a:rPr lang="en-US" dirty="0"/>
              <a:pPr/>
              <a:t>‹nr.›</a:t>
            </a:fld>
            <a:endParaRPr lang="en-US"/>
          </a:p>
        </p:txBody>
      </p:sp>
      <p:sp>
        <p:nvSpPr>
          <p:cNvPr id="6" name="Pladsholder til tekst 5"/>
          <p:cNvSpPr>
            <a:spLocks noGrp="1"/>
          </p:cNvSpPr>
          <p:nvPr>
            <p:ph type="body" sz="quarter" idx="17"/>
          </p:nvPr>
        </p:nvSpPr>
        <p:spPr>
          <a:xfrm>
            <a:off x="4716016" y="351000"/>
            <a:ext cx="3914720" cy="3942000"/>
          </a:xfrm>
          <a:solidFill>
            <a:schemeClr val="bg1">
              <a:alpha val="70000"/>
            </a:schemeClr>
          </a:solidFill>
        </p:spPr>
        <p:txBody>
          <a:bodyPr lIns="324000" tIns="270000" rIns="324000" bIns="270000"/>
          <a:lstStyle>
            <a:lvl1pPr>
              <a:defRPr sz="1350"/>
            </a:lvl1pPr>
            <a:lvl2pPr>
              <a:defRPr>
                <a:solidFill>
                  <a:schemeClr val="tx1"/>
                </a:solidFill>
              </a:defRPr>
            </a:lvl2pPr>
            <a:lvl3pPr>
              <a:defRPr sz="1350"/>
            </a:lvl3pPr>
            <a:lvl4pPr>
              <a:defRPr sz="1350"/>
            </a:lvl4pPr>
            <a:lvl5pPr>
              <a:defRPr sz="135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52" name="Pladsholder til tekst 8"/>
          <p:cNvSpPr>
            <a:spLocks noGrp="1"/>
          </p:cNvSpPr>
          <p:nvPr>
            <p:ph type="body" sz="quarter" idx="16" hasCustomPrompt="1"/>
          </p:nvPr>
        </p:nvSpPr>
        <p:spPr>
          <a:xfrm>
            <a:off x="7632900" y="4549500"/>
            <a:ext cx="1128600" cy="353700"/>
          </a:xfrm>
          <a:blipFill>
            <a:blip r:embed="rId2"/>
            <a:stretch>
              <a:fillRect/>
            </a:stretch>
          </a:blipFill>
        </p:spPr>
        <p:txBody>
          <a:bodyPr/>
          <a:lstStyle>
            <a:lvl1pPr>
              <a:defRPr baseline="0"/>
            </a:lvl1pPr>
          </a:lstStyle>
          <a:p>
            <a:pPr lvl="0"/>
            <a:r>
              <a:rPr lang="en-US"/>
              <a:t>
              </a:t>
            </a:r>
          </a:p>
        </p:txBody>
      </p:sp>
    </p:spTree>
    <p:extLst>
      <p:ext uri="{BB962C8B-B14F-4D97-AF65-F5344CB8AC3E}">
        <p14:creationId xmlns:p14="http://schemas.microsoft.com/office/powerpoint/2010/main" val="630684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el og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nSpc>
                <a:spcPts val="2025"/>
              </a:lnSpc>
              <a:defRPr/>
            </a:lvl1pPr>
          </a:lstStyle>
          <a:p>
            <a:r>
              <a:rPr lang="da-DK"/>
              <a:t>Klik for at redigere titeltypografien i masteren</a:t>
            </a:r>
            <a:endParaRPr lang="en-US"/>
          </a:p>
        </p:txBody>
      </p:sp>
      <p:sp>
        <p:nvSpPr>
          <p:cNvPr id="3" name="Pladsholder til indhold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Pladsholder til dato 3"/>
          <p:cNvSpPr>
            <a:spLocks noGrp="1"/>
          </p:cNvSpPr>
          <p:nvPr>
            <p:ph type="dt" sz="half" idx="10"/>
          </p:nvPr>
        </p:nvSpPr>
        <p:spPr/>
        <p:txBody>
          <a:bodyPr/>
          <a:lstStyle/>
          <a:p>
            <a:fld id="{DCB48DAC-5E6C-4D88-859D-93A0747E8277}" type="datetimeFigureOut">
              <a:rPr lang="en-US" dirty="0"/>
              <a:t>12/11/2025</a:t>
            </a:fld>
            <a:endParaRPr lang="en-US"/>
          </a:p>
        </p:txBody>
      </p:sp>
      <p:sp>
        <p:nvSpPr>
          <p:cNvPr id="5" name="Pladsholder til sidefod 4"/>
          <p:cNvSpPr>
            <a:spLocks noGrp="1"/>
          </p:cNvSpPr>
          <p:nvPr>
            <p:ph type="ftr" sz="quarter" idx="11"/>
          </p:nvPr>
        </p:nvSpPr>
        <p:spPr/>
        <p:txBody>
          <a:bodyPr/>
          <a:lstStyle/>
          <a:p>
            <a:r>
              <a:rPr lang="en-US"/>
              <a:t>
              </a:t>
            </a:r>
          </a:p>
        </p:txBody>
      </p:sp>
      <p:sp>
        <p:nvSpPr>
          <p:cNvPr id="6" name="Pladsholder til diasnummer 5"/>
          <p:cNvSpPr>
            <a:spLocks noGrp="1"/>
          </p:cNvSpPr>
          <p:nvPr>
            <p:ph type="sldNum" sz="quarter" idx="12"/>
          </p:nvPr>
        </p:nvSpPr>
        <p:spPr/>
        <p:txBody>
          <a:bodyPr/>
          <a:lstStyle/>
          <a:p>
            <a:fld id="{5D63841E-FDE4-4F95-B5AA-F5EB88A7EDBE}" type="slidenum">
              <a:rPr lang="en-US" dirty="0"/>
              <a:t>‹nr.›</a:t>
            </a:fld>
            <a:endParaRPr lang="en-US"/>
          </a:p>
        </p:txBody>
      </p:sp>
    </p:spTree>
    <p:extLst>
      <p:ext uri="{BB962C8B-B14F-4D97-AF65-F5344CB8AC3E}">
        <p14:creationId xmlns:p14="http://schemas.microsoft.com/office/powerpoint/2010/main" val="15215911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0194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Overskrift +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002998-56E0-B41C-4611-6E392593EFA3}"/>
              </a:ext>
            </a:extLst>
          </p:cNvPr>
          <p:cNvSpPr>
            <a:spLocks noGrp="1"/>
          </p:cNvSpPr>
          <p:nvPr>
            <p:ph type="title"/>
          </p:nvPr>
        </p:nvSpPr>
        <p:spPr/>
        <p:txBody>
          <a:bodyPr/>
          <a:lstStyle/>
          <a:p>
            <a:r>
              <a:rPr lang="da-DK"/>
              <a:t>Klik for at redigere titeltypografien i masteren</a:t>
            </a:r>
            <a:endParaRPr lang="en-GB"/>
          </a:p>
        </p:txBody>
      </p:sp>
      <p:sp>
        <p:nvSpPr>
          <p:cNvPr id="4" name="Pladsholder til tekst 3">
            <a:extLst>
              <a:ext uri="{FF2B5EF4-FFF2-40B4-BE49-F238E27FC236}">
                <a16:creationId xmlns:a16="http://schemas.microsoft.com/office/drawing/2014/main" id="{E4635518-A0E4-AE02-8A01-B963156D663C}"/>
              </a:ext>
            </a:extLst>
          </p:cNvPr>
          <p:cNvSpPr>
            <a:spLocks noGrp="1"/>
          </p:cNvSpPr>
          <p:nvPr>
            <p:ph type="body" sz="quarter" idx="10"/>
          </p:nvPr>
        </p:nvSpPr>
        <p:spPr>
          <a:xfrm>
            <a:off x="468313" y="1419225"/>
            <a:ext cx="8207376" cy="3168650"/>
          </a:xfrm>
        </p:spPr>
        <p:txBody>
          <a:bodyPr/>
          <a:lstStyle/>
          <a:p>
            <a:pPr lvl="0"/>
            <a:r>
              <a:rPr lang="da-DK"/>
              <a:t>Klik for at redigere teksttypografierne i masteren</a:t>
            </a:r>
          </a:p>
          <a:p>
            <a:pPr lvl="1"/>
            <a:r>
              <a:rPr lang="da-DK"/>
              <a:t>Andet niveau</a:t>
            </a:r>
          </a:p>
          <a:p>
            <a:pPr lvl="2"/>
            <a:r>
              <a:rPr lang="da-DK"/>
              <a:t>Tredje niveau</a:t>
            </a:r>
          </a:p>
        </p:txBody>
      </p:sp>
      <p:sp>
        <p:nvSpPr>
          <p:cNvPr id="6" name="Pladsholder til tekst 5">
            <a:extLst>
              <a:ext uri="{FF2B5EF4-FFF2-40B4-BE49-F238E27FC236}">
                <a16:creationId xmlns:a16="http://schemas.microsoft.com/office/drawing/2014/main" id="{0E6AF5B2-3A69-1F49-DA1A-FED935DE13C4}"/>
              </a:ext>
            </a:extLst>
          </p:cNvPr>
          <p:cNvSpPr>
            <a:spLocks noGrp="1"/>
          </p:cNvSpPr>
          <p:nvPr>
            <p:ph type="body" sz="quarter" idx="11"/>
          </p:nvPr>
        </p:nvSpPr>
        <p:spPr>
          <a:xfrm>
            <a:off x="468313" y="339998"/>
            <a:ext cx="4103687" cy="144190"/>
          </a:xfrm>
        </p:spPr>
        <p:txBody>
          <a:bodyPr lIns="14400" rIns="0"/>
          <a:lstStyle>
            <a:lvl1pPr marL="0" indent="0">
              <a:buFont typeface="Arial" panose="020B0604020202020204" pitchFamily="34" charset="0"/>
              <a:buNone/>
              <a:defRPr sz="1000" b="0" i="0" cap="all" baseline="0">
                <a:solidFill>
                  <a:srgbClr val="878787"/>
                </a:solidFill>
                <a:latin typeface="Neue Haas Grotesk Text Pro" panose="020B0504020202020204" pitchFamily="34" charset="77"/>
              </a:defRPr>
            </a:lvl1pPr>
            <a:lvl2pPr marL="72000" indent="0">
              <a:buNone/>
              <a:defRPr sz="1000">
                <a:latin typeface="Helvetica" pitchFamily="2" charset="0"/>
              </a:defRPr>
            </a:lvl2pPr>
            <a:lvl3pPr marL="252000" indent="0">
              <a:buNone/>
              <a:defRPr sz="1000">
                <a:latin typeface="Helvetica" pitchFamily="2" charset="0"/>
              </a:defRPr>
            </a:lvl3pPr>
            <a:lvl4pPr marL="378000" indent="0">
              <a:buFont typeface="Arial" panose="020B0604020202020204" pitchFamily="34" charset="0"/>
              <a:buNone/>
              <a:defRPr sz="1000">
                <a:latin typeface="Helvetica" pitchFamily="2" charset="0"/>
              </a:defRPr>
            </a:lvl4pPr>
            <a:lvl5pPr marL="252000" indent="0">
              <a:buNone/>
              <a:defRPr sz="1000">
                <a:latin typeface="Helvetica" pitchFamily="2" charset="0"/>
              </a:defRPr>
            </a:lvl5pPr>
          </a:lstStyle>
          <a:p>
            <a:pPr lvl="0"/>
            <a:r>
              <a:rPr lang="da-DK"/>
              <a:t>Klik for at redigere teksttypografierne i masteren</a:t>
            </a:r>
          </a:p>
        </p:txBody>
      </p:sp>
    </p:spTree>
    <p:extLst>
      <p:ext uri="{BB962C8B-B14F-4D97-AF65-F5344CB8AC3E}">
        <p14:creationId xmlns:p14="http://schemas.microsoft.com/office/powerpoint/2010/main" val="29494112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Breakslide 1">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2CCE40-CB87-CF3D-3C78-4E5925E60970}"/>
              </a:ext>
            </a:extLst>
          </p:cNvPr>
          <p:cNvSpPr>
            <a:spLocks noGrp="1"/>
          </p:cNvSpPr>
          <p:nvPr>
            <p:ph type="title" hasCustomPrompt="1"/>
          </p:nvPr>
        </p:nvSpPr>
        <p:spPr>
          <a:xfrm>
            <a:off x="1512044" y="2175706"/>
            <a:ext cx="6119911" cy="792088"/>
          </a:xfrm>
        </p:spPr>
        <p:txBody>
          <a:bodyPr anchor="ctr"/>
          <a:lstStyle>
            <a:lvl1pPr algn="ctr">
              <a:defRPr sz="3200">
                <a:solidFill>
                  <a:schemeClr val="accent1"/>
                </a:solidFill>
              </a:defRPr>
            </a:lvl1pPr>
          </a:lstStyle>
          <a:p>
            <a:r>
              <a:rPr lang="da-DK"/>
              <a:t>Klik for at redigere titeltypografien </a:t>
            </a:r>
            <a:br>
              <a:rPr lang="da-DK"/>
            </a:br>
            <a:r>
              <a:rPr lang="da-DK"/>
              <a:t>i masteren</a:t>
            </a:r>
            <a:endParaRPr lang="en-GB"/>
          </a:p>
        </p:txBody>
      </p:sp>
      <p:sp>
        <p:nvSpPr>
          <p:cNvPr id="3" name="Pladsholder til tekst 6">
            <a:extLst>
              <a:ext uri="{FF2B5EF4-FFF2-40B4-BE49-F238E27FC236}">
                <a16:creationId xmlns:a16="http://schemas.microsoft.com/office/drawing/2014/main" id="{88E82764-40A9-FF34-977C-F956EE92FDAB}"/>
              </a:ext>
            </a:extLst>
          </p:cNvPr>
          <p:cNvSpPr>
            <a:spLocks noGrp="1"/>
          </p:cNvSpPr>
          <p:nvPr>
            <p:ph type="body" sz="quarter" idx="18"/>
          </p:nvPr>
        </p:nvSpPr>
        <p:spPr>
          <a:xfrm>
            <a:off x="186110" y="4728638"/>
            <a:ext cx="219600" cy="219600"/>
          </a:xfrm>
          <a:blipFill>
            <a:blip r:embed="rId2"/>
            <a:stretch>
              <a:fillRect/>
            </a:stretch>
          </a:blipFill>
        </p:spPr>
        <p:txBody>
          <a:bodyPr/>
          <a:lstStyle>
            <a:lvl1pPr marL="0" indent="0">
              <a:buNone/>
              <a:defRPr>
                <a:noFill/>
              </a:defRPr>
            </a:lvl1pPr>
          </a:lstStyle>
          <a:p>
            <a:pPr lvl="0"/>
            <a:r>
              <a:rPr lang="da-DK"/>
              <a:t>Klik for at redigere teksttypografierne i masteren</a:t>
            </a:r>
          </a:p>
        </p:txBody>
      </p:sp>
    </p:spTree>
    <p:extLst>
      <p:ext uri="{BB962C8B-B14F-4D97-AF65-F5344CB8AC3E}">
        <p14:creationId xmlns:p14="http://schemas.microsoft.com/office/powerpoint/2010/main" val="2018335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 2">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2CCE40-CB87-CF3D-3C78-4E5925E60970}"/>
              </a:ext>
            </a:extLst>
          </p:cNvPr>
          <p:cNvSpPr>
            <a:spLocks noGrp="1"/>
          </p:cNvSpPr>
          <p:nvPr>
            <p:ph type="title" hasCustomPrompt="1"/>
          </p:nvPr>
        </p:nvSpPr>
        <p:spPr>
          <a:xfrm>
            <a:off x="468313" y="1432426"/>
            <a:ext cx="6119911" cy="792088"/>
          </a:xfrm>
        </p:spPr>
        <p:txBody>
          <a:bodyPr anchor="b"/>
          <a:lstStyle>
            <a:lvl1pPr>
              <a:defRPr sz="3200">
                <a:solidFill>
                  <a:schemeClr val="bg2"/>
                </a:solidFill>
              </a:defRPr>
            </a:lvl1pPr>
          </a:lstStyle>
          <a:p>
            <a:r>
              <a:rPr lang="da-DK"/>
              <a:t>Klik for at redigere titeltypografien </a:t>
            </a:r>
            <a:br>
              <a:rPr lang="da-DK"/>
            </a:br>
            <a:r>
              <a:rPr lang="da-DK"/>
              <a:t>i masteren</a:t>
            </a:r>
            <a:endParaRPr lang="en-GB"/>
          </a:p>
        </p:txBody>
      </p:sp>
      <p:sp>
        <p:nvSpPr>
          <p:cNvPr id="6" name="Pladsholder til tekst 3">
            <a:extLst>
              <a:ext uri="{FF2B5EF4-FFF2-40B4-BE49-F238E27FC236}">
                <a16:creationId xmlns:a16="http://schemas.microsoft.com/office/drawing/2014/main" id="{5757799A-0EC8-8FFE-391A-C705EF55A04A}"/>
              </a:ext>
            </a:extLst>
          </p:cNvPr>
          <p:cNvSpPr>
            <a:spLocks noGrp="1"/>
          </p:cNvSpPr>
          <p:nvPr>
            <p:ph type="body" sz="quarter" idx="15"/>
          </p:nvPr>
        </p:nvSpPr>
        <p:spPr>
          <a:xfrm>
            <a:off x="468313" y="2386850"/>
            <a:ext cx="6119911" cy="1133807"/>
          </a:xfrm>
        </p:spPr>
        <p:txBody>
          <a:bodyPr rIns="0" anchor="t"/>
          <a:lstStyle>
            <a:lvl1pPr marL="0" indent="0" algn="l">
              <a:buNone/>
              <a:defRPr sz="1000" kern="0" baseline="0">
                <a:solidFill>
                  <a:schemeClr val="bg2"/>
                </a:solidFill>
              </a:defRPr>
            </a:lvl1pPr>
          </a:lstStyle>
          <a:p>
            <a:pPr lvl="0"/>
            <a:r>
              <a:rPr lang="da-DK"/>
              <a:t>Klik for at redigere teksttypografierne i masteren</a:t>
            </a:r>
          </a:p>
        </p:txBody>
      </p:sp>
      <p:sp>
        <p:nvSpPr>
          <p:cNvPr id="8" name="Pladsholder til tekst 6">
            <a:extLst>
              <a:ext uri="{FF2B5EF4-FFF2-40B4-BE49-F238E27FC236}">
                <a16:creationId xmlns:a16="http://schemas.microsoft.com/office/drawing/2014/main" id="{5E4B189C-EB9E-B29C-4996-6E838DA7927B}"/>
              </a:ext>
            </a:extLst>
          </p:cNvPr>
          <p:cNvSpPr>
            <a:spLocks noGrp="1"/>
          </p:cNvSpPr>
          <p:nvPr>
            <p:ph type="body" sz="quarter" idx="18"/>
          </p:nvPr>
        </p:nvSpPr>
        <p:spPr>
          <a:xfrm>
            <a:off x="186110" y="4728638"/>
            <a:ext cx="1321200" cy="219600"/>
          </a:xfrm>
          <a:blipFill>
            <a:blip r:embed="rId2">
              <a:lum bright="70000" contrast="-70000"/>
              <a:extLst>
                <a:ext uri="{BEBA8EAE-BF5A-486C-A8C5-ECC9F3942E4B}">
                  <a14:imgProps xmlns:a14="http://schemas.microsoft.com/office/drawing/2010/main">
                    <a14:imgLayer r:embed="rId3">
                      <a14:imgEffect>
                        <a14:saturation sat="0"/>
                      </a14:imgEffect>
                    </a14:imgLayer>
                  </a14:imgProps>
                </a:ext>
              </a:extLst>
            </a:blip>
            <a:stretch>
              <a:fillRect/>
            </a:stretch>
          </a:blipFill>
        </p:spPr>
        <p:txBody>
          <a:bodyPr/>
          <a:lstStyle>
            <a:lvl1pPr marL="0" indent="0">
              <a:buNone/>
              <a:defRPr>
                <a:noFill/>
              </a:defRPr>
            </a:lvl1pPr>
          </a:lstStyle>
          <a:p>
            <a:pPr lvl="0"/>
            <a:r>
              <a:rPr lang="da-DK"/>
              <a:t>Klik for at redigere teksttypografierne i masteren</a:t>
            </a:r>
          </a:p>
        </p:txBody>
      </p:sp>
      <p:pic>
        <p:nvPicPr>
          <p:cNvPr id="3" name="Grafik 2">
            <a:extLst>
              <a:ext uri="{FF2B5EF4-FFF2-40B4-BE49-F238E27FC236}">
                <a16:creationId xmlns:a16="http://schemas.microsoft.com/office/drawing/2014/main" id="{F5965AB0-015A-C66F-16C5-72EE8BC8D51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741757" y="431651"/>
            <a:ext cx="931391" cy="4284398"/>
          </a:xfrm>
          <a:prstGeom prst="rect">
            <a:avLst/>
          </a:prstGeom>
        </p:spPr>
      </p:pic>
    </p:spTree>
    <p:extLst>
      <p:ext uri="{BB962C8B-B14F-4D97-AF65-F5344CB8AC3E}">
        <p14:creationId xmlns:p14="http://schemas.microsoft.com/office/powerpoint/2010/main" val="350141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Laptop">
    <p:bg>
      <p:bgPr>
        <a:solidFill>
          <a:schemeClr val="bg2"/>
        </a:solidFill>
        <a:effectLst/>
      </p:bgPr>
    </p:bg>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35BA2296-979E-3FB0-09F8-0AD56B4FF9D6}"/>
              </a:ext>
            </a:extLst>
          </p:cNvPr>
          <p:cNvPicPr>
            <a:picLocks noChangeAspect="1"/>
          </p:cNvPicPr>
          <p:nvPr userDrawn="1"/>
        </p:nvPicPr>
        <p:blipFill rotWithShape="1">
          <a:blip r:embed="rId2"/>
          <a:srcRect l="8822" r="3939" b="5345"/>
          <a:stretch/>
        </p:blipFill>
        <p:spPr>
          <a:xfrm>
            <a:off x="2555776" y="788063"/>
            <a:ext cx="6408837" cy="4355437"/>
          </a:xfrm>
          <a:prstGeom prst="rect">
            <a:avLst/>
          </a:prstGeom>
        </p:spPr>
      </p:pic>
      <p:sp>
        <p:nvSpPr>
          <p:cNvPr id="6" name="Pladsholder til billede 5">
            <a:extLst>
              <a:ext uri="{FF2B5EF4-FFF2-40B4-BE49-F238E27FC236}">
                <a16:creationId xmlns:a16="http://schemas.microsoft.com/office/drawing/2014/main" id="{DD8828A6-E585-6B4F-A1C8-1DBE6955925F}"/>
              </a:ext>
            </a:extLst>
          </p:cNvPr>
          <p:cNvSpPr>
            <a:spLocks noGrp="1"/>
          </p:cNvSpPr>
          <p:nvPr>
            <p:ph type="pic" sz="quarter" idx="10"/>
          </p:nvPr>
        </p:nvSpPr>
        <p:spPr>
          <a:xfrm>
            <a:off x="3452326" y="931985"/>
            <a:ext cx="4744424" cy="3024319"/>
          </a:xfrm>
          <a:prstGeom prst="roundRect">
            <a:avLst>
              <a:gd name="adj" fmla="val 2571"/>
            </a:avLst>
          </a:prstGeom>
          <a:solidFill>
            <a:schemeClr val="bg2"/>
          </a:solidFill>
          <a:ln>
            <a:noFill/>
          </a:ln>
        </p:spPr>
        <p:txBody>
          <a:bodyPr>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3" name="Titel 2">
            <a:extLst>
              <a:ext uri="{FF2B5EF4-FFF2-40B4-BE49-F238E27FC236}">
                <a16:creationId xmlns:a16="http://schemas.microsoft.com/office/drawing/2014/main" id="{6CA1908E-B102-3A42-9341-8E6A8F89063B}"/>
              </a:ext>
            </a:extLst>
          </p:cNvPr>
          <p:cNvSpPr>
            <a:spLocks noGrp="1"/>
          </p:cNvSpPr>
          <p:nvPr>
            <p:ph type="title"/>
          </p:nvPr>
        </p:nvSpPr>
        <p:spPr>
          <a:xfrm>
            <a:off x="971600" y="2068092"/>
            <a:ext cx="2088232" cy="1152127"/>
          </a:xfrm>
        </p:spPr>
        <p:txBody>
          <a:bodyPr anchor="t"/>
          <a:lstStyle>
            <a:lvl1pPr algn="l">
              <a:defRPr sz="2400" baseline="0">
                <a:solidFill>
                  <a:schemeClr val="tx1"/>
                </a:solidFill>
                <a:latin typeface="Neue Haas Grotesk Text Pro" panose="020B0504020202020204" pitchFamily="34" charset="77"/>
              </a:defRPr>
            </a:lvl1pPr>
          </a:lstStyle>
          <a:p>
            <a:r>
              <a:rPr lang="da-DK"/>
              <a:t>Klik for at redigere titeltypografien i masteren</a:t>
            </a:r>
          </a:p>
        </p:txBody>
      </p:sp>
      <p:sp>
        <p:nvSpPr>
          <p:cNvPr id="4" name="Pladsholder til tekst 3">
            <a:extLst>
              <a:ext uri="{FF2B5EF4-FFF2-40B4-BE49-F238E27FC236}">
                <a16:creationId xmlns:a16="http://schemas.microsoft.com/office/drawing/2014/main" id="{C496093B-37A6-AD4C-9138-3E8BD436EBD5}"/>
              </a:ext>
            </a:extLst>
          </p:cNvPr>
          <p:cNvSpPr>
            <a:spLocks noGrp="1"/>
          </p:cNvSpPr>
          <p:nvPr>
            <p:ph type="body" sz="quarter" idx="15"/>
          </p:nvPr>
        </p:nvSpPr>
        <p:spPr>
          <a:xfrm>
            <a:off x="971600" y="1635646"/>
            <a:ext cx="2088232" cy="360437"/>
          </a:xfrm>
        </p:spPr>
        <p:txBody>
          <a:bodyPr rIns="0" anchor="b"/>
          <a:lstStyle>
            <a:lvl1pPr marL="0" indent="0" algn="l">
              <a:buNone/>
              <a:defRPr sz="1000" b="0" i="0" kern="0" cap="all" baseline="0">
                <a:solidFill>
                  <a:srgbClr val="878787"/>
                </a:solidFill>
                <a:latin typeface="Neue Haas Grotesk Text Pro" panose="020B0504020202020204" pitchFamily="34" charset="77"/>
              </a:defRPr>
            </a:lvl1pPr>
          </a:lstStyle>
          <a:p>
            <a:pPr lvl="0"/>
            <a:r>
              <a:rPr lang="da-DK"/>
              <a:t>Klik for at redigere teksttypografierne i masteren</a:t>
            </a:r>
          </a:p>
        </p:txBody>
      </p:sp>
      <p:sp>
        <p:nvSpPr>
          <p:cNvPr id="2" name="Pladsholder til tekst 6">
            <a:extLst>
              <a:ext uri="{FF2B5EF4-FFF2-40B4-BE49-F238E27FC236}">
                <a16:creationId xmlns:a16="http://schemas.microsoft.com/office/drawing/2014/main" id="{62788691-1556-FA1E-C496-6C79B160F7D5}"/>
              </a:ext>
            </a:extLst>
          </p:cNvPr>
          <p:cNvSpPr>
            <a:spLocks noGrp="1"/>
          </p:cNvSpPr>
          <p:nvPr>
            <p:ph type="body" sz="quarter" idx="18"/>
          </p:nvPr>
        </p:nvSpPr>
        <p:spPr>
          <a:xfrm>
            <a:off x="186110" y="4728638"/>
            <a:ext cx="219600" cy="219600"/>
          </a:xfrm>
          <a:blipFill>
            <a:blip r:embed="rId3"/>
            <a:stretch>
              <a:fillRect/>
            </a:stretch>
          </a:blipFill>
        </p:spPr>
        <p:txBody>
          <a:bodyPr/>
          <a:lstStyle>
            <a:lvl1pPr marL="0" indent="0">
              <a:buNone/>
              <a:defRPr>
                <a:noFill/>
                <a:latin typeface="Neue Haas Grotesk Text Pro" panose="020B0504020202020204" pitchFamily="34" charset="77"/>
              </a:defRPr>
            </a:lvl1pPr>
          </a:lstStyle>
          <a:p>
            <a:pPr lvl="0"/>
            <a:r>
              <a:rPr lang="da-DK"/>
              <a:t>Klik for at redigere teksttypografierne i masteren</a:t>
            </a:r>
          </a:p>
        </p:txBody>
      </p:sp>
    </p:spTree>
    <p:extLst>
      <p:ext uri="{BB962C8B-B14F-4D97-AF65-F5344CB8AC3E}">
        <p14:creationId xmlns:p14="http://schemas.microsoft.com/office/powerpoint/2010/main" val="22576254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2 tekstbokse til meget tekst">
    <p:bg>
      <p:bgPr>
        <a:solidFill>
          <a:srgbClr val="0C4D2F"/>
        </a:solidFill>
        <a:effectLst/>
      </p:bgPr>
    </p:bg>
    <p:spTree>
      <p:nvGrpSpPr>
        <p:cNvPr id="1" name=""/>
        <p:cNvGrpSpPr/>
        <p:nvPr/>
      </p:nvGrpSpPr>
      <p:grpSpPr>
        <a:xfrm>
          <a:off x="0" y="0"/>
          <a:ext cx="0" cy="0"/>
          <a:chOff x="0" y="0"/>
          <a:chExt cx="0" cy="0"/>
        </a:xfrm>
      </p:grpSpPr>
      <p:pic>
        <p:nvPicPr>
          <p:cNvPr id="6" name="Billede 5">
            <a:extLst>
              <a:ext uri="{FF2B5EF4-FFF2-40B4-BE49-F238E27FC236}">
                <a16:creationId xmlns:a16="http://schemas.microsoft.com/office/drawing/2014/main" id="{4B158799-4A98-BFA7-79AD-7A6A76E42DB5}"/>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36929" y="2034658"/>
            <a:ext cx="1920000" cy="1080000"/>
          </a:xfrm>
          <a:prstGeom prst="rect">
            <a:avLst/>
          </a:prstGeom>
        </p:spPr>
      </p:pic>
      <p:sp>
        <p:nvSpPr>
          <p:cNvPr id="13" name="Titel 1">
            <a:extLst>
              <a:ext uri="{FF2B5EF4-FFF2-40B4-BE49-F238E27FC236}">
                <a16:creationId xmlns:a16="http://schemas.microsoft.com/office/drawing/2014/main" id="{14ECC835-FB8B-DA76-28DB-3228EB6E76C9}"/>
              </a:ext>
            </a:extLst>
          </p:cNvPr>
          <p:cNvSpPr>
            <a:spLocks noGrp="1"/>
          </p:cNvSpPr>
          <p:nvPr>
            <p:ph type="title"/>
          </p:nvPr>
        </p:nvSpPr>
        <p:spPr>
          <a:xfrm>
            <a:off x="526257" y="681037"/>
            <a:ext cx="3513535" cy="751979"/>
          </a:xfrm>
        </p:spPr>
        <p:txBody>
          <a:bodyPr anchor="t"/>
          <a:lstStyle>
            <a:lvl1pPr>
              <a:defRPr>
                <a:solidFill>
                  <a:schemeClr val="bg1"/>
                </a:solidFill>
              </a:defRPr>
            </a:lvl1pPr>
          </a:lstStyle>
          <a:p>
            <a:r>
              <a:rPr lang="da-DK"/>
              <a:t>Klik for at redigere titeltypografien i masteren</a:t>
            </a:r>
          </a:p>
        </p:txBody>
      </p:sp>
      <p:sp>
        <p:nvSpPr>
          <p:cNvPr id="14" name="Pladsholder til tekst 14">
            <a:extLst>
              <a:ext uri="{FF2B5EF4-FFF2-40B4-BE49-F238E27FC236}">
                <a16:creationId xmlns:a16="http://schemas.microsoft.com/office/drawing/2014/main" id="{4976F0C9-D0AD-43C2-25F3-AAEECCD5C1F7}"/>
              </a:ext>
            </a:extLst>
          </p:cNvPr>
          <p:cNvSpPr>
            <a:spLocks noGrp="1"/>
          </p:cNvSpPr>
          <p:nvPr>
            <p:ph type="body" sz="quarter" idx="17"/>
          </p:nvPr>
        </p:nvSpPr>
        <p:spPr>
          <a:xfrm>
            <a:off x="526257" y="1849735"/>
            <a:ext cx="3513535" cy="271988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Klik for at redigere teksttypografierne i masteren</a:t>
            </a:r>
          </a:p>
          <a:p>
            <a:pPr lvl="1"/>
            <a:r>
              <a:rPr lang="da-DK"/>
              <a:t>Andet niveau</a:t>
            </a:r>
          </a:p>
          <a:p>
            <a:pPr lvl="2"/>
            <a:r>
              <a:rPr lang="da-DK"/>
              <a:t>Tredje niveau</a:t>
            </a:r>
          </a:p>
        </p:txBody>
      </p:sp>
      <p:sp>
        <p:nvSpPr>
          <p:cNvPr id="4" name="Pladsholder til slidenummer 3">
            <a:extLst>
              <a:ext uri="{FF2B5EF4-FFF2-40B4-BE49-F238E27FC236}">
                <a16:creationId xmlns:a16="http://schemas.microsoft.com/office/drawing/2014/main" id="{68495AFA-8452-AA94-2D6E-8C23496A73AE}"/>
              </a:ext>
            </a:extLst>
          </p:cNvPr>
          <p:cNvSpPr>
            <a:spLocks noGrp="1"/>
          </p:cNvSpPr>
          <p:nvPr>
            <p:ph type="sldNum" sz="quarter" idx="11"/>
          </p:nvPr>
        </p:nvSpPr>
        <p:spPr/>
        <p:txBody>
          <a:bodyPr/>
          <a:lstStyle>
            <a:lvl1pPr>
              <a:defRPr>
                <a:solidFill>
                  <a:schemeClr val="bg1"/>
                </a:solidFill>
              </a:defRPr>
            </a:lvl1pPr>
          </a:lstStyle>
          <a:p>
            <a:fld id="{021E1021-89F3-4E67-882D-FBA1129841CA}" type="slidenum">
              <a:rPr lang="da-DK" smtClean="0"/>
              <a:pPr/>
              <a:t>‹nr.›</a:t>
            </a:fld>
            <a:endParaRPr lang="da-DK"/>
          </a:p>
        </p:txBody>
      </p:sp>
      <p:sp>
        <p:nvSpPr>
          <p:cNvPr id="5" name="Rektangel 4">
            <a:extLst>
              <a:ext uri="{FF2B5EF4-FFF2-40B4-BE49-F238E27FC236}">
                <a16:creationId xmlns:a16="http://schemas.microsoft.com/office/drawing/2014/main" id="{195CAA4D-B575-38B9-BE6E-9FD1E7894887}"/>
              </a:ext>
              <a:ext uri="{C183D7F6-B498-43B3-948B-1728B52AA6E4}">
                <adec:decorative xmlns:adec="http://schemas.microsoft.com/office/drawing/2017/decorative" val="0"/>
              </a:ext>
            </a:extLst>
          </p:cNvPr>
          <p:cNvSpPr/>
          <p:nvPr userDrawn="1"/>
        </p:nvSpPr>
        <p:spPr>
          <a:xfrm>
            <a:off x="4571996" y="0"/>
            <a:ext cx="4572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pic>
        <p:nvPicPr>
          <p:cNvPr id="2" name="Grafik 1">
            <a:extLst>
              <a:ext uri="{FF2B5EF4-FFF2-40B4-BE49-F238E27FC236}">
                <a16:creationId xmlns:a16="http://schemas.microsoft.com/office/drawing/2014/main" id="{FAFF689B-B4D2-C4B4-6065-00A880E28BF2}"/>
              </a:ext>
              <a:ext uri="{C183D7F6-B498-43B3-948B-1728B52AA6E4}">
                <adec:decorative xmlns:adec="http://schemas.microsoft.com/office/drawing/2017/decorative" val="0"/>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198653" y="419113"/>
            <a:ext cx="423854" cy="253028"/>
          </a:xfrm>
          <a:prstGeom prst="rect">
            <a:avLst/>
          </a:prstGeom>
        </p:spPr>
      </p:pic>
      <p:sp>
        <p:nvSpPr>
          <p:cNvPr id="9" name="Pladsholder til tekst 7">
            <a:extLst>
              <a:ext uri="{FF2B5EF4-FFF2-40B4-BE49-F238E27FC236}">
                <a16:creationId xmlns:a16="http://schemas.microsoft.com/office/drawing/2014/main" id="{78B24E33-4F1C-17BC-3B98-0DB56B99395E}"/>
              </a:ext>
            </a:extLst>
          </p:cNvPr>
          <p:cNvSpPr>
            <a:spLocks noGrp="1"/>
          </p:cNvSpPr>
          <p:nvPr>
            <p:ph type="body" sz="quarter" idx="13"/>
          </p:nvPr>
        </p:nvSpPr>
        <p:spPr>
          <a:xfrm>
            <a:off x="5085160" y="961612"/>
            <a:ext cx="3530203" cy="3608007"/>
          </a:xfrm>
        </p:spPr>
        <p:txBody>
          <a:bodyPr/>
          <a:lstStyle/>
          <a:p>
            <a:pPr lvl="0"/>
            <a:r>
              <a:rPr lang="da-DK"/>
              <a:t>Klik for at redigere teksttypografierne i masteren</a:t>
            </a:r>
          </a:p>
          <a:p>
            <a:pPr lvl="1"/>
            <a:r>
              <a:rPr lang="da-DK"/>
              <a:t>Andet niveau</a:t>
            </a:r>
          </a:p>
          <a:p>
            <a:pPr lvl="2"/>
            <a:r>
              <a:rPr lang="da-DK"/>
              <a:t>Tredje niveau</a:t>
            </a:r>
          </a:p>
        </p:txBody>
      </p:sp>
      <p:sp>
        <p:nvSpPr>
          <p:cNvPr id="3" name="Pladsholder til sidefod 2">
            <a:extLst>
              <a:ext uri="{FF2B5EF4-FFF2-40B4-BE49-F238E27FC236}">
                <a16:creationId xmlns:a16="http://schemas.microsoft.com/office/drawing/2014/main" id="{4B21AB3F-DA89-98B8-AF4D-73BBBDD2EB24}"/>
              </a:ext>
            </a:extLst>
          </p:cNvPr>
          <p:cNvSpPr>
            <a:spLocks noGrp="1"/>
          </p:cNvSpPr>
          <p:nvPr>
            <p:ph type="ftr" sz="quarter" idx="10"/>
          </p:nvPr>
        </p:nvSpPr>
        <p:spPr/>
        <p:txBody>
          <a:bodyPr/>
          <a:lstStyle>
            <a:lvl1pPr>
              <a:defRPr>
                <a:solidFill>
                  <a:schemeClr val="tx2"/>
                </a:solidFill>
              </a:defRPr>
            </a:lvl1pPr>
          </a:lstStyle>
          <a:p>
            <a:r>
              <a:rPr lang="da-DK"/>
              <a:t>Skriv hvad præsentationen handler om</a:t>
            </a:r>
          </a:p>
        </p:txBody>
      </p:sp>
    </p:spTree>
    <p:extLst>
      <p:ext uri="{BB962C8B-B14F-4D97-AF65-F5344CB8AC3E}">
        <p14:creationId xmlns:p14="http://schemas.microsoft.com/office/powerpoint/2010/main" val="929431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Panoram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dirty="0"/>
          </a:p>
        </p:txBody>
      </p:sp>
      <p:sp>
        <p:nvSpPr>
          <p:cNvPr id="3" name="Pladsholder til dato 2"/>
          <p:cNvSpPr>
            <a:spLocks noGrp="1"/>
          </p:cNvSpPr>
          <p:nvPr>
            <p:ph type="dt" sz="half" idx="10"/>
          </p:nvPr>
        </p:nvSpPr>
        <p:spPr/>
        <p:txBody>
          <a:bodyPr/>
          <a:lstStyle/>
          <a:p>
            <a:fld id="{846A0179-0B7F-4AA7-BF6B-D85CB361598C}" type="datetimeFigureOut">
              <a:rPr lang="en-US" dirty="0"/>
              <a:t>12/11/2025</a:t>
            </a:fld>
            <a:endParaRPr lang="en-US" dirty="0"/>
          </a:p>
        </p:txBody>
      </p:sp>
      <p:sp>
        <p:nvSpPr>
          <p:cNvPr id="4" name="Pladsholder til sidefod 3"/>
          <p:cNvSpPr>
            <a:spLocks noGrp="1"/>
          </p:cNvSpPr>
          <p:nvPr>
            <p:ph type="ftr" sz="quarter" idx="11"/>
          </p:nvPr>
        </p:nvSpPr>
        <p:spPr/>
        <p:txBody>
          <a:bodyPr/>
          <a:lstStyle/>
          <a:p>
            <a:endParaRPr lang="en-US" dirty="0"/>
          </a:p>
        </p:txBody>
      </p:sp>
      <p:sp>
        <p:nvSpPr>
          <p:cNvPr id="5" name="Pladsholder til diasnummer 4"/>
          <p:cNvSpPr>
            <a:spLocks noGrp="1"/>
          </p:cNvSpPr>
          <p:nvPr>
            <p:ph type="sldNum" sz="quarter" idx="12"/>
          </p:nvPr>
        </p:nvSpPr>
        <p:spPr/>
        <p:txBody>
          <a:bodyPr/>
          <a:lstStyle/>
          <a:p>
            <a:fld id="{74E22A33-96DC-4C2E-AB13-0BE35979BFC0}" type="slidenum">
              <a:rPr lang="en-US" dirty="0"/>
              <a:t>‹nr.›</a:t>
            </a:fld>
            <a:endParaRPr lang="en-US" dirty="0"/>
          </a:p>
        </p:txBody>
      </p:sp>
      <p:sp>
        <p:nvSpPr>
          <p:cNvPr id="7" name="Pladsholder til billede 6" descr="[logo:BlackWhite]"/>
          <p:cNvSpPr>
            <a:spLocks noGrp="1" noChangeAspect="1"/>
          </p:cNvSpPr>
          <p:nvPr>
            <p:ph type="pic" sz="quarter" idx="13" hasCustomPrompt="1"/>
          </p:nvPr>
        </p:nvSpPr>
        <p:spPr>
          <a:xfrm>
            <a:off x="0" y="2922687"/>
            <a:ext cx="9144000" cy="2241352"/>
          </a:xfrm>
          <a:solidFill>
            <a:schemeClr val="bg1">
              <a:lumMod val="75000"/>
            </a:schemeClr>
          </a:solidFill>
          <a:ln>
            <a:noFill/>
          </a:ln>
        </p:spPr>
        <p:txBody>
          <a:bodyPr lIns="540000" tIns="0" rIns="6480000" anchor="t" anchorCtr="0"/>
          <a:lstStyle>
            <a:lvl1pPr>
              <a:defRPr sz="1200" baseline="0"/>
            </a:lvl1pPr>
          </a:lstStyle>
          <a:p>
            <a:endParaRPr lang="en-US" dirty="0"/>
          </a:p>
        </p:txBody>
      </p:sp>
      <p:sp>
        <p:nvSpPr>
          <p:cNvPr id="10" name="Pladsholder til tekst 9"/>
          <p:cNvSpPr>
            <a:spLocks noGrp="1"/>
          </p:cNvSpPr>
          <p:nvPr>
            <p:ph type="body" sz="quarter" idx="14"/>
          </p:nvPr>
        </p:nvSpPr>
        <p:spPr>
          <a:xfrm>
            <a:off x="469107" y="1187648"/>
            <a:ext cx="8170068" cy="1613657"/>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8" name="Pladsholder til tekst 8"/>
          <p:cNvSpPr>
            <a:spLocks noGrp="1"/>
          </p:cNvSpPr>
          <p:nvPr>
            <p:ph type="body" sz="quarter" idx="15" hasCustomPrompt="1"/>
          </p:nvPr>
        </p:nvSpPr>
        <p:spPr>
          <a:xfrm>
            <a:off x="7630200" y="4549500"/>
            <a:ext cx="1134000" cy="353700"/>
          </a:xfrm>
          <a:blipFill>
            <a:blip r:embed="rId2"/>
            <a:stretch>
              <a:fillRect/>
            </a:stretch>
          </a:blipFill>
        </p:spPr>
        <p:txBody>
          <a:bodyPr/>
          <a:lstStyle>
            <a:lvl1pPr>
              <a:defRPr baseline="0"/>
            </a:lvl1pPr>
          </a:lstStyle>
          <a:p>
            <a:pPr lvl="0"/>
            <a:r>
              <a:rPr lang="en-US" dirty="0"/>
              <a:t>
              </a:t>
            </a:r>
          </a:p>
        </p:txBody>
      </p:sp>
    </p:spTree>
    <p:extLst>
      <p:ext uri="{BB962C8B-B14F-4D97-AF65-F5344CB8AC3E}">
        <p14:creationId xmlns:p14="http://schemas.microsoft.com/office/powerpoint/2010/main" val="5604225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002998-56E0-B41C-4611-6E392593EFA3}"/>
              </a:ext>
            </a:extLst>
          </p:cNvPr>
          <p:cNvSpPr>
            <a:spLocks noGrp="1"/>
          </p:cNvSpPr>
          <p:nvPr>
            <p:ph type="title"/>
          </p:nvPr>
        </p:nvSpPr>
        <p:spPr/>
        <p:txBody>
          <a:bodyPr/>
          <a:lstStyle/>
          <a:p>
            <a:r>
              <a:rPr lang="da-DK"/>
              <a:t>Klik for at redigere titeltypografien i masteren</a:t>
            </a:r>
            <a:endParaRPr lang="en-GB" dirty="0"/>
          </a:p>
        </p:txBody>
      </p:sp>
      <p:sp>
        <p:nvSpPr>
          <p:cNvPr id="6" name="Pladsholder til tekst 5">
            <a:extLst>
              <a:ext uri="{FF2B5EF4-FFF2-40B4-BE49-F238E27FC236}">
                <a16:creationId xmlns:a16="http://schemas.microsoft.com/office/drawing/2014/main" id="{0E6AF5B2-3A69-1F49-DA1A-FED935DE13C4}"/>
              </a:ext>
            </a:extLst>
          </p:cNvPr>
          <p:cNvSpPr>
            <a:spLocks noGrp="1"/>
          </p:cNvSpPr>
          <p:nvPr>
            <p:ph type="body" sz="quarter" idx="11"/>
          </p:nvPr>
        </p:nvSpPr>
        <p:spPr>
          <a:xfrm>
            <a:off x="468313" y="339998"/>
            <a:ext cx="4103687" cy="144190"/>
          </a:xfrm>
        </p:spPr>
        <p:txBody>
          <a:bodyPr lIns="14400" rIns="0"/>
          <a:lstStyle>
            <a:lvl1pPr marL="0" indent="0">
              <a:buFont typeface="Arial" panose="020B0604020202020204" pitchFamily="34" charset="0"/>
              <a:buNone/>
              <a:defRPr sz="900" b="0" i="0" cap="all" baseline="0">
                <a:solidFill>
                  <a:srgbClr val="878787"/>
                </a:solidFill>
                <a:latin typeface="Neue Haas Grotesk Text Pro" panose="020B0504020202020204" pitchFamily="34" charset="77"/>
              </a:defRPr>
            </a:lvl1pPr>
            <a:lvl2pPr marL="72000" indent="0">
              <a:buNone/>
              <a:defRPr sz="1000">
                <a:latin typeface="Helvetica" pitchFamily="2" charset="0"/>
              </a:defRPr>
            </a:lvl2pPr>
            <a:lvl3pPr marL="252000" indent="0">
              <a:buNone/>
              <a:defRPr sz="1000">
                <a:latin typeface="Helvetica" pitchFamily="2" charset="0"/>
              </a:defRPr>
            </a:lvl3pPr>
            <a:lvl4pPr marL="378000" indent="0">
              <a:buFont typeface="Arial" panose="020B0604020202020204" pitchFamily="34" charset="0"/>
              <a:buNone/>
              <a:defRPr sz="1000">
                <a:latin typeface="Helvetica" pitchFamily="2" charset="0"/>
              </a:defRPr>
            </a:lvl4pPr>
            <a:lvl5pPr marL="252000" indent="0">
              <a:buNone/>
              <a:defRPr sz="1000">
                <a:latin typeface="Helvetica" pitchFamily="2" charset="0"/>
              </a:defRPr>
            </a:lvl5pPr>
          </a:lstStyle>
          <a:p>
            <a:pPr lvl="0"/>
            <a:r>
              <a:rPr lang="da-DK"/>
              <a:t>Klik for at redigere teksttypografierne i masteren</a:t>
            </a:r>
          </a:p>
        </p:txBody>
      </p:sp>
    </p:spTree>
    <p:extLst>
      <p:ext uri="{BB962C8B-B14F-4D97-AF65-F5344CB8AC3E}">
        <p14:creationId xmlns:p14="http://schemas.microsoft.com/office/powerpoint/2010/main" val="30487279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rger.dk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dirty="0"/>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pic>
        <p:nvPicPr>
          <p:cNvPr id="4" name="Picture 3" descr="A logo with a crown on it&#10;&#10;Description automatically generated">
            <a:extLst>
              <a:ext uri="{FF2B5EF4-FFF2-40B4-BE49-F238E27FC236}">
                <a16:creationId xmlns:a16="http://schemas.microsoft.com/office/drawing/2014/main" id="{F246919F-0D79-F358-57DD-7E1402D506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1783" y="209188"/>
            <a:ext cx="2137345" cy="305335"/>
          </a:xfrm>
          <a:prstGeom prst="rect">
            <a:avLst/>
          </a:prstGeom>
        </p:spPr>
      </p:pic>
      <p:sp>
        <p:nvSpPr>
          <p:cNvPr id="3" name="TextBox 1">
            <a:extLst>
              <a:ext uri="{FF2B5EF4-FFF2-40B4-BE49-F238E27FC236}">
                <a16:creationId xmlns:a16="http://schemas.microsoft.com/office/drawing/2014/main" id="{B7671AF2-8DC3-1888-3FA5-9F16ED28C3AA}"/>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til andet Subbrand: Klik på Layout-knappen i topbåndet, Klik på andet Subbrand Cover-layout.</a:t>
            </a:r>
          </a:p>
        </p:txBody>
      </p:sp>
    </p:spTree>
    <p:extLst>
      <p:ext uri="{BB962C8B-B14F-4D97-AF65-F5344CB8AC3E}">
        <p14:creationId xmlns:p14="http://schemas.microsoft.com/office/powerpoint/2010/main" val="1081456174"/>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rger.dk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dirty="0"/>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pic>
        <p:nvPicPr>
          <p:cNvPr id="3" name="Picture 2">
            <a:extLst>
              <a:ext uri="{FF2B5EF4-FFF2-40B4-BE49-F238E27FC236}">
                <a16:creationId xmlns:a16="http://schemas.microsoft.com/office/drawing/2014/main" id="{7C475E0B-718E-FF80-8B3F-26D7F9B56084}"/>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1784" y="209188"/>
            <a:ext cx="2137343" cy="305335"/>
          </a:xfrm>
          <a:prstGeom prst="rect">
            <a:avLst/>
          </a:prstGeom>
        </p:spPr>
      </p:pic>
      <p:sp>
        <p:nvSpPr>
          <p:cNvPr id="6" name="TextBox 1">
            <a:extLst>
              <a:ext uri="{FF2B5EF4-FFF2-40B4-BE49-F238E27FC236}">
                <a16:creationId xmlns:a16="http://schemas.microsoft.com/office/drawing/2014/main" id="{BE819E2E-33F7-432A-D4B6-935E690F38DB}"/>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til andet Subbrand: Klik på Layout-knappen i topbåndet, Klik på andet Subbrand Cover-layout.</a:t>
            </a:r>
          </a:p>
        </p:txBody>
      </p:sp>
    </p:spTree>
    <p:extLst>
      <p:ext uri="{BB962C8B-B14F-4D97-AF65-F5344CB8AC3E}">
        <p14:creationId xmlns:p14="http://schemas.microsoft.com/office/powerpoint/2010/main" val="652370643"/>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gital Post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dirty="0"/>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pic>
        <p:nvPicPr>
          <p:cNvPr id="7" name="Picture 6" descr="A logo with a crown on it&#10;&#10;Description automatically generated">
            <a:extLst>
              <a:ext uri="{FF2B5EF4-FFF2-40B4-BE49-F238E27FC236}">
                <a16:creationId xmlns:a16="http://schemas.microsoft.com/office/drawing/2014/main" id="{AB0B0ECC-5405-9BC0-47C7-E62422A4712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4813" y="207967"/>
            <a:ext cx="2150000" cy="307143"/>
          </a:xfrm>
          <a:prstGeom prst="rect">
            <a:avLst/>
          </a:prstGeom>
        </p:spPr>
      </p:pic>
      <p:sp>
        <p:nvSpPr>
          <p:cNvPr id="3" name="TextBox 1">
            <a:extLst>
              <a:ext uri="{FF2B5EF4-FFF2-40B4-BE49-F238E27FC236}">
                <a16:creationId xmlns:a16="http://schemas.microsoft.com/office/drawing/2014/main" id="{CE70F30D-8308-9BAA-20A0-76973E181BA5}"/>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til andet Subbrand: Klik på Layout-knappen i topbåndet, Klik på andet Subbrand Cover-layout.</a:t>
            </a:r>
          </a:p>
        </p:txBody>
      </p:sp>
    </p:spTree>
    <p:extLst>
      <p:ext uri="{BB962C8B-B14F-4D97-AF65-F5344CB8AC3E}">
        <p14:creationId xmlns:p14="http://schemas.microsoft.com/office/powerpoint/2010/main" val="1187153612"/>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gital Post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dirty="0"/>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pic>
        <p:nvPicPr>
          <p:cNvPr id="4" name="Picture 3">
            <a:extLst>
              <a:ext uri="{FF2B5EF4-FFF2-40B4-BE49-F238E27FC236}">
                <a16:creationId xmlns:a16="http://schemas.microsoft.com/office/drawing/2014/main" id="{B618DB2B-2262-BB0A-780A-B3B11740F76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4813" y="207967"/>
            <a:ext cx="2150000" cy="307142"/>
          </a:xfrm>
          <a:prstGeom prst="rect">
            <a:avLst/>
          </a:prstGeom>
        </p:spPr>
      </p:pic>
      <p:sp>
        <p:nvSpPr>
          <p:cNvPr id="3" name="TextBox 1">
            <a:extLst>
              <a:ext uri="{FF2B5EF4-FFF2-40B4-BE49-F238E27FC236}">
                <a16:creationId xmlns:a16="http://schemas.microsoft.com/office/drawing/2014/main" id="{6C5811E8-1E56-32D4-E71B-5544561DFE55}"/>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til andet Subbrand: Klik på Layout-knappen i topbåndet, Klik på andet Subbrand Cover-layout.</a:t>
            </a:r>
          </a:p>
        </p:txBody>
      </p:sp>
    </p:spTree>
    <p:extLst>
      <p:ext uri="{BB962C8B-B14F-4D97-AF65-F5344CB8AC3E}">
        <p14:creationId xmlns:p14="http://schemas.microsoft.com/office/powerpoint/2010/main" val="2944145656"/>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itID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dirty="0"/>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978683" y="387710"/>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pic>
        <p:nvPicPr>
          <p:cNvPr id="7" name="Picture 6" descr="A logo with a crown on it&#10;&#10;Description automatically generated">
            <a:extLst>
              <a:ext uri="{FF2B5EF4-FFF2-40B4-BE49-F238E27FC236}">
                <a16:creationId xmlns:a16="http://schemas.microsoft.com/office/drawing/2014/main" id="{FE83A7B7-DD0E-E9ED-7085-42258D60F70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5001" y="207900"/>
            <a:ext cx="2150000" cy="307143"/>
          </a:xfrm>
          <a:prstGeom prst="rect">
            <a:avLst/>
          </a:prstGeom>
        </p:spPr>
      </p:pic>
      <p:sp>
        <p:nvSpPr>
          <p:cNvPr id="3" name="TextBox 1">
            <a:extLst>
              <a:ext uri="{FF2B5EF4-FFF2-40B4-BE49-F238E27FC236}">
                <a16:creationId xmlns:a16="http://schemas.microsoft.com/office/drawing/2014/main" id="{2AE2A07C-1452-06D8-8BEA-29C24118E7D4}"/>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til andet Subbrand: Klik på Layout-knappen i topbåndet, Klik på andet Subbrand Cover-layout.</a:t>
            </a:r>
          </a:p>
        </p:txBody>
      </p:sp>
    </p:spTree>
    <p:extLst>
      <p:ext uri="{BB962C8B-B14F-4D97-AF65-F5344CB8AC3E}">
        <p14:creationId xmlns:p14="http://schemas.microsoft.com/office/powerpoint/2010/main" val="1993943103"/>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itID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dirty="0"/>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pic>
        <p:nvPicPr>
          <p:cNvPr id="3" name="Picture 2">
            <a:extLst>
              <a:ext uri="{FF2B5EF4-FFF2-40B4-BE49-F238E27FC236}">
                <a16:creationId xmlns:a16="http://schemas.microsoft.com/office/drawing/2014/main" id="{B6773088-F904-305E-B07C-C0C1AD136B1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5001" y="207901"/>
            <a:ext cx="2150000" cy="307142"/>
          </a:xfrm>
          <a:prstGeom prst="rect">
            <a:avLst/>
          </a:prstGeom>
        </p:spPr>
      </p:pic>
      <p:sp>
        <p:nvSpPr>
          <p:cNvPr id="4" name="TextBox 1">
            <a:extLst>
              <a:ext uri="{FF2B5EF4-FFF2-40B4-BE49-F238E27FC236}">
                <a16:creationId xmlns:a16="http://schemas.microsoft.com/office/drawing/2014/main" id="{BF3D9D61-36C1-389C-8BD5-77F014F2FFEC}"/>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til andet Subbrand: Klik på Layout-knappen i topbåndet, Klik på andet Subbrand Cover-layout.</a:t>
            </a:r>
          </a:p>
        </p:txBody>
      </p:sp>
    </p:spTree>
    <p:extLst>
      <p:ext uri="{BB962C8B-B14F-4D97-AF65-F5344CB8AC3E}">
        <p14:creationId xmlns:p14="http://schemas.microsoft.com/office/powerpoint/2010/main" val="2889826773"/>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orside 1">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2CCE40-CB87-CF3D-3C78-4E5925E60970}"/>
              </a:ext>
            </a:extLst>
          </p:cNvPr>
          <p:cNvSpPr>
            <a:spLocks noGrp="1"/>
          </p:cNvSpPr>
          <p:nvPr>
            <p:ph type="title" hasCustomPrompt="1"/>
          </p:nvPr>
        </p:nvSpPr>
        <p:spPr>
          <a:xfrm>
            <a:off x="4577724" y="1432426"/>
            <a:ext cx="4133844" cy="851292"/>
          </a:xfrm>
        </p:spPr>
        <p:txBody>
          <a:bodyPr/>
          <a:lstStyle/>
          <a:p>
            <a:r>
              <a:rPr lang="da-DK"/>
              <a:t>Klik for at redigere titeltypografien </a:t>
            </a:r>
            <a:br>
              <a:rPr lang="da-DK"/>
            </a:br>
            <a:r>
              <a:rPr lang="da-DK"/>
              <a:t>i masteren</a:t>
            </a:r>
            <a:endParaRPr lang="en-GB"/>
          </a:p>
        </p:txBody>
      </p:sp>
      <p:sp>
        <p:nvSpPr>
          <p:cNvPr id="5" name="Pladsholder til billede 4">
            <a:extLst>
              <a:ext uri="{FF2B5EF4-FFF2-40B4-BE49-F238E27FC236}">
                <a16:creationId xmlns:a16="http://schemas.microsoft.com/office/drawing/2014/main" id="{BA85E7DA-4203-7EC9-6E21-3D96E20746BA}"/>
              </a:ext>
            </a:extLst>
          </p:cNvPr>
          <p:cNvSpPr>
            <a:spLocks noGrp="1"/>
          </p:cNvSpPr>
          <p:nvPr>
            <p:ph type="pic" sz="quarter" idx="10"/>
          </p:nvPr>
        </p:nvSpPr>
        <p:spPr>
          <a:xfrm>
            <a:off x="0" y="1"/>
            <a:ext cx="4211638" cy="5143500"/>
          </a:xfrm>
        </p:spPr>
        <p:txBody>
          <a:bodyPr/>
          <a:lstStyle>
            <a:lvl1pPr marL="0" indent="0" algn="ctr">
              <a:buNone/>
              <a:defRPr sz="900" b="0" i="0">
                <a:latin typeface="Neue Haas Grotesk Text Pro" panose="020B0504020202020204" pitchFamily="34" charset="77"/>
              </a:defRPr>
            </a:lvl1pPr>
          </a:lstStyle>
          <a:p>
            <a:r>
              <a:rPr lang="da-DK"/>
              <a:t>Klik på ikonet for at tilføje et billede</a:t>
            </a:r>
            <a:endParaRPr lang="en-GB"/>
          </a:p>
        </p:txBody>
      </p:sp>
      <p:sp>
        <p:nvSpPr>
          <p:cNvPr id="6" name="Pladsholder til tekst 3">
            <a:extLst>
              <a:ext uri="{FF2B5EF4-FFF2-40B4-BE49-F238E27FC236}">
                <a16:creationId xmlns:a16="http://schemas.microsoft.com/office/drawing/2014/main" id="{5757799A-0EC8-8FFE-391A-C705EF55A04A}"/>
              </a:ext>
            </a:extLst>
          </p:cNvPr>
          <p:cNvSpPr>
            <a:spLocks noGrp="1"/>
          </p:cNvSpPr>
          <p:nvPr>
            <p:ph type="body" sz="quarter" idx="15"/>
          </p:nvPr>
        </p:nvSpPr>
        <p:spPr>
          <a:xfrm>
            <a:off x="4577724" y="2386850"/>
            <a:ext cx="4103688" cy="1133807"/>
          </a:xfrm>
        </p:spPr>
        <p:txBody>
          <a:bodyPr rIns="0" anchor="t"/>
          <a:lstStyle>
            <a:lvl1pPr marL="0" indent="0" algn="l">
              <a:buNone/>
              <a:defRPr sz="1100" kern="0" baseline="0">
                <a:solidFill>
                  <a:schemeClr val="tx1"/>
                </a:solidFill>
              </a:defRPr>
            </a:lvl1pPr>
          </a:lstStyle>
          <a:p>
            <a:pPr lvl="0"/>
            <a:r>
              <a:rPr lang="da-DK"/>
              <a:t>Klik for at redigere teksttypografierne i masteren</a:t>
            </a:r>
          </a:p>
        </p:txBody>
      </p:sp>
      <p:sp>
        <p:nvSpPr>
          <p:cNvPr id="8" name="Pladsholder til tekst 6">
            <a:extLst>
              <a:ext uri="{FF2B5EF4-FFF2-40B4-BE49-F238E27FC236}">
                <a16:creationId xmlns:a16="http://schemas.microsoft.com/office/drawing/2014/main" id="{5E4B189C-EB9E-B29C-4996-6E838DA7927B}"/>
              </a:ext>
            </a:extLst>
          </p:cNvPr>
          <p:cNvSpPr>
            <a:spLocks noGrp="1"/>
          </p:cNvSpPr>
          <p:nvPr>
            <p:ph type="body" sz="quarter" idx="18"/>
          </p:nvPr>
        </p:nvSpPr>
        <p:spPr>
          <a:xfrm>
            <a:off x="186110" y="4728638"/>
            <a:ext cx="1321200" cy="219600"/>
          </a:xfrm>
          <a:blipFill>
            <a:blip r:embed="rId2"/>
            <a:stretch>
              <a:fillRect/>
            </a:stretch>
          </a:blipFill>
        </p:spPr>
        <p:txBody>
          <a:bodyPr/>
          <a:lstStyle>
            <a:lvl1pPr marL="0" indent="0">
              <a:buNone/>
              <a:defRPr>
                <a:noFill/>
              </a:defRPr>
            </a:lvl1pPr>
          </a:lstStyle>
          <a:p>
            <a:pPr lvl="0"/>
            <a:r>
              <a:rPr lang="da-DK"/>
              <a:t>Klik for at redigere teksttypografierne i masteren</a:t>
            </a:r>
          </a:p>
        </p:txBody>
      </p:sp>
      <p:pic>
        <p:nvPicPr>
          <p:cNvPr id="4" name="Billede 3">
            <a:extLst>
              <a:ext uri="{FF2B5EF4-FFF2-40B4-BE49-F238E27FC236}">
                <a16:creationId xmlns:a16="http://schemas.microsoft.com/office/drawing/2014/main" id="{1DF2657B-0646-B25C-D39F-5EE3E2823314}"/>
              </a:ext>
            </a:extLst>
          </p:cNvPr>
          <p:cNvPicPr>
            <a:picLocks noChangeAspect="1"/>
          </p:cNvPicPr>
          <p:nvPr userDrawn="1"/>
        </p:nvPicPr>
        <p:blipFill>
          <a:blip r:embed="rId3"/>
          <a:stretch>
            <a:fillRect/>
          </a:stretch>
        </p:blipFill>
        <p:spPr>
          <a:xfrm>
            <a:off x="8748588" y="4732213"/>
            <a:ext cx="216025" cy="216025"/>
          </a:xfrm>
          <a:prstGeom prst="rect">
            <a:avLst/>
          </a:prstGeom>
        </p:spPr>
      </p:pic>
      <p:sp>
        <p:nvSpPr>
          <p:cNvPr id="3" name="Pladsholder til tekst 5">
            <a:extLst>
              <a:ext uri="{FF2B5EF4-FFF2-40B4-BE49-F238E27FC236}">
                <a16:creationId xmlns:a16="http://schemas.microsoft.com/office/drawing/2014/main" id="{18343D45-F3C0-F194-BF94-81A130D972C1}"/>
              </a:ext>
            </a:extLst>
          </p:cNvPr>
          <p:cNvSpPr>
            <a:spLocks noGrp="1"/>
          </p:cNvSpPr>
          <p:nvPr>
            <p:ph type="body" sz="quarter" idx="11"/>
          </p:nvPr>
        </p:nvSpPr>
        <p:spPr>
          <a:xfrm>
            <a:off x="4577725" y="1160278"/>
            <a:ext cx="4103687" cy="144190"/>
          </a:xfrm>
        </p:spPr>
        <p:txBody>
          <a:bodyPr lIns="14400" rIns="0"/>
          <a:lstStyle>
            <a:lvl1pPr marL="0" indent="0">
              <a:buFont typeface="Arial" panose="020B0604020202020204" pitchFamily="34" charset="0"/>
              <a:buNone/>
              <a:defRPr sz="1000" b="0" i="0" cap="all" baseline="0">
                <a:solidFill>
                  <a:schemeClr val="accent1"/>
                </a:solidFill>
                <a:latin typeface="Neue Haas Grotesk Text Pro" panose="020B0504020202020204" pitchFamily="34" charset="77"/>
              </a:defRPr>
            </a:lvl1pPr>
            <a:lvl2pPr marL="72000" indent="0">
              <a:buNone/>
              <a:defRPr sz="1000">
                <a:latin typeface="Helvetica" pitchFamily="2" charset="0"/>
              </a:defRPr>
            </a:lvl2pPr>
            <a:lvl3pPr marL="252000" indent="0">
              <a:buNone/>
              <a:defRPr sz="1000">
                <a:latin typeface="Helvetica" pitchFamily="2" charset="0"/>
              </a:defRPr>
            </a:lvl3pPr>
            <a:lvl4pPr marL="378000" indent="0">
              <a:buFont typeface="Arial" panose="020B0604020202020204" pitchFamily="34" charset="0"/>
              <a:buNone/>
              <a:defRPr sz="1000">
                <a:latin typeface="Helvetica" pitchFamily="2" charset="0"/>
              </a:defRPr>
            </a:lvl4pPr>
            <a:lvl5pPr marL="252000" indent="0">
              <a:buNone/>
              <a:defRPr sz="1000">
                <a:latin typeface="Helvetica" pitchFamily="2" charset="0"/>
              </a:defRPr>
            </a:lvl5pPr>
          </a:lstStyle>
          <a:p>
            <a:pPr lvl="0"/>
            <a:r>
              <a:rPr lang="da-DK"/>
              <a:t>Klik for at redigere teksttypografierne i masteren</a:t>
            </a:r>
          </a:p>
        </p:txBody>
      </p:sp>
    </p:spTree>
    <p:extLst>
      <p:ext uri="{BB962C8B-B14F-4D97-AF65-F5344CB8AC3E}">
        <p14:creationId xmlns:p14="http://schemas.microsoft.com/office/powerpoint/2010/main" val="16370055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itID Erhverv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dirty="0"/>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978683" y="387710"/>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pic>
        <p:nvPicPr>
          <p:cNvPr id="4" name="Picture 3" descr="A logo with a crown on it&#10;&#10;Description automatically generated">
            <a:extLst>
              <a:ext uri="{FF2B5EF4-FFF2-40B4-BE49-F238E27FC236}">
                <a16:creationId xmlns:a16="http://schemas.microsoft.com/office/drawing/2014/main" id="{AEC092CD-7A5A-A8E9-64F2-E9A960EA998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5001" y="207900"/>
            <a:ext cx="2150000" cy="307143"/>
          </a:xfrm>
          <a:prstGeom prst="rect">
            <a:avLst/>
          </a:prstGeom>
        </p:spPr>
      </p:pic>
      <p:sp>
        <p:nvSpPr>
          <p:cNvPr id="3" name="TextBox 1">
            <a:extLst>
              <a:ext uri="{FF2B5EF4-FFF2-40B4-BE49-F238E27FC236}">
                <a16:creationId xmlns:a16="http://schemas.microsoft.com/office/drawing/2014/main" id="{1448603D-0338-C172-50C3-37A4F733BAA4}"/>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til andet Subbrand: Klik på Layout-knappen i topbåndet, Klik på andet Subbrand Cover-layout.</a:t>
            </a:r>
          </a:p>
        </p:txBody>
      </p:sp>
    </p:spTree>
    <p:extLst>
      <p:ext uri="{BB962C8B-B14F-4D97-AF65-F5344CB8AC3E}">
        <p14:creationId xmlns:p14="http://schemas.microsoft.com/office/powerpoint/2010/main" val="1246998080"/>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itID Erhverv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dirty="0"/>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pic>
        <p:nvPicPr>
          <p:cNvPr id="4" name="Picture 3">
            <a:extLst>
              <a:ext uri="{FF2B5EF4-FFF2-40B4-BE49-F238E27FC236}">
                <a16:creationId xmlns:a16="http://schemas.microsoft.com/office/drawing/2014/main" id="{F59C0FE2-C77D-F582-2D59-9DC1D8EBEC0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5001" y="207901"/>
            <a:ext cx="2150000" cy="307142"/>
          </a:xfrm>
          <a:prstGeom prst="rect">
            <a:avLst/>
          </a:prstGeom>
        </p:spPr>
      </p:pic>
      <p:sp>
        <p:nvSpPr>
          <p:cNvPr id="3" name="TextBox 1">
            <a:extLst>
              <a:ext uri="{FF2B5EF4-FFF2-40B4-BE49-F238E27FC236}">
                <a16:creationId xmlns:a16="http://schemas.microsoft.com/office/drawing/2014/main" id="{9A2FC0E8-C238-D09D-5D75-A3B457FBF307}"/>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til andet Subbrand: Klik på Layout-knappen i topbåndet, Klik på andet Subbrand Cover-layout.</a:t>
            </a:r>
          </a:p>
        </p:txBody>
      </p:sp>
    </p:spTree>
    <p:extLst>
      <p:ext uri="{BB962C8B-B14F-4D97-AF65-F5344CB8AC3E}">
        <p14:creationId xmlns:p14="http://schemas.microsoft.com/office/powerpoint/2010/main" val="866889503"/>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emkonto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dirty="0"/>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978683" y="387710"/>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pic>
        <p:nvPicPr>
          <p:cNvPr id="6" name="Picture 5" descr="A logo with a crown on it&#10;&#10;Description automatically generated">
            <a:extLst>
              <a:ext uri="{FF2B5EF4-FFF2-40B4-BE49-F238E27FC236}">
                <a16:creationId xmlns:a16="http://schemas.microsoft.com/office/drawing/2014/main" id="{3C0DD04C-FDC6-ECF8-36D2-1F0874E8C86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5000" y="207900"/>
            <a:ext cx="2150000" cy="307143"/>
          </a:xfrm>
          <a:prstGeom prst="rect">
            <a:avLst/>
          </a:prstGeom>
        </p:spPr>
      </p:pic>
      <p:sp>
        <p:nvSpPr>
          <p:cNvPr id="3" name="TextBox 1">
            <a:extLst>
              <a:ext uri="{FF2B5EF4-FFF2-40B4-BE49-F238E27FC236}">
                <a16:creationId xmlns:a16="http://schemas.microsoft.com/office/drawing/2014/main" id="{9091ED0A-7381-040A-27F5-7FE3C4E155CD}"/>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til andet Subbrand: Klik på Layout-knappen i topbåndet, Klik på andet Subbrand Cover-layout.</a:t>
            </a:r>
          </a:p>
        </p:txBody>
      </p:sp>
    </p:spTree>
    <p:extLst>
      <p:ext uri="{BB962C8B-B14F-4D97-AF65-F5344CB8AC3E}">
        <p14:creationId xmlns:p14="http://schemas.microsoft.com/office/powerpoint/2010/main" val="4293990961"/>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Nemkonto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dirty="0"/>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pic>
        <p:nvPicPr>
          <p:cNvPr id="3" name="Picture 2">
            <a:extLst>
              <a:ext uri="{FF2B5EF4-FFF2-40B4-BE49-F238E27FC236}">
                <a16:creationId xmlns:a16="http://schemas.microsoft.com/office/drawing/2014/main" id="{148FF818-ED63-1988-B443-DC23A878F6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5000" y="207901"/>
            <a:ext cx="2150000" cy="307142"/>
          </a:xfrm>
          <a:prstGeom prst="rect">
            <a:avLst/>
          </a:prstGeom>
        </p:spPr>
      </p:pic>
      <p:sp>
        <p:nvSpPr>
          <p:cNvPr id="4" name="TextBox 1">
            <a:extLst>
              <a:ext uri="{FF2B5EF4-FFF2-40B4-BE49-F238E27FC236}">
                <a16:creationId xmlns:a16="http://schemas.microsoft.com/office/drawing/2014/main" id="{889FC669-94C0-1C86-1DA1-A298AA8E396C}"/>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til andet Subbrand: Klik på Layout-knappen i topbåndet, Klik på andet Subbrand Cover-layout.</a:t>
            </a:r>
          </a:p>
        </p:txBody>
      </p:sp>
    </p:spTree>
    <p:extLst>
      <p:ext uri="{BB962C8B-B14F-4D97-AF65-F5344CB8AC3E}">
        <p14:creationId xmlns:p14="http://schemas.microsoft.com/office/powerpoint/2010/main" val="4197467812"/>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emLog-in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dirty="0"/>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pic>
        <p:nvPicPr>
          <p:cNvPr id="6" name="Picture 5" descr="A black background with purple text&#10;&#10;Description automatically generated">
            <a:extLst>
              <a:ext uri="{FF2B5EF4-FFF2-40B4-BE49-F238E27FC236}">
                <a16:creationId xmlns:a16="http://schemas.microsoft.com/office/drawing/2014/main" id="{E2E035C2-1559-7C0B-51B6-D2844FB8ABEF}"/>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b="5300"/>
          <a:stretch/>
        </p:blipFill>
        <p:spPr>
          <a:xfrm>
            <a:off x="405000" y="207900"/>
            <a:ext cx="2150000" cy="290864"/>
          </a:xfrm>
          <a:prstGeom prst="rect">
            <a:avLst/>
          </a:prstGeom>
        </p:spPr>
      </p:pic>
      <p:sp>
        <p:nvSpPr>
          <p:cNvPr id="3" name="TextBox 1">
            <a:extLst>
              <a:ext uri="{FF2B5EF4-FFF2-40B4-BE49-F238E27FC236}">
                <a16:creationId xmlns:a16="http://schemas.microsoft.com/office/drawing/2014/main" id="{56BFAB81-170D-8268-37A8-8C5036AEC405}"/>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til andet Subbrand: Klik på Layout-knappen i topbåndet, Klik på andet Subbrand Cover-layout.</a:t>
            </a:r>
          </a:p>
        </p:txBody>
      </p:sp>
    </p:spTree>
    <p:extLst>
      <p:ext uri="{BB962C8B-B14F-4D97-AF65-F5344CB8AC3E}">
        <p14:creationId xmlns:p14="http://schemas.microsoft.com/office/powerpoint/2010/main" val="1412341638"/>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NemLog-in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dirty="0"/>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pic>
        <p:nvPicPr>
          <p:cNvPr id="4" name="Picture 3">
            <a:extLst>
              <a:ext uri="{FF2B5EF4-FFF2-40B4-BE49-F238E27FC236}">
                <a16:creationId xmlns:a16="http://schemas.microsoft.com/office/drawing/2014/main" id="{C465B008-198D-4F8C-8187-8BB55A2A9865}"/>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5000" y="207901"/>
            <a:ext cx="2150000" cy="307142"/>
          </a:xfrm>
          <a:prstGeom prst="rect">
            <a:avLst/>
          </a:prstGeom>
        </p:spPr>
      </p:pic>
      <p:sp>
        <p:nvSpPr>
          <p:cNvPr id="3" name="TextBox 1">
            <a:extLst>
              <a:ext uri="{FF2B5EF4-FFF2-40B4-BE49-F238E27FC236}">
                <a16:creationId xmlns:a16="http://schemas.microsoft.com/office/drawing/2014/main" id="{B5068DCF-317C-6F8A-6998-D19705121BCE}"/>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til andet Subbrand: Klik på Layout-knappen i topbåndet, Klik på andet Subbrand Cover-layout.</a:t>
            </a:r>
          </a:p>
        </p:txBody>
      </p:sp>
    </p:spTree>
    <p:extLst>
      <p:ext uri="{BB962C8B-B14F-4D97-AF65-F5344CB8AC3E}">
        <p14:creationId xmlns:p14="http://schemas.microsoft.com/office/powerpoint/2010/main" val="3354392653"/>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ikkerdigital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solidFill>
                  <a:srgbClr val="212121"/>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rgbClr val="212121"/>
                </a:solidFill>
              </a:defRPr>
            </a:lvl1pPr>
          </a:lstStyle>
          <a:p>
            <a:fld id="{3BA7D959-9C7C-4506-A4A8-52313FF7B34F}" type="datetime2">
              <a:rPr lang="da-DK" smtClean="0"/>
              <a:pPr/>
              <a:t>11. december 2025</a:t>
            </a:fld>
            <a:endParaRPr lang="da-DK" dirty="0"/>
          </a:p>
        </p:txBody>
      </p:sp>
      <p:sp>
        <p:nvSpPr>
          <p:cNvPr id="1024" name="Makro grafik 1">
            <a:extLst>
              <a:ext uri="{FF2B5EF4-FFF2-40B4-BE49-F238E27FC236}">
                <a16:creationId xmlns:a16="http://schemas.microsoft.com/office/drawing/2014/main" id="{9D06B072-607D-7C7D-3384-03315622AD87}"/>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1030" name="Makro grafik 2">
            <a:extLst>
              <a:ext uri="{FF2B5EF4-FFF2-40B4-BE49-F238E27FC236}">
                <a16:creationId xmlns:a16="http://schemas.microsoft.com/office/drawing/2014/main" id="{BA0F4CFB-45B1-9961-39CF-F6A43AD8C785}"/>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pic>
        <p:nvPicPr>
          <p:cNvPr id="4" name="Picture 3" descr="A logo with a crown on it&#10;&#10;Description automatically generated">
            <a:extLst>
              <a:ext uri="{FF2B5EF4-FFF2-40B4-BE49-F238E27FC236}">
                <a16:creationId xmlns:a16="http://schemas.microsoft.com/office/drawing/2014/main" id="{A21B514E-3A5C-F020-F1CE-29A71CBECF1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5001" y="207900"/>
            <a:ext cx="2150000" cy="307143"/>
          </a:xfrm>
          <a:prstGeom prst="rect">
            <a:avLst/>
          </a:prstGeom>
        </p:spPr>
      </p:pic>
      <p:sp>
        <p:nvSpPr>
          <p:cNvPr id="3" name="TextBox 1">
            <a:extLst>
              <a:ext uri="{FF2B5EF4-FFF2-40B4-BE49-F238E27FC236}">
                <a16:creationId xmlns:a16="http://schemas.microsoft.com/office/drawing/2014/main" id="{A39681EE-1004-00C0-869F-BAE156E56FAA}"/>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til andet Subbrand: Klik på Layout-knappen i topbåndet, Klik på andet Subbrand Cover-layout.</a:t>
            </a:r>
          </a:p>
        </p:txBody>
      </p:sp>
    </p:spTree>
    <p:extLst>
      <p:ext uri="{BB962C8B-B14F-4D97-AF65-F5344CB8AC3E}">
        <p14:creationId xmlns:p14="http://schemas.microsoft.com/office/powerpoint/2010/main" val="3852561061"/>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ikkerdigital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dirty="0"/>
          </a:p>
        </p:txBody>
      </p:sp>
      <p:sp>
        <p:nvSpPr>
          <p:cNvPr id="19" name="Makro grafik 1">
            <a:extLst>
              <a:ext uri="{FF2B5EF4-FFF2-40B4-BE49-F238E27FC236}">
                <a16:creationId xmlns:a16="http://schemas.microsoft.com/office/drawing/2014/main" id="{B394BAAE-AE1F-029B-923F-0C1D44CD2249}"/>
              </a:ext>
            </a:extLst>
          </p:cNvPr>
          <p:cNvSpPr>
            <a:spLocks noGrp="1" noChangeAspect="1"/>
          </p:cNvSpPr>
          <p:nvPr>
            <p:ph type="body" sz="quarter" idx="22" hasCustomPrompt="1"/>
          </p:nvPr>
        </p:nvSpPr>
        <p:spPr>
          <a:xfrm>
            <a:off x="2827574" y="391015"/>
            <a:ext cx="1353707" cy="1779938"/>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20" name="Makro grafik 2">
            <a:extLst>
              <a:ext uri="{FF2B5EF4-FFF2-40B4-BE49-F238E27FC236}">
                <a16:creationId xmlns:a16="http://schemas.microsoft.com/office/drawing/2014/main" id="{88536A1C-972A-F710-1B45-B6313B3D4C9C}"/>
              </a:ext>
            </a:extLst>
          </p:cNvPr>
          <p:cNvSpPr>
            <a:spLocks noGrp="1" noChangeAspect="1"/>
          </p:cNvSpPr>
          <p:nvPr>
            <p:ph type="body" sz="quarter" idx="25" hasCustomPrompt="1"/>
          </p:nvPr>
        </p:nvSpPr>
        <p:spPr>
          <a:xfrm>
            <a:off x="7625339" y="3523023"/>
            <a:ext cx="1123209" cy="146046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pic>
        <p:nvPicPr>
          <p:cNvPr id="11" name="Picture 10">
            <a:extLst>
              <a:ext uri="{FF2B5EF4-FFF2-40B4-BE49-F238E27FC236}">
                <a16:creationId xmlns:a16="http://schemas.microsoft.com/office/drawing/2014/main" id="{2F5CF440-4268-2D3A-7B7C-350EFD4B940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405001" y="207901"/>
            <a:ext cx="2150000" cy="307142"/>
          </a:xfrm>
          <a:prstGeom prst="rect">
            <a:avLst/>
          </a:prstGeom>
        </p:spPr>
      </p:pic>
      <p:sp>
        <p:nvSpPr>
          <p:cNvPr id="3" name="TextBox 1">
            <a:extLst>
              <a:ext uri="{FF2B5EF4-FFF2-40B4-BE49-F238E27FC236}">
                <a16:creationId xmlns:a16="http://schemas.microsoft.com/office/drawing/2014/main" id="{40167067-95C6-EAA2-5269-633398F09F96}"/>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til andet Subbrand: Klik på Layout-knappen i topbåndet, Klik på andet Subbrand Cover-layout.</a:t>
            </a:r>
          </a:p>
        </p:txBody>
      </p:sp>
    </p:spTree>
    <p:extLst>
      <p:ext uri="{BB962C8B-B14F-4D97-AF65-F5344CB8AC3E}">
        <p14:creationId xmlns:p14="http://schemas.microsoft.com/office/powerpoint/2010/main" val="642742819"/>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CD22E9-9AE9-424B-A7A1-AFD0F990FCCC}"/>
              </a:ext>
            </a:extLst>
          </p:cNvPr>
          <p:cNvSpPr>
            <a:spLocks noGrp="1"/>
          </p:cNvSpPr>
          <p:nvPr>
            <p:ph type="title" hasCustomPrompt="1"/>
          </p:nvPr>
        </p:nvSpPr>
        <p:spPr>
          <a:xfrm>
            <a:off x="405000" y="675000"/>
            <a:ext cx="4099135" cy="621000"/>
          </a:xfrm>
        </p:spPr>
        <p:txBody>
          <a:bodyPr/>
          <a:lstStyle>
            <a:lvl1pPr>
              <a:defRPr/>
            </a:lvl1pPr>
          </a:lstStyle>
          <a:p>
            <a:r>
              <a:rPr lang="da-DK" dirty="0"/>
              <a:t>Klik for at tilføje agenda titel</a:t>
            </a:r>
          </a:p>
        </p:txBody>
      </p:sp>
      <p:sp>
        <p:nvSpPr>
          <p:cNvPr id="7" name="Text Placeholder 2"/>
          <p:cNvSpPr>
            <a:spLocks noGrp="1"/>
          </p:cNvSpPr>
          <p:nvPr>
            <p:ph type="body" sz="quarter" idx="13" hasCustomPrompt="1"/>
          </p:nvPr>
        </p:nvSpPr>
        <p:spPr>
          <a:xfrm>
            <a:off x="405000" y="1431000"/>
            <a:ext cx="4099135" cy="3172500"/>
          </a:xfrm>
        </p:spPr>
        <p:txBody>
          <a:bodyPr/>
          <a:lstStyle>
            <a:lvl1pPr marL="135000" indent="-135000">
              <a:spcAft>
                <a:spcPts val="900"/>
              </a:spcAft>
              <a:buFont typeface="Arial" panose="020B0604020202020204" pitchFamily="34" charset="0"/>
              <a:buChar char="•"/>
              <a:defRPr b="0">
                <a:latin typeface="+mn-lt"/>
              </a:defRPr>
            </a:lvl1pPr>
            <a:lvl2pPr marL="135000" indent="-135000">
              <a:spcBef>
                <a:spcPts val="0"/>
              </a:spcBef>
              <a:spcAft>
                <a:spcPts val="900"/>
              </a:spcAft>
              <a:buFont typeface="Arial" panose="020B0604020202020204" pitchFamily="34" charset="0"/>
              <a:buChar char="•"/>
              <a:defRPr sz="1200" b="0">
                <a:latin typeface="+mn-lt"/>
              </a:defRPr>
            </a:lvl2pPr>
            <a:lvl3pPr marL="135000" indent="-135000">
              <a:spcBef>
                <a:spcPts val="0"/>
              </a:spcBef>
              <a:spcAft>
                <a:spcPts val="900"/>
              </a:spcAft>
              <a:buFont typeface="Arial" panose="020B0604020202020204" pitchFamily="34" charset="0"/>
              <a:buChar char="•"/>
              <a:defRPr sz="1200" b="0">
                <a:latin typeface="+mn-lt"/>
              </a:defRPr>
            </a:lvl3pPr>
            <a:lvl4pPr marL="135000" indent="-135000">
              <a:spcBef>
                <a:spcPts val="0"/>
              </a:spcBef>
              <a:spcAft>
                <a:spcPts val="900"/>
              </a:spcAft>
              <a:buFont typeface="Arial" panose="020B0604020202020204" pitchFamily="34" charset="0"/>
              <a:buChar char="•"/>
              <a:defRPr sz="1200" b="0">
                <a:latin typeface="+mn-lt"/>
              </a:defRPr>
            </a:lvl4pPr>
            <a:lvl5pPr marL="135000" indent="-135000">
              <a:spcBef>
                <a:spcPts val="0"/>
              </a:spcBef>
              <a:spcAft>
                <a:spcPts val="900"/>
              </a:spcAft>
              <a:buFont typeface="Arial" panose="020B0604020202020204" pitchFamily="34" charset="0"/>
              <a:buChar char="•"/>
              <a:defRPr sz="1200" b="0">
                <a:latin typeface="+mn-lt"/>
              </a:defRPr>
            </a:lvl5pPr>
            <a:lvl6pPr marL="135000" indent="-135000">
              <a:spcBef>
                <a:spcPts val="0"/>
              </a:spcBef>
              <a:spcAft>
                <a:spcPts val="900"/>
              </a:spcAft>
              <a:buFont typeface="Arial" panose="020B0604020202020204" pitchFamily="34" charset="0"/>
              <a:buChar char="•"/>
              <a:defRPr sz="1200" b="0">
                <a:latin typeface="+mn-lt"/>
              </a:defRPr>
            </a:lvl6pPr>
            <a:lvl7pPr marL="135000" indent="-135000">
              <a:spcBef>
                <a:spcPts val="0"/>
              </a:spcBef>
              <a:spcAft>
                <a:spcPts val="900"/>
              </a:spcAft>
              <a:buFont typeface="Arial" panose="020B0604020202020204" pitchFamily="34" charset="0"/>
              <a:buChar char="•"/>
              <a:defRPr sz="1200" b="0">
                <a:latin typeface="+mn-lt"/>
              </a:defRPr>
            </a:lvl7pPr>
            <a:lvl8pPr marL="135000" indent="-135000">
              <a:spcBef>
                <a:spcPts val="0"/>
              </a:spcBef>
              <a:spcAft>
                <a:spcPts val="900"/>
              </a:spcAft>
              <a:buFont typeface="Arial" panose="020B0604020202020204" pitchFamily="34" charset="0"/>
              <a:buChar char="•"/>
              <a:defRPr sz="1200" b="0">
                <a:latin typeface="+mn-lt"/>
              </a:defRPr>
            </a:lvl8pPr>
            <a:lvl9pPr marL="135000" indent="-135000">
              <a:spcBef>
                <a:spcPts val="0"/>
              </a:spcBef>
              <a:spcAft>
                <a:spcPts val="900"/>
              </a:spcAft>
              <a:buFont typeface="Arial" panose="020B0604020202020204" pitchFamily="34" charset="0"/>
              <a:buChar char="•"/>
              <a:defRPr sz="1200" b="0">
                <a:latin typeface="+mn-lt"/>
              </a:defRPr>
            </a:lvl9pPr>
          </a:lstStyle>
          <a:p>
            <a:pPr lvl="0"/>
            <a:r>
              <a:rPr lang="da-DK" noProof="0" dirty="0"/>
              <a:t>Klik for at tilføje agendapunkt</a:t>
            </a:r>
          </a:p>
          <a:p>
            <a:pPr lvl="1"/>
            <a:r>
              <a:rPr lang="da-DK" noProof="0" dirty="0"/>
              <a:t>Anden Niveau</a:t>
            </a:r>
          </a:p>
          <a:p>
            <a:pPr lvl="2"/>
            <a:r>
              <a:rPr lang="da-DK" noProof="0" dirty="0"/>
              <a:t>Tredje Niveau</a:t>
            </a:r>
          </a:p>
          <a:p>
            <a:pPr lvl="3"/>
            <a:r>
              <a:rPr lang="da-DK" noProof="0" dirty="0"/>
              <a:t>Fjerde Niveau</a:t>
            </a:r>
          </a:p>
          <a:p>
            <a:pPr lvl="4"/>
            <a:r>
              <a:rPr lang="da-DK" noProof="0" dirty="0"/>
              <a:t>Femte Niveau</a:t>
            </a:r>
          </a:p>
          <a:p>
            <a:pPr lvl="5"/>
            <a:r>
              <a:rPr lang="da-DK" noProof="0" dirty="0"/>
              <a:t>6 Niveau</a:t>
            </a:r>
          </a:p>
          <a:p>
            <a:pPr lvl="6"/>
            <a:r>
              <a:rPr lang="da-DK" noProof="0" dirty="0"/>
              <a:t>7 Niveau</a:t>
            </a:r>
          </a:p>
          <a:p>
            <a:pPr lvl="7"/>
            <a:r>
              <a:rPr lang="da-DK" noProof="0" dirty="0"/>
              <a:t>8 Niveau</a:t>
            </a:r>
          </a:p>
          <a:p>
            <a:pPr lvl="8"/>
            <a:r>
              <a:rPr lang="da-DK" noProof="0" dirty="0"/>
              <a:t>9 Niveau</a:t>
            </a:r>
          </a:p>
        </p:txBody>
      </p:sp>
      <p:sp>
        <p:nvSpPr>
          <p:cNvPr id="16" name="Pladsholder til dato 15">
            <a:extLst>
              <a:ext uri="{FF2B5EF4-FFF2-40B4-BE49-F238E27FC236}">
                <a16:creationId xmlns:a16="http://schemas.microsoft.com/office/drawing/2014/main" id="{07B7D8D3-77D2-E785-81E3-AB119F5B3A7C}"/>
              </a:ext>
            </a:extLst>
          </p:cNvPr>
          <p:cNvSpPr>
            <a:spLocks noGrp="1"/>
          </p:cNvSpPr>
          <p:nvPr>
            <p:ph type="dt" sz="half" idx="19"/>
          </p:nvPr>
        </p:nvSpPr>
        <p:spPr/>
        <p:txBody>
          <a:bodyPr/>
          <a:lstStyle/>
          <a:p>
            <a:fld id="{61BEDC24-6319-4BBB-9782-63587D1632F0}" type="datetime2">
              <a:rPr lang="da-DK" smtClean="0"/>
              <a:t>11. december 2025</a:t>
            </a:fld>
            <a:endParaRPr lang="da-DK" dirty="0"/>
          </a:p>
        </p:txBody>
      </p:sp>
      <p:sp>
        <p:nvSpPr>
          <p:cNvPr id="17" name="Pladsholder til sidefod 16">
            <a:extLst>
              <a:ext uri="{FF2B5EF4-FFF2-40B4-BE49-F238E27FC236}">
                <a16:creationId xmlns:a16="http://schemas.microsoft.com/office/drawing/2014/main" id="{19E82096-1CE6-E092-C8ED-9A675CC7FFC6}"/>
              </a:ext>
            </a:extLst>
          </p:cNvPr>
          <p:cNvSpPr>
            <a:spLocks noGrp="1"/>
          </p:cNvSpPr>
          <p:nvPr>
            <p:ph type="ftr" sz="quarter" idx="20"/>
          </p:nvPr>
        </p:nvSpPr>
        <p:spPr/>
        <p:txBody>
          <a:bodyPr/>
          <a:lstStyle/>
          <a:p>
            <a:r>
              <a:rPr lang="da-DK" dirty="0"/>
              <a:t>Digitaliseringsstyrelsen</a:t>
            </a:r>
          </a:p>
        </p:txBody>
      </p:sp>
      <p:sp>
        <p:nvSpPr>
          <p:cNvPr id="18" name="Pladsholder til slidenummer 17">
            <a:extLst>
              <a:ext uri="{FF2B5EF4-FFF2-40B4-BE49-F238E27FC236}">
                <a16:creationId xmlns:a16="http://schemas.microsoft.com/office/drawing/2014/main" id="{385BC0ED-51CA-C2C1-3A79-5B97AB7EB508}"/>
              </a:ext>
            </a:extLst>
          </p:cNvPr>
          <p:cNvSpPr>
            <a:spLocks noGrp="1"/>
          </p:cNvSpPr>
          <p:nvPr>
            <p:ph type="sldNum" sz="quarter" idx="21"/>
          </p:nvPr>
        </p:nvSpPr>
        <p:spPr/>
        <p:txBody>
          <a:bodyPr/>
          <a:lstStyle/>
          <a:p>
            <a:fld id="{24C8C45C-947F-4981-8B3F-4F32E973C901}" type="slidenum">
              <a:rPr lang="da-DK" smtClean="0"/>
              <a:pPr/>
              <a:t>‹nr.›</a:t>
            </a:fld>
            <a:endParaRPr lang="da-DK" dirty="0"/>
          </a:p>
        </p:txBody>
      </p:sp>
      <p:sp>
        <p:nvSpPr>
          <p:cNvPr id="5" name="Mikro grafik 1">
            <a:extLst>
              <a:ext uri="{FF2B5EF4-FFF2-40B4-BE49-F238E27FC236}">
                <a16:creationId xmlns:a16="http://schemas.microsoft.com/office/drawing/2014/main" id="{B7391C28-918F-1989-0558-6E9FBDFF6FEF}"/>
              </a:ext>
            </a:extLst>
          </p:cNvPr>
          <p:cNvSpPr/>
          <p:nvPr userDrawn="1"/>
        </p:nvSpPr>
        <p:spPr>
          <a:xfrm>
            <a:off x="4816131" y="575232"/>
            <a:ext cx="4124069" cy="3344379"/>
          </a:xfrm>
          <a:custGeom>
            <a:avLst/>
            <a:gdLst>
              <a:gd name="connsiteX0" fmla="*/ 6423906 w 9114518"/>
              <a:gd name="connsiteY0" fmla="*/ 7111086 h 7391342"/>
              <a:gd name="connsiteX1" fmla="*/ 6633262 w 9114518"/>
              <a:gd name="connsiteY1" fmla="*/ 7111086 h 7391342"/>
              <a:gd name="connsiteX2" fmla="*/ 6633262 w 9114518"/>
              <a:gd name="connsiteY2" fmla="*/ 7286668 h 7391342"/>
              <a:gd name="connsiteX3" fmla="*/ 6423906 w 9114518"/>
              <a:gd name="connsiteY3" fmla="*/ 7286668 h 7391342"/>
              <a:gd name="connsiteX4" fmla="*/ 3371709 w 9114518"/>
              <a:gd name="connsiteY4" fmla="*/ 6959141 h 7391342"/>
              <a:gd name="connsiteX5" fmla="*/ 4286770 w 9114518"/>
              <a:gd name="connsiteY5" fmla="*/ 6959141 h 7391342"/>
              <a:gd name="connsiteX6" fmla="*/ 4286770 w 9114518"/>
              <a:gd name="connsiteY6" fmla="*/ 7067193 h 7391342"/>
              <a:gd name="connsiteX7" fmla="*/ 3371709 w 9114518"/>
              <a:gd name="connsiteY7" fmla="*/ 7067193 h 7391342"/>
              <a:gd name="connsiteX8" fmla="*/ 3371709 w 9114518"/>
              <a:gd name="connsiteY8" fmla="*/ 6606288 h 7391342"/>
              <a:gd name="connsiteX9" fmla="*/ 4286770 w 9114518"/>
              <a:gd name="connsiteY9" fmla="*/ 6606288 h 7391342"/>
              <a:gd name="connsiteX10" fmla="*/ 4286770 w 9114518"/>
              <a:gd name="connsiteY10" fmla="*/ 6714340 h 7391342"/>
              <a:gd name="connsiteX11" fmla="*/ 3371709 w 9114518"/>
              <a:gd name="connsiteY11" fmla="*/ 6714340 h 7391342"/>
              <a:gd name="connsiteX12" fmla="*/ 5418710 w 9114518"/>
              <a:gd name="connsiteY12" fmla="*/ 6084039 h 7391342"/>
              <a:gd name="connsiteX13" fmla="*/ 5796891 w 9114518"/>
              <a:gd name="connsiteY13" fmla="*/ 6084039 h 7391342"/>
              <a:gd name="connsiteX14" fmla="*/ 5796891 w 9114518"/>
              <a:gd name="connsiteY14" fmla="*/ 6180559 h 7391342"/>
              <a:gd name="connsiteX15" fmla="*/ 5796891 w 9114518"/>
              <a:gd name="connsiteY15" fmla="*/ 7291809 h 7391342"/>
              <a:gd name="connsiteX16" fmla="*/ 5796891 w 9114518"/>
              <a:gd name="connsiteY16" fmla="*/ 7388329 h 7391342"/>
              <a:gd name="connsiteX17" fmla="*/ 5418710 w 9114518"/>
              <a:gd name="connsiteY17" fmla="*/ 7388329 h 7391342"/>
              <a:gd name="connsiteX18" fmla="*/ 5418710 w 9114518"/>
              <a:gd name="connsiteY18" fmla="*/ 7291809 h 7391342"/>
              <a:gd name="connsiteX19" fmla="*/ 5680394 w 9114518"/>
              <a:gd name="connsiteY19" fmla="*/ 7291809 h 7391342"/>
              <a:gd name="connsiteX20" fmla="*/ 5680394 w 9114518"/>
              <a:gd name="connsiteY20" fmla="*/ 6180559 h 7391342"/>
              <a:gd name="connsiteX21" fmla="*/ 5418710 w 9114518"/>
              <a:gd name="connsiteY21" fmla="*/ 6180559 h 7391342"/>
              <a:gd name="connsiteX22" fmla="*/ 4939629 w 9114518"/>
              <a:gd name="connsiteY22" fmla="*/ 6084039 h 7391342"/>
              <a:gd name="connsiteX23" fmla="*/ 5317797 w 9114518"/>
              <a:gd name="connsiteY23" fmla="*/ 6084039 h 7391342"/>
              <a:gd name="connsiteX24" fmla="*/ 5317797 w 9114518"/>
              <a:gd name="connsiteY24" fmla="*/ 6180559 h 7391342"/>
              <a:gd name="connsiteX25" fmla="*/ 5056113 w 9114518"/>
              <a:gd name="connsiteY25" fmla="*/ 6180559 h 7391342"/>
              <a:gd name="connsiteX26" fmla="*/ 5056113 w 9114518"/>
              <a:gd name="connsiteY26" fmla="*/ 7291809 h 7391342"/>
              <a:gd name="connsiteX27" fmla="*/ 5317797 w 9114518"/>
              <a:gd name="connsiteY27" fmla="*/ 7291809 h 7391342"/>
              <a:gd name="connsiteX28" fmla="*/ 5317797 w 9114518"/>
              <a:gd name="connsiteY28" fmla="*/ 7388329 h 7391342"/>
              <a:gd name="connsiteX29" fmla="*/ 4939629 w 9114518"/>
              <a:gd name="connsiteY29" fmla="*/ 7388329 h 7391342"/>
              <a:gd name="connsiteX30" fmla="*/ 4939629 w 9114518"/>
              <a:gd name="connsiteY30" fmla="*/ 7291809 h 7391342"/>
              <a:gd name="connsiteX31" fmla="*/ 4939629 w 9114518"/>
              <a:gd name="connsiteY31" fmla="*/ 6180559 h 7391342"/>
              <a:gd name="connsiteX32" fmla="*/ 8646856 w 9114518"/>
              <a:gd name="connsiteY32" fmla="*/ 6077851 h 7391342"/>
              <a:gd name="connsiteX33" fmla="*/ 8698064 w 9114518"/>
              <a:gd name="connsiteY33" fmla="*/ 6079573 h 7391342"/>
              <a:gd name="connsiteX34" fmla="*/ 8745644 w 9114518"/>
              <a:gd name="connsiteY34" fmla="*/ 6084693 h 7391342"/>
              <a:gd name="connsiteX35" fmla="*/ 8789712 w 9114518"/>
              <a:gd name="connsiteY35" fmla="*/ 6093139 h 7391342"/>
              <a:gd name="connsiteX36" fmla="*/ 8830382 w 9114518"/>
              <a:gd name="connsiteY36" fmla="*/ 6104840 h 7391342"/>
              <a:gd name="connsiteX37" fmla="*/ 8867774 w 9114518"/>
              <a:gd name="connsiteY37" fmla="*/ 6119725 h 7391342"/>
              <a:gd name="connsiteX38" fmla="*/ 8902000 w 9114518"/>
              <a:gd name="connsiteY38" fmla="*/ 6137723 h 7391342"/>
              <a:gd name="connsiteX39" fmla="*/ 8961424 w 9114518"/>
              <a:gd name="connsiteY39" fmla="*/ 6182774 h 7391342"/>
              <a:gd name="connsiteX40" fmla="*/ 9009582 w 9114518"/>
              <a:gd name="connsiteY40" fmla="*/ 6239424 h 7391342"/>
              <a:gd name="connsiteX41" fmla="*/ 9029726 w 9114518"/>
              <a:gd name="connsiteY41" fmla="*/ 6271921 h 7391342"/>
              <a:gd name="connsiteX42" fmla="*/ 9047402 w 9114518"/>
              <a:gd name="connsiteY42" fmla="*/ 6307104 h 7391342"/>
              <a:gd name="connsiteX43" fmla="*/ 9062724 w 9114518"/>
              <a:gd name="connsiteY43" fmla="*/ 6344902 h 7391342"/>
              <a:gd name="connsiteX44" fmla="*/ 9075810 w 9114518"/>
              <a:gd name="connsiteY44" fmla="*/ 6385245 h 7391342"/>
              <a:gd name="connsiteX45" fmla="*/ 9086774 w 9114518"/>
              <a:gd name="connsiteY45" fmla="*/ 6428061 h 7391342"/>
              <a:gd name="connsiteX46" fmla="*/ 9095734 w 9114518"/>
              <a:gd name="connsiteY46" fmla="*/ 6473278 h 7391342"/>
              <a:gd name="connsiteX47" fmla="*/ 9102806 w 9114518"/>
              <a:gd name="connsiteY47" fmla="*/ 6520827 h 7391342"/>
              <a:gd name="connsiteX48" fmla="*/ 9108104 w 9114518"/>
              <a:gd name="connsiteY48" fmla="*/ 6570635 h 7391342"/>
              <a:gd name="connsiteX49" fmla="*/ 9111744 w 9114518"/>
              <a:gd name="connsiteY49" fmla="*/ 6622632 h 7391342"/>
              <a:gd name="connsiteX50" fmla="*/ 9113844 w 9114518"/>
              <a:gd name="connsiteY50" fmla="*/ 6676747 h 7391342"/>
              <a:gd name="connsiteX51" fmla="*/ 9114518 w 9114518"/>
              <a:gd name="connsiteY51" fmla="*/ 6732908 h 7391342"/>
              <a:gd name="connsiteX52" fmla="*/ 9113876 w 9114518"/>
              <a:gd name="connsiteY52" fmla="*/ 6789310 h 7391342"/>
              <a:gd name="connsiteX53" fmla="*/ 9111870 w 9114518"/>
              <a:gd name="connsiteY53" fmla="*/ 6843665 h 7391342"/>
              <a:gd name="connsiteX54" fmla="*/ 9108370 w 9114518"/>
              <a:gd name="connsiteY54" fmla="*/ 6895900 h 7391342"/>
              <a:gd name="connsiteX55" fmla="*/ 9103252 w 9114518"/>
              <a:gd name="connsiteY55" fmla="*/ 6945943 h 7391342"/>
              <a:gd name="connsiteX56" fmla="*/ 9096392 w 9114518"/>
              <a:gd name="connsiteY56" fmla="*/ 6993721 h 7391342"/>
              <a:gd name="connsiteX57" fmla="*/ 9087662 w 9114518"/>
              <a:gd name="connsiteY57" fmla="*/ 7039164 h 7391342"/>
              <a:gd name="connsiteX58" fmla="*/ 9076936 w 9114518"/>
              <a:gd name="connsiteY58" fmla="*/ 7082197 h 7391342"/>
              <a:gd name="connsiteX59" fmla="*/ 9064090 w 9114518"/>
              <a:gd name="connsiteY59" fmla="*/ 7122750 h 7391342"/>
              <a:gd name="connsiteX60" fmla="*/ 9048998 w 9114518"/>
              <a:gd name="connsiteY60" fmla="*/ 7160750 h 7391342"/>
              <a:gd name="connsiteX61" fmla="*/ 9031532 w 9114518"/>
              <a:gd name="connsiteY61" fmla="*/ 7196125 h 7391342"/>
              <a:gd name="connsiteX62" fmla="*/ 9011568 w 9114518"/>
              <a:gd name="connsiteY62" fmla="*/ 7228803 h 7391342"/>
              <a:gd name="connsiteX63" fmla="*/ 8963644 w 9114518"/>
              <a:gd name="connsiteY63" fmla="*/ 7285777 h 7391342"/>
              <a:gd name="connsiteX64" fmla="*/ 8904216 w 9114518"/>
              <a:gd name="connsiteY64" fmla="*/ 7331095 h 7391342"/>
              <a:gd name="connsiteX65" fmla="*/ 8869874 w 9114518"/>
              <a:gd name="connsiteY65" fmla="*/ 7349203 h 7391342"/>
              <a:gd name="connsiteX66" fmla="*/ 8832280 w 9114518"/>
              <a:gd name="connsiteY66" fmla="*/ 7364181 h 7391342"/>
              <a:gd name="connsiteX67" fmla="*/ 8791306 w 9114518"/>
              <a:gd name="connsiteY67" fmla="*/ 7375956 h 7391342"/>
              <a:gd name="connsiteX68" fmla="*/ 8746828 w 9114518"/>
              <a:gd name="connsiteY68" fmla="*/ 7384456 h 7391342"/>
              <a:gd name="connsiteX69" fmla="*/ 8698720 w 9114518"/>
              <a:gd name="connsiteY69" fmla="*/ 7389609 h 7391342"/>
              <a:gd name="connsiteX70" fmla="*/ 8646856 w 9114518"/>
              <a:gd name="connsiteY70" fmla="*/ 7391342 h 7391342"/>
              <a:gd name="connsiteX71" fmla="*/ 8646856 w 9114518"/>
              <a:gd name="connsiteY71" fmla="*/ 7293421 h 7391342"/>
              <a:gd name="connsiteX72" fmla="*/ 8697104 w 9114518"/>
              <a:gd name="connsiteY72" fmla="*/ 7291162 h 7391342"/>
              <a:gd name="connsiteX73" fmla="*/ 8742536 w 9114518"/>
              <a:gd name="connsiteY73" fmla="*/ 7284467 h 7391342"/>
              <a:gd name="connsiteX74" fmla="*/ 8783376 w 9114518"/>
              <a:gd name="connsiteY74" fmla="*/ 7273454 h 7391342"/>
              <a:gd name="connsiteX75" fmla="*/ 8819856 w 9114518"/>
              <a:gd name="connsiteY75" fmla="*/ 7258243 h 7391342"/>
              <a:gd name="connsiteX76" fmla="*/ 8880650 w 9114518"/>
              <a:gd name="connsiteY76" fmla="*/ 7215706 h 7391342"/>
              <a:gd name="connsiteX77" fmla="*/ 8926746 w 9114518"/>
              <a:gd name="connsiteY77" fmla="*/ 7157813 h 7391342"/>
              <a:gd name="connsiteX78" fmla="*/ 8944856 w 9114518"/>
              <a:gd name="connsiteY78" fmla="*/ 7123407 h 7391342"/>
              <a:gd name="connsiteX79" fmla="*/ 8959978 w 9114518"/>
              <a:gd name="connsiteY79" fmla="*/ 7085520 h 7391342"/>
              <a:gd name="connsiteX80" fmla="*/ 8972340 w 9114518"/>
              <a:gd name="connsiteY80" fmla="*/ 7044272 h 7391342"/>
              <a:gd name="connsiteX81" fmla="*/ 8982174 w 9114518"/>
              <a:gd name="connsiteY81" fmla="*/ 6999784 h 7391342"/>
              <a:gd name="connsiteX82" fmla="*/ 8989706 w 9114518"/>
              <a:gd name="connsiteY82" fmla="*/ 6952173 h 7391342"/>
              <a:gd name="connsiteX83" fmla="*/ 8995166 w 9114518"/>
              <a:gd name="connsiteY83" fmla="*/ 6901561 h 7391342"/>
              <a:gd name="connsiteX84" fmla="*/ 8998782 w 9114518"/>
              <a:gd name="connsiteY84" fmla="*/ 6848066 h 7391342"/>
              <a:gd name="connsiteX85" fmla="*/ 9000784 w 9114518"/>
              <a:gd name="connsiteY85" fmla="*/ 6791809 h 7391342"/>
              <a:gd name="connsiteX86" fmla="*/ 9001400 w 9114518"/>
              <a:gd name="connsiteY86" fmla="*/ 6732908 h 7391342"/>
              <a:gd name="connsiteX87" fmla="*/ 9000750 w 9114518"/>
              <a:gd name="connsiteY87" fmla="*/ 6674585 h 7391342"/>
              <a:gd name="connsiteX88" fmla="*/ 8998658 w 9114518"/>
              <a:gd name="connsiteY88" fmla="*/ 6618871 h 7391342"/>
              <a:gd name="connsiteX89" fmla="*/ 8994906 w 9114518"/>
              <a:gd name="connsiteY89" fmla="*/ 6565885 h 7391342"/>
              <a:gd name="connsiteX90" fmla="*/ 8989276 w 9114518"/>
              <a:gd name="connsiteY90" fmla="*/ 6515745 h 7391342"/>
              <a:gd name="connsiteX91" fmla="*/ 8981556 w 9114518"/>
              <a:gd name="connsiteY91" fmla="*/ 6468573 h 7391342"/>
              <a:gd name="connsiteX92" fmla="*/ 8971524 w 9114518"/>
              <a:gd name="connsiteY92" fmla="*/ 6424488 h 7391342"/>
              <a:gd name="connsiteX93" fmla="*/ 8958968 w 9114518"/>
              <a:gd name="connsiteY93" fmla="*/ 6383608 h 7391342"/>
              <a:gd name="connsiteX94" fmla="*/ 8943670 w 9114518"/>
              <a:gd name="connsiteY94" fmla="*/ 6346054 h 7391342"/>
              <a:gd name="connsiteX95" fmla="*/ 8925412 w 9114518"/>
              <a:gd name="connsiteY95" fmla="*/ 6311946 h 7391342"/>
              <a:gd name="connsiteX96" fmla="*/ 8879156 w 9114518"/>
              <a:gd name="connsiteY96" fmla="*/ 6254543 h 7391342"/>
              <a:gd name="connsiteX97" fmla="*/ 8818464 w 9114518"/>
              <a:gd name="connsiteY97" fmla="*/ 6212357 h 7391342"/>
              <a:gd name="connsiteX98" fmla="*/ 8782166 w 9114518"/>
              <a:gd name="connsiteY98" fmla="*/ 6197269 h 7391342"/>
              <a:gd name="connsiteX99" fmla="*/ 8741608 w 9114518"/>
              <a:gd name="connsiteY99" fmla="*/ 6186344 h 7391342"/>
              <a:gd name="connsiteX100" fmla="*/ 8696578 w 9114518"/>
              <a:gd name="connsiteY100" fmla="*/ 6179701 h 7391342"/>
              <a:gd name="connsiteX101" fmla="*/ 8646856 w 9114518"/>
              <a:gd name="connsiteY101" fmla="*/ 6177460 h 7391342"/>
              <a:gd name="connsiteX102" fmla="*/ 8553970 w 9114518"/>
              <a:gd name="connsiteY102" fmla="*/ 6077851 h 7391342"/>
              <a:gd name="connsiteX103" fmla="*/ 8553970 w 9114518"/>
              <a:gd name="connsiteY103" fmla="*/ 6177460 h 7391342"/>
              <a:gd name="connsiteX104" fmla="*/ 8504528 w 9114518"/>
              <a:gd name="connsiteY104" fmla="*/ 6179701 h 7391342"/>
              <a:gd name="connsiteX105" fmla="*/ 8459744 w 9114518"/>
              <a:gd name="connsiteY105" fmla="*/ 6186344 h 7391342"/>
              <a:gd name="connsiteX106" fmla="*/ 8419404 w 9114518"/>
              <a:gd name="connsiteY106" fmla="*/ 6197269 h 7391342"/>
              <a:gd name="connsiteX107" fmla="*/ 8383292 w 9114518"/>
              <a:gd name="connsiteY107" fmla="*/ 6212357 h 7391342"/>
              <a:gd name="connsiteX108" fmla="*/ 8322900 w 9114518"/>
              <a:gd name="connsiteY108" fmla="*/ 6254543 h 7391342"/>
              <a:gd name="connsiteX109" fmla="*/ 8276848 w 9114518"/>
              <a:gd name="connsiteY109" fmla="*/ 6311946 h 7391342"/>
              <a:gd name="connsiteX110" fmla="*/ 8258666 w 9114518"/>
              <a:gd name="connsiteY110" fmla="*/ 6346054 h 7391342"/>
              <a:gd name="connsiteX111" fmla="*/ 8243424 w 9114518"/>
              <a:gd name="connsiteY111" fmla="*/ 6383608 h 7391342"/>
              <a:gd name="connsiteX112" fmla="*/ 8230912 w 9114518"/>
              <a:gd name="connsiteY112" fmla="*/ 6424488 h 7391342"/>
              <a:gd name="connsiteX113" fmla="*/ 8220912 w 9114518"/>
              <a:gd name="connsiteY113" fmla="*/ 6468573 h 7391342"/>
              <a:gd name="connsiteX114" fmla="*/ 8213212 w 9114518"/>
              <a:gd name="connsiteY114" fmla="*/ 6515745 h 7391342"/>
              <a:gd name="connsiteX115" fmla="*/ 8207596 w 9114518"/>
              <a:gd name="connsiteY115" fmla="*/ 6565885 h 7391342"/>
              <a:gd name="connsiteX116" fmla="*/ 8203850 w 9114518"/>
              <a:gd name="connsiteY116" fmla="*/ 6618871 h 7391342"/>
              <a:gd name="connsiteX117" fmla="*/ 8201760 w 9114518"/>
              <a:gd name="connsiteY117" fmla="*/ 6674585 h 7391342"/>
              <a:gd name="connsiteX118" fmla="*/ 8201110 w 9114518"/>
              <a:gd name="connsiteY118" fmla="*/ 6732908 h 7391342"/>
              <a:gd name="connsiteX119" fmla="*/ 8201744 w 9114518"/>
              <a:gd name="connsiteY119" fmla="*/ 6791809 h 7391342"/>
              <a:gd name="connsiteX120" fmla="*/ 8203788 w 9114518"/>
              <a:gd name="connsiteY120" fmla="*/ 6848066 h 7391342"/>
              <a:gd name="connsiteX121" fmla="*/ 8207466 w 9114518"/>
              <a:gd name="connsiteY121" fmla="*/ 6901561 h 7391342"/>
              <a:gd name="connsiteX122" fmla="*/ 8212998 w 9114518"/>
              <a:gd name="connsiteY122" fmla="*/ 6952173 h 7391342"/>
              <a:gd name="connsiteX123" fmla="*/ 8220604 w 9114518"/>
              <a:gd name="connsiteY123" fmla="*/ 6999784 h 7391342"/>
              <a:gd name="connsiteX124" fmla="*/ 8230504 w 9114518"/>
              <a:gd name="connsiteY124" fmla="*/ 7044272 h 7391342"/>
              <a:gd name="connsiteX125" fmla="*/ 8242920 w 9114518"/>
              <a:gd name="connsiteY125" fmla="*/ 7085520 h 7391342"/>
              <a:gd name="connsiteX126" fmla="*/ 8258072 w 9114518"/>
              <a:gd name="connsiteY126" fmla="*/ 7123407 h 7391342"/>
              <a:gd name="connsiteX127" fmla="*/ 8276182 w 9114518"/>
              <a:gd name="connsiteY127" fmla="*/ 7157813 h 7391342"/>
              <a:gd name="connsiteX128" fmla="*/ 8322152 w 9114518"/>
              <a:gd name="connsiteY128" fmla="*/ 7215706 h 7391342"/>
              <a:gd name="connsiteX129" fmla="*/ 8382596 w 9114518"/>
              <a:gd name="connsiteY129" fmla="*/ 7258243 h 7391342"/>
              <a:gd name="connsiteX130" fmla="*/ 8418798 w 9114518"/>
              <a:gd name="connsiteY130" fmla="*/ 7273454 h 7391342"/>
              <a:gd name="connsiteX131" fmla="*/ 8459280 w 9114518"/>
              <a:gd name="connsiteY131" fmla="*/ 7284467 h 7391342"/>
              <a:gd name="connsiteX132" fmla="*/ 8504264 w 9114518"/>
              <a:gd name="connsiteY132" fmla="*/ 7291162 h 7391342"/>
              <a:gd name="connsiteX133" fmla="*/ 8553970 w 9114518"/>
              <a:gd name="connsiteY133" fmla="*/ 7293421 h 7391342"/>
              <a:gd name="connsiteX134" fmla="*/ 8553970 w 9114518"/>
              <a:gd name="connsiteY134" fmla="*/ 7391342 h 7391342"/>
              <a:gd name="connsiteX135" fmla="*/ 8502324 w 9114518"/>
              <a:gd name="connsiteY135" fmla="*/ 7389609 h 7391342"/>
              <a:gd name="connsiteX136" fmla="*/ 8454390 w 9114518"/>
              <a:gd name="connsiteY136" fmla="*/ 7384456 h 7391342"/>
              <a:gd name="connsiteX137" fmla="*/ 8410050 w 9114518"/>
              <a:gd name="connsiteY137" fmla="*/ 7375956 h 7391342"/>
              <a:gd name="connsiteX138" fmla="*/ 8369176 w 9114518"/>
              <a:gd name="connsiteY138" fmla="*/ 7364181 h 7391342"/>
              <a:gd name="connsiteX139" fmla="*/ 8331650 w 9114518"/>
              <a:gd name="connsiteY139" fmla="*/ 7349203 h 7391342"/>
              <a:gd name="connsiteX140" fmla="*/ 8297346 w 9114518"/>
              <a:gd name="connsiteY140" fmla="*/ 7331095 h 7391342"/>
              <a:gd name="connsiteX141" fmla="*/ 8237920 w 9114518"/>
              <a:gd name="connsiteY141" fmla="*/ 7285777 h 7391342"/>
              <a:gd name="connsiteX142" fmla="*/ 8189918 w 9114518"/>
              <a:gd name="connsiteY142" fmla="*/ 7228803 h 7391342"/>
              <a:gd name="connsiteX143" fmla="*/ 8169894 w 9114518"/>
              <a:gd name="connsiteY143" fmla="*/ 7196125 h 7391342"/>
              <a:gd name="connsiteX144" fmla="*/ 8152358 w 9114518"/>
              <a:gd name="connsiteY144" fmla="*/ 7160750 h 7391342"/>
              <a:gd name="connsiteX145" fmla="*/ 8137190 w 9114518"/>
              <a:gd name="connsiteY145" fmla="*/ 7122750 h 7391342"/>
              <a:gd name="connsiteX146" fmla="*/ 8124264 w 9114518"/>
              <a:gd name="connsiteY146" fmla="*/ 7082197 h 7391342"/>
              <a:gd name="connsiteX147" fmla="*/ 8113458 w 9114518"/>
              <a:gd name="connsiteY147" fmla="*/ 7039164 h 7391342"/>
              <a:gd name="connsiteX148" fmla="*/ 8104652 w 9114518"/>
              <a:gd name="connsiteY148" fmla="*/ 6993721 h 7391342"/>
              <a:gd name="connsiteX149" fmla="*/ 8097722 w 9114518"/>
              <a:gd name="connsiteY149" fmla="*/ 6945943 h 7391342"/>
              <a:gd name="connsiteX150" fmla="*/ 8092544 w 9114518"/>
              <a:gd name="connsiteY150" fmla="*/ 6895900 h 7391342"/>
              <a:gd name="connsiteX151" fmla="*/ 8088998 w 9114518"/>
              <a:gd name="connsiteY151" fmla="*/ 6843665 h 7391342"/>
              <a:gd name="connsiteX152" fmla="*/ 8086960 w 9114518"/>
              <a:gd name="connsiteY152" fmla="*/ 6789310 h 7391342"/>
              <a:gd name="connsiteX153" fmla="*/ 8086308 w 9114518"/>
              <a:gd name="connsiteY153" fmla="*/ 6732908 h 7391342"/>
              <a:gd name="connsiteX154" fmla="*/ 8086982 w 9114518"/>
              <a:gd name="connsiteY154" fmla="*/ 6676747 h 7391342"/>
              <a:gd name="connsiteX155" fmla="*/ 8089082 w 9114518"/>
              <a:gd name="connsiteY155" fmla="*/ 6622632 h 7391342"/>
              <a:gd name="connsiteX156" fmla="*/ 8092722 w 9114518"/>
              <a:gd name="connsiteY156" fmla="*/ 6570635 h 7391342"/>
              <a:gd name="connsiteX157" fmla="*/ 8098020 w 9114518"/>
              <a:gd name="connsiteY157" fmla="*/ 6520827 h 7391342"/>
              <a:gd name="connsiteX158" fmla="*/ 8105090 w 9114518"/>
              <a:gd name="connsiteY158" fmla="*/ 6473278 h 7391342"/>
              <a:gd name="connsiteX159" fmla="*/ 8114050 w 9114518"/>
              <a:gd name="connsiteY159" fmla="*/ 6428061 h 7391342"/>
              <a:gd name="connsiteX160" fmla="*/ 8125014 w 9114518"/>
              <a:gd name="connsiteY160" fmla="*/ 6385245 h 7391342"/>
              <a:gd name="connsiteX161" fmla="*/ 8138100 w 9114518"/>
              <a:gd name="connsiteY161" fmla="*/ 6344902 h 7391342"/>
              <a:gd name="connsiteX162" fmla="*/ 8153424 w 9114518"/>
              <a:gd name="connsiteY162" fmla="*/ 6307104 h 7391342"/>
              <a:gd name="connsiteX163" fmla="*/ 8171098 w 9114518"/>
              <a:gd name="connsiteY163" fmla="*/ 6271921 h 7391342"/>
              <a:gd name="connsiteX164" fmla="*/ 8191242 w 9114518"/>
              <a:gd name="connsiteY164" fmla="*/ 6239424 h 7391342"/>
              <a:gd name="connsiteX165" fmla="*/ 8239400 w 9114518"/>
              <a:gd name="connsiteY165" fmla="*/ 6182774 h 7391342"/>
              <a:gd name="connsiteX166" fmla="*/ 8298824 w 9114518"/>
              <a:gd name="connsiteY166" fmla="*/ 6137723 h 7391342"/>
              <a:gd name="connsiteX167" fmla="*/ 8333052 w 9114518"/>
              <a:gd name="connsiteY167" fmla="*/ 6119725 h 7391342"/>
              <a:gd name="connsiteX168" fmla="*/ 8370442 w 9114518"/>
              <a:gd name="connsiteY168" fmla="*/ 6104840 h 7391342"/>
              <a:gd name="connsiteX169" fmla="*/ 8411114 w 9114518"/>
              <a:gd name="connsiteY169" fmla="*/ 6093139 h 7391342"/>
              <a:gd name="connsiteX170" fmla="*/ 8455182 w 9114518"/>
              <a:gd name="connsiteY170" fmla="*/ 6084693 h 7391342"/>
              <a:gd name="connsiteX171" fmla="*/ 8502762 w 9114518"/>
              <a:gd name="connsiteY171" fmla="*/ 6079573 h 7391342"/>
              <a:gd name="connsiteX172" fmla="*/ 1425338 w 9114518"/>
              <a:gd name="connsiteY172" fmla="*/ 6077851 h 7391342"/>
              <a:gd name="connsiteX173" fmla="*/ 1476547 w 9114518"/>
              <a:gd name="connsiteY173" fmla="*/ 6079573 h 7391342"/>
              <a:gd name="connsiteX174" fmla="*/ 1524127 w 9114518"/>
              <a:gd name="connsiteY174" fmla="*/ 6084693 h 7391342"/>
              <a:gd name="connsiteX175" fmla="*/ 1568196 w 9114518"/>
              <a:gd name="connsiteY175" fmla="*/ 6093139 h 7391342"/>
              <a:gd name="connsiteX176" fmla="*/ 1608868 w 9114518"/>
              <a:gd name="connsiteY176" fmla="*/ 6104840 h 7391342"/>
              <a:gd name="connsiteX177" fmla="*/ 1646259 w 9114518"/>
              <a:gd name="connsiteY177" fmla="*/ 6119725 h 7391342"/>
              <a:gd name="connsiteX178" fmla="*/ 1680486 w 9114518"/>
              <a:gd name="connsiteY178" fmla="*/ 6137723 h 7391342"/>
              <a:gd name="connsiteX179" fmla="*/ 1739910 w 9114518"/>
              <a:gd name="connsiteY179" fmla="*/ 6182774 h 7391342"/>
              <a:gd name="connsiteX180" fmla="*/ 1788068 w 9114518"/>
              <a:gd name="connsiteY180" fmla="*/ 6239424 h 7391342"/>
              <a:gd name="connsiteX181" fmla="*/ 1808212 w 9114518"/>
              <a:gd name="connsiteY181" fmla="*/ 6271921 h 7391342"/>
              <a:gd name="connsiteX182" fmla="*/ 1825887 w 9114518"/>
              <a:gd name="connsiteY182" fmla="*/ 6307104 h 7391342"/>
              <a:gd name="connsiteX183" fmla="*/ 1841209 w 9114518"/>
              <a:gd name="connsiteY183" fmla="*/ 6344902 h 7391342"/>
              <a:gd name="connsiteX184" fmla="*/ 1854294 w 9114518"/>
              <a:gd name="connsiteY184" fmla="*/ 6385245 h 7391342"/>
              <a:gd name="connsiteX185" fmla="*/ 1865258 w 9114518"/>
              <a:gd name="connsiteY185" fmla="*/ 6428061 h 7391342"/>
              <a:gd name="connsiteX186" fmla="*/ 1874218 w 9114518"/>
              <a:gd name="connsiteY186" fmla="*/ 6473278 h 7391342"/>
              <a:gd name="connsiteX187" fmla="*/ 1881288 w 9114518"/>
              <a:gd name="connsiteY187" fmla="*/ 6520827 h 7391342"/>
              <a:gd name="connsiteX188" fmla="*/ 1886585 w 9114518"/>
              <a:gd name="connsiteY188" fmla="*/ 6570635 h 7391342"/>
              <a:gd name="connsiteX189" fmla="*/ 1890226 w 9114518"/>
              <a:gd name="connsiteY189" fmla="*/ 6622632 h 7391342"/>
              <a:gd name="connsiteX190" fmla="*/ 1892325 w 9114518"/>
              <a:gd name="connsiteY190" fmla="*/ 6676747 h 7391342"/>
              <a:gd name="connsiteX191" fmla="*/ 1892999 w 9114518"/>
              <a:gd name="connsiteY191" fmla="*/ 6732908 h 7391342"/>
              <a:gd name="connsiteX192" fmla="*/ 1892357 w 9114518"/>
              <a:gd name="connsiteY192" fmla="*/ 6789310 h 7391342"/>
              <a:gd name="connsiteX193" fmla="*/ 1890350 w 9114518"/>
              <a:gd name="connsiteY193" fmla="*/ 6843665 h 7391342"/>
              <a:gd name="connsiteX194" fmla="*/ 1886851 w 9114518"/>
              <a:gd name="connsiteY194" fmla="*/ 6895900 h 7391342"/>
              <a:gd name="connsiteX195" fmla="*/ 1881734 w 9114518"/>
              <a:gd name="connsiteY195" fmla="*/ 6945943 h 7391342"/>
              <a:gd name="connsiteX196" fmla="*/ 1874873 w 9114518"/>
              <a:gd name="connsiteY196" fmla="*/ 6993721 h 7391342"/>
              <a:gd name="connsiteX197" fmla="*/ 1866143 w 9114518"/>
              <a:gd name="connsiteY197" fmla="*/ 7039164 h 7391342"/>
              <a:gd name="connsiteX198" fmla="*/ 1855418 w 9114518"/>
              <a:gd name="connsiteY198" fmla="*/ 7082197 h 7391342"/>
              <a:gd name="connsiteX199" fmla="*/ 1842572 w 9114518"/>
              <a:gd name="connsiteY199" fmla="*/ 7122750 h 7391342"/>
              <a:gd name="connsiteX200" fmla="*/ 1827479 w 9114518"/>
              <a:gd name="connsiteY200" fmla="*/ 7160750 h 7391342"/>
              <a:gd name="connsiteX201" fmla="*/ 1810014 w 9114518"/>
              <a:gd name="connsiteY201" fmla="*/ 7196125 h 7391342"/>
              <a:gd name="connsiteX202" fmla="*/ 1790050 w 9114518"/>
              <a:gd name="connsiteY202" fmla="*/ 7228803 h 7391342"/>
              <a:gd name="connsiteX203" fmla="*/ 1742125 w 9114518"/>
              <a:gd name="connsiteY203" fmla="*/ 7285777 h 7391342"/>
              <a:gd name="connsiteX204" fmla="*/ 1682698 w 9114518"/>
              <a:gd name="connsiteY204" fmla="*/ 7331095 h 7391342"/>
              <a:gd name="connsiteX205" fmla="*/ 1648356 w 9114518"/>
              <a:gd name="connsiteY205" fmla="*/ 7349203 h 7391342"/>
              <a:gd name="connsiteX206" fmla="*/ 1610762 w 9114518"/>
              <a:gd name="connsiteY206" fmla="*/ 7364181 h 7391342"/>
              <a:gd name="connsiteX207" fmla="*/ 1569788 w 9114518"/>
              <a:gd name="connsiteY207" fmla="*/ 7375956 h 7391342"/>
              <a:gd name="connsiteX208" fmla="*/ 1525310 w 9114518"/>
              <a:gd name="connsiteY208" fmla="*/ 7384456 h 7391342"/>
              <a:gd name="connsiteX209" fmla="*/ 1477202 w 9114518"/>
              <a:gd name="connsiteY209" fmla="*/ 7389609 h 7391342"/>
              <a:gd name="connsiteX210" fmla="*/ 1425338 w 9114518"/>
              <a:gd name="connsiteY210" fmla="*/ 7391342 h 7391342"/>
              <a:gd name="connsiteX211" fmla="*/ 1425338 w 9114518"/>
              <a:gd name="connsiteY211" fmla="*/ 7293421 h 7391342"/>
              <a:gd name="connsiteX212" fmla="*/ 1475586 w 9114518"/>
              <a:gd name="connsiteY212" fmla="*/ 7291162 h 7391342"/>
              <a:gd name="connsiteX213" fmla="*/ 1521017 w 9114518"/>
              <a:gd name="connsiteY213" fmla="*/ 7284467 h 7391342"/>
              <a:gd name="connsiteX214" fmla="*/ 1561858 w 9114518"/>
              <a:gd name="connsiteY214" fmla="*/ 7273454 h 7391342"/>
              <a:gd name="connsiteX215" fmla="*/ 1598338 w 9114518"/>
              <a:gd name="connsiteY215" fmla="*/ 7258243 h 7391342"/>
              <a:gd name="connsiteX216" fmla="*/ 1659131 w 9114518"/>
              <a:gd name="connsiteY216" fmla="*/ 7215706 h 7391342"/>
              <a:gd name="connsiteX217" fmla="*/ 1705228 w 9114518"/>
              <a:gd name="connsiteY217" fmla="*/ 7157813 h 7391342"/>
              <a:gd name="connsiteX218" fmla="*/ 1723337 w 9114518"/>
              <a:gd name="connsiteY218" fmla="*/ 7123407 h 7391342"/>
              <a:gd name="connsiteX219" fmla="*/ 1738459 w 9114518"/>
              <a:gd name="connsiteY219" fmla="*/ 7085520 h 7391342"/>
              <a:gd name="connsiteX220" fmla="*/ 1750822 w 9114518"/>
              <a:gd name="connsiteY220" fmla="*/ 7044272 h 7391342"/>
              <a:gd name="connsiteX221" fmla="*/ 1760655 w 9114518"/>
              <a:gd name="connsiteY221" fmla="*/ 6999784 h 7391342"/>
              <a:gd name="connsiteX222" fmla="*/ 1768187 w 9114518"/>
              <a:gd name="connsiteY222" fmla="*/ 6952173 h 7391342"/>
              <a:gd name="connsiteX223" fmla="*/ 1773647 w 9114518"/>
              <a:gd name="connsiteY223" fmla="*/ 6901561 h 7391342"/>
              <a:gd name="connsiteX224" fmla="*/ 1777263 w 9114518"/>
              <a:gd name="connsiteY224" fmla="*/ 6848066 h 7391342"/>
              <a:gd name="connsiteX225" fmla="*/ 1779265 w 9114518"/>
              <a:gd name="connsiteY225" fmla="*/ 6791809 h 7391342"/>
              <a:gd name="connsiteX226" fmla="*/ 1779882 w 9114518"/>
              <a:gd name="connsiteY226" fmla="*/ 6732908 h 7391342"/>
              <a:gd name="connsiteX227" fmla="*/ 1779232 w 9114518"/>
              <a:gd name="connsiteY227" fmla="*/ 6674585 h 7391342"/>
              <a:gd name="connsiteX228" fmla="*/ 1777140 w 9114518"/>
              <a:gd name="connsiteY228" fmla="*/ 6618871 h 7391342"/>
              <a:gd name="connsiteX229" fmla="*/ 1773387 w 9114518"/>
              <a:gd name="connsiteY229" fmla="*/ 6565885 h 7391342"/>
              <a:gd name="connsiteX230" fmla="*/ 1767758 w 9114518"/>
              <a:gd name="connsiteY230" fmla="*/ 6515745 h 7391342"/>
              <a:gd name="connsiteX231" fmla="*/ 1760037 w 9114518"/>
              <a:gd name="connsiteY231" fmla="*/ 6468573 h 7391342"/>
              <a:gd name="connsiteX232" fmla="*/ 1750006 w 9114518"/>
              <a:gd name="connsiteY232" fmla="*/ 6424488 h 7391342"/>
              <a:gd name="connsiteX233" fmla="*/ 1737450 w 9114518"/>
              <a:gd name="connsiteY233" fmla="*/ 6383608 h 7391342"/>
              <a:gd name="connsiteX234" fmla="*/ 1722151 w 9114518"/>
              <a:gd name="connsiteY234" fmla="*/ 6346054 h 7391342"/>
              <a:gd name="connsiteX235" fmla="*/ 1703894 w 9114518"/>
              <a:gd name="connsiteY235" fmla="*/ 6311946 h 7391342"/>
              <a:gd name="connsiteX236" fmla="*/ 1657637 w 9114518"/>
              <a:gd name="connsiteY236" fmla="*/ 6254543 h 7391342"/>
              <a:gd name="connsiteX237" fmla="*/ 1596946 w 9114518"/>
              <a:gd name="connsiteY237" fmla="*/ 6212357 h 7391342"/>
              <a:gd name="connsiteX238" fmla="*/ 1560647 w 9114518"/>
              <a:gd name="connsiteY238" fmla="*/ 6197269 h 7391342"/>
              <a:gd name="connsiteX239" fmla="*/ 1520090 w 9114518"/>
              <a:gd name="connsiteY239" fmla="*/ 6186344 h 7391342"/>
              <a:gd name="connsiteX240" fmla="*/ 1475059 w 9114518"/>
              <a:gd name="connsiteY240" fmla="*/ 6179701 h 7391342"/>
              <a:gd name="connsiteX241" fmla="*/ 1425338 w 9114518"/>
              <a:gd name="connsiteY241" fmla="*/ 6177460 h 7391342"/>
              <a:gd name="connsiteX242" fmla="*/ 1332420 w 9114518"/>
              <a:gd name="connsiteY242" fmla="*/ 6077851 h 7391342"/>
              <a:gd name="connsiteX243" fmla="*/ 1332420 w 9114518"/>
              <a:gd name="connsiteY243" fmla="*/ 6177460 h 7391342"/>
              <a:gd name="connsiteX244" fmla="*/ 1282980 w 9114518"/>
              <a:gd name="connsiteY244" fmla="*/ 6179701 h 7391342"/>
              <a:gd name="connsiteX245" fmla="*/ 1238197 w 9114518"/>
              <a:gd name="connsiteY245" fmla="*/ 6186344 h 7391342"/>
              <a:gd name="connsiteX246" fmla="*/ 1197858 w 9114518"/>
              <a:gd name="connsiteY246" fmla="*/ 6197269 h 7391342"/>
              <a:gd name="connsiteX247" fmla="*/ 1161747 w 9114518"/>
              <a:gd name="connsiteY247" fmla="*/ 6212357 h 7391342"/>
              <a:gd name="connsiteX248" fmla="*/ 1101354 w 9114518"/>
              <a:gd name="connsiteY248" fmla="*/ 6254543 h 7391342"/>
              <a:gd name="connsiteX249" fmla="*/ 1055303 w 9114518"/>
              <a:gd name="connsiteY249" fmla="*/ 6311946 h 7391342"/>
              <a:gd name="connsiteX250" fmla="*/ 1037120 w 9114518"/>
              <a:gd name="connsiteY250" fmla="*/ 6346054 h 7391342"/>
              <a:gd name="connsiteX251" fmla="*/ 1021878 w 9114518"/>
              <a:gd name="connsiteY251" fmla="*/ 6383608 h 7391342"/>
              <a:gd name="connsiteX252" fmla="*/ 1009365 w 9114518"/>
              <a:gd name="connsiteY252" fmla="*/ 6424488 h 7391342"/>
              <a:gd name="connsiteX253" fmla="*/ 999365 w 9114518"/>
              <a:gd name="connsiteY253" fmla="*/ 6468573 h 7391342"/>
              <a:gd name="connsiteX254" fmla="*/ 991664 w 9114518"/>
              <a:gd name="connsiteY254" fmla="*/ 6515745 h 7391342"/>
              <a:gd name="connsiteX255" fmla="*/ 986047 w 9114518"/>
              <a:gd name="connsiteY255" fmla="*/ 6565885 h 7391342"/>
              <a:gd name="connsiteX256" fmla="*/ 982301 w 9114518"/>
              <a:gd name="connsiteY256" fmla="*/ 6618871 h 7391342"/>
              <a:gd name="connsiteX257" fmla="*/ 980210 w 9114518"/>
              <a:gd name="connsiteY257" fmla="*/ 6674585 h 7391342"/>
              <a:gd name="connsiteX258" fmla="*/ 979561 w 9114518"/>
              <a:gd name="connsiteY258" fmla="*/ 6732908 h 7391342"/>
              <a:gd name="connsiteX259" fmla="*/ 980194 w 9114518"/>
              <a:gd name="connsiteY259" fmla="*/ 6791809 h 7391342"/>
              <a:gd name="connsiteX260" fmla="*/ 982239 w 9114518"/>
              <a:gd name="connsiteY260" fmla="*/ 6848066 h 7391342"/>
              <a:gd name="connsiteX261" fmla="*/ 985918 w 9114518"/>
              <a:gd name="connsiteY261" fmla="*/ 6901561 h 7391342"/>
              <a:gd name="connsiteX262" fmla="*/ 991450 w 9114518"/>
              <a:gd name="connsiteY262" fmla="*/ 6952173 h 7391342"/>
              <a:gd name="connsiteX263" fmla="*/ 999056 w 9114518"/>
              <a:gd name="connsiteY263" fmla="*/ 6999784 h 7391342"/>
              <a:gd name="connsiteX264" fmla="*/ 1008957 w 9114518"/>
              <a:gd name="connsiteY264" fmla="*/ 7044272 h 7391342"/>
              <a:gd name="connsiteX265" fmla="*/ 1021374 w 9114518"/>
              <a:gd name="connsiteY265" fmla="*/ 7085520 h 7391342"/>
              <a:gd name="connsiteX266" fmla="*/ 1036527 w 9114518"/>
              <a:gd name="connsiteY266" fmla="*/ 7123407 h 7391342"/>
              <a:gd name="connsiteX267" fmla="*/ 1054636 w 9114518"/>
              <a:gd name="connsiteY267" fmla="*/ 7157813 h 7391342"/>
              <a:gd name="connsiteX268" fmla="*/ 1100607 w 9114518"/>
              <a:gd name="connsiteY268" fmla="*/ 7215706 h 7391342"/>
              <a:gd name="connsiteX269" fmla="*/ 1161051 w 9114518"/>
              <a:gd name="connsiteY269" fmla="*/ 7258243 h 7391342"/>
              <a:gd name="connsiteX270" fmla="*/ 1197253 w 9114518"/>
              <a:gd name="connsiteY270" fmla="*/ 7273454 h 7391342"/>
              <a:gd name="connsiteX271" fmla="*/ 1237734 w 9114518"/>
              <a:gd name="connsiteY271" fmla="*/ 7284467 h 7391342"/>
              <a:gd name="connsiteX272" fmla="*/ 1282716 w 9114518"/>
              <a:gd name="connsiteY272" fmla="*/ 7291162 h 7391342"/>
              <a:gd name="connsiteX273" fmla="*/ 1332420 w 9114518"/>
              <a:gd name="connsiteY273" fmla="*/ 7293421 h 7391342"/>
              <a:gd name="connsiteX274" fmla="*/ 1332420 w 9114518"/>
              <a:gd name="connsiteY274" fmla="*/ 7391342 h 7391342"/>
              <a:gd name="connsiteX275" fmla="*/ 1280774 w 9114518"/>
              <a:gd name="connsiteY275" fmla="*/ 7389609 h 7391342"/>
              <a:gd name="connsiteX276" fmla="*/ 1232841 w 9114518"/>
              <a:gd name="connsiteY276" fmla="*/ 7384456 h 7391342"/>
              <a:gd name="connsiteX277" fmla="*/ 1188500 w 9114518"/>
              <a:gd name="connsiteY277" fmla="*/ 7375956 h 7391342"/>
              <a:gd name="connsiteX278" fmla="*/ 1147627 w 9114518"/>
              <a:gd name="connsiteY278" fmla="*/ 7364181 h 7391342"/>
              <a:gd name="connsiteX279" fmla="*/ 1110100 w 9114518"/>
              <a:gd name="connsiteY279" fmla="*/ 7349203 h 7391342"/>
              <a:gd name="connsiteX280" fmla="*/ 1075796 w 9114518"/>
              <a:gd name="connsiteY280" fmla="*/ 7331095 h 7391342"/>
              <a:gd name="connsiteX281" fmla="*/ 1016370 w 9114518"/>
              <a:gd name="connsiteY281" fmla="*/ 7285777 h 7391342"/>
              <a:gd name="connsiteX282" fmla="*/ 968368 w 9114518"/>
              <a:gd name="connsiteY282" fmla="*/ 7228803 h 7391342"/>
              <a:gd name="connsiteX283" fmla="*/ 948344 w 9114518"/>
              <a:gd name="connsiteY283" fmla="*/ 7196125 h 7391342"/>
              <a:gd name="connsiteX284" fmla="*/ 930809 w 9114518"/>
              <a:gd name="connsiteY284" fmla="*/ 7160750 h 7391342"/>
              <a:gd name="connsiteX285" fmla="*/ 915640 w 9114518"/>
              <a:gd name="connsiteY285" fmla="*/ 7122750 h 7391342"/>
              <a:gd name="connsiteX286" fmla="*/ 902714 w 9114518"/>
              <a:gd name="connsiteY286" fmla="*/ 7082197 h 7391342"/>
              <a:gd name="connsiteX287" fmla="*/ 891909 w 9114518"/>
              <a:gd name="connsiteY287" fmla="*/ 7039164 h 7391342"/>
              <a:gd name="connsiteX288" fmla="*/ 883103 w 9114518"/>
              <a:gd name="connsiteY288" fmla="*/ 6993721 h 7391342"/>
              <a:gd name="connsiteX289" fmla="*/ 876172 w 9114518"/>
              <a:gd name="connsiteY289" fmla="*/ 6945943 h 7391342"/>
              <a:gd name="connsiteX290" fmla="*/ 870995 w 9114518"/>
              <a:gd name="connsiteY290" fmla="*/ 6895900 h 7391342"/>
              <a:gd name="connsiteX291" fmla="*/ 867449 w 9114518"/>
              <a:gd name="connsiteY291" fmla="*/ 6843665 h 7391342"/>
              <a:gd name="connsiteX292" fmla="*/ 865411 w 9114518"/>
              <a:gd name="connsiteY292" fmla="*/ 6789310 h 7391342"/>
              <a:gd name="connsiteX293" fmla="*/ 864759 w 9114518"/>
              <a:gd name="connsiteY293" fmla="*/ 6732908 h 7391342"/>
              <a:gd name="connsiteX294" fmla="*/ 865433 w 9114518"/>
              <a:gd name="connsiteY294" fmla="*/ 6676747 h 7391342"/>
              <a:gd name="connsiteX295" fmla="*/ 867532 w 9114518"/>
              <a:gd name="connsiteY295" fmla="*/ 6622632 h 7391342"/>
              <a:gd name="connsiteX296" fmla="*/ 871172 w 9114518"/>
              <a:gd name="connsiteY296" fmla="*/ 6570635 h 7391342"/>
              <a:gd name="connsiteX297" fmla="*/ 876470 w 9114518"/>
              <a:gd name="connsiteY297" fmla="*/ 6520827 h 7391342"/>
              <a:gd name="connsiteX298" fmla="*/ 883541 w 9114518"/>
              <a:gd name="connsiteY298" fmla="*/ 6473278 h 7391342"/>
              <a:gd name="connsiteX299" fmla="*/ 892501 w 9114518"/>
              <a:gd name="connsiteY299" fmla="*/ 6428061 h 7391342"/>
              <a:gd name="connsiteX300" fmla="*/ 903465 w 9114518"/>
              <a:gd name="connsiteY300" fmla="*/ 6385245 h 7391342"/>
              <a:gd name="connsiteX301" fmla="*/ 916551 w 9114518"/>
              <a:gd name="connsiteY301" fmla="*/ 6344902 h 7391342"/>
              <a:gd name="connsiteX302" fmla="*/ 931874 w 9114518"/>
              <a:gd name="connsiteY302" fmla="*/ 6307104 h 7391342"/>
              <a:gd name="connsiteX303" fmla="*/ 949549 w 9114518"/>
              <a:gd name="connsiteY303" fmla="*/ 6271921 h 7391342"/>
              <a:gd name="connsiteX304" fmla="*/ 969693 w 9114518"/>
              <a:gd name="connsiteY304" fmla="*/ 6239424 h 7391342"/>
              <a:gd name="connsiteX305" fmla="*/ 1017851 w 9114518"/>
              <a:gd name="connsiteY305" fmla="*/ 6182774 h 7391342"/>
              <a:gd name="connsiteX306" fmla="*/ 1077275 w 9114518"/>
              <a:gd name="connsiteY306" fmla="*/ 6137723 h 7391342"/>
              <a:gd name="connsiteX307" fmla="*/ 1111502 w 9114518"/>
              <a:gd name="connsiteY307" fmla="*/ 6119725 h 7391342"/>
              <a:gd name="connsiteX308" fmla="*/ 1148893 w 9114518"/>
              <a:gd name="connsiteY308" fmla="*/ 6104840 h 7391342"/>
              <a:gd name="connsiteX309" fmla="*/ 1189565 w 9114518"/>
              <a:gd name="connsiteY309" fmla="*/ 6093139 h 7391342"/>
              <a:gd name="connsiteX310" fmla="*/ 1233632 w 9114518"/>
              <a:gd name="connsiteY310" fmla="*/ 6084693 h 7391342"/>
              <a:gd name="connsiteX311" fmla="*/ 1281212 w 9114518"/>
              <a:gd name="connsiteY311" fmla="*/ 6079573 h 7391342"/>
              <a:gd name="connsiteX312" fmla="*/ 510883 w 9114518"/>
              <a:gd name="connsiteY312" fmla="*/ 5591624 h 7391342"/>
              <a:gd name="connsiteX313" fmla="*/ 553593 w 9114518"/>
              <a:gd name="connsiteY313" fmla="*/ 5595343 h 7391342"/>
              <a:gd name="connsiteX314" fmla="*/ 586648 w 9114518"/>
              <a:gd name="connsiteY314" fmla="*/ 5608717 h 7391342"/>
              <a:gd name="connsiteX315" fmla="*/ 607989 w 9114518"/>
              <a:gd name="connsiteY315" fmla="*/ 5635070 h 7391342"/>
              <a:gd name="connsiteX316" fmla="*/ 615560 w 9114518"/>
              <a:gd name="connsiteY316" fmla="*/ 5677726 h 7391342"/>
              <a:gd name="connsiteX317" fmla="*/ 607989 w 9114518"/>
              <a:gd name="connsiteY317" fmla="*/ 5722334 h 7391342"/>
              <a:gd name="connsiteX318" fmla="*/ 586648 w 9114518"/>
              <a:gd name="connsiteY318" fmla="*/ 5749689 h 7391342"/>
              <a:gd name="connsiteX319" fmla="*/ 553593 w 9114518"/>
              <a:gd name="connsiteY319" fmla="*/ 5763433 h 7391342"/>
              <a:gd name="connsiteX320" fmla="*/ 510883 w 9114518"/>
              <a:gd name="connsiteY320" fmla="*/ 5767206 h 7391342"/>
              <a:gd name="connsiteX321" fmla="*/ 468173 w 9114518"/>
              <a:gd name="connsiteY321" fmla="*/ 5763433 h 7391342"/>
              <a:gd name="connsiteX322" fmla="*/ 435118 w 9114518"/>
              <a:gd name="connsiteY322" fmla="*/ 5749689 h 7391342"/>
              <a:gd name="connsiteX323" fmla="*/ 413777 w 9114518"/>
              <a:gd name="connsiteY323" fmla="*/ 5722334 h 7391342"/>
              <a:gd name="connsiteX324" fmla="*/ 406206 w 9114518"/>
              <a:gd name="connsiteY324" fmla="*/ 5677726 h 7391342"/>
              <a:gd name="connsiteX325" fmla="*/ 414015 w 9114518"/>
              <a:gd name="connsiteY325" fmla="*/ 5635070 h 7391342"/>
              <a:gd name="connsiteX326" fmla="*/ 435754 w 9114518"/>
              <a:gd name="connsiteY326" fmla="*/ 5608717 h 7391342"/>
              <a:gd name="connsiteX327" fmla="*/ 468888 w 9114518"/>
              <a:gd name="connsiteY327" fmla="*/ 5595343 h 7391342"/>
              <a:gd name="connsiteX328" fmla="*/ 2493379 w 9114518"/>
              <a:gd name="connsiteY328" fmla="*/ 5439680 h 7391342"/>
              <a:gd name="connsiteX329" fmla="*/ 3408440 w 9114518"/>
              <a:gd name="connsiteY329" fmla="*/ 5439680 h 7391342"/>
              <a:gd name="connsiteX330" fmla="*/ 3408440 w 9114518"/>
              <a:gd name="connsiteY330" fmla="*/ 5547731 h 7391342"/>
              <a:gd name="connsiteX331" fmla="*/ 2493379 w 9114518"/>
              <a:gd name="connsiteY331" fmla="*/ 5547731 h 7391342"/>
              <a:gd name="connsiteX332" fmla="*/ 2493379 w 9114518"/>
              <a:gd name="connsiteY332" fmla="*/ 5086827 h 7391342"/>
              <a:gd name="connsiteX333" fmla="*/ 3408440 w 9114518"/>
              <a:gd name="connsiteY333" fmla="*/ 5086827 h 7391342"/>
              <a:gd name="connsiteX334" fmla="*/ 3408440 w 9114518"/>
              <a:gd name="connsiteY334" fmla="*/ 5194878 h 7391342"/>
              <a:gd name="connsiteX335" fmla="*/ 2493379 w 9114518"/>
              <a:gd name="connsiteY335" fmla="*/ 5194878 h 7391342"/>
              <a:gd name="connsiteX336" fmla="*/ 510883 w 9114518"/>
              <a:gd name="connsiteY336" fmla="*/ 4882541 h 7391342"/>
              <a:gd name="connsiteX337" fmla="*/ 553593 w 9114518"/>
              <a:gd name="connsiteY337" fmla="*/ 4886049 h 7391342"/>
              <a:gd name="connsiteX338" fmla="*/ 586648 w 9114518"/>
              <a:gd name="connsiteY338" fmla="*/ 4899212 h 7391342"/>
              <a:gd name="connsiteX339" fmla="*/ 607989 w 9114518"/>
              <a:gd name="connsiteY339" fmla="*/ 4925987 h 7391342"/>
              <a:gd name="connsiteX340" fmla="*/ 615560 w 9114518"/>
              <a:gd name="connsiteY340" fmla="*/ 4970332 h 7391342"/>
              <a:gd name="connsiteX341" fmla="*/ 607989 w 9114518"/>
              <a:gd name="connsiteY341" fmla="*/ 5013251 h 7391342"/>
              <a:gd name="connsiteX342" fmla="*/ 586648 w 9114518"/>
              <a:gd name="connsiteY342" fmla="*/ 5040185 h 7391342"/>
              <a:gd name="connsiteX343" fmla="*/ 553593 w 9114518"/>
              <a:gd name="connsiteY343" fmla="*/ 5054139 h 7391342"/>
              <a:gd name="connsiteX344" fmla="*/ 510883 w 9114518"/>
              <a:gd name="connsiteY344" fmla="*/ 5058123 h 7391342"/>
              <a:gd name="connsiteX345" fmla="*/ 469154 w 9114518"/>
              <a:gd name="connsiteY345" fmla="*/ 5054139 h 7391342"/>
              <a:gd name="connsiteX346" fmla="*/ 436602 w 9114518"/>
              <a:gd name="connsiteY346" fmla="*/ 5040185 h 7391342"/>
              <a:gd name="connsiteX347" fmla="*/ 415446 w 9114518"/>
              <a:gd name="connsiteY347" fmla="*/ 5013251 h 7391342"/>
              <a:gd name="connsiteX348" fmla="*/ 407902 w 9114518"/>
              <a:gd name="connsiteY348" fmla="*/ 4970332 h 7391342"/>
              <a:gd name="connsiteX349" fmla="*/ 415446 w 9114518"/>
              <a:gd name="connsiteY349" fmla="*/ 4925987 h 7391342"/>
              <a:gd name="connsiteX350" fmla="*/ 436602 w 9114518"/>
              <a:gd name="connsiteY350" fmla="*/ 4899212 h 7391342"/>
              <a:gd name="connsiteX351" fmla="*/ 469154 w 9114518"/>
              <a:gd name="connsiteY351" fmla="*/ 4886049 h 7391342"/>
              <a:gd name="connsiteX352" fmla="*/ 4158261 w 9114518"/>
              <a:gd name="connsiteY352" fmla="*/ 4558390 h 7391342"/>
              <a:gd name="connsiteX353" fmla="*/ 4209470 w 9114518"/>
              <a:gd name="connsiteY353" fmla="*/ 4560112 h 7391342"/>
              <a:gd name="connsiteX354" fmla="*/ 4257050 w 9114518"/>
              <a:gd name="connsiteY354" fmla="*/ 4565232 h 7391342"/>
              <a:gd name="connsiteX355" fmla="*/ 4301119 w 9114518"/>
              <a:gd name="connsiteY355" fmla="*/ 4573678 h 7391342"/>
              <a:gd name="connsiteX356" fmla="*/ 4341791 w 9114518"/>
              <a:gd name="connsiteY356" fmla="*/ 4585379 h 7391342"/>
              <a:gd name="connsiteX357" fmla="*/ 4379182 w 9114518"/>
              <a:gd name="connsiteY357" fmla="*/ 4600264 h 7391342"/>
              <a:gd name="connsiteX358" fmla="*/ 4413410 w 9114518"/>
              <a:gd name="connsiteY358" fmla="*/ 4618262 h 7391342"/>
              <a:gd name="connsiteX359" fmla="*/ 4472834 w 9114518"/>
              <a:gd name="connsiteY359" fmla="*/ 4663313 h 7391342"/>
              <a:gd name="connsiteX360" fmla="*/ 4520992 w 9114518"/>
              <a:gd name="connsiteY360" fmla="*/ 4719963 h 7391342"/>
              <a:gd name="connsiteX361" fmla="*/ 4541136 w 9114518"/>
              <a:gd name="connsiteY361" fmla="*/ 4752460 h 7391342"/>
              <a:gd name="connsiteX362" fmla="*/ 4558811 w 9114518"/>
              <a:gd name="connsiteY362" fmla="*/ 4787643 h 7391342"/>
              <a:gd name="connsiteX363" fmla="*/ 4574133 w 9114518"/>
              <a:gd name="connsiteY363" fmla="*/ 4825441 h 7391342"/>
              <a:gd name="connsiteX364" fmla="*/ 4587218 w 9114518"/>
              <a:gd name="connsiteY364" fmla="*/ 4865784 h 7391342"/>
              <a:gd name="connsiteX365" fmla="*/ 4598182 w 9114518"/>
              <a:gd name="connsiteY365" fmla="*/ 4908599 h 7391342"/>
              <a:gd name="connsiteX366" fmla="*/ 4607142 w 9114518"/>
              <a:gd name="connsiteY366" fmla="*/ 4953817 h 7391342"/>
              <a:gd name="connsiteX367" fmla="*/ 4614212 w 9114518"/>
              <a:gd name="connsiteY367" fmla="*/ 5001365 h 7391342"/>
              <a:gd name="connsiteX368" fmla="*/ 4619509 w 9114518"/>
              <a:gd name="connsiteY368" fmla="*/ 5051174 h 7391342"/>
              <a:gd name="connsiteX369" fmla="*/ 4623150 w 9114518"/>
              <a:gd name="connsiteY369" fmla="*/ 5103171 h 7391342"/>
              <a:gd name="connsiteX370" fmla="*/ 4625249 w 9114518"/>
              <a:gd name="connsiteY370" fmla="*/ 5157286 h 7391342"/>
              <a:gd name="connsiteX371" fmla="*/ 4625923 w 9114518"/>
              <a:gd name="connsiteY371" fmla="*/ 5213447 h 7391342"/>
              <a:gd name="connsiteX372" fmla="*/ 4625281 w 9114518"/>
              <a:gd name="connsiteY372" fmla="*/ 5269849 h 7391342"/>
              <a:gd name="connsiteX373" fmla="*/ 4623274 w 9114518"/>
              <a:gd name="connsiteY373" fmla="*/ 5324204 h 7391342"/>
              <a:gd name="connsiteX374" fmla="*/ 4619775 w 9114518"/>
              <a:gd name="connsiteY374" fmla="*/ 5376438 h 7391342"/>
              <a:gd name="connsiteX375" fmla="*/ 4614658 w 9114518"/>
              <a:gd name="connsiteY375" fmla="*/ 5426481 h 7391342"/>
              <a:gd name="connsiteX376" fmla="*/ 4607797 w 9114518"/>
              <a:gd name="connsiteY376" fmla="*/ 5474260 h 7391342"/>
              <a:gd name="connsiteX377" fmla="*/ 4599067 w 9114518"/>
              <a:gd name="connsiteY377" fmla="*/ 5519702 h 7391342"/>
              <a:gd name="connsiteX378" fmla="*/ 4588342 w 9114518"/>
              <a:gd name="connsiteY378" fmla="*/ 5562735 h 7391342"/>
              <a:gd name="connsiteX379" fmla="*/ 4575496 w 9114518"/>
              <a:gd name="connsiteY379" fmla="*/ 5603288 h 7391342"/>
              <a:gd name="connsiteX380" fmla="*/ 4560403 w 9114518"/>
              <a:gd name="connsiteY380" fmla="*/ 5641288 h 7391342"/>
              <a:gd name="connsiteX381" fmla="*/ 4542938 w 9114518"/>
              <a:gd name="connsiteY381" fmla="*/ 5676663 h 7391342"/>
              <a:gd name="connsiteX382" fmla="*/ 4522974 w 9114518"/>
              <a:gd name="connsiteY382" fmla="*/ 5709341 h 7391342"/>
              <a:gd name="connsiteX383" fmla="*/ 4475049 w 9114518"/>
              <a:gd name="connsiteY383" fmla="*/ 5766315 h 7391342"/>
              <a:gd name="connsiteX384" fmla="*/ 4415622 w 9114518"/>
              <a:gd name="connsiteY384" fmla="*/ 5811633 h 7391342"/>
              <a:gd name="connsiteX385" fmla="*/ 4381279 w 9114518"/>
              <a:gd name="connsiteY385" fmla="*/ 5829741 h 7391342"/>
              <a:gd name="connsiteX386" fmla="*/ 4343685 w 9114518"/>
              <a:gd name="connsiteY386" fmla="*/ 5844719 h 7391342"/>
              <a:gd name="connsiteX387" fmla="*/ 4302711 w 9114518"/>
              <a:gd name="connsiteY387" fmla="*/ 5856494 h 7391342"/>
              <a:gd name="connsiteX388" fmla="*/ 4258233 w 9114518"/>
              <a:gd name="connsiteY388" fmla="*/ 5864994 h 7391342"/>
              <a:gd name="connsiteX389" fmla="*/ 4210125 w 9114518"/>
              <a:gd name="connsiteY389" fmla="*/ 5870147 h 7391342"/>
              <a:gd name="connsiteX390" fmla="*/ 4158261 w 9114518"/>
              <a:gd name="connsiteY390" fmla="*/ 5871880 h 7391342"/>
              <a:gd name="connsiteX391" fmla="*/ 4158261 w 9114518"/>
              <a:gd name="connsiteY391" fmla="*/ 5773960 h 7391342"/>
              <a:gd name="connsiteX392" fmla="*/ 4208509 w 9114518"/>
              <a:gd name="connsiteY392" fmla="*/ 5771701 h 7391342"/>
              <a:gd name="connsiteX393" fmla="*/ 4253940 w 9114518"/>
              <a:gd name="connsiteY393" fmla="*/ 5765006 h 7391342"/>
              <a:gd name="connsiteX394" fmla="*/ 4294781 w 9114518"/>
              <a:gd name="connsiteY394" fmla="*/ 5753993 h 7391342"/>
              <a:gd name="connsiteX395" fmla="*/ 4331261 w 9114518"/>
              <a:gd name="connsiteY395" fmla="*/ 5738782 h 7391342"/>
              <a:gd name="connsiteX396" fmla="*/ 4392054 w 9114518"/>
              <a:gd name="connsiteY396" fmla="*/ 5696245 h 7391342"/>
              <a:gd name="connsiteX397" fmla="*/ 4438152 w 9114518"/>
              <a:gd name="connsiteY397" fmla="*/ 5638352 h 7391342"/>
              <a:gd name="connsiteX398" fmla="*/ 4456261 w 9114518"/>
              <a:gd name="connsiteY398" fmla="*/ 5603946 h 7391342"/>
              <a:gd name="connsiteX399" fmla="*/ 4471383 w 9114518"/>
              <a:gd name="connsiteY399" fmla="*/ 5566059 h 7391342"/>
              <a:gd name="connsiteX400" fmla="*/ 4483746 w 9114518"/>
              <a:gd name="connsiteY400" fmla="*/ 5524811 h 7391342"/>
              <a:gd name="connsiteX401" fmla="*/ 4493579 w 9114518"/>
              <a:gd name="connsiteY401" fmla="*/ 5480323 h 7391342"/>
              <a:gd name="connsiteX402" fmla="*/ 4501111 w 9114518"/>
              <a:gd name="connsiteY402" fmla="*/ 5432712 h 7391342"/>
              <a:gd name="connsiteX403" fmla="*/ 4506571 w 9114518"/>
              <a:gd name="connsiteY403" fmla="*/ 5382100 h 7391342"/>
              <a:gd name="connsiteX404" fmla="*/ 4510187 w 9114518"/>
              <a:gd name="connsiteY404" fmla="*/ 5328605 h 7391342"/>
              <a:gd name="connsiteX405" fmla="*/ 4512189 w 9114518"/>
              <a:gd name="connsiteY405" fmla="*/ 5272348 h 7391342"/>
              <a:gd name="connsiteX406" fmla="*/ 4512806 w 9114518"/>
              <a:gd name="connsiteY406" fmla="*/ 5213447 h 7391342"/>
              <a:gd name="connsiteX407" fmla="*/ 4512156 w 9114518"/>
              <a:gd name="connsiteY407" fmla="*/ 5155124 h 7391342"/>
              <a:gd name="connsiteX408" fmla="*/ 4510064 w 9114518"/>
              <a:gd name="connsiteY408" fmla="*/ 5099410 h 7391342"/>
              <a:gd name="connsiteX409" fmla="*/ 4506311 w 9114518"/>
              <a:gd name="connsiteY409" fmla="*/ 5046423 h 7391342"/>
              <a:gd name="connsiteX410" fmla="*/ 4500682 w 9114518"/>
              <a:gd name="connsiteY410" fmla="*/ 4996284 h 7391342"/>
              <a:gd name="connsiteX411" fmla="*/ 4492961 w 9114518"/>
              <a:gd name="connsiteY411" fmla="*/ 4949112 h 7391342"/>
              <a:gd name="connsiteX412" fmla="*/ 4482930 w 9114518"/>
              <a:gd name="connsiteY412" fmla="*/ 4905026 h 7391342"/>
              <a:gd name="connsiteX413" fmla="*/ 4470374 w 9114518"/>
              <a:gd name="connsiteY413" fmla="*/ 4864147 h 7391342"/>
              <a:gd name="connsiteX414" fmla="*/ 4455075 w 9114518"/>
              <a:gd name="connsiteY414" fmla="*/ 4826593 h 7391342"/>
              <a:gd name="connsiteX415" fmla="*/ 4436818 w 9114518"/>
              <a:gd name="connsiteY415" fmla="*/ 4792484 h 7391342"/>
              <a:gd name="connsiteX416" fmla="*/ 4390560 w 9114518"/>
              <a:gd name="connsiteY416" fmla="*/ 4735082 h 7391342"/>
              <a:gd name="connsiteX417" fmla="*/ 4329869 w 9114518"/>
              <a:gd name="connsiteY417" fmla="*/ 4692895 h 7391342"/>
              <a:gd name="connsiteX418" fmla="*/ 4293570 w 9114518"/>
              <a:gd name="connsiteY418" fmla="*/ 4677807 h 7391342"/>
              <a:gd name="connsiteX419" fmla="*/ 4253013 w 9114518"/>
              <a:gd name="connsiteY419" fmla="*/ 4666882 h 7391342"/>
              <a:gd name="connsiteX420" fmla="*/ 4207982 w 9114518"/>
              <a:gd name="connsiteY420" fmla="*/ 4660239 h 7391342"/>
              <a:gd name="connsiteX421" fmla="*/ 4158261 w 9114518"/>
              <a:gd name="connsiteY421" fmla="*/ 4657998 h 7391342"/>
              <a:gd name="connsiteX422" fmla="*/ 4065343 w 9114518"/>
              <a:gd name="connsiteY422" fmla="*/ 4558390 h 7391342"/>
              <a:gd name="connsiteX423" fmla="*/ 4065343 w 9114518"/>
              <a:gd name="connsiteY423" fmla="*/ 4657998 h 7391342"/>
              <a:gd name="connsiteX424" fmla="*/ 4015903 w 9114518"/>
              <a:gd name="connsiteY424" fmla="*/ 4660239 h 7391342"/>
              <a:gd name="connsiteX425" fmla="*/ 3971120 w 9114518"/>
              <a:gd name="connsiteY425" fmla="*/ 4666882 h 7391342"/>
              <a:gd name="connsiteX426" fmla="*/ 3930781 w 9114518"/>
              <a:gd name="connsiteY426" fmla="*/ 4677807 h 7391342"/>
              <a:gd name="connsiteX427" fmla="*/ 3894670 w 9114518"/>
              <a:gd name="connsiteY427" fmla="*/ 4692895 h 7391342"/>
              <a:gd name="connsiteX428" fmla="*/ 3834276 w 9114518"/>
              <a:gd name="connsiteY428" fmla="*/ 4735082 h 7391342"/>
              <a:gd name="connsiteX429" fmla="*/ 3788225 w 9114518"/>
              <a:gd name="connsiteY429" fmla="*/ 4792484 h 7391342"/>
              <a:gd name="connsiteX430" fmla="*/ 3770042 w 9114518"/>
              <a:gd name="connsiteY430" fmla="*/ 4826593 h 7391342"/>
              <a:gd name="connsiteX431" fmla="*/ 3754800 w 9114518"/>
              <a:gd name="connsiteY431" fmla="*/ 4864147 h 7391342"/>
              <a:gd name="connsiteX432" fmla="*/ 3742287 w 9114518"/>
              <a:gd name="connsiteY432" fmla="*/ 4905026 h 7391342"/>
              <a:gd name="connsiteX433" fmla="*/ 3732287 w 9114518"/>
              <a:gd name="connsiteY433" fmla="*/ 4949112 h 7391342"/>
              <a:gd name="connsiteX434" fmla="*/ 3724586 w 9114518"/>
              <a:gd name="connsiteY434" fmla="*/ 4996284 h 7391342"/>
              <a:gd name="connsiteX435" fmla="*/ 3718969 w 9114518"/>
              <a:gd name="connsiteY435" fmla="*/ 5046423 h 7391342"/>
              <a:gd name="connsiteX436" fmla="*/ 3715223 w 9114518"/>
              <a:gd name="connsiteY436" fmla="*/ 5099410 h 7391342"/>
              <a:gd name="connsiteX437" fmla="*/ 3713132 w 9114518"/>
              <a:gd name="connsiteY437" fmla="*/ 5155124 h 7391342"/>
              <a:gd name="connsiteX438" fmla="*/ 3712483 w 9114518"/>
              <a:gd name="connsiteY438" fmla="*/ 5213447 h 7391342"/>
              <a:gd name="connsiteX439" fmla="*/ 3713116 w 9114518"/>
              <a:gd name="connsiteY439" fmla="*/ 5272348 h 7391342"/>
              <a:gd name="connsiteX440" fmla="*/ 3715161 w 9114518"/>
              <a:gd name="connsiteY440" fmla="*/ 5328605 h 7391342"/>
              <a:gd name="connsiteX441" fmla="*/ 3718840 w 9114518"/>
              <a:gd name="connsiteY441" fmla="*/ 5382100 h 7391342"/>
              <a:gd name="connsiteX442" fmla="*/ 3724372 w 9114518"/>
              <a:gd name="connsiteY442" fmla="*/ 5432712 h 7391342"/>
              <a:gd name="connsiteX443" fmla="*/ 3731978 w 9114518"/>
              <a:gd name="connsiteY443" fmla="*/ 5480323 h 7391342"/>
              <a:gd name="connsiteX444" fmla="*/ 3741879 w 9114518"/>
              <a:gd name="connsiteY444" fmla="*/ 5524811 h 7391342"/>
              <a:gd name="connsiteX445" fmla="*/ 3754296 w 9114518"/>
              <a:gd name="connsiteY445" fmla="*/ 5566059 h 7391342"/>
              <a:gd name="connsiteX446" fmla="*/ 3769449 w 9114518"/>
              <a:gd name="connsiteY446" fmla="*/ 5603946 h 7391342"/>
              <a:gd name="connsiteX447" fmla="*/ 3787558 w 9114518"/>
              <a:gd name="connsiteY447" fmla="*/ 5638352 h 7391342"/>
              <a:gd name="connsiteX448" fmla="*/ 3833530 w 9114518"/>
              <a:gd name="connsiteY448" fmla="*/ 5696245 h 7391342"/>
              <a:gd name="connsiteX449" fmla="*/ 3893974 w 9114518"/>
              <a:gd name="connsiteY449" fmla="*/ 5738782 h 7391342"/>
              <a:gd name="connsiteX450" fmla="*/ 3930176 w 9114518"/>
              <a:gd name="connsiteY450" fmla="*/ 5753993 h 7391342"/>
              <a:gd name="connsiteX451" fmla="*/ 3970657 w 9114518"/>
              <a:gd name="connsiteY451" fmla="*/ 5765006 h 7391342"/>
              <a:gd name="connsiteX452" fmla="*/ 4015639 w 9114518"/>
              <a:gd name="connsiteY452" fmla="*/ 5771701 h 7391342"/>
              <a:gd name="connsiteX453" fmla="*/ 4065343 w 9114518"/>
              <a:gd name="connsiteY453" fmla="*/ 5773960 h 7391342"/>
              <a:gd name="connsiteX454" fmla="*/ 4065343 w 9114518"/>
              <a:gd name="connsiteY454" fmla="*/ 5871880 h 7391342"/>
              <a:gd name="connsiteX455" fmla="*/ 4013697 w 9114518"/>
              <a:gd name="connsiteY455" fmla="*/ 5870147 h 7391342"/>
              <a:gd name="connsiteX456" fmla="*/ 3965764 w 9114518"/>
              <a:gd name="connsiteY456" fmla="*/ 5864994 h 7391342"/>
              <a:gd name="connsiteX457" fmla="*/ 3921423 w 9114518"/>
              <a:gd name="connsiteY457" fmla="*/ 5856494 h 7391342"/>
              <a:gd name="connsiteX458" fmla="*/ 3880550 w 9114518"/>
              <a:gd name="connsiteY458" fmla="*/ 5844719 h 7391342"/>
              <a:gd name="connsiteX459" fmla="*/ 3843023 w 9114518"/>
              <a:gd name="connsiteY459" fmla="*/ 5829741 h 7391342"/>
              <a:gd name="connsiteX460" fmla="*/ 3808718 w 9114518"/>
              <a:gd name="connsiteY460" fmla="*/ 5811633 h 7391342"/>
              <a:gd name="connsiteX461" fmla="*/ 3749292 w 9114518"/>
              <a:gd name="connsiteY461" fmla="*/ 5766315 h 7391342"/>
              <a:gd name="connsiteX462" fmla="*/ 3701290 w 9114518"/>
              <a:gd name="connsiteY462" fmla="*/ 5709341 h 7391342"/>
              <a:gd name="connsiteX463" fmla="*/ 3681266 w 9114518"/>
              <a:gd name="connsiteY463" fmla="*/ 5676663 h 7391342"/>
              <a:gd name="connsiteX464" fmla="*/ 3663731 w 9114518"/>
              <a:gd name="connsiteY464" fmla="*/ 5641288 h 7391342"/>
              <a:gd name="connsiteX465" fmla="*/ 3648562 w 9114518"/>
              <a:gd name="connsiteY465" fmla="*/ 5603288 h 7391342"/>
              <a:gd name="connsiteX466" fmla="*/ 3635636 w 9114518"/>
              <a:gd name="connsiteY466" fmla="*/ 5562735 h 7391342"/>
              <a:gd name="connsiteX467" fmla="*/ 3624831 w 9114518"/>
              <a:gd name="connsiteY467" fmla="*/ 5519702 h 7391342"/>
              <a:gd name="connsiteX468" fmla="*/ 3616025 w 9114518"/>
              <a:gd name="connsiteY468" fmla="*/ 5474260 h 7391342"/>
              <a:gd name="connsiteX469" fmla="*/ 3609094 w 9114518"/>
              <a:gd name="connsiteY469" fmla="*/ 5426481 h 7391342"/>
              <a:gd name="connsiteX470" fmla="*/ 3603917 w 9114518"/>
              <a:gd name="connsiteY470" fmla="*/ 5376438 h 7391342"/>
              <a:gd name="connsiteX471" fmla="*/ 3600371 w 9114518"/>
              <a:gd name="connsiteY471" fmla="*/ 5324204 h 7391342"/>
              <a:gd name="connsiteX472" fmla="*/ 3598333 w 9114518"/>
              <a:gd name="connsiteY472" fmla="*/ 5269849 h 7391342"/>
              <a:gd name="connsiteX473" fmla="*/ 3597681 w 9114518"/>
              <a:gd name="connsiteY473" fmla="*/ 5213447 h 7391342"/>
              <a:gd name="connsiteX474" fmla="*/ 3598355 w 9114518"/>
              <a:gd name="connsiteY474" fmla="*/ 5157286 h 7391342"/>
              <a:gd name="connsiteX475" fmla="*/ 3600454 w 9114518"/>
              <a:gd name="connsiteY475" fmla="*/ 5103171 h 7391342"/>
              <a:gd name="connsiteX476" fmla="*/ 3604094 w 9114518"/>
              <a:gd name="connsiteY476" fmla="*/ 5051174 h 7391342"/>
              <a:gd name="connsiteX477" fmla="*/ 3609392 w 9114518"/>
              <a:gd name="connsiteY477" fmla="*/ 5001365 h 7391342"/>
              <a:gd name="connsiteX478" fmla="*/ 3616463 w 9114518"/>
              <a:gd name="connsiteY478" fmla="*/ 4953817 h 7391342"/>
              <a:gd name="connsiteX479" fmla="*/ 3625423 w 9114518"/>
              <a:gd name="connsiteY479" fmla="*/ 4908599 h 7391342"/>
              <a:gd name="connsiteX480" fmla="*/ 3636387 w 9114518"/>
              <a:gd name="connsiteY480" fmla="*/ 4865784 h 7391342"/>
              <a:gd name="connsiteX481" fmla="*/ 3649473 w 9114518"/>
              <a:gd name="connsiteY481" fmla="*/ 4825441 h 7391342"/>
              <a:gd name="connsiteX482" fmla="*/ 3664796 w 9114518"/>
              <a:gd name="connsiteY482" fmla="*/ 4787643 h 7391342"/>
              <a:gd name="connsiteX483" fmla="*/ 3682471 w 9114518"/>
              <a:gd name="connsiteY483" fmla="*/ 4752460 h 7391342"/>
              <a:gd name="connsiteX484" fmla="*/ 3702615 w 9114518"/>
              <a:gd name="connsiteY484" fmla="*/ 4719963 h 7391342"/>
              <a:gd name="connsiteX485" fmla="*/ 3750773 w 9114518"/>
              <a:gd name="connsiteY485" fmla="*/ 4663313 h 7391342"/>
              <a:gd name="connsiteX486" fmla="*/ 3810197 w 9114518"/>
              <a:gd name="connsiteY486" fmla="*/ 4618262 h 7391342"/>
              <a:gd name="connsiteX487" fmla="*/ 3844425 w 9114518"/>
              <a:gd name="connsiteY487" fmla="*/ 4600264 h 7391342"/>
              <a:gd name="connsiteX488" fmla="*/ 3881816 w 9114518"/>
              <a:gd name="connsiteY488" fmla="*/ 4585379 h 7391342"/>
              <a:gd name="connsiteX489" fmla="*/ 3922488 w 9114518"/>
              <a:gd name="connsiteY489" fmla="*/ 4573678 h 7391342"/>
              <a:gd name="connsiteX490" fmla="*/ 3966555 w 9114518"/>
              <a:gd name="connsiteY490" fmla="*/ 4565232 h 7391342"/>
              <a:gd name="connsiteX491" fmla="*/ 4014135 w 9114518"/>
              <a:gd name="connsiteY491" fmla="*/ 4560112 h 7391342"/>
              <a:gd name="connsiteX492" fmla="*/ 0 w 9114518"/>
              <a:gd name="connsiteY492" fmla="*/ 3920215 h 7391342"/>
              <a:gd name="connsiteX493" fmla="*/ 915049 w 9114518"/>
              <a:gd name="connsiteY493" fmla="*/ 3920215 h 7391342"/>
              <a:gd name="connsiteX494" fmla="*/ 915049 w 9114518"/>
              <a:gd name="connsiteY494" fmla="*/ 4028265 h 7391342"/>
              <a:gd name="connsiteX495" fmla="*/ 0 w 9114518"/>
              <a:gd name="connsiteY495" fmla="*/ 4028265 h 7391342"/>
              <a:gd name="connsiteX496" fmla="*/ 0 w 9114518"/>
              <a:gd name="connsiteY496" fmla="*/ 3567362 h 7391342"/>
              <a:gd name="connsiteX497" fmla="*/ 915049 w 9114518"/>
              <a:gd name="connsiteY497" fmla="*/ 3567362 h 7391342"/>
              <a:gd name="connsiteX498" fmla="*/ 915049 w 9114518"/>
              <a:gd name="connsiteY498" fmla="*/ 3675412 h 7391342"/>
              <a:gd name="connsiteX499" fmla="*/ 0 w 9114518"/>
              <a:gd name="connsiteY499" fmla="*/ 3675412 h 7391342"/>
              <a:gd name="connsiteX500" fmla="*/ 1617156 w 9114518"/>
              <a:gd name="connsiteY500" fmla="*/ 3046199 h 7391342"/>
              <a:gd name="connsiteX501" fmla="*/ 1995337 w 9114518"/>
              <a:gd name="connsiteY501" fmla="*/ 3046199 h 7391342"/>
              <a:gd name="connsiteX502" fmla="*/ 1995337 w 9114518"/>
              <a:gd name="connsiteY502" fmla="*/ 3141449 h 7391342"/>
              <a:gd name="connsiteX503" fmla="*/ 1995337 w 9114518"/>
              <a:gd name="connsiteY503" fmla="*/ 4252699 h 7391342"/>
              <a:gd name="connsiteX504" fmla="*/ 1995337 w 9114518"/>
              <a:gd name="connsiteY504" fmla="*/ 4349219 h 7391342"/>
              <a:gd name="connsiteX505" fmla="*/ 1617156 w 9114518"/>
              <a:gd name="connsiteY505" fmla="*/ 4349219 h 7391342"/>
              <a:gd name="connsiteX506" fmla="*/ 1617156 w 9114518"/>
              <a:gd name="connsiteY506" fmla="*/ 4252699 h 7391342"/>
              <a:gd name="connsiteX507" fmla="*/ 1878853 w 9114518"/>
              <a:gd name="connsiteY507" fmla="*/ 4252699 h 7391342"/>
              <a:gd name="connsiteX508" fmla="*/ 1878853 w 9114518"/>
              <a:gd name="connsiteY508" fmla="*/ 3141449 h 7391342"/>
              <a:gd name="connsiteX509" fmla="*/ 1617156 w 9114518"/>
              <a:gd name="connsiteY509" fmla="*/ 3141449 h 7391342"/>
              <a:gd name="connsiteX510" fmla="*/ 1138061 w 9114518"/>
              <a:gd name="connsiteY510" fmla="*/ 3046199 h 7391342"/>
              <a:gd name="connsiteX511" fmla="*/ 1516242 w 9114518"/>
              <a:gd name="connsiteY511" fmla="*/ 3046199 h 7391342"/>
              <a:gd name="connsiteX512" fmla="*/ 1516242 w 9114518"/>
              <a:gd name="connsiteY512" fmla="*/ 3141449 h 7391342"/>
              <a:gd name="connsiteX513" fmla="*/ 1254558 w 9114518"/>
              <a:gd name="connsiteY513" fmla="*/ 3141449 h 7391342"/>
              <a:gd name="connsiteX514" fmla="*/ 1254558 w 9114518"/>
              <a:gd name="connsiteY514" fmla="*/ 4252699 h 7391342"/>
              <a:gd name="connsiteX515" fmla="*/ 1516242 w 9114518"/>
              <a:gd name="connsiteY515" fmla="*/ 4252699 h 7391342"/>
              <a:gd name="connsiteX516" fmla="*/ 1516242 w 9114518"/>
              <a:gd name="connsiteY516" fmla="*/ 4349219 h 7391342"/>
              <a:gd name="connsiteX517" fmla="*/ 1138061 w 9114518"/>
              <a:gd name="connsiteY517" fmla="*/ 4349219 h 7391342"/>
              <a:gd name="connsiteX518" fmla="*/ 1138061 w 9114518"/>
              <a:gd name="connsiteY518" fmla="*/ 4252699 h 7391342"/>
              <a:gd name="connsiteX519" fmla="*/ 1138061 w 9114518"/>
              <a:gd name="connsiteY519" fmla="*/ 3141449 h 7391342"/>
              <a:gd name="connsiteX520" fmla="*/ 3641480 w 9114518"/>
              <a:gd name="connsiteY520" fmla="*/ 3038926 h 7391342"/>
              <a:gd name="connsiteX521" fmla="*/ 3692687 w 9114518"/>
              <a:gd name="connsiteY521" fmla="*/ 3040648 h 7391342"/>
              <a:gd name="connsiteX522" fmla="*/ 3740267 w 9114518"/>
              <a:gd name="connsiteY522" fmla="*/ 3045768 h 7391342"/>
              <a:gd name="connsiteX523" fmla="*/ 3784335 w 9114518"/>
              <a:gd name="connsiteY523" fmla="*/ 3054214 h 7391342"/>
              <a:gd name="connsiteX524" fmla="*/ 3825006 w 9114518"/>
              <a:gd name="connsiteY524" fmla="*/ 3065915 h 7391342"/>
              <a:gd name="connsiteX525" fmla="*/ 3862397 w 9114518"/>
              <a:gd name="connsiteY525" fmla="*/ 3080800 h 7391342"/>
              <a:gd name="connsiteX526" fmla="*/ 3896625 w 9114518"/>
              <a:gd name="connsiteY526" fmla="*/ 3098798 h 7391342"/>
              <a:gd name="connsiteX527" fmla="*/ 3956049 w 9114518"/>
              <a:gd name="connsiteY527" fmla="*/ 3143849 h 7391342"/>
              <a:gd name="connsiteX528" fmla="*/ 4004207 w 9114518"/>
              <a:gd name="connsiteY528" fmla="*/ 3200499 h 7391342"/>
              <a:gd name="connsiteX529" fmla="*/ 4024351 w 9114518"/>
              <a:gd name="connsiteY529" fmla="*/ 3232996 h 7391342"/>
              <a:gd name="connsiteX530" fmla="*/ 4042026 w 9114518"/>
              <a:gd name="connsiteY530" fmla="*/ 3268179 h 7391342"/>
              <a:gd name="connsiteX531" fmla="*/ 4057349 w 9114518"/>
              <a:gd name="connsiteY531" fmla="*/ 3305977 h 7391342"/>
              <a:gd name="connsiteX532" fmla="*/ 4070435 w 9114518"/>
              <a:gd name="connsiteY532" fmla="*/ 3346320 h 7391342"/>
              <a:gd name="connsiteX533" fmla="*/ 4081399 w 9114518"/>
              <a:gd name="connsiteY533" fmla="*/ 3389137 h 7391342"/>
              <a:gd name="connsiteX534" fmla="*/ 4090359 w 9114518"/>
              <a:gd name="connsiteY534" fmla="*/ 3434354 h 7391342"/>
              <a:gd name="connsiteX535" fmla="*/ 4097430 w 9114518"/>
              <a:gd name="connsiteY535" fmla="*/ 3481903 h 7391342"/>
              <a:gd name="connsiteX536" fmla="*/ 4102728 w 9114518"/>
              <a:gd name="connsiteY536" fmla="*/ 3531711 h 7391342"/>
              <a:gd name="connsiteX537" fmla="*/ 4106368 w 9114518"/>
              <a:gd name="connsiteY537" fmla="*/ 3583708 h 7391342"/>
              <a:gd name="connsiteX538" fmla="*/ 4108468 w 9114518"/>
              <a:gd name="connsiteY538" fmla="*/ 3637823 h 7391342"/>
              <a:gd name="connsiteX539" fmla="*/ 4109142 w 9114518"/>
              <a:gd name="connsiteY539" fmla="*/ 3693984 h 7391342"/>
              <a:gd name="connsiteX540" fmla="*/ 4108500 w 9114518"/>
              <a:gd name="connsiteY540" fmla="*/ 3750386 h 7391342"/>
              <a:gd name="connsiteX541" fmla="*/ 4106493 w 9114518"/>
              <a:gd name="connsiteY541" fmla="*/ 3804741 h 7391342"/>
              <a:gd name="connsiteX542" fmla="*/ 4102994 w 9114518"/>
              <a:gd name="connsiteY542" fmla="*/ 3856976 h 7391342"/>
              <a:gd name="connsiteX543" fmla="*/ 4097877 w 9114518"/>
              <a:gd name="connsiteY543" fmla="*/ 3907019 h 7391342"/>
              <a:gd name="connsiteX544" fmla="*/ 4091016 w 9114518"/>
              <a:gd name="connsiteY544" fmla="*/ 3954797 h 7391342"/>
              <a:gd name="connsiteX545" fmla="*/ 4082286 w 9114518"/>
              <a:gd name="connsiteY545" fmla="*/ 4000240 h 7391342"/>
              <a:gd name="connsiteX546" fmla="*/ 4071561 w 9114518"/>
              <a:gd name="connsiteY546" fmla="*/ 4043273 h 7391342"/>
              <a:gd name="connsiteX547" fmla="*/ 4058715 w 9114518"/>
              <a:gd name="connsiteY547" fmla="*/ 4083826 h 7391342"/>
              <a:gd name="connsiteX548" fmla="*/ 4043622 w 9114518"/>
              <a:gd name="connsiteY548" fmla="*/ 4121826 h 7391342"/>
              <a:gd name="connsiteX549" fmla="*/ 4026157 w 9114518"/>
              <a:gd name="connsiteY549" fmla="*/ 4157201 h 7391342"/>
              <a:gd name="connsiteX550" fmla="*/ 4006193 w 9114518"/>
              <a:gd name="connsiteY550" fmla="*/ 4189879 h 7391342"/>
              <a:gd name="connsiteX551" fmla="*/ 3958268 w 9114518"/>
              <a:gd name="connsiteY551" fmla="*/ 4246853 h 7391342"/>
              <a:gd name="connsiteX552" fmla="*/ 3898841 w 9114518"/>
              <a:gd name="connsiteY552" fmla="*/ 4292171 h 7391342"/>
              <a:gd name="connsiteX553" fmla="*/ 3864498 w 9114518"/>
              <a:gd name="connsiteY553" fmla="*/ 4310279 h 7391342"/>
              <a:gd name="connsiteX554" fmla="*/ 3826904 w 9114518"/>
              <a:gd name="connsiteY554" fmla="*/ 4325257 h 7391342"/>
              <a:gd name="connsiteX555" fmla="*/ 3785930 w 9114518"/>
              <a:gd name="connsiteY555" fmla="*/ 4337032 h 7391342"/>
              <a:gd name="connsiteX556" fmla="*/ 3741452 w 9114518"/>
              <a:gd name="connsiteY556" fmla="*/ 4345532 h 7391342"/>
              <a:gd name="connsiteX557" fmla="*/ 3693344 w 9114518"/>
              <a:gd name="connsiteY557" fmla="*/ 4350685 h 7391342"/>
              <a:gd name="connsiteX558" fmla="*/ 3641480 w 9114518"/>
              <a:gd name="connsiteY558" fmla="*/ 4352418 h 7391342"/>
              <a:gd name="connsiteX559" fmla="*/ 3641480 w 9114518"/>
              <a:gd name="connsiteY559" fmla="*/ 4254498 h 7391342"/>
              <a:gd name="connsiteX560" fmla="*/ 3691728 w 9114518"/>
              <a:gd name="connsiteY560" fmla="*/ 4252239 h 7391342"/>
              <a:gd name="connsiteX561" fmla="*/ 3737159 w 9114518"/>
              <a:gd name="connsiteY561" fmla="*/ 4245544 h 7391342"/>
              <a:gd name="connsiteX562" fmla="*/ 3778000 w 9114518"/>
              <a:gd name="connsiteY562" fmla="*/ 4234531 h 7391342"/>
              <a:gd name="connsiteX563" fmla="*/ 3814480 w 9114518"/>
              <a:gd name="connsiteY563" fmla="*/ 4219320 h 7391342"/>
              <a:gd name="connsiteX564" fmla="*/ 3875274 w 9114518"/>
              <a:gd name="connsiteY564" fmla="*/ 4176783 h 7391342"/>
              <a:gd name="connsiteX565" fmla="*/ 3921371 w 9114518"/>
              <a:gd name="connsiteY565" fmla="*/ 4118890 h 7391342"/>
              <a:gd name="connsiteX566" fmla="*/ 3939480 w 9114518"/>
              <a:gd name="connsiteY566" fmla="*/ 4084484 h 7391342"/>
              <a:gd name="connsiteX567" fmla="*/ 3954602 w 9114518"/>
              <a:gd name="connsiteY567" fmla="*/ 4046597 h 7391342"/>
              <a:gd name="connsiteX568" fmla="*/ 3966965 w 9114518"/>
              <a:gd name="connsiteY568" fmla="*/ 4005349 h 7391342"/>
              <a:gd name="connsiteX569" fmla="*/ 3976798 w 9114518"/>
              <a:gd name="connsiteY569" fmla="*/ 3960860 h 7391342"/>
              <a:gd name="connsiteX570" fmla="*/ 3984330 w 9114518"/>
              <a:gd name="connsiteY570" fmla="*/ 3913250 h 7391342"/>
              <a:gd name="connsiteX571" fmla="*/ 3989790 w 9114518"/>
              <a:gd name="connsiteY571" fmla="*/ 3862638 h 7391342"/>
              <a:gd name="connsiteX572" fmla="*/ 3993406 w 9114518"/>
              <a:gd name="connsiteY572" fmla="*/ 3809143 h 7391342"/>
              <a:gd name="connsiteX573" fmla="*/ 3995408 w 9114518"/>
              <a:gd name="connsiteY573" fmla="*/ 3752885 h 7391342"/>
              <a:gd name="connsiteX574" fmla="*/ 3996025 w 9114518"/>
              <a:gd name="connsiteY574" fmla="*/ 3693984 h 7391342"/>
              <a:gd name="connsiteX575" fmla="*/ 3995375 w 9114518"/>
              <a:gd name="connsiteY575" fmla="*/ 3635662 h 7391342"/>
              <a:gd name="connsiteX576" fmla="*/ 3993282 w 9114518"/>
              <a:gd name="connsiteY576" fmla="*/ 3579947 h 7391342"/>
              <a:gd name="connsiteX577" fmla="*/ 3989529 w 9114518"/>
              <a:gd name="connsiteY577" fmla="*/ 3526961 h 7391342"/>
              <a:gd name="connsiteX578" fmla="*/ 3983900 w 9114518"/>
              <a:gd name="connsiteY578" fmla="*/ 3476822 h 7391342"/>
              <a:gd name="connsiteX579" fmla="*/ 3976178 w 9114518"/>
              <a:gd name="connsiteY579" fmla="*/ 3429650 h 7391342"/>
              <a:gd name="connsiteX580" fmla="*/ 3966147 w 9114518"/>
              <a:gd name="connsiteY580" fmla="*/ 3385563 h 7391342"/>
              <a:gd name="connsiteX581" fmla="*/ 3953590 w 9114518"/>
              <a:gd name="connsiteY581" fmla="*/ 3344684 h 7391342"/>
              <a:gd name="connsiteX582" fmla="*/ 3938291 w 9114518"/>
              <a:gd name="connsiteY582" fmla="*/ 3307130 h 7391342"/>
              <a:gd name="connsiteX583" fmla="*/ 3920033 w 9114518"/>
              <a:gd name="connsiteY583" fmla="*/ 3273021 h 7391342"/>
              <a:gd name="connsiteX584" fmla="*/ 3873774 w 9114518"/>
              <a:gd name="connsiteY584" fmla="*/ 3215619 h 7391342"/>
              <a:gd name="connsiteX585" fmla="*/ 3813084 w 9114518"/>
              <a:gd name="connsiteY585" fmla="*/ 3173432 h 7391342"/>
              <a:gd name="connsiteX586" fmla="*/ 3776785 w 9114518"/>
              <a:gd name="connsiteY586" fmla="*/ 3158344 h 7391342"/>
              <a:gd name="connsiteX587" fmla="*/ 3736230 w 9114518"/>
              <a:gd name="connsiteY587" fmla="*/ 3147419 h 7391342"/>
              <a:gd name="connsiteX588" fmla="*/ 3691200 w 9114518"/>
              <a:gd name="connsiteY588" fmla="*/ 3140776 h 7391342"/>
              <a:gd name="connsiteX589" fmla="*/ 3641480 w 9114518"/>
              <a:gd name="connsiteY589" fmla="*/ 3138535 h 7391342"/>
              <a:gd name="connsiteX590" fmla="*/ 3548584 w 9114518"/>
              <a:gd name="connsiteY590" fmla="*/ 3038926 h 7391342"/>
              <a:gd name="connsiteX591" fmla="*/ 3548584 w 9114518"/>
              <a:gd name="connsiteY591" fmla="*/ 3138535 h 7391342"/>
              <a:gd name="connsiteX592" fmla="*/ 3499144 w 9114518"/>
              <a:gd name="connsiteY592" fmla="*/ 3140776 h 7391342"/>
              <a:gd name="connsiteX593" fmla="*/ 3454362 w 9114518"/>
              <a:gd name="connsiteY593" fmla="*/ 3147419 h 7391342"/>
              <a:gd name="connsiteX594" fmla="*/ 3414023 w 9114518"/>
              <a:gd name="connsiteY594" fmla="*/ 3158344 h 7391342"/>
              <a:gd name="connsiteX595" fmla="*/ 3377913 w 9114518"/>
              <a:gd name="connsiteY595" fmla="*/ 3173432 h 7391342"/>
              <a:gd name="connsiteX596" fmla="*/ 3317522 w 9114518"/>
              <a:gd name="connsiteY596" fmla="*/ 3215619 h 7391342"/>
              <a:gd name="connsiteX597" fmla="*/ 3271471 w 9114518"/>
              <a:gd name="connsiteY597" fmla="*/ 3273021 h 7391342"/>
              <a:gd name="connsiteX598" fmla="*/ 3253289 w 9114518"/>
              <a:gd name="connsiteY598" fmla="*/ 3307130 h 7391342"/>
              <a:gd name="connsiteX599" fmla="*/ 3238049 w 9114518"/>
              <a:gd name="connsiteY599" fmla="*/ 3344684 h 7391342"/>
              <a:gd name="connsiteX600" fmla="*/ 3225536 w 9114518"/>
              <a:gd name="connsiteY600" fmla="*/ 3385563 h 7391342"/>
              <a:gd name="connsiteX601" fmla="*/ 3215537 w 9114518"/>
              <a:gd name="connsiteY601" fmla="*/ 3429650 h 7391342"/>
              <a:gd name="connsiteX602" fmla="*/ 3207836 w 9114518"/>
              <a:gd name="connsiteY602" fmla="*/ 3476822 h 7391342"/>
              <a:gd name="connsiteX603" fmla="*/ 3202221 w 9114518"/>
              <a:gd name="connsiteY603" fmla="*/ 3526961 h 7391342"/>
              <a:gd name="connsiteX604" fmla="*/ 3198475 w 9114518"/>
              <a:gd name="connsiteY604" fmla="*/ 3579947 h 7391342"/>
              <a:gd name="connsiteX605" fmla="*/ 3196384 w 9114518"/>
              <a:gd name="connsiteY605" fmla="*/ 3635662 h 7391342"/>
              <a:gd name="connsiteX606" fmla="*/ 3195735 w 9114518"/>
              <a:gd name="connsiteY606" fmla="*/ 3693984 h 7391342"/>
              <a:gd name="connsiteX607" fmla="*/ 3196368 w 9114518"/>
              <a:gd name="connsiteY607" fmla="*/ 3752885 h 7391342"/>
              <a:gd name="connsiteX608" fmla="*/ 3198413 w 9114518"/>
              <a:gd name="connsiteY608" fmla="*/ 3809143 h 7391342"/>
              <a:gd name="connsiteX609" fmla="*/ 3202091 w 9114518"/>
              <a:gd name="connsiteY609" fmla="*/ 3862638 h 7391342"/>
              <a:gd name="connsiteX610" fmla="*/ 3207622 w 9114518"/>
              <a:gd name="connsiteY610" fmla="*/ 3913250 h 7391342"/>
              <a:gd name="connsiteX611" fmla="*/ 3215228 w 9114518"/>
              <a:gd name="connsiteY611" fmla="*/ 3960860 h 7391342"/>
              <a:gd name="connsiteX612" fmla="*/ 3225128 w 9114518"/>
              <a:gd name="connsiteY612" fmla="*/ 4005349 h 7391342"/>
              <a:gd name="connsiteX613" fmla="*/ 3237544 w 9114518"/>
              <a:gd name="connsiteY613" fmla="*/ 4046597 h 7391342"/>
              <a:gd name="connsiteX614" fmla="*/ 3252696 w 9114518"/>
              <a:gd name="connsiteY614" fmla="*/ 4084484 h 7391342"/>
              <a:gd name="connsiteX615" fmla="*/ 3270804 w 9114518"/>
              <a:gd name="connsiteY615" fmla="*/ 4118890 h 7391342"/>
              <a:gd name="connsiteX616" fmla="*/ 3316774 w 9114518"/>
              <a:gd name="connsiteY616" fmla="*/ 4176783 h 7391342"/>
              <a:gd name="connsiteX617" fmla="*/ 3377217 w 9114518"/>
              <a:gd name="connsiteY617" fmla="*/ 4219320 h 7391342"/>
              <a:gd name="connsiteX618" fmla="*/ 3413418 w 9114518"/>
              <a:gd name="connsiteY618" fmla="*/ 4234531 h 7391342"/>
              <a:gd name="connsiteX619" fmla="*/ 3453899 w 9114518"/>
              <a:gd name="connsiteY619" fmla="*/ 4245544 h 7391342"/>
              <a:gd name="connsiteX620" fmla="*/ 3498881 w 9114518"/>
              <a:gd name="connsiteY620" fmla="*/ 4252239 h 7391342"/>
              <a:gd name="connsiteX621" fmla="*/ 3548584 w 9114518"/>
              <a:gd name="connsiteY621" fmla="*/ 4254498 h 7391342"/>
              <a:gd name="connsiteX622" fmla="*/ 3548584 w 9114518"/>
              <a:gd name="connsiteY622" fmla="*/ 4352418 h 7391342"/>
              <a:gd name="connsiteX623" fmla="*/ 3496940 w 9114518"/>
              <a:gd name="connsiteY623" fmla="*/ 4350685 h 7391342"/>
              <a:gd name="connsiteX624" fmla="*/ 3449008 w 9114518"/>
              <a:gd name="connsiteY624" fmla="*/ 4345532 h 7391342"/>
              <a:gd name="connsiteX625" fmla="*/ 3404668 w 9114518"/>
              <a:gd name="connsiteY625" fmla="*/ 4337032 h 7391342"/>
              <a:gd name="connsiteX626" fmla="*/ 3363796 w 9114518"/>
              <a:gd name="connsiteY626" fmla="*/ 4325257 h 7391342"/>
              <a:gd name="connsiteX627" fmla="*/ 3326270 w 9114518"/>
              <a:gd name="connsiteY627" fmla="*/ 4310279 h 7391342"/>
              <a:gd name="connsiteX628" fmla="*/ 3291967 w 9114518"/>
              <a:gd name="connsiteY628" fmla="*/ 4292171 h 7391342"/>
              <a:gd name="connsiteX629" fmla="*/ 3232542 w 9114518"/>
              <a:gd name="connsiteY629" fmla="*/ 4246853 h 7391342"/>
              <a:gd name="connsiteX630" fmla="*/ 3184540 w 9114518"/>
              <a:gd name="connsiteY630" fmla="*/ 4189879 h 7391342"/>
              <a:gd name="connsiteX631" fmla="*/ 3164517 w 9114518"/>
              <a:gd name="connsiteY631" fmla="*/ 4157201 h 7391342"/>
              <a:gd name="connsiteX632" fmla="*/ 3146982 w 9114518"/>
              <a:gd name="connsiteY632" fmla="*/ 4121826 h 7391342"/>
              <a:gd name="connsiteX633" fmla="*/ 3131813 w 9114518"/>
              <a:gd name="connsiteY633" fmla="*/ 4083826 h 7391342"/>
              <a:gd name="connsiteX634" fmla="*/ 3118888 w 9114518"/>
              <a:gd name="connsiteY634" fmla="*/ 4043273 h 7391342"/>
              <a:gd name="connsiteX635" fmla="*/ 3108083 w 9114518"/>
              <a:gd name="connsiteY635" fmla="*/ 4000240 h 7391342"/>
              <a:gd name="connsiteX636" fmla="*/ 3099276 w 9114518"/>
              <a:gd name="connsiteY636" fmla="*/ 3954797 h 7391342"/>
              <a:gd name="connsiteX637" fmla="*/ 3092346 w 9114518"/>
              <a:gd name="connsiteY637" fmla="*/ 3907019 h 7391342"/>
              <a:gd name="connsiteX638" fmla="*/ 3087169 w 9114518"/>
              <a:gd name="connsiteY638" fmla="*/ 3856976 h 7391342"/>
              <a:gd name="connsiteX639" fmla="*/ 3083623 w 9114518"/>
              <a:gd name="connsiteY639" fmla="*/ 3804741 h 7391342"/>
              <a:gd name="connsiteX640" fmla="*/ 3081585 w 9114518"/>
              <a:gd name="connsiteY640" fmla="*/ 3750386 h 7391342"/>
              <a:gd name="connsiteX641" fmla="*/ 3080933 w 9114518"/>
              <a:gd name="connsiteY641" fmla="*/ 3693984 h 7391342"/>
              <a:gd name="connsiteX642" fmla="*/ 3081606 w 9114518"/>
              <a:gd name="connsiteY642" fmla="*/ 3637823 h 7391342"/>
              <a:gd name="connsiteX643" fmla="*/ 3083706 w 9114518"/>
              <a:gd name="connsiteY643" fmla="*/ 3583708 h 7391342"/>
              <a:gd name="connsiteX644" fmla="*/ 3087346 w 9114518"/>
              <a:gd name="connsiteY644" fmla="*/ 3531711 h 7391342"/>
              <a:gd name="connsiteX645" fmla="*/ 3092643 w 9114518"/>
              <a:gd name="connsiteY645" fmla="*/ 3481903 h 7391342"/>
              <a:gd name="connsiteX646" fmla="*/ 3099713 w 9114518"/>
              <a:gd name="connsiteY646" fmla="*/ 3434354 h 7391342"/>
              <a:gd name="connsiteX647" fmla="*/ 3108673 w 9114518"/>
              <a:gd name="connsiteY647" fmla="*/ 3389137 h 7391342"/>
              <a:gd name="connsiteX648" fmla="*/ 3119637 w 9114518"/>
              <a:gd name="connsiteY648" fmla="*/ 3346320 h 7391342"/>
              <a:gd name="connsiteX649" fmla="*/ 3132722 w 9114518"/>
              <a:gd name="connsiteY649" fmla="*/ 3305977 h 7391342"/>
              <a:gd name="connsiteX650" fmla="*/ 3148044 w 9114518"/>
              <a:gd name="connsiteY650" fmla="*/ 3268179 h 7391342"/>
              <a:gd name="connsiteX651" fmla="*/ 3165718 w 9114518"/>
              <a:gd name="connsiteY651" fmla="*/ 3232996 h 7391342"/>
              <a:gd name="connsiteX652" fmla="*/ 3185862 w 9114518"/>
              <a:gd name="connsiteY652" fmla="*/ 3200499 h 7391342"/>
              <a:gd name="connsiteX653" fmla="*/ 3234018 w 9114518"/>
              <a:gd name="connsiteY653" fmla="*/ 3143849 h 7391342"/>
              <a:gd name="connsiteX654" fmla="*/ 3293441 w 9114518"/>
              <a:gd name="connsiteY654" fmla="*/ 3098798 h 7391342"/>
              <a:gd name="connsiteX655" fmla="*/ 3327668 w 9114518"/>
              <a:gd name="connsiteY655" fmla="*/ 3080800 h 7391342"/>
              <a:gd name="connsiteX656" fmla="*/ 3365059 w 9114518"/>
              <a:gd name="connsiteY656" fmla="*/ 3065915 h 7391342"/>
              <a:gd name="connsiteX657" fmla="*/ 3405730 w 9114518"/>
              <a:gd name="connsiteY657" fmla="*/ 3054214 h 7391342"/>
              <a:gd name="connsiteX658" fmla="*/ 3449797 w 9114518"/>
              <a:gd name="connsiteY658" fmla="*/ 3045768 h 7391342"/>
              <a:gd name="connsiteX659" fmla="*/ 3497376 w 9114518"/>
              <a:gd name="connsiteY659" fmla="*/ 3040648 h 7391342"/>
              <a:gd name="connsiteX660" fmla="*/ 3678369 w 9114518"/>
              <a:gd name="connsiteY660" fmla="*/ 2400757 h 7391342"/>
              <a:gd name="connsiteX661" fmla="*/ 4593430 w 9114518"/>
              <a:gd name="connsiteY661" fmla="*/ 2400757 h 7391342"/>
              <a:gd name="connsiteX662" fmla="*/ 4593430 w 9114518"/>
              <a:gd name="connsiteY662" fmla="*/ 2508807 h 7391342"/>
              <a:gd name="connsiteX663" fmla="*/ 3678369 w 9114518"/>
              <a:gd name="connsiteY663" fmla="*/ 2508807 h 7391342"/>
              <a:gd name="connsiteX664" fmla="*/ 2579115 w 9114518"/>
              <a:gd name="connsiteY664" fmla="*/ 2400753 h 7391342"/>
              <a:gd name="connsiteX665" fmla="*/ 3494165 w 9114518"/>
              <a:gd name="connsiteY665" fmla="*/ 2400753 h 7391342"/>
              <a:gd name="connsiteX666" fmla="*/ 3494165 w 9114518"/>
              <a:gd name="connsiteY666" fmla="*/ 2508804 h 7391342"/>
              <a:gd name="connsiteX667" fmla="*/ 2579115 w 9114518"/>
              <a:gd name="connsiteY667" fmla="*/ 2508804 h 7391342"/>
              <a:gd name="connsiteX668" fmla="*/ 3678369 w 9114518"/>
              <a:gd name="connsiteY668" fmla="*/ 2047903 h 7391342"/>
              <a:gd name="connsiteX669" fmla="*/ 4593430 w 9114518"/>
              <a:gd name="connsiteY669" fmla="*/ 2047903 h 7391342"/>
              <a:gd name="connsiteX670" fmla="*/ 4593430 w 9114518"/>
              <a:gd name="connsiteY670" fmla="*/ 2155954 h 7391342"/>
              <a:gd name="connsiteX671" fmla="*/ 3678369 w 9114518"/>
              <a:gd name="connsiteY671" fmla="*/ 2155954 h 7391342"/>
              <a:gd name="connsiteX672" fmla="*/ 2579115 w 9114518"/>
              <a:gd name="connsiteY672" fmla="*/ 2047899 h 7391342"/>
              <a:gd name="connsiteX673" fmla="*/ 3494165 w 9114518"/>
              <a:gd name="connsiteY673" fmla="*/ 2047899 h 7391342"/>
              <a:gd name="connsiteX674" fmla="*/ 3494165 w 9114518"/>
              <a:gd name="connsiteY674" fmla="*/ 2155950 h 7391342"/>
              <a:gd name="connsiteX675" fmla="*/ 2579115 w 9114518"/>
              <a:gd name="connsiteY675" fmla="*/ 2155950 h 7391342"/>
              <a:gd name="connsiteX676" fmla="*/ 6202942 w 9114518"/>
              <a:gd name="connsiteY676" fmla="*/ 1519467 h 7391342"/>
              <a:gd name="connsiteX677" fmla="*/ 6254150 w 9114518"/>
              <a:gd name="connsiteY677" fmla="*/ 1521189 h 7391342"/>
              <a:gd name="connsiteX678" fmla="*/ 6301730 w 9114518"/>
              <a:gd name="connsiteY678" fmla="*/ 1526309 h 7391342"/>
              <a:gd name="connsiteX679" fmla="*/ 6345796 w 9114518"/>
              <a:gd name="connsiteY679" fmla="*/ 1534755 h 7391342"/>
              <a:gd name="connsiteX680" fmla="*/ 6386468 w 9114518"/>
              <a:gd name="connsiteY680" fmla="*/ 1546456 h 7391342"/>
              <a:gd name="connsiteX681" fmla="*/ 6423858 w 9114518"/>
              <a:gd name="connsiteY681" fmla="*/ 1561341 h 7391342"/>
              <a:gd name="connsiteX682" fmla="*/ 6458084 w 9114518"/>
              <a:gd name="connsiteY682" fmla="*/ 1579339 h 7391342"/>
              <a:gd name="connsiteX683" fmla="*/ 6517506 w 9114518"/>
              <a:gd name="connsiteY683" fmla="*/ 1624390 h 7391342"/>
              <a:gd name="connsiteX684" fmla="*/ 6565664 w 9114518"/>
              <a:gd name="connsiteY684" fmla="*/ 1681040 h 7391342"/>
              <a:gd name="connsiteX685" fmla="*/ 6585806 w 9114518"/>
              <a:gd name="connsiteY685" fmla="*/ 1713537 h 7391342"/>
              <a:gd name="connsiteX686" fmla="*/ 6603482 w 9114518"/>
              <a:gd name="connsiteY686" fmla="*/ 1748720 h 7391342"/>
              <a:gd name="connsiteX687" fmla="*/ 6618804 w 9114518"/>
              <a:gd name="connsiteY687" fmla="*/ 1786518 h 7391342"/>
              <a:gd name="connsiteX688" fmla="*/ 6631888 w 9114518"/>
              <a:gd name="connsiteY688" fmla="*/ 1826861 h 7391342"/>
              <a:gd name="connsiteX689" fmla="*/ 6642852 w 9114518"/>
              <a:gd name="connsiteY689" fmla="*/ 1869678 h 7391342"/>
              <a:gd name="connsiteX690" fmla="*/ 6651812 w 9114518"/>
              <a:gd name="connsiteY690" fmla="*/ 1914895 h 7391342"/>
              <a:gd name="connsiteX691" fmla="*/ 6658882 w 9114518"/>
              <a:gd name="connsiteY691" fmla="*/ 1962443 h 7391342"/>
              <a:gd name="connsiteX692" fmla="*/ 6664180 w 9114518"/>
              <a:gd name="connsiteY692" fmla="*/ 2012251 h 7391342"/>
              <a:gd name="connsiteX693" fmla="*/ 6667820 w 9114518"/>
              <a:gd name="connsiteY693" fmla="*/ 2064248 h 7391342"/>
              <a:gd name="connsiteX694" fmla="*/ 6669918 w 9114518"/>
              <a:gd name="connsiteY694" fmla="*/ 2118363 h 7391342"/>
              <a:gd name="connsiteX695" fmla="*/ 6670594 w 9114518"/>
              <a:gd name="connsiteY695" fmla="*/ 2174524 h 7391342"/>
              <a:gd name="connsiteX696" fmla="*/ 6669952 w 9114518"/>
              <a:gd name="connsiteY696" fmla="*/ 2230926 h 7391342"/>
              <a:gd name="connsiteX697" fmla="*/ 6667946 w 9114518"/>
              <a:gd name="connsiteY697" fmla="*/ 2285281 h 7391342"/>
              <a:gd name="connsiteX698" fmla="*/ 6664446 w 9114518"/>
              <a:gd name="connsiteY698" fmla="*/ 2337516 h 7391342"/>
              <a:gd name="connsiteX699" fmla="*/ 6659328 w 9114518"/>
              <a:gd name="connsiteY699" fmla="*/ 2387560 h 7391342"/>
              <a:gd name="connsiteX700" fmla="*/ 6652468 w 9114518"/>
              <a:gd name="connsiteY700" fmla="*/ 2435337 h 7391342"/>
              <a:gd name="connsiteX701" fmla="*/ 6643740 w 9114518"/>
              <a:gd name="connsiteY701" fmla="*/ 2480781 h 7391342"/>
              <a:gd name="connsiteX702" fmla="*/ 6633014 w 9114518"/>
              <a:gd name="connsiteY702" fmla="*/ 2523814 h 7391342"/>
              <a:gd name="connsiteX703" fmla="*/ 6620170 w 9114518"/>
              <a:gd name="connsiteY703" fmla="*/ 2564367 h 7391342"/>
              <a:gd name="connsiteX704" fmla="*/ 6605078 w 9114518"/>
              <a:gd name="connsiteY704" fmla="*/ 2602367 h 7391342"/>
              <a:gd name="connsiteX705" fmla="*/ 6587612 w 9114518"/>
              <a:gd name="connsiteY705" fmla="*/ 2637742 h 7391342"/>
              <a:gd name="connsiteX706" fmla="*/ 6567650 w 9114518"/>
              <a:gd name="connsiteY706" fmla="*/ 2670420 h 7391342"/>
              <a:gd name="connsiteX707" fmla="*/ 6519726 w 9114518"/>
              <a:gd name="connsiteY707" fmla="*/ 2727394 h 7391342"/>
              <a:gd name="connsiteX708" fmla="*/ 6460300 w 9114518"/>
              <a:gd name="connsiteY708" fmla="*/ 2772712 h 7391342"/>
              <a:gd name="connsiteX709" fmla="*/ 6425960 w 9114518"/>
              <a:gd name="connsiteY709" fmla="*/ 2790820 h 7391342"/>
              <a:gd name="connsiteX710" fmla="*/ 6388366 w 9114518"/>
              <a:gd name="connsiteY710" fmla="*/ 2805798 h 7391342"/>
              <a:gd name="connsiteX711" fmla="*/ 6347392 w 9114518"/>
              <a:gd name="connsiteY711" fmla="*/ 2817573 h 7391342"/>
              <a:gd name="connsiteX712" fmla="*/ 6302914 w 9114518"/>
              <a:gd name="connsiteY712" fmla="*/ 2826073 h 7391342"/>
              <a:gd name="connsiteX713" fmla="*/ 6254806 w 9114518"/>
              <a:gd name="connsiteY713" fmla="*/ 2831226 h 7391342"/>
              <a:gd name="connsiteX714" fmla="*/ 6202942 w 9114518"/>
              <a:gd name="connsiteY714" fmla="*/ 2832959 h 7391342"/>
              <a:gd name="connsiteX715" fmla="*/ 6202942 w 9114518"/>
              <a:gd name="connsiteY715" fmla="*/ 2735039 h 7391342"/>
              <a:gd name="connsiteX716" fmla="*/ 6253190 w 9114518"/>
              <a:gd name="connsiteY716" fmla="*/ 2732780 h 7391342"/>
              <a:gd name="connsiteX717" fmla="*/ 6298622 w 9114518"/>
              <a:gd name="connsiteY717" fmla="*/ 2726085 h 7391342"/>
              <a:gd name="connsiteX718" fmla="*/ 6339462 w 9114518"/>
              <a:gd name="connsiteY718" fmla="*/ 2715072 h 7391342"/>
              <a:gd name="connsiteX719" fmla="*/ 6375942 w 9114518"/>
              <a:gd name="connsiteY719" fmla="*/ 2699861 h 7391342"/>
              <a:gd name="connsiteX720" fmla="*/ 6436736 w 9114518"/>
              <a:gd name="connsiteY720" fmla="*/ 2657324 h 7391342"/>
              <a:gd name="connsiteX721" fmla="*/ 6482832 w 9114518"/>
              <a:gd name="connsiteY721" fmla="*/ 2599431 h 7391342"/>
              <a:gd name="connsiteX722" fmla="*/ 6500942 w 9114518"/>
              <a:gd name="connsiteY722" fmla="*/ 2565024 h 7391342"/>
              <a:gd name="connsiteX723" fmla="*/ 6516064 w 9114518"/>
              <a:gd name="connsiteY723" fmla="*/ 2527138 h 7391342"/>
              <a:gd name="connsiteX724" fmla="*/ 6528426 w 9114518"/>
              <a:gd name="connsiteY724" fmla="*/ 2485890 h 7391342"/>
              <a:gd name="connsiteX725" fmla="*/ 6538260 w 9114518"/>
              <a:gd name="connsiteY725" fmla="*/ 2441401 h 7391342"/>
              <a:gd name="connsiteX726" fmla="*/ 6545792 w 9114518"/>
              <a:gd name="connsiteY726" fmla="*/ 2393791 h 7391342"/>
              <a:gd name="connsiteX727" fmla="*/ 6551252 w 9114518"/>
              <a:gd name="connsiteY727" fmla="*/ 2343178 h 7391342"/>
              <a:gd name="connsiteX728" fmla="*/ 6554868 w 9114518"/>
              <a:gd name="connsiteY728" fmla="*/ 2289683 h 7391342"/>
              <a:gd name="connsiteX729" fmla="*/ 6556870 w 9114518"/>
              <a:gd name="connsiteY729" fmla="*/ 2233425 h 7391342"/>
              <a:gd name="connsiteX730" fmla="*/ 6557486 w 9114518"/>
              <a:gd name="connsiteY730" fmla="*/ 2174524 h 7391342"/>
              <a:gd name="connsiteX731" fmla="*/ 6556836 w 9114518"/>
              <a:gd name="connsiteY731" fmla="*/ 2116203 h 7391342"/>
              <a:gd name="connsiteX732" fmla="*/ 6554744 w 9114518"/>
              <a:gd name="connsiteY732" fmla="*/ 2060487 h 7391342"/>
              <a:gd name="connsiteX733" fmla="*/ 6550990 w 9114518"/>
              <a:gd name="connsiteY733" fmla="*/ 2007501 h 7391342"/>
              <a:gd name="connsiteX734" fmla="*/ 6545362 w 9114518"/>
              <a:gd name="connsiteY734" fmla="*/ 1957362 h 7391342"/>
              <a:gd name="connsiteX735" fmla="*/ 6537640 w 9114518"/>
              <a:gd name="connsiteY735" fmla="*/ 1910190 h 7391342"/>
              <a:gd name="connsiteX736" fmla="*/ 6527608 w 9114518"/>
              <a:gd name="connsiteY736" fmla="*/ 1866104 h 7391342"/>
              <a:gd name="connsiteX737" fmla="*/ 6515052 w 9114518"/>
              <a:gd name="connsiteY737" fmla="*/ 1825226 h 7391342"/>
              <a:gd name="connsiteX738" fmla="*/ 6499752 w 9114518"/>
              <a:gd name="connsiteY738" fmla="*/ 1787671 h 7391342"/>
              <a:gd name="connsiteX739" fmla="*/ 6481494 w 9114518"/>
              <a:gd name="connsiteY739" fmla="*/ 1753562 h 7391342"/>
              <a:gd name="connsiteX740" fmla="*/ 6435236 w 9114518"/>
              <a:gd name="connsiteY740" fmla="*/ 1696160 h 7391342"/>
              <a:gd name="connsiteX741" fmla="*/ 6374546 w 9114518"/>
              <a:gd name="connsiteY741" fmla="*/ 1653973 h 7391342"/>
              <a:gd name="connsiteX742" fmla="*/ 6338248 w 9114518"/>
              <a:gd name="connsiteY742" fmla="*/ 1638885 h 7391342"/>
              <a:gd name="connsiteX743" fmla="*/ 6297692 w 9114518"/>
              <a:gd name="connsiteY743" fmla="*/ 1627960 h 7391342"/>
              <a:gd name="connsiteX744" fmla="*/ 6252662 w 9114518"/>
              <a:gd name="connsiteY744" fmla="*/ 1621317 h 7391342"/>
              <a:gd name="connsiteX745" fmla="*/ 6202942 w 9114518"/>
              <a:gd name="connsiteY745" fmla="*/ 1619076 h 7391342"/>
              <a:gd name="connsiteX746" fmla="*/ 6110023 w 9114518"/>
              <a:gd name="connsiteY746" fmla="*/ 1519467 h 7391342"/>
              <a:gd name="connsiteX747" fmla="*/ 6110023 w 9114518"/>
              <a:gd name="connsiteY747" fmla="*/ 1619076 h 7391342"/>
              <a:gd name="connsiteX748" fmla="*/ 6060583 w 9114518"/>
              <a:gd name="connsiteY748" fmla="*/ 1621317 h 7391342"/>
              <a:gd name="connsiteX749" fmla="*/ 6015801 w 9114518"/>
              <a:gd name="connsiteY749" fmla="*/ 1627960 h 7391342"/>
              <a:gd name="connsiteX750" fmla="*/ 5975462 w 9114518"/>
              <a:gd name="connsiteY750" fmla="*/ 1638885 h 7391342"/>
              <a:gd name="connsiteX751" fmla="*/ 5939352 w 9114518"/>
              <a:gd name="connsiteY751" fmla="*/ 1653973 h 7391342"/>
              <a:gd name="connsiteX752" fmla="*/ 5878960 w 9114518"/>
              <a:gd name="connsiteY752" fmla="*/ 1696160 h 7391342"/>
              <a:gd name="connsiteX753" fmla="*/ 5832910 w 9114518"/>
              <a:gd name="connsiteY753" fmla="*/ 1753562 h 7391342"/>
              <a:gd name="connsiteX754" fmla="*/ 5814728 w 9114518"/>
              <a:gd name="connsiteY754" fmla="*/ 1787671 h 7391342"/>
              <a:gd name="connsiteX755" fmla="*/ 5799488 w 9114518"/>
              <a:gd name="connsiteY755" fmla="*/ 1825226 h 7391342"/>
              <a:gd name="connsiteX756" fmla="*/ 5786975 w 9114518"/>
              <a:gd name="connsiteY756" fmla="*/ 1866104 h 7391342"/>
              <a:gd name="connsiteX757" fmla="*/ 5776976 w 9114518"/>
              <a:gd name="connsiteY757" fmla="*/ 1910190 h 7391342"/>
              <a:gd name="connsiteX758" fmla="*/ 5769275 w 9114518"/>
              <a:gd name="connsiteY758" fmla="*/ 1957362 h 7391342"/>
              <a:gd name="connsiteX759" fmla="*/ 5763660 w 9114518"/>
              <a:gd name="connsiteY759" fmla="*/ 2007501 h 7391342"/>
              <a:gd name="connsiteX760" fmla="*/ 5759914 w 9114518"/>
              <a:gd name="connsiteY760" fmla="*/ 2060487 h 7391342"/>
              <a:gd name="connsiteX761" fmla="*/ 5757823 w 9114518"/>
              <a:gd name="connsiteY761" fmla="*/ 2116203 h 7391342"/>
              <a:gd name="connsiteX762" fmla="*/ 5757174 w 9114518"/>
              <a:gd name="connsiteY762" fmla="*/ 2174524 h 7391342"/>
              <a:gd name="connsiteX763" fmla="*/ 5757807 w 9114518"/>
              <a:gd name="connsiteY763" fmla="*/ 2233425 h 7391342"/>
              <a:gd name="connsiteX764" fmla="*/ 5759852 w 9114518"/>
              <a:gd name="connsiteY764" fmla="*/ 2289683 h 7391342"/>
              <a:gd name="connsiteX765" fmla="*/ 5763530 w 9114518"/>
              <a:gd name="connsiteY765" fmla="*/ 2343178 h 7391342"/>
              <a:gd name="connsiteX766" fmla="*/ 5769061 w 9114518"/>
              <a:gd name="connsiteY766" fmla="*/ 2393791 h 7391342"/>
              <a:gd name="connsiteX767" fmla="*/ 5776667 w 9114518"/>
              <a:gd name="connsiteY767" fmla="*/ 2441401 h 7391342"/>
              <a:gd name="connsiteX768" fmla="*/ 5786567 w 9114518"/>
              <a:gd name="connsiteY768" fmla="*/ 2485890 h 7391342"/>
              <a:gd name="connsiteX769" fmla="*/ 5798983 w 9114518"/>
              <a:gd name="connsiteY769" fmla="*/ 2527138 h 7391342"/>
              <a:gd name="connsiteX770" fmla="*/ 5814135 w 9114518"/>
              <a:gd name="connsiteY770" fmla="*/ 2565024 h 7391342"/>
              <a:gd name="connsiteX771" fmla="*/ 5832243 w 9114518"/>
              <a:gd name="connsiteY771" fmla="*/ 2599431 h 7391342"/>
              <a:gd name="connsiteX772" fmla="*/ 5878214 w 9114518"/>
              <a:gd name="connsiteY772" fmla="*/ 2657324 h 7391342"/>
              <a:gd name="connsiteX773" fmla="*/ 5938656 w 9114518"/>
              <a:gd name="connsiteY773" fmla="*/ 2699861 h 7391342"/>
              <a:gd name="connsiteX774" fmla="*/ 5974857 w 9114518"/>
              <a:gd name="connsiteY774" fmla="*/ 2715072 h 7391342"/>
              <a:gd name="connsiteX775" fmla="*/ 6015338 w 9114518"/>
              <a:gd name="connsiteY775" fmla="*/ 2726085 h 7391342"/>
              <a:gd name="connsiteX776" fmla="*/ 6060320 w 9114518"/>
              <a:gd name="connsiteY776" fmla="*/ 2732780 h 7391342"/>
              <a:gd name="connsiteX777" fmla="*/ 6110023 w 9114518"/>
              <a:gd name="connsiteY777" fmla="*/ 2735039 h 7391342"/>
              <a:gd name="connsiteX778" fmla="*/ 6110023 w 9114518"/>
              <a:gd name="connsiteY778" fmla="*/ 2832959 h 7391342"/>
              <a:gd name="connsiteX779" fmla="*/ 6058379 w 9114518"/>
              <a:gd name="connsiteY779" fmla="*/ 2831226 h 7391342"/>
              <a:gd name="connsiteX780" fmla="*/ 6010447 w 9114518"/>
              <a:gd name="connsiteY780" fmla="*/ 2826073 h 7391342"/>
              <a:gd name="connsiteX781" fmla="*/ 5966107 w 9114518"/>
              <a:gd name="connsiteY781" fmla="*/ 2817573 h 7391342"/>
              <a:gd name="connsiteX782" fmla="*/ 5925235 w 9114518"/>
              <a:gd name="connsiteY782" fmla="*/ 2805798 h 7391342"/>
              <a:gd name="connsiteX783" fmla="*/ 5887709 w 9114518"/>
              <a:gd name="connsiteY783" fmla="*/ 2790820 h 7391342"/>
              <a:gd name="connsiteX784" fmla="*/ 5853406 w 9114518"/>
              <a:gd name="connsiteY784" fmla="*/ 2772712 h 7391342"/>
              <a:gd name="connsiteX785" fmla="*/ 5793981 w 9114518"/>
              <a:gd name="connsiteY785" fmla="*/ 2727394 h 7391342"/>
              <a:gd name="connsiteX786" fmla="*/ 5745979 w 9114518"/>
              <a:gd name="connsiteY786" fmla="*/ 2670420 h 7391342"/>
              <a:gd name="connsiteX787" fmla="*/ 5725956 w 9114518"/>
              <a:gd name="connsiteY787" fmla="*/ 2637742 h 7391342"/>
              <a:gd name="connsiteX788" fmla="*/ 5708421 w 9114518"/>
              <a:gd name="connsiteY788" fmla="*/ 2602367 h 7391342"/>
              <a:gd name="connsiteX789" fmla="*/ 5693252 w 9114518"/>
              <a:gd name="connsiteY789" fmla="*/ 2564367 h 7391342"/>
              <a:gd name="connsiteX790" fmla="*/ 5680327 w 9114518"/>
              <a:gd name="connsiteY790" fmla="*/ 2523814 h 7391342"/>
              <a:gd name="connsiteX791" fmla="*/ 5669522 w 9114518"/>
              <a:gd name="connsiteY791" fmla="*/ 2480781 h 7391342"/>
              <a:gd name="connsiteX792" fmla="*/ 5660715 w 9114518"/>
              <a:gd name="connsiteY792" fmla="*/ 2435337 h 7391342"/>
              <a:gd name="connsiteX793" fmla="*/ 5653785 w 9114518"/>
              <a:gd name="connsiteY793" fmla="*/ 2387560 h 7391342"/>
              <a:gd name="connsiteX794" fmla="*/ 5648608 w 9114518"/>
              <a:gd name="connsiteY794" fmla="*/ 2337516 h 7391342"/>
              <a:gd name="connsiteX795" fmla="*/ 5645062 w 9114518"/>
              <a:gd name="connsiteY795" fmla="*/ 2285281 h 7391342"/>
              <a:gd name="connsiteX796" fmla="*/ 5643024 w 9114518"/>
              <a:gd name="connsiteY796" fmla="*/ 2230926 h 7391342"/>
              <a:gd name="connsiteX797" fmla="*/ 5642372 w 9114518"/>
              <a:gd name="connsiteY797" fmla="*/ 2174524 h 7391342"/>
              <a:gd name="connsiteX798" fmla="*/ 5643045 w 9114518"/>
              <a:gd name="connsiteY798" fmla="*/ 2118363 h 7391342"/>
              <a:gd name="connsiteX799" fmla="*/ 5645145 w 9114518"/>
              <a:gd name="connsiteY799" fmla="*/ 2064248 h 7391342"/>
              <a:gd name="connsiteX800" fmla="*/ 5648785 w 9114518"/>
              <a:gd name="connsiteY800" fmla="*/ 2012251 h 7391342"/>
              <a:gd name="connsiteX801" fmla="*/ 5654082 w 9114518"/>
              <a:gd name="connsiteY801" fmla="*/ 1962443 h 7391342"/>
              <a:gd name="connsiteX802" fmla="*/ 5661152 w 9114518"/>
              <a:gd name="connsiteY802" fmla="*/ 1914895 h 7391342"/>
              <a:gd name="connsiteX803" fmla="*/ 5670112 w 9114518"/>
              <a:gd name="connsiteY803" fmla="*/ 1869678 h 7391342"/>
              <a:gd name="connsiteX804" fmla="*/ 5681076 w 9114518"/>
              <a:gd name="connsiteY804" fmla="*/ 1826861 h 7391342"/>
              <a:gd name="connsiteX805" fmla="*/ 5694161 w 9114518"/>
              <a:gd name="connsiteY805" fmla="*/ 1786518 h 7391342"/>
              <a:gd name="connsiteX806" fmla="*/ 5709483 w 9114518"/>
              <a:gd name="connsiteY806" fmla="*/ 1748720 h 7391342"/>
              <a:gd name="connsiteX807" fmla="*/ 5727157 w 9114518"/>
              <a:gd name="connsiteY807" fmla="*/ 1713537 h 7391342"/>
              <a:gd name="connsiteX808" fmla="*/ 5747301 w 9114518"/>
              <a:gd name="connsiteY808" fmla="*/ 1681040 h 7391342"/>
              <a:gd name="connsiteX809" fmla="*/ 5795457 w 9114518"/>
              <a:gd name="connsiteY809" fmla="*/ 1624390 h 7391342"/>
              <a:gd name="connsiteX810" fmla="*/ 5854880 w 9114518"/>
              <a:gd name="connsiteY810" fmla="*/ 1579339 h 7391342"/>
              <a:gd name="connsiteX811" fmla="*/ 5889107 w 9114518"/>
              <a:gd name="connsiteY811" fmla="*/ 1561341 h 7391342"/>
              <a:gd name="connsiteX812" fmla="*/ 5926498 w 9114518"/>
              <a:gd name="connsiteY812" fmla="*/ 1546456 h 7391342"/>
              <a:gd name="connsiteX813" fmla="*/ 5967169 w 9114518"/>
              <a:gd name="connsiteY813" fmla="*/ 1534755 h 7391342"/>
              <a:gd name="connsiteX814" fmla="*/ 6011236 w 9114518"/>
              <a:gd name="connsiteY814" fmla="*/ 1526309 h 7391342"/>
              <a:gd name="connsiteX815" fmla="*/ 6058815 w 9114518"/>
              <a:gd name="connsiteY815" fmla="*/ 1521189 h 7391342"/>
              <a:gd name="connsiteX816" fmla="*/ 4207776 w 9114518"/>
              <a:gd name="connsiteY816" fmla="*/ 1033233 h 7391342"/>
              <a:gd name="connsiteX817" fmla="*/ 4417120 w 9114518"/>
              <a:gd name="connsiteY817" fmla="*/ 1033233 h 7391342"/>
              <a:gd name="connsiteX818" fmla="*/ 4417120 w 9114518"/>
              <a:gd name="connsiteY818" fmla="*/ 1208814 h 7391342"/>
              <a:gd name="connsiteX819" fmla="*/ 4207776 w 9114518"/>
              <a:gd name="connsiteY819" fmla="*/ 1208814 h 7391342"/>
              <a:gd name="connsiteX820" fmla="*/ 5865088 w 9114518"/>
              <a:gd name="connsiteY820" fmla="*/ 881295 h 7391342"/>
              <a:gd name="connsiteX821" fmla="*/ 6780150 w 9114518"/>
              <a:gd name="connsiteY821" fmla="*/ 881295 h 7391342"/>
              <a:gd name="connsiteX822" fmla="*/ 6780150 w 9114518"/>
              <a:gd name="connsiteY822" fmla="*/ 989345 h 7391342"/>
              <a:gd name="connsiteX823" fmla="*/ 5865088 w 9114518"/>
              <a:gd name="connsiteY823" fmla="*/ 989345 h 7391342"/>
              <a:gd name="connsiteX824" fmla="*/ 5865088 w 9114518"/>
              <a:gd name="connsiteY824" fmla="*/ 528441 h 7391342"/>
              <a:gd name="connsiteX825" fmla="*/ 6780150 w 9114518"/>
              <a:gd name="connsiteY825" fmla="*/ 528441 h 7391342"/>
              <a:gd name="connsiteX826" fmla="*/ 6780150 w 9114518"/>
              <a:gd name="connsiteY826" fmla="*/ 636492 h 7391342"/>
              <a:gd name="connsiteX827" fmla="*/ 5865088 w 9114518"/>
              <a:gd name="connsiteY827" fmla="*/ 636492 h 7391342"/>
              <a:gd name="connsiteX828" fmla="*/ 7862878 w 9114518"/>
              <a:gd name="connsiteY828" fmla="*/ 7089 h 7391342"/>
              <a:gd name="connsiteX829" fmla="*/ 8241058 w 9114518"/>
              <a:gd name="connsiteY829" fmla="*/ 7089 h 7391342"/>
              <a:gd name="connsiteX830" fmla="*/ 8241058 w 9114518"/>
              <a:gd name="connsiteY830" fmla="*/ 103609 h 7391342"/>
              <a:gd name="connsiteX831" fmla="*/ 7979374 w 9114518"/>
              <a:gd name="connsiteY831" fmla="*/ 103609 h 7391342"/>
              <a:gd name="connsiteX832" fmla="*/ 7979374 w 9114518"/>
              <a:gd name="connsiteY832" fmla="*/ 1213589 h 7391342"/>
              <a:gd name="connsiteX833" fmla="*/ 8241058 w 9114518"/>
              <a:gd name="connsiteY833" fmla="*/ 1213589 h 7391342"/>
              <a:gd name="connsiteX834" fmla="*/ 8241058 w 9114518"/>
              <a:gd name="connsiteY834" fmla="*/ 1310109 h 7391342"/>
              <a:gd name="connsiteX835" fmla="*/ 7862878 w 9114518"/>
              <a:gd name="connsiteY835" fmla="*/ 1310109 h 7391342"/>
              <a:gd name="connsiteX836" fmla="*/ 7862878 w 9114518"/>
              <a:gd name="connsiteY836" fmla="*/ 1213589 h 7391342"/>
              <a:gd name="connsiteX837" fmla="*/ 7862878 w 9114518"/>
              <a:gd name="connsiteY837" fmla="*/ 103609 h 7391342"/>
              <a:gd name="connsiteX838" fmla="*/ 3051834 w 9114518"/>
              <a:gd name="connsiteY838" fmla="*/ 2 h 7391342"/>
              <a:gd name="connsiteX839" fmla="*/ 3051834 w 9114518"/>
              <a:gd name="connsiteY839" fmla="*/ 99613 h 7391342"/>
              <a:gd name="connsiteX840" fmla="*/ 3002394 w 9114518"/>
              <a:gd name="connsiteY840" fmla="*/ 101852 h 7391342"/>
              <a:gd name="connsiteX841" fmla="*/ 2957611 w 9114518"/>
              <a:gd name="connsiteY841" fmla="*/ 108497 h 7391342"/>
              <a:gd name="connsiteX842" fmla="*/ 2917272 w 9114518"/>
              <a:gd name="connsiteY842" fmla="*/ 119421 h 7391342"/>
              <a:gd name="connsiteX843" fmla="*/ 2881161 w 9114518"/>
              <a:gd name="connsiteY843" fmla="*/ 134509 h 7391342"/>
              <a:gd name="connsiteX844" fmla="*/ 2820768 w 9114518"/>
              <a:gd name="connsiteY844" fmla="*/ 176694 h 7391342"/>
              <a:gd name="connsiteX845" fmla="*/ 2774716 w 9114518"/>
              <a:gd name="connsiteY845" fmla="*/ 234098 h 7391342"/>
              <a:gd name="connsiteX846" fmla="*/ 2756533 w 9114518"/>
              <a:gd name="connsiteY846" fmla="*/ 268206 h 7391342"/>
              <a:gd name="connsiteX847" fmla="*/ 2741291 w 9114518"/>
              <a:gd name="connsiteY847" fmla="*/ 305760 h 7391342"/>
              <a:gd name="connsiteX848" fmla="*/ 2728778 w 9114518"/>
              <a:gd name="connsiteY848" fmla="*/ 346640 h 7391342"/>
              <a:gd name="connsiteX849" fmla="*/ 2718778 w 9114518"/>
              <a:gd name="connsiteY849" fmla="*/ 390725 h 7391342"/>
              <a:gd name="connsiteX850" fmla="*/ 2711077 w 9114518"/>
              <a:gd name="connsiteY850" fmla="*/ 437898 h 7391342"/>
              <a:gd name="connsiteX851" fmla="*/ 2705460 w 9114518"/>
              <a:gd name="connsiteY851" fmla="*/ 488037 h 7391342"/>
              <a:gd name="connsiteX852" fmla="*/ 2701714 w 9114518"/>
              <a:gd name="connsiteY852" fmla="*/ 541024 h 7391342"/>
              <a:gd name="connsiteX853" fmla="*/ 2699623 w 9114518"/>
              <a:gd name="connsiteY853" fmla="*/ 596738 h 7391342"/>
              <a:gd name="connsiteX854" fmla="*/ 2698974 w 9114518"/>
              <a:gd name="connsiteY854" fmla="*/ 655061 h 7391342"/>
              <a:gd name="connsiteX855" fmla="*/ 2699607 w 9114518"/>
              <a:gd name="connsiteY855" fmla="*/ 713962 h 7391342"/>
              <a:gd name="connsiteX856" fmla="*/ 2701652 w 9114518"/>
              <a:gd name="connsiteY856" fmla="*/ 770219 h 7391342"/>
              <a:gd name="connsiteX857" fmla="*/ 2705331 w 9114518"/>
              <a:gd name="connsiteY857" fmla="*/ 823713 h 7391342"/>
              <a:gd name="connsiteX858" fmla="*/ 2710863 w 9114518"/>
              <a:gd name="connsiteY858" fmla="*/ 874325 h 7391342"/>
              <a:gd name="connsiteX859" fmla="*/ 2718469 w 9114518"/>
              <a:gd name="connsiteY859" fmla="*/ 921936 h 7391342"/>
              <a:gd name="connsiteX860" fmla="*/ 2728370 w 9114518"/>
              <a:gd name="connsiteY860" fmla="*/ 966424 h 7391342"/>
              <a:gd name="connsiteX861" fmla="*/ 2740787 w 9114518"/>
              <a:gd name="connsiteY861" fmla="*/ 1007672 h 7391342"/>
              <a:gd name="connsiteX862" fmla="*/ 2755940 w 9114518"/>
              <a:gd name="connsiteY862" fmla="*/ 1045559 h 7391342"/>
              <a:gd name="connsiteX863" fmla="*/ 2774049 w 9114518"/>
              <a:gd name="connsiteY863" fmla="*/ 1079966 h 7391342"/>
              <a:gd name="connsiteX864" fmla="*/ 2820020 w 9114518"/>
              <a:gd name="connsiteY864" fmla="*/ 1137858 h 7391342"/>
              <a:gd name="connsiteX865" fmla="*/ 2880465 w 9114518"/>
              <a:gd name="connsiteY865" fmla="*/ 1180395 h 7391342"/>
              <a:gd name="connsiteX866" fmla="*/ 2916667 w 9114518"/>
              <a:gd name="connsiteY866" fmla="*/ 1195607 h 7391342"/>
              <a:gd name="connsiteX867" fmla="*/ 2957148 w 9114518"/>
              <a:gd name="connsiteY867" fmla="*/ 1206620 h 7391342"/>
              <a:gd name="connsiteX868" fmla="*/ 3002130 w 9114518"/>
              <a:gd name="connsiteY868" fmla="*/ 1213314 h 7391342"/>
              <a:gd name="connsiteX869" fmla="*/ 3051834 w 9114518"/>
              <a:gd name="connsiteY869" fmla="*/ 1215573 h 7391342"/>
              <a:gd name="connsiteX870" fmla="*/ 3051834 w 9114518"/>
              <a:gd name="connsiteY870" fmla="*/ 1313495 h 7391342"/>
              <a:gd name="connsiteX871" fmla="*/ 3000188 w 9114518"/>
              <a:gd name="connsiteY871" fmla="*/ 1311761 h 7391342"/>
              <a:gd name="connsiteX872" fmla="*/ 2952255 w 9114518"/>
              <a:gd name="connsiteY872" fmla="*/ 1306609 h 7391342"/>
              <a:gd name="connsiteX873" fmla="*/ 2907914 w 9114518"/>
              <a:gd name="connsiteY873" fmla="*/ 1298108 h 7391342"/>
              <a:gd name="connsiteX874" fmla="*/ 2867041 w 9114518"/>
              <a:gd name="connsiteY874" fmla="*/ 1286333 h 7391342"/>
              <a:gd name="connsiteX875" fmla="*/ 2829514 w 9114518"/>
              <a:gd name="connsiteY875" fmla="*/ 1271355 h 7391342"/>
              <a:gd name="connsiteX876" fmla="*/ 2795209 w 9114518"/>
              <a:gd name="connsiteY876" fmla="*/ 1253247 h 7391342"/>
              <a:gd name="connsiteX877" fmla="*/ 2735783 w 9114518"/>
              <a:gd name="connsiteY877" fmla="*/ 1207930 h 7391342"/>
              <a:gd name="connsiteX878" fmla="*/ 2687781 w 9114518"/>
              <a:gd name="connsiteY878" fmla="*/ 1150955 h 7391342"/>
              <a:gd name="connsiteX879" fmla="*/ 2667757 w 9114518"/>
              <a:gd name="connsiteY879" fmla="*/ 1118277 h 7391342"/>
              <a:gd name="connsiteX880" fmla="*/ 2650222 w 9114518"/>
              <a:gd name="connsiteY880" fmla="*/ 1082902 h 7391342"/>
              <a:gd name="connsiteX881" fmla="*/ 2635053 w 9114518"/>
              <a:gd name="connsiteY881" fmla="*/ 1044902 h 7391342"/>
              <a:gd name="connsiteX882" fmla="*/ 2622127 w 9114518"/>
              <a:gd name="connsiteY882" fmla="*/ 1004349 h 7391342"/>
              <a:gd name="connsiteX883" fmla="*/ 2611322 w 9114518"/>
              <a:gd name="connsiteY883" fmla="*/ 961316 h 7391342"/>
              <a:gd name="connsiteX884" fmla="*/ 2602516 w 9114518"/>
              <a:gd name="connsiteY884" fmla="*/ 915873 h 7391342"/>
              <a:gd name="connsiteX885" fmla="*/ 2595585 w 9114518"/>
              <a:gd name="connsiteY885" fmla="*/ 868095 h 7391342"/>
              <a:gd name="connsiteX886" fmla="*/ 2590408 w 9114518"/>
              <a:gd name="connsiteY886" fmla="*/ 818052 h 7391342"/>
              <a:gd name="connsiteX887" fmla="*/ 2586862 w 9114518"/>
              <a:gd name="connsiteY887" fmla="*/ 765818 h 7391342"/>
              <a:gd name="connsiteX888" fmla="*/ 2584824 w 9114518"/>
              <a:gd name="connsiteY888" fmla="*/ 711463 h 7391342"/>
              <a:gd name="connsiteX889" fmla="*/ 2584172 w 9114518"/>
              <a:gd name="connsiteY889" fmla="*/ 655061 h 7391342"/>
              <a:gd name="connsiteX890" fmla="*/ 2584846 w 9114518"/>
              <a:gd name="connsiteY890" fmla="*/ 598899 h 7391342"/>
              <a:gd name="connsiteX891" fmla="*/ 2586945 w 9114518"/>
              <a:gd name="connsiteY891" fmla="*/ 544784 h 7391342"/>
              <a:gd name="connsiteX892" fmla="*/ 2590585 w 9114518"/>
              <a:gd name="connsiteY892" fmla="*/ 492788 h 7391342"/>
              <a:gd name="connsiteX893" fmla="*/ 2595883 w 9114518"/>
              <a:gd name="connsiteY893" fmla="*/ 442980 h 7391342"/>
              <a:gd name="connsiteX894" fmla="*/ 2602954 w 9114518"/>
              <a:gd name="connsiteY894" fmla="*/ 395431 h 7391342"/>
              <a:gd name="connsiteX895" fmla="*/ 2611914 w 9114518"/>
              <a:gd name="connsiteY895" fmla="*/ 350213 h 7391342"/>
              <a:gd name="connsiteX896" fmla="*/ 2622878 w 9114518"/>
              <a:gd name="connsiteY896" fmla="*/ 307398 h 7391342"/>
              <a:gd name="connsiteX897" fmla="*/ 2635964 w 9114518"/>
              <a:gd name="connsiteY897" fmla="*/ 267054 h 7391342"/>
              <a:gd name="connsiteX898" fmla="*/ 2651287 w 9114518"/>
              <a:gd name="connsiteY898" fmla="*/ 229257 h 7391342"/>
              <a:gd name="connsiteX899" fmla="*/ 2668962 w 9114518"/>
              <a:gd name="connsiteY899" fmla="*/ 194074 h 7391342"/>
              <a:gd name="connsiteX900" fmla="*/ 2689106 w 9114518"/>
              <a:gd name="connsiteY900" fmla="*/ 161576 h 7391342"/>
              <a:gd name="connsiteX901" fmla="*/ 2737264 w 9114518"/>
              <a:gd name="connsiteY901" fmla="*/ 104925 h 7391342"/>
              <a:gd name="connsiteX902" fmla="*/ 2796688 w 9114518"/>
              <a:gd name="connsiteY902" fmla="*/ 59876 h 7391342"/>
              <a:gd name="connsiteX903" fmla="*/ 2830916 w 9114518"/>
              <a:gd name="connsiteY903" fmla="*/ 41878 h 7391342"/>
              <a:gd name="connsiteX904" fmla="*/ 2868307 w 9114518"/>
              <a:gd name="connsiteY904" fmla="*/ 26992 h 7391342"/>
              <a:gd name="connsiteX905" fmla="*/ 2908979 w 9114518"/>
              <a:gd name="connsiteY905" fmla="*/ 15290 h 7391342"/>
              <a:gd name="connsiteX906" fmla="*/ 2953046 w 9114518"/>
              <a:gd name="connsiteY906" fmla="*/ 6845 h 7391342"/>
              <a:gd name="connsiteX907" fmla="*/ 3000626 w 9114518"/>
              <a:gd name="connsiteY907" fmla="*/ 1724 h 7391342"/>
              <a:gd name="connsiteX908" fmla="*/ 8336918 w 9114518"/>
              <a:gd name="connsiteY908" fmla="*/ 1 h 7391342"/>
              <a:gd name="connsiteX909" fmla="*/ 8388126 w 9114518"/>
              <a:gd name="connsiteY909" fmla="*/ 1723 h 7391342"/>
              <a:gd name="connsiteX910" fmla="*/ 8435706 w 9114518"/>
              <a:gd name="connsiteY910" fmla="*/ 6843 h 7391342"/>
              <a:gd name="connsiteX911" fmla="*/ 8479774 w 9114518"/>
              <a:gd name="connsiteY911" fmla="*/ 15289 h 7391342"/>
              <a:gd name="connsiteX912" fmla="*/ 8520444 w 9114518"/>
              <a:gd name="connsiteY912" fmla="*/ 26990 h 7391342"/>
              <a:gd name="connsiteX913" fmla="*/ 8557834 w 9114518"/>
              <a:gd name="connsiteY913" fmla="*/ 41875 h 7391342"/>
              <a:gd name="connsiteX914" fmla="*/ 8592062 w 9114518"/>
              <a:gd name="connsiteY914" fmla="*/ 59873 h 7391342"/>
              <a:gd name="connsiteX915" fmla="*/ 8651484 w 9114518"/>
              <a:gd name="connsiteY915" fmla="*/ 104924 h 7391342"/>
              <a:gd name="connsiteX916" fmla="*/ 8699640 w 9114518"/>
              <a:gd name="connsiteY916" fmla="*/ 161574 h 7391342"/>
              <a:gd name="connsiteX917" fmla="*/ 8719784 w 9114518"/>
              <a:gd name="connsiteY917" fmla="*/ 194071 h 7391342"/>
              <a:gd name="connsiteX918" fmla="*/ 8737458 w 9114518"/>
              <a:gd name="connsiteY918" fmla="*/ 229254 h 7391342"/>
              <a:gd name="connsiteX919" fmla="*/ 8752780 w 9114518"/>
              <a:gd name="connsiteY919" fmla="*/ 267052 h 7391342"/>
              <a:gd name="connsiteX920" fmla="*/ 8765866 w 9114518"/>
              <a:gd name="connsiteY920" fmla="*/ 307395 h 7391342"/>
              <a:gd name="connsiteX921" fmla="*/ 8776830 w 9114518"/>
              <a:gd name="connsiteY921" fmla="*/ 350211 h 7391342"/>
              <a:gd name="connsiteX922" fmla="*/ 8785788 w 9114518"/>
              <a:gd name="connsiteY922" fmla="*/ 395428 h 7391342"/>
              <a:gd name="connsiteX923" fmla="*/ 8792860 w 9114518"/>
              <a:gd name="connsiteY923" fmla="*/ 442977 h 7391342"/>
              <a:gd name="connsiteX924" fmla="*/ 8798158 w 9114518"/>
              <a:gd name="connsiteY924" fmla="*/ 492785 h 7391342"/>
              <a:gd name="connsiteX925" fmla="*/ 8801798 w 9114518"/>
              <a:gd name="connsiteY925" fmla="*/ 544782 h 7391342"/>
              <a:gd name="connsiteX926" fmla="*/ 8803896 w 9114518"/>
              <a:gd name="connsiteY926" fmla="*/ 598897 h 7391342"/>
              <a:gd name="connsiteX927" fmla="*/ 8804570 w 9114518"/>
              <a:gd name="connsiteY927" fmla="*/ 655058 h 7391342"/>
              <a:gd name="connsiteX928" fmla="*/ 8803930 w 9114518"/>
              <a:gd name="connsiteY928" fmla="*/ 711460 h 7391342"/>
              <a:gd name="connsiteX929" fmla="*/ 8801922 w 9114518"/>
              <a:gd name="connsiteY929" fmla="*/ 765815 h 7391342"/>
              <a:gd name="connsiteX930" fmla="*/ 8798422 w 9114518"/>
              <a:gd name="connsiteY930" fmla="*/ 818050 h 7391342"/>
              <a:gd name="connsiteX931" fmla="*/ 8793306 w 9114518"/>
              <a:gd name="connsiteY931" fmla="*/ 868094 h 7391342"/>
              <a:gd name="connsiteX932" fmla="*/ 8786446 w 9114518"/>
              <a:gd name="connsiteY932" fmla="*/ 915872 h 7391342"/>
              <a:gd name="connsiteX933" fmla="*/ 8777716 w 9114518"/>
              <a:gd name="connsiteY933" fmla="*/ 961315 h 7391342"/>
              <a:gd name="connsiteX934" fmla="*/ 8766992 w 9114518"/>
              <a:gd name="connsiteY934" fmla="*/ 1004348 h 7391342"/>
              <a:gd name="connsiteX935" fmla="*/ 8754146 w 9114518"/>
              <a:gd name="connsiteY935" fmla="*/ 1044900 h 7391342"/>
              <a:gd name="connsiteX936" fmla="*/ 8739054 w 9114518"/>
              <a:gd name="connsiteY936" fmla="*/ 1082901 h 7391342"/>
              <a:gd name="connsiteX937" fmla="*/ 8721590 w 9114518"/>
              <a:gd name="connsiteY937" fmla="*/ 1118276 h 7391342"/>
              <a:gd name="connsiteX938" fmla="*/ 8701628 w 9114518"/>
              <a:gd name="connsiteY938" fmla="*/ 1150954 h 7391342"/>
              <a:gd name="connsiteX939" fmla="*/ 8653704 w 9114518"/>
              <a:gd name="connsiteY939" fmla="*/ 1207928 h 7391342"/>
              <a:gd name="connsiteX940" fmla="*/ 8594278 w 9114518"/>
              <a:gd name="connsiteY940" fmla="*/ 1253246 h 7391342"/>
              <a:gd name="connsiteX941" fmla="*/ 8559936 w 9114518"/>
              <a:gd name="connsiteY941" fmla="*/ 1271354 h 7391342"/>
              <a:gd name="connsiteX942" fmla="*/ 8522342 w 9114518"/>
              <a:gd name="connsiteY942" fmla="*/ 1286332 h 7391342"/>
              <a:gd name="connsiteX943" fmla="*/ 8481370 w 9114518"/>
              <a:gd name="connsiteY943" fmla="*/ 1298107 h 7391342"/>
              <a:gd name="connsiteX944" fmla="*/ 8436892 w 9114518"/>
              <a:gd name="connsiteY944" fmla="*/ 1306607 h 7391342"/>
              <a:gd name="connsiteX945" fmla="*/ 8388784 w 9114518"/>
              <a:gd name="connsiteY945" fmla="*/ 1311760 h 7391342"/>
              <a:gd name="connsiteX946" fmla="*/ 8336918 w 9114518"/>
              <a:gd name="connsiteY946" fmla="*/ 1313493 h 7391342"/>
              <a:gd name="connsiteX947" fmla="*/ 8336918 w 9114518"/>
              <a:gd name="connsiteY947" fmla="*/ 1215572 h 7391342"/>
              <a:gd name="connsiteX948" fmla="*/ 8387168 w 9114518"/>
              <a:gd name="connsiteY948" fmla="*/ 1213313 h 7391342"/>
              <a:gd name="connsiteX949" fmla="*/ 8432598 w 9114518"/>
              <a:gd name="connsiteY949" fmla="*/ 1206618 h 7391342"/>
              <a:gd name="connsiteX950" fmla="*/ 8473438 w 9114518"/>
              <a:gd name="connsiteY950" fmla="*/ 1195605 h 7391342"/>
              <a:gd name="connsiteX951" fmla="*/ 8509918 w 9114518"/>
              <a:gd name="connsiteY951" fmla="*/ 1180394 h 7391342"/>
              <a:gd name="connsiteX952" fmla="*/ 8570710 w 9114518"/>
              <a:gd name="connsiteY952" fmla="*/ 1137857 h 7391342"/>
              <a:gd name="connsiteX953" fmla="*/ 8616804 w 9114518"/>
              <a:gd name="connsiteY953" fmla="*/ 1079964 h 7391342"/>
              <a:gd name="connsiteX954" fmla="*/ 8634912 w 9114518"/>
              <a:gd name="connsiteY954" fmla="*/ 1045558 h 7391342"/>
              <a:gd name="connsiteX955" fmla="*/ 8650034 w 9114518"/>
              <a:gd name="connsiteY955" fmla="*/ 1007671 h 7391342"/>
              <a:gd name="connsiteX956" fmla="*/ 8662396 w 9114518"/>
              <a:gd name="connsiteY956" fmla="*/ 966423 h 7391342"/>
              <a:gd name="connsiteX957" fmla="*/ 8672228 w 9114518"/>
              <a:gd name="connsiteY957" fmla="*/ 921934 h 7391342"/>
              <a:gd name="connsiteX958" fmla="*/ 8679760 w 9114518"/>
              <a:gd name="connsiteY958" fmla="*/ 874323 h 7391342"/>
              <a:gd name="connsiteX959" fmla="*/ 8685218 w 9114518"/>
              <a:gd name="connsiteY959" fmla="*/ 823711 h 7391342"/>
              <a:gd name="connsiteX960" fmla="*/ 8688834 w 9114518"/>
              <a:gd name="connsiteY960" fmla="*/ 770216 h 7391342"/>
              <a:gd name="connsiteX961" fmla="*/ 8690836 w 9114518"/>
              <a:gd name="connsiteY961" fmla="*/ 713959 h 7391342"/>
              <a:gd name="connsiteX962" fmla="*/ 8691452 w 9114518"/>
              <a:gd name="connsiteY962" fmla="*/ 655058 h 7391342"/>
              <a:gd name="connsiteX963" fmla="*/ 8690804 w 9114518"/>
              <a:gd name="connsiteY963" fmla="*/ 596735 h 7391342"/>
              <a:gd name="connsiteX964" fmla="*/ 8688710 w 9114518"/>
              <a:gd name="connsiteY964" fmla="*/ 541021 h 7391342"/>
              <a:gd name="connsiteX965" fmla="*/ 8684958 w 9114518"/>
              <a:gd name="connsiteY965" fmla="*/ 488035 h 7391342"/>
              <a:gd name="connsiteX966" fmla="*/ 8679330 w 9114518"/>
              <a:gd name="connsiteY966" fmla="*/ 437895 h 7391342"/>
              <a:gd name="connsiteX967" fmla="*/ 8671608 w 9114518"/>
              <a:gd name="connsiteY967" fmla="*/ 390723 h 7391342"/>
              <a:gd name="connsiteX968" fmla="*/ 8661578 w 9114518"/>
              <a:gd name="connsiteY968" fmla="*/ 346638 h 7391342"/>
              <a:gd name="connsiteX969" fmla="*/ 8649022 w 9114518"/>
              <a:gd name="connsiteY969" fmla="*/ 305758 h 7391342"/>
              <a:gd name="connsiteX970" fmla="*/ 8633724 w 9114518"/>
              <a:gd name="connsiteY970" fmla="*/ 268204 h 7391342"/>
              <a:gd name="connsiteX971" fmla="*/ 8615466 w 9114518"/>
              <a:gd name="connsiteY971" fmla="*/ 234096 h 7391342"/>
              <a:gd name="connsiteX972" fmla="*/ 8569210 w 9114518"/>
              <a:gd name="connsiteY972" fmla="*/ 176693 h 7391342"/>
              <a:gd name="connsiteX973" fmla="*/ 8508522 w 9114518"/>
              <a:gd name="connsiteY973" fmla="*/ 134507 h 7391342"/>
              <a:gd name="connsiteX974" fmla="*/ 8472224 w 9114518"/>
              <a:gd name="connsiteY974" fmla="*/ 119419 h 7391342"/>
              <a:gd name="connsiteX975" fmla="*/ 8431668 w 9114518"/>
              <a:gd name="connsiteY975" fmla="*/ 108494 h 7391342"/>
              <a:gd name="connsiteX976" fmla="*/ 8386640 w 9114518"/>
              <a:gd name="connsiteY976" fmla="*/ 101851 h 7391342"/>
              <a:gd name="connsiteX977" fmla="*/ 8336918 w 9114518"/>
              <a:gd name="connsiteY977" fmla="*/ 99610 h 7391342"/>
              <a:gd name="connsiteX978" fmla="*/ 3144752 w 9114518"/>
              <a:gd name="connsiteY978" fmla="*/ 0 h 7391342"/>
              <a:gd name="connsiteX979" fmla="*/ 3195959 w 9114518"/>
              <a:gd name="connsiteY979" fmla="*/ 1722 h 7391342"/>
              <a:gd name="connsiteX980" fmla="*/ 3243539 w 9114518"/>
              <a:gd name="connsiteY980" fmla="*/ 6842 h 7391342"/>
              <a:gd name="connsiteX981" fmla="*/ 3287606 w 9114518"/>
              <a:gd name="connsiteY981" fmla="*/ 15288 h 7391342"/>
              <a:gd name="connsiteX982" fmla="*/ 3328277 w 9114518"/>
              <a:gd name="connsiteY982" fmla="*/ 26989 h 7391342"/>
              <a:gd name="connsiteX983" fmla="*/ 3365667 w 9114518"/>
              <a:gd name="connsiteY983" fmla="*/ 41874 h 7391342"/>
              <a:gd name="connsiteX984" fmla="*/ 3399895 w 9114518"/>
              <a:gd name="connsiteY984" fmla="*/ 59872 h 7391342"/>
              <a:gd name="connsiteX985" fmla="*/ 3459317 w 9114518"/>
              <a:gd name="connsiteY985" fmla="*/ 104923 h 7391342"/>
              <a:gd name="connsiteX986" fmla="*/ 3507474 w 9114518"/>
              <a:gd name="connsiteY986" fmla="*/ 161573 h 7391342"/>
              <a:gd name="connsiteX987" fmla="*/ 3527617 w 9114518"/>
              <a:gd name="connsiteY987" fmla="*/ 194070 h 7391342"/>
              <a:gd name="connsiteX988" fmla="*/ 3545292 w 9114518"/>
              <a:gd name="connsiteY988" fmla="*/ 229253 h 7391342"/>
              <a:gd name="connsiteX989" fmla="*/ 3560614 w 9114518"/>
              <a:gd name="connsiteY989" fmla="*/ 267051 h 7391342"/>
              <a:gd name="connsiteX990" fmla="*/ 3573699 w 9114518"/>
              <a:gd name="connsiteY990" fmla="*/ 307394 h 7391342"/>
              <a:gd name="connsiteX991" fmla="*/ 3584663 w 9114518"/>
              <a:gd name="connsiteY991" fmla="*/ 350210 h 7391342"/>
              <a:gd name="connsiteX992" fmla="*/ 3593622 w 9114518"/>
              <a:gd name="connsiteY992" fmla="*/ 395427 h 7391342"/>
              <a:gd name="connsiteX993" fmla="*/ 3600693 w 9114518"/>
              <a:gd name="connsiteY993" fmla="*/ 442977 h 7391342"/>
              <a:gd name="connsiteX994" fmla="*/ 3605990 w 9114518"/>
              <a:gd name="connsiteY994" fmla="*/ 492785 h 7391342"/>
              <a:gd name="connsiteX995" fmla="*/ 3609630 w 9114518"/>
              <a:gd name="connsiteY995" fmla="*/ 544782 h 7391342"/>
              <a:gd name="connsiteX996" fmla="*/ 3611729 w 9114518"/>
              <a:gd name="connsiteY996" fmla="*/ 598897 h 7391342"/>
              <a:gd name="connsiteX997" fmla="*/ 3612403 w 9114518"/>
              <a:gd name="connsiteY997" fmla="*/ 655058 h 7391342"/>
              <a:gd name="connsiteX998" fmla="*/ 3611762 w 9114518"/>
              <a:gd name="connsiteY998" fmla="*/ 711460 h 7391342"/>
              <a:gd name="connsiteX999" fmla="*/ 3609755 w 9114518"/>
              <a:gd name="connsiteY999" fmla="*/ 765815 h 7391342"/>
              <a:gd name="connsiteX1000" fmla="*/ 3606255 w 9114518"/>
              <a:gd name="connsiteY1000" fmla="*/ 818050 h 7391342"/>
              <a:gd name="connsiteX1001" fmla="*/ 3601138 w 9114518"/>
              <a:gd name="connsiteY1001" fmla="*/ 868093 h 7391342"/>
              <a:gd name="connsiteX1002" fmla="*/ 3594278 w 9114518"/>
              <a:gd name="connsiteY1002" fmla="*/ 915871 h 7391342"/>
              <a:gd name="connsiteX1003" fmla="*/ 3585548 w 9114518"/>
              <a:gd name="connsiteY1003" fmla="*/ 961314 h 7391342"/>
              <a:gd name="connsiteX1004" fmla="*/ 3574823 w 9114518"/>
              <a:gd name="connsiteY1004" fmla="*/ 1004347 h 7391342"/>
              <a:gd name="connsiteX1005" fmla="*/ 3561977 w 9114518"/>
              <a:gd name="connsiteY1005" fmla="*/ 1044900 h 7391342"/>
              <a:gd name="connsiteX1006" fmla="*/ 3546884 w 9114518"/>
              <a:gd name="connsiteY1006" fmla="*/ 1082900 h 7391342"/>
              <a:gd name="connsiteX1007" fmla="*/ 3529420 w 9114518"/>
              <a:gd name="connsiteY1007" fmla="*/ 1118275 h 7391342"/>
              <a:gd name="connsiteX1008" fmla="*/ 3509456 w 9114518"/>
              <a:gd name="connsiteY1008" fmla="*/ 1150953 h 7391342"/>
              <a:gd name="connsiteX1009" fmla="*/ 3461532 w 9114518"/>
              <a:gd name="connsiteY1009" fmla="*/ 1207927 h 7391342"/>
              <a:gd name="connsiteX1010" fmla="*/ 3402106 w 9114518"/>
              <a:gd name="connsiteY1010" fmla="*/ 1253245 h 7391342"/>
              <a:gd name="connsiteX1011" fmla="*/ 3367764 w 9114518"/>
              <a:gd name="connsiteY1011" fmla="*/ 1271353 h 7391342"/>
              <a:gd name="connsiteX1012" fmla="*/ 3330171 w 9114518"/>
              <a:gd name="connsiteY1012" fmla="*/ 1286331 h 7391342"/>
              <a:gd name="connsiteX1013" fmla="*/ 3289198 w 9114518"/>
              <a:gd name="connsiteY1013" fmla="*/ 1298106 h 7391342"/>
              <a:gd name="connsiteX1014" fmla="*/ 3244722 w 9114518"/>
              <a:gd name="connsiteY1014" fmla="*/ 1306606 h 7391342"/>
              <a:gd name="connsiteX1015" fmla="*/ 3196615 w 9114518"/>
              <a:gd name="connsiteY1015" fmla="*/ 1311759 h 7391342"/>
              <a:gd name="connsiteX1016" fmla="*/ 3144752 w 9114518"/>
              <a:gd name="connsiteY1016" fmla="*/ 1313492 h 7391342"/>
              <a:gd name="connsiteX1017" fmla="*/ 3144752 w 9114518"/>
              <a:gd name="connsiteY1017" fmla="*/ 1215571 h 7391342"/>
              <a:gd name="connsiteX1018" fmla="*/ 3194999 w 9114518"/>
              <a:gd name="connsiteY1018" fmla="*/ 1213312 h 7391342"/>
              <a:gd name="connsiteX1019" fmla="*/ 3240428 w 9114518"/>
              <a:gd name="connsiteY1019" fmla="*/ 1206617 h 7391342"/>
              <a:gd name="connsiteX1020" fmla="*/ 3281267 w 9114518"/>
              <a:gd name="connsiteY1020" fmla="*/ 1195604 h 7391342"/>
              <a:gd name="connsiteX1021" fmla="*/ 3317746 w 9114518"/>
              <a:gd name="connsiteY1021" fmla="*/ 1180393 h 7391342"/>
              <a:gd name="connsiteX1022" fmla="*/ 3378538 w 9114518"/>
              <a:gd name="connsiteY1022" fmla="*/ 1137856 h 7391342"/>
              <a:gd name="connsiteX1023" fmla="*/ 3424634 w 9114518"/>
              <a:gd name="connsiteY1023" fmla="*/ 1079963 h 7391342"/>
              <a:gd name="connsiteX1024" fmla="*/ 3442743 w 9114518"/>
              <a:gd name="connsiteY1024" fmla="*/ 1045557 h 7391342"/>
              <a:gd name="connsiteX1025" fmla="*/ 3457864 w 9114518"/>
              <a:gd name="connsiteY1025" fmla="*/ 1007670 h 7391342"/>
              <a:gd name="connsiteX1026" fmla="*/ 3470227 w 9114518"/>
              <a:gd name="connsiteY1026" fmla="*/ 966422 h 7391342"/>
              <a:gd name="connsiteX1027" fmla="*/ 3480060 w 9114518"/>
              <a:gd name="connsiteY1027" fmla="*/ 921934 h 7391342"/>
              <a:gd name="connsiteX1028" fmla="*/ 3487591 w 9114518"/>
              <a:gd name="connsiteY1028" fmla="*/ 874323 h 7391342"/>
              <a:gd name="connsiteX1029" fmla="*/ 3493051 w 9114518"/>
              <a:gd name="connsiteY1029" fmla="*/ 823711 h 7391342"/>
              <a:gd name="connsiteX1030" fmla="*/ 3496668 w 9114518"/>
              <a:gd name="connsiteY1030" fmla="*/ 770216 h 7391342"/>
              <a:gd name="connsiteX1031" fmla="*/ 3498670 w 9114518"/>
              <a:gd name="connsiteY1031" fmla="*/ 713959 h 7391342"/>
              <a:gd name="connsiteX1032" fmla="*/ 3499286 w 9114518"/>
              <a:gd name="connsiteY1032" fmla="*/ 655058 h 7391342"/>
              <a:gd name="connsiteX1033" fmla="*/ 3498637 w 9114518"/>
              <a:gd name="connsiteY1033" fmla="*/ 596735 h 7391342"/>
              <a:gd name="connsiteX1034" fmla="*/ 3496544 w 9114518"/>
              <a:gd name="connsiteY1034" fmla="*/ 541021 h 7391342"/>
              <a:gd name="connsiteX1035" fmla="*/ 3492792 w 9114518"/>
              <a:gd name="connsiteY1035" fmla="*/ 488034 h 7391342"/>
              <a:gd name="connsiteX1036" fmla="*/ 3487163 w 9114518"/>
              <a:gd name="connsiteY1036" fmla="*/ 437895 h 7391342"/>
              <a:gd name="connsiteX1037" fmla="*/ 3479442 w 9114518"/>
              <a:gd name="connsiteY1037" fmla="*/ 390722 h 7391342"/>
              <a:gd name="connsiteX1038" fmla="*/ 3469411 w 9114518"/>
              <a:gd name="connsiteY1038" fmla="*/ 346637 h 7391342"/>
              <a:gd name="connsiteX1039" fmla="*/ 3456855 w 9114518"/>
              <a:gd name="connsiteY1039" fmla="*/ 305757 h 7391342"/>
              <a:gd name="connsiteX1040" fmla="*/ 3441557 w 9114518"/>
              <a:gd name="connsiteY1040" fmla="*/ 268203 h 7391342"/>
              <a:gd name="connsiteX1041" fmla="*/ 3423300 w 9114518"/>
              <a:gd name="connsiteY1041" fmla="*/ 234095 h 7391342"/>
              <a:gd name="connsiteX1042" fmla="*/ 3377044 w 9114518"/>
              <a:gd name="connsiteY1042" fmla="*/ 176692 h 7391342"/>
              <a:gd name="connsiteX1043" fmla="*/ 3316354 w 9114518"/>
              <a:gd name="connsiteY1043" fmla="*/ 134506 h 7391342"/>
              <a:gd name="connsiteX1044" fmla="*/ 3280057 w 9114518"/>
              <a:gd name="connsiteY1044" fmla="*/ 119418 h 7391342"/>
              <a:gd name="connsiteX1045" fmla="*/ 3239501 w 9114518"/>
              <a:gd name="connsiteY1045" fmla="*/ 108493 h 7391342"/>
              <a:gd name="connsiteX1046" fmla="*/ 3194472 w 9114518"/>
              <a:gd name="connsiteY1046" fmla="*/ 101850 h 7391342"/>
              <a:gd name="connsiteX1047" fmla="*/ 3144752 w 9114518"/>
              <a:gd name="connsiteY1047" fmla="*/ 99609 h 739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Lst>
            <a:rect l="l" t="t" r="r" b="b"/>
            <a:pathLst>
              <a:path w="9114518" h="7391342">
                <a:moveTo>
                  <a:pt x="6423906" y="7111086"/>
                </a:moveTo>
                <a:lnTo>
                  <a:pt x="6633262" y="7111086"/>
                </a:lnTo>
                <a:lnTo>
                  <a:pt x="6633262" y="7286668"/>
                </a:lnTo>
                <a:lnTo>
                  <a:pt x="6423906" y="7286668"/>
                </a:lnTo>
                <a:close/>
                <a:moveTo>
                  <a:pt x="3371709" y="6959141"/>
                </a:moveTo>
                <a:lnTo>
                  <a:pt x="4286770" y="6959141"/>
                </a:lnTo>
                <a:lnTo>
                  <a:pt x="4286770" y="7067193"/>
                </a:lnTo>
                <a:lnTo>
                  <a:pt x="3371709" y="7067193"/>
                </a:lnTo>
                <a:close/>
                <a:moveTo>
                  <a:pt x="3371709" y="6606288"/>
                </a:moveTo>
                <a:lnTo>
                  <a:pt x="4286770" y="6606288"/>
                </a:lnTo>
                <a:lnTo>
                  <a:pt x="4286770" y="6714340"/>
                </a:lnTo>
                <a:lnTo>
                  <a:pt x="3371709" y="6714340"/>
                </a:lnTo>
                <a:close/>
                <a:moveTo>
                  <a:pt x="5418710" y="6084039"/>
                </a:moveTo>
                <a:lnTo>
                  <a:pt x="5796891" y="6084039"/>
                </a:lnTo>
                <a:lnTo>
                  <a:pt x="5796891" y="6180559"/>
                </a:lnTo>
                <a:lnTo>
                  <a:pt x="5796891" y="7291809"/>
                </a:lnTo>
                <a:lnTo>
                  <a:pt x="5796891" y="7388329"/>
                </a:lnTo>
                <a:lnTo>
                  <a:pt x="5418710" y="7388329"/>
                </a:lnTo>
                <a:lnTo>
                  <a:pt x="5418710" y="7291809"/>
                </a:lnTo>
                <a:lnTo>
                  <a:pt x="5680394" y="7291809"/>
                </a:lnTo>
                <a:lnTo>
                  <a:pt x="5680394" y="6180559"/>
                </a:lnTo>
                <a:lnTo>
                  <a:pt x="5418710" y="6180559"/>
                </a:lnTo>
                <a:close/>
                <a:moveTo>
                  <a:pt x="4939629" y="6084039"/>
                </a:moveTo>
                <a:lnTo>
                  <a:pt x="5317797" y="6084039"/>
                </a:lnTo>
                <a:lnTo>
                  <a:pt x="5317797" y="6180559"/>
                </a:lnTo>
                <a:lnTo>
                  <a:pt x="5056113" y="6180559"/>
                </a:lnTo>
                <a:lnTo>
                  <a:pt x="5056113" y="7291809"/>
                </a:lnTo>
                <a:lnTo>
                  <a:pt x="5317797" y="7291809"/>
                </a:lnTo>
                <a:lnTo>
                  <a:pt x="5317797" y="7388329"/>
                </a:lnTo>
                <a:lnTo>
                  <a:pt x="4939629" y="7388329"/>
                </a:lnTo>
                <a:lnTo>
                  <a:pt x="4939629" y="7291809"/>
                </a:lnTo>
                <a:lnTo>
                  <a:pt x="4939629" y="6180559"/>
                </a:lnTo>
                <a:close/>
                <a:moveTo>
                  <a:pt x="8646856" y="6077851"/>
                </a:moveTo>
                <a:lnTo>
                  <a:pt x="8698064" y="6079573"/>
                </a:lnTo>
                <a:lnTo>
                  <a:pt x="8745644" y="6084693"/>
                </a:lnTo>
                <a:lnTo>
                  <a:pt x="8789712" y="6093139"/>
                </a:lnTo>
                <a:lnTo>
                  <a:pt x="8830382" y="6104840"/>
                </a:lnTo>
                <a:lnTo>
                  <a:pt x="8867774" y="6119725"/>
                </a:lnTo>
                <a:lnTo>
                  <a:pt x="8902000" y="6137723"/>
                </a:lnTo>
                <a:lnTo>
                  <a:pt x="8961424" y="6182774"/>
                </a:lnTo>
                <a:lnTo>
                  <a:pt x="9009582" y="6239424"/>
                </a:lnTo>
                <a:lnTo>
                  <a:pt x="9029726" y="6271921"/>
                </a:lnTo>
                <a:lnTo>
                  <a:pt x="9047402" y="6307104"/>
                </a:lnTo>
                <a:lnTo>
                  <a:pt x="9062724" y="6344902"/>
                </a:lnTo>
                <a:lnTo>
                  <a:pt x="9075810" y="6385245"/>
                </a:lnTo>
                <a:lnTo>
                  <a:pt x="9086774" y="6428061"/>
                </a:lnTo>
                <a:lnTo>
                  <a:pt x="9095734" y="6473278"/>
                </a:lnTo>
                <a:lnTo>
                  <a:pt x="9102806" y="6520827"/>
                </a:lnTo>
                <a:lnTo>
                  <a:pt x="9108104" y="6570635"/>
                </a:lnTo>
                <a:lnTo>
                  <a:pt x="9111744" y="6622632"/>
                </a:lnTo>
                <a:lnTo>
                  <a:pt x="9113844" y="6676747"/>
                </a:lnTo>
                <a:lnTo>
                  <a:pt x="9114518" y="6732908"/>
                </a:lnTo>
                <a:lnTo>
                  <a:pt x="9113876" y="6789310"/>
                </a:lnTo>
                <a:lnTo>
                  <a:pt x="9111870" y="6843665"/>
                </a:lnTo>
                <a:lnTo>
                  <a:pt x="9108370" y="6895900"/>
                </a:lnTo>
                <a:lnTo>
                  <a:pt x="9103252" y="6945943"/>
                </a:lnTo>
                <a:lnTo>
                  <a:pt x="9096392" y="6993721"/>
                </a:lnTo>
                <a:lnTo>
                  <a:pt x="9087662" y="7039164"/>
                </a:lnTo>
                <a:lnTo>
                  <a:pt x="9076936" y="7082197"/>
                </a:lnTo>
                <a:lnTo>
                  <a:pt x="9064090" y="7122750"/>
                </a:lnTo>
                <a:lnTo>
                  <a:pt x="9048998" y="7160750"/>
                </a:lnTo>
                <a:lnTo>
                  <a:pt x="9031532" y="7196125"/>
                </a:lnTo>
                <a:lnTo>
                  <a:pt x="9011568" y="7228803"/>
                </a:lnTo>
                <a:lnTo>
                  <a:pt x="8963644" y="7285777"/>
                </a:lnTo>
                <a:lnTo>
                  <a:pt x="8904216" y="7331095"/>
                </a:lnTo>
                <a:lnTo>
                  <a:pt x="8869874" y="7349203"/>
                </a:lnTo>
                <a:lnTo>
                  <a:pt x="8832280" y="7364181"/>
                </a:lnTo>
                <a:lnTo>
                  <a:pt x="8791306" y="7375956"/>
                </a:lnTo>
                <a:lnTo>
                  <a:pt x="8746828" y="7384456"/>
                </a:lnTo>
                <a:lnTo>
                  <a:pt x="8698720" y="7389609"/>
                </a:lnTo>
                <a:lnTo>
                  <a:pt x="8646856" y="7391342"/>
                </a:lnTo>
                <a:lnTo>
                  <a:pt x="8646856" y="7293421"/>
                </a:lnTo>
                <a:lnTo>
                  <a:pt x="8697104" y="7291162"/>
                </a:lnTo>
                <a:lnTo>
                  <a:pt x="8742536" y="7284467"/>
                </a:lnTo>
                <a:lnTo>
                  <a:pt x="8783376" y="7273454"/>
                </a:lnTo>
                <a:lnTo>
                  <a:pt x="8819856" y="7258243"/>
                </a:lnTo>
                <a:lnTo>
                  <a:pt x="8880650" y="7215706"/>
                </a:lnTo>
                <a:lnTo>
                  <a:pt x="8926746" y="7157813"/>
                </a:lnTo>
                <a:lnTo>
                  <a:pt x="8944856" y="7123407"/>
                </a:lnTo>
                <a:lnTo>
                  <a:pt x="8959978" y="7085520"/>
                </a:lnTo>
                <a:lnTo>
                  <a:pt x="8972340" y="7044272"/>
                </a:lnTo>
                <a:lnTo>
                  <a:pt x="8982174" y="6999784"/>
                </a:lnTo>
                <a:lnTo>
                  <a:pt x="8989706" y="6952173"/>
                </a:lnTo>
                <a:lnTo>
                  <a:pt x="8995166" y="6901561"/>
                </a:lnTo>
                <a:lnTo>
                  <a:pt x="8998782" y="6848066"/>
                </a:lnTo>
                <a:lnTo>
                  <a:pt x="9000784" y="6791809"/>
                </a:lnTo>
                <a:lnTo>
                  <a:pt x="9001400" y="6732908"/>
                </a:lnTo>
                <a:lnTo>
                  <a:pt x="9000750" y="6674585"/>
                </a:lnTo>
                <a:lnTo>
                  <a:pt x="8998658" y="6618871"/>
                </a:lnTo>
                <a:lnTo>
                  <a:pt x="8994906" y="6565885"/>
                </a:lnTo>
                <a:lnTo>
                  <a:pt x="8989276" y="6515745"/>
                </a:lnTo>
                <a:lnTo>
                  <a:pt x="8981556" y="6468573"/>
                </a:lnTo>
                <a:lnTo>
                  <a:pt x="8971524" y="6424488"/>
                </a:lnTo>
                <a:lnTo>
                  <a:pt x="8958968" y="6383608"/>
                </a:lnTo>
                <a:lnTo>
                  <a:pt x="8943670" y="6346054"/>
                </a:lnTo>
                <a:lnTo>
                  <a:pt x="8925412" y="6311946"/>
                </a:lnTo>
                <a:lnTo>
                  <a:pt x="8879156" y="6254543"/>
                </a:lnTo>
                <a:lnTo>
                  <a:pt x="8818464" y="6212357"/>
                </a:lnTo>
                <a:lnTo>
                  <a:pt x="8782166" y="6197269"/>
                </a:lnTo>
                <a:lnTo>
                  <a:pt x="8741608" y="6186344"/>
                </a:lnTo>
                <a:lnTo>
                  <a:pt x="8696578" y="6179701"/>
                </a:lnTo>
                <a:lnTo>
                  <a:pt x="8646856" y="6177460"/>
                </a:lnTo>
                <a:close/>
                <a:moveTo>
                  <a:pt x="8553970" y="6077851"/>
                </a:moveTo>
                <a:lnTo>
                  <a:pt x="8553970" y="6177460"/>
                </a:lnTo>
                <a:lnTo>
                  <a:pt x="8504528" y="6179701"/>
                </a:lnTo>
                <a:lnTo>
                  <a:pt x="8459744" y="6186344"/>
                </a:lnTo>
                <a:lnTo>
                  <a:pt x="8419404" y="6197269"/>
                </a:lnTo>
                <a:lnTo>
                  <a:pt x="8383292" y="6212357"/>
                </a:lnTo>
                <a:lnTo>
                  <a:pt x="8322900" y="6254543"/>
                </a:lnTo>
                <a:lnTo>
                  <a:pt x="8276848" y="6311946"/>
                </a:lnTo>
                <a:lnTo>
                  <a:pt x="8258666" y="6346054"/>
                </a:lnTo>
                <a:lnTo>
                  <a:pt x="8243424" y="6383608"/>
                </a:lnTo>
                <a:lnTo>
                  <a:pt x="8230912" y="6424488"/>
                </a:lnTo>
                <a:lnTo>
                  <a:pt x="8220912" y="6468573"/>
                </a:lnTo>
                <a:lnTo>
                  <a:pt x="8213212" y="6515745"/>
                </a:lnTo>
                <a:lnTo>
                  <a:pt x="8207596" y="6565885"/>
                </a:lnTo>
                <a:lnTo>
                  <a:pt x="8203850" y="6618871"/>
                </a:lnTo>
                <a:lnTo>
                  <a:pt x="8201760" y="6674585"/>
                </a:lnTo>
                <a:lnTo>
                  <a:pt x="8201110" y="6732908"/>
                </a:lnTo>
                <a:lnTo>
                  <a:pt x="8201744" y="6791809"/>
                </a:lnTo>
                <a:lnTo>
                  <a:pt x="8203788" y="6848066"/>
                </a:lnTo>
                <a:lnTo>
                  <a:pt x="8207466" y="6901561"/>
                </a:lnTo>
                <a:lnTo>
                  <a:pt x="8212998" y="6952173"/>
                </a:lnTo>
                <a:lnTo>
                  <a:pt x="8220604" y="6999784"/>
                </a:lnTo>
                <a:lnTo>
                  <a:pt x="8230504" y="7044272"/>
                </a:lnTo>
                <a:lnTo>
                  <a:pt x="8242920" y="7085520"/>
                </a:lnTo>
                <a:lnTo>
                  <a:pt x="8258072" y="7123407"/>
                </a:lnTo>
                <a:lnTo>
                  <a:pt x="8276182" y="7157813"/>
                </a:lnTo>
                <a:lnTo>
                  <a:pt x="8322152" y="7215706"/>
                </a:lnTo>
                <a:lnTo>
                  <a:pt x="8382596" y="7258243"/>
                </a:lnTo>
                <a:lnTo>
                  <a:pt x="8418798" y="7273454"/>
                </a:lnTo>
                <a:lnTo>
                  <a:pt x="8459280" y="7284467"/>
                </a:lnTo>
                <a:lnTo>
                  <a:pt x="8504264" y="7291162"/>
                </a:lnTo>
                <a:lnTo>
                  <a:pt x="8553970" y="7293421"/>
                </a:lnTo>
                <a:lnTo>
                  <a:pt x="8553970" y="7391342"/>
                </a:lnTo>
                <a:lnTo>
                  <a:pt x="8502324" y="7389609"/>
                </a:lnTo>
                <a:lnTo>
                  <a:pt x="8454390" y="7384456"/>
                </a:lnTo>
                <a:lnTo>
                  <a:pt x="8410050" y="7375956"/>
                </a:lnTo>
                <a:lnTo>
                  <a:pt x="8369176" y="7364181"/>
                </a:lnTo>
                <a:lnTo>
                  <a:pt x="8331650" y="7349203"/>
                </a:lnTo>
                <a:lnTo>
                  <a:pt x="8297346" y="7331095"/>
                </a:lnTo>
                <a:lnTo>
                  <a:pt x="8237920" y="7285777"/>
                </a:lnTo>
                <a:lnTo>
                  <a:pt x="8189918" y="7228803"/>
                </a:lnTo>
                <a:lnTo>
                  <a:pt x="8169894" y="7196125"/>
                </a:lnTo>
                <a:lnTo>
                  <a:pt x="8152358" y="7160750"/>
                </a:lnTo>
                <a:lnTo>
                  <a:pt x="8137190" y="7122750"/>
                </a:lnTo>
                <a:lnTo>
                  <a:pt x="8124264" y="7082197"/>
                </a:lnTo>
                <a:lnTo>
                  <a:pt x="8113458" y="7039164"/>
                </a:lnTo>
                <a:lnTo>
                  <a:pt x="8104652" y="6993721"/>
                </a:lnTo>
                <a:lnTo>
                  <a:pt x="8097722" y="6945943"/>
                </a:lnTo>
                <a:lnTo>
                  <a:pt x="8092544" y="6895900"/>
                </a:lnTo>
                <a:lnTo>
                  <a:pt x="8088998" y="6843665"/>
                </a:lnTo>
                <a:lnTo>
                  <a:pt x="8086960" y="6789310"/>
                </a:lnTo>
                <a:lnTo>
                  <a:pt x="8086308" y="6732908"/>
                </a:lnTo>
                <a:lnTo>
                  <a:pt x="8086982" y="6676747"/>
                </a:lnTo>
                <a:lnTo>
                  <a:pt x="8089082" y="6622632"/>
                </a:lnTo>
                <a:lnTo>
                  <a:pt x="8092722" y="6570635"/>
                </a:lnTo>
                <a:lnTo>
                  <a:pt x="8098020" y="6520827"/>
                </a:lnTo>
                <a:lnTo>
                  <a:pt x="8105090" y="6473278"/>
                </a:lnTo>
                <a:lnTo>
                  <a:pt x="8114050" y="6428061"/>
                </a:lnTo>
                <a:lnTo>
                  <a:pt x="8125014" y="6385245"/>
                </a:lnTo>
                <a:lnTo>
                  <a:pt x="8138100" y="6344902"/>
                </a:lnTo>
                <a:lnTo>
                  <a:pt x="8153424" y="6307104"/>
                </a:lnTo>
                <a:lnTo>
                  <a:pt x="8171098" y="6271921"/>
                </a:lnTo>
                <a:lnTo>
                  <a:pt x="8191242" y="6239424"/>
                </a:lnTo>
                <a:lnTo>
                  <a:pt x="8239400" y="6182774"/>
                </a:lnTo>
                <a:lnTo>
                  <a:pt x="8298824" y="6137723"/>
                </a:lnTo>
                <a:lnTo>
                  <a:pt x="8333052" y="6119725"/>
                </a:lnTo>
                <a:lnTo>
                  <a:pt x="8370442" y="6104840"/>
                </a:lnTo>
                <a:lnTo>
                  <a:pt x="8411114" y="6093139"/>
                </a:lnTo>
                <a:lnTo>
                  <a:pt x="8455182" y="6084693"/>
                </a:lnTo>
                <a:lnTo>
                  <a:pt x="8502762" y="6079573"/>
                </a:lnTo>
                <a:close/>
                <a:moveTo>
                  <a:pt x="1425338" y="6077851"/>
                </a:moveTo>
                <a:lnTo>
                  <a:pt x="1476547" y="6079573"/>
                </a:lnTo>
                <a:lnTo>
                  <a:pt x="1524127" y="6084693"/>
                </a:lnTo>
                <a:lnTo>
                  <a:pt x="1568196" y="6093139"/>
                </a:lnTo>
                <a:lnTo>
                  <a:pt x="1608868" y="6104840"/>
                </a:lnTo>
                <a:lnTo>
                  <a:pt x="1646259" y="6119725"/>
                </a:lnTo>
                <a:lnTo>
                  <a:pt x="1680486" y="6137723"/>
                </a:lnTo>
                <a:lnTo>
                  <a:pt x="1739910" y="6182774"/>
                </a:lnTo>
                <a:lnTo>
                  <a:pt x="1788068" y="6239424"/>
                </a:lnTo>
                <a:lnTo>
                  <a:pt x="1808212" y="6271921"/>
                </a:lnTo>
                <a:lnTo>
                  <a:pt x="1825887" y="6307104"/>
                </a:lnTo>
                <a:lnTo>
                  <a:pt x="1841209" y="6344902"/>
                </a:lnTo>
                <a:lnTo>
                  <a:pt x="1854294" y="6385245"/>
                </a:lnTo>
                <a:lnTo>
                  <a:pt x="1865258" y="6428061"/>
                </a:lnTo>
                <a:lnTo>
                  <a:pt x="1874218" y="6473278"/>
                </a:lnTo>
                <a:lnTo>
                  <a:pt x="1881288" y="6520827"/>
                </a:lnTo>
                <a:lnTo>
                  <a:pt x="1886585" y="6570635"/>
                </a:lnTo>
                <a:lnTo>
                  <a:pt x="1890226" y="6622632"/>
                </a:lnTo>
                <a:lnTo>
                  <a:pt x="1892325" y="6676747"/>
                </a:lnTo>
                <a:lnTo>
                  <a:pt x="1892999" y="6732908"/>
                </a:lnTo>
                <a:lnTo>
                  <a:pt x="1892357" y="6789310"/>
                </a:lnTo>
                <a:lnTo>
                  <a:pt x="1890350" y="6843665"/>
                </a:lnTo>
                <a:lnTo>
                  <a:pt x="1886851" y="6895900"/>
                </a:lnTo>
                <a:lnTo>
                  <a:pt x="1881734" y="6945943"/>
                </a:lnTo>
                <a:lnTo>
                  <a:pt x="1874873" y="6993721"/>
                </a:lnTo>
                <a:lnTo>
                  <a:pt x="1866143" y="7039164"/>
                </a:lnTo>
                <a:lnTo>
                  <a:pt x="1855418" y="7082197"/>
                </a:lnTo>
                <a:lnTo>
                  <a:pt x="1842572" y="7122750"/>
                </a:lnTo>
                <a:lnTo>
                  <a:pt x="1827479" y="7160750"/>
                </a:lnTo>
                <a:lnTo>
                  <a:pt x="1810014" y="7196125"/>
                </a:lnTo>
                <a:lnTo>
                  <a:pt x="1790050" y="7228803"/>
                </a:lnTo>
                <a:lnTo>
                  <a:pt x="1742125" y="7285777"/>
                </a:lnTo>
                <a:lnTo>
                  <a:pt x="1682698" y="7331095"/>
                </a:lnTo>
                <a:lnTo>
                  <a:pt x="1648356" y="7349203"/>
                </a:lnTo>
                <a:lnTo>
                  <a:pt x="1610762" y="7364181"/>
                </a:lnTo>
                <a:lnTo>
                  <a:pt x="1569788" y="7375956"/>
                </a:lnTo>
                <a:lnTo>
                  <a:pt x="1525310" y="7384456"/>
                </a:lnTo>
                <a:lnTo>
                  <a:pt x="1477202" y="7389609"/>
                </a:lnTo>
                <a:lnTo>
                  <a:pt x="1425338" y="7391342"/>
                </a:lnTo>
                <a:lnTo>
                  <a:pt x="1425338" y="7293421"/>
                </a:lnTo>
                <a:lnTo>
                  <a:pt x="1475586" y="7291162"/>
                </a:lnTo>
                <a:lnTo>
                  <a:pt x="1521017" y="7284467"/>
                </a:lnTo>
                <a:lnTo>
                  <a:pt x="1561858" y="7273454"/>
                </a:lnTo>
                <a:lnTo>
                  <a:pt x="1598338" y="7258243"/>
                </a:lnTo>
                <a:lnTo>
                  <a:pt x="1659131" y="7215706"/>
                </a:lnTo>
                <a:lnTo>
                  <a:pt x="1705228" y="7157813"/>
                </a:lnTo>
                <a:lnTo>
                  <a:pt x="1723337" y="7123407"/>
                </a:lnTo>
                <a:lnTo>
                  <a:pt x="1738459" y="7085520"/>
                </a:lnTo>
                <a:lnTo>
                  <a:pt x="1750822" y="7044272"/>
                </a:lnTo>
                <a:lnTo>
                  <a:pt x="1760655" y="6999784"/>
                </a:lnTo>
                <a:lnTo>
                  <a:pt x="1768187" y="6952173"/>
                </a:lnTo>
                <a:lnTo>
                  <a:pt x="1773647" y="6901561"/>
                </a:lnTo>
                <a:lnTo>
                  <a:pt x="1777263" y="6848066"/>
                </a:lnTo>
                <a:lnTo>
                  <a:pt x="1779265" y="6791809"/>
                </a:lnTo>
                <a:lnTo>
                  <a:pt x="1779882" y="6732908"/>
                </a:lnTo>
                <a:lnTo>
                  <a:pt x="1779232" y="6674585"/>
                </a:lnTo>
                <a:lnTo>
                  <a:pt x="1777140" y="6618871"/>
                </a:lnTo>
                <a:lnTo>
                  <a:pt x="1773387" y="6565885"/>
                </a:lnTo>
                <a:lnTo>
                  <a:pt x="1767758" y="6515745"/>
                </a:lnTo>
                <a:lnTo>
                  <a:pt x="1760037" y="6468573"/>
                </a:lnTo>
                <a:lnTo>
                  <a:pt x="1750006" y="6424488"/>
                </a:lnTo>
                <a:lnTo>
                  <a:pt x="1737450" y="6383608"/>
                </a:lnTo>
                <a:lnTo>
                  <a:pt x="1722151" y="6346054"/>
                </a:lnTo>
                <a:lnTo>
                  <a:pt x="1703894" y="6311946"/>
                </a:lnTo>
                <a:lnTo>
                  <a:pt x="1657637" y="6254543"/>
                </a:lnTo>
                <a:lnTo>
                  <a:pt x="1596946" y="6212357"/>
                </a:lnTo>
                <a:lnTo>
                  <a:pt x="1560647" y="6197269"/>
                </a:lnTo>
                <a:lnTo>
                  <a:pt x="1520090" y="6186344"/>
                </a:lnTo>
                <a:lnTo>
                  <a:pt x="1475059" y="6179701"/>
                </a:lnTo>
                <a:lnTo>
                  <a:pt x="1425338" y="6177460"/>
                </a:lnTo>
                <a:close/>
                <a:moveTo>
                  <a:pt x="1332420" y="6077851"/>
                </a:moveTo>
                <a:lnTo>
                  <a:pt x="1332420" y="6177460"/>
                </a:lnTo>
                <a:lnTo>
                  <a:pt x="1282980" y="6179701"/>
                </a:lnTo>
                <a:lnTo>
                  <a:pt x="1238197" y="6186344"/>
                </a:lnTo>
                <a:lnTo>
                  <a:pt x="1197858" y="6197269"/>
                </a:lnTo>
                <a:lnTo>
                  <a:pt x="1161747" y="6212357"/>
                </a:lnTo>
                <a:lnTo>
                  <a:pt x="1101354" y="6254543"/>
                </a:lnTo>
                <a:lnTo>
                  <a:pt x="1055303" y="6311946"/>
                </a:lnTo>
                <a:lnTo>
                  <a:pt x="1037120" y="6346054"/>
                </a:lnTo>
                <a:lnTo>
                  <a:pt x="1021878" y="6383608"/>
                </a:lnTo>
                <a:lnTo>
                  <a:pt x="1009365" y="6424488"/>
                </a:lnTo>
                <a:lnTo>
                  <a:pt x="999365" y="6468573"/>
                </a:lnTo>
                <a:lnTo>
                  <a:pt x="991664" y="6515745"/>
                </a:lnTo>
                <a:lnTo>
                  <a:pt x="986047" y="6565885"/>
                </a:lnTo>
                <a:lnTo>
                  <a:pt x="982301" y="6618871"/>
                </a:lnTo>
                <a:lnTo>
                  <a:pt x="980210" y="6674585"/>
                </a:lnTo>
                <a:lnTo>
                  <a:pt x="979561" y="6732908"/>
                </a:lnTo>
                <a:lnTo>
                  <a:pt x="980194" y="6791809"/>
                </a:lnTo>
                <a:lnTo>
                  <a:pt x="982239" y="6848066"/>
                </a:lnTo>
                <a:lnTo>
                  <a:pt x="985918" y="6901561"/>
                </a:lnTo>
                <a:lnTo>
                  <a:pt x="991450" y="6952173"/>
                </a:lnTo>
                <a:lnTo>
                  <a:pt x="999056" y="6999784"/>
                </a:lnTo>
                <a:lnTo>
                  <a:pt x="1008957" y="7044272"/>
                </a:lnTo>
                <a:lnTo>
                  <a:pt x="1021374" y="7085520"/>
                </a:lnTo>
                <a:lnTo>
                  <a:pt x="1036527" y="7123407"/>
                </a:lnTo>
                <a:lnTo>
                  <a:pt x="1054636" y="7157813"/>
                </a:lnTo>
                <a:lnTo>
                  <a:pt x="1100607" y="7215706"/>
                </a:lnTo>
                <a:lnTo>
                  <a:pt x="1161051" y="7258243"/>
                </a:lnTo>
                <a:lnTo>
                  <a:pt x="1197253" y="7273454"/>
                </a:lnTo>
                <a:lnTo>
                  <a:pt x="1237734" y="7284467"/>
                </a:lnTo>
                <a:lnTo>
                  <a:pt x="1282716" y="7291162"/>
                </a:lnTo>
                <a:lnTo>
                  <a:pt x="1332420" y="7293421"/>
                </a:lnTo>
                <a:lnTo>
                  <a:pt x="1332420" y="7391342"/>
                </a:lnTo>
                <a:lnTo>
                  <a:pt x="1280774" y="7389609"/>
                </a:lnTo>
                <a:lnTo>
                  <a:pt x="1232841" y="7384456"/>
                </a:lnTo>
                <a:lnTo>
                  <a:pt x="1188500" y="7375956"/>
                </a:lnTo>
                <a:lnTo>
                  <a:pt x="1147627" y="7364181"/>
                </a:lnTo>
                <a:lnTo>
                  <a:pt x="1110100" y="7349203"/>
                </a:lnTo>
                <a:lnTo>
                  <a:pt x="1075796" y="7331095"/>
                </a:lnTo>
                <a:lnTo>
                  <a:pt x="1016370" y="7285777"/>
                </a:lnTo>
                <a:lnTo>
                  <a:pt x="968368" y="7228803"/>
                </a:lnTo>
                <a:lnTo>
                  <a:pt x="948344" y="7196125"/>
                </a:lnTo>
                <a:lnTo>
                  <a:pt x="930809" y="7160750"/>
                </a:lnTo>
                <a:lnTo>
                  <a:pt x="915640" y="7122750"/>
                </a:lnTo>
                <a:lnTo>
                  <a:pt x="902714" y="7082197"/>
                </a:lnTo>
                <a:lnTo>
                  <a:pt x="891909" y="7039164"/>
                </a:lnTo>
                <a:lnTo>
                  <a:pt x="883103" y="6993721"/>
                </a:lnTo>
                <a:lnTo>
                  <a:pt x="876172" y="6945943"/>
                </a:lnTo>
                <a:lnTo>
                  <a:pt x="870995" y="6895900"/>
                </a:lnTo>
                <a:lnTo>
                  <a:pt x="867449" y="6843665"/>
                </a:lnTo>
                <a:lnTo>
                  <a:pt x="865411" y="6789310"/>
                </a:lnTo>
                <a:lnTo>
                  <a:pt x="864759" y="6732908"/>
                </a:lnTo>
                <a:lnTo>
                  <a:pt x="865433" y="6676747"/>
                </a:lnTo>
                <a:lnTo>
                  <a:pt x="867532" y="6622632"/>
                </a:lnTo>
                <a:lnTo>
                  <a:pt x="871172" y="6570635"/>
                </a:lnTo>
                <a:lnTo>
                  <a:pt x="876470" y="6520827"/>
                </a:lnTo>
                <a:lnTo>
                  <a:pt x="883541" y="6473278"/>
                </a:lnTo>
                <a:lnTo>
                  <a:pt x="892501" y="6428061"/>
                </a:lnTo>
                <a:lnTo>
                  <a:pt x="903465" y="6385245"/>
                </a:lnTo>
                <a:lnTo>
                  <a:pt x="916551" y="6344902"/>
                </a:lnTo>
                <a:lnTo>
                  <a:pt x="931874" y="6307104"/>
                </a:lnTo>
                <a:lnTo>
                  <a:pt x="949549" y="6271921"/>
                </a:lnTo>
                <a:lnTo>
                  <a:pt x="969693" y="6239424"/>
                </a:lnTo>
                <a:lnTo>
                  <a:pt x="1017851" y="6182774"/>
                </a:lnTo>
                <a:lnTo>
                  <a:pt x="1077275" y="6137723"/>
                </a:lnTo>
                <a:lnTo>
                  <a:pt x="1111502" y="6119725"/>
                </a:lnTo>
                <a:lnTo>
                  <a:pt x="1148893" y="6104840"/>
                </a:lnTo>
                <a:lnTo>
                  <a:pt x="1189565" y="6093139"/>
                </a:lnTo>
                <a:lnTo>
                  <a:pt x="1233632" y="6084693"/>
                </a:lnTo>
                <a:lnTo>
                  <a:pt x="1281212" y="6079573"/>
                </a:lnTo>
                <a:close/>
                <a:moveTo>
                  <a:pt x="510883" y="5591624"/>
                </a:moveTo>
                <a:lnTo>
                  <a:pt x="553593" y="5595343"/>
                </a:lnTo>
                <a:lnTo>
                  <a:pt x="586648" y="5608717"/>
                </a:lnTo>
                <a:lnTo>
                  <a:pt x="607989" y="5635070"/>
                </a:lnTo>
                <a:lnTo>
                  <a:pt x="615560" y="5677726"/>
                </a:lnTo>
                <a:lnTo>
                  <a:pt x="607989" y="5722334"/>
                </a:lnTo>
                <a:lnTo>
                  <a:pt x="586648" y="5749689"/>
                </a:lnTo>
                <a:lnTo>
                  <a:pt x="553593" y="5763433"/>
                </a:lnTo>
                <a:lnTo>
                  <a:pt x="510883" y="5767206"/>
                </a:lnTo>
                <a:lnTo>
                  <a:pt x="468173" y="5763433"/>
                </a:lnTo>
                <a:lnTo>
                  <a:pt x="435118" y="5749689"/>
                </a:lnTo>
                <a:lnTo>
                  <a:pt x="413777" y="5722334"/>
                </a:lnTo>
                <a:lnTo>
                  <a:pt x="406206" y="5677726"/>
                </a:lnTo>
                <a:lnTo>
                  <a:pt x="414015" y="5635070"/>
                </a:lnTo>
                <a:lnTo>
                  <a:pt x="435754" y="5608717"/>
                </a:lnTo>
                <a:lnTo>
                  <a:pt x="468888" y="5595343"/>
                </a:lnTo>
                <a:close/>
                <a:moveTo>
                  <a:pt x="2493379" y="5439680"/>
                </a:moveTo>
                <a:lnTo>
                  <a:pt x="3408440" y="5439680"/>
                </a:lnTo>
                <a:lnTo>
                  <a:pt x="3408440" y="5547731"/>
                </a:lnTo>
                <a:lnTo>
                  <a:pt x="2493379" y="5547731"/>
                </a:lnTo>
                <a:close/>
                <a:moveTo>
                  <a:pt x="2493379" y="5086827"/>
                </a:moveTo>
                <a:lnTo>
                  <a:pt x="3408440" y="5086827"/>
                </a:lnTo>
                <a:lnTo>
                  <a:pt x="3408440" y="5194878"/>
                </a:lnTo>
                <a:lnTo>
                  <a:pt x="2493379" y="5194878"/>
                </a:lnTo>
                <a:close/>
                <a:moveTo>
                  <a:pt x="510883" y="4882541"/>
                </a:moveTo>
                <a:lnTo>
                  <a:pt x="553593" y="4886049"/>
                </a:lnTo>
                <a:lnTo>
                  <a:pt x="586648" y="4899212"/>
                </a:lnTo>
                <a:lnTo>
                  <a:pt x="607989" y="4925987"/>
                </a:lnTo>
                <a:lnTo>
                  <a:pt x="615560" y="4970332"/>
                </a:lnTo>
                <a:lnTo>
                  <a:pt x="607989" y="5013251"/>
                </a:lnTo>
                <a:lnTo>
                  <a:pt x="586648" y="5040185"/>
                </a:lnTo>
                <a:lnTo>
                  <a:pt x="553593" y="5054139"/>
                </a:lnTo>
                <a:lnTo>
                  <a:pt x="510883" y="5058123"/>
                </a:lnTo>
                <a:lnTo>
                  <a:pt x="469154" y="5054139"/>
                </a:lnTo>
                <a:lnTo>
                  <a:pt x="436602" y="5040185"/>
                </a:lnTo>
                <a:lnTo>
                  <a:pt x="415446" y="5013251"/>
                </a:lnTo>
                <a:lnTo>
                  <a:pt x="407902" y="4970332"/>
                </a:lnTo>
                <a:lnTo>
                  <a:pt x="415446" y="4925987"/>
                </a:lnTo>
                <a:lnTo>
                  <a:pt x="436602" y="4899212"/>
                </a:lnTo>
                <a:lnTo>
                  <a:pt x="469154" y="4886049"/>
                </a:lnTo>
                <a:close/>
                <a:moveTo>
                  <a:pt x="4158261" y="4558390"/>
                </a:moveTo>
                <a:lnTo>
                  <a:pt x="4209470" y="4560112"/>
                </a:lnTo>
                <a:lnTo>
                  <a:pt x="4257050" y="4565232"/>
                </a:lnTo>
                <a:lnTo>
                  <a:pt x="4301119" y="4573678"/>
                </a:lnTo>
                <a:lnTo>
                  <a:pt x="4341791" y="4585379"/>
                </a:lnTo>
                <a:lnTo>
                  <a:pt x="4379182" y="4600264"/>
                </a:lnTo>
                <a:lnTo>
                  <a:pt x="4413410" y="4618262"/>
                </a:lnTo>
                <a:lnTo>
                  <a:pt x="4472834" y="4663313"/>
                </a:lnTo>
                <a:lnTo>
                  <a:pt x="4520992" y="4719963"/>
                </a:lnTo>
                <a:lnTo>
                  <a:pt x="4541136" y="4752460"/>
                </a:lnTo>
                <a:lnTo>
                  <a:pt x="4558811" y="4787643"/>
                </a:lnTo>
                <a:lnTo>
                  <a:pt x="4574133" y="4825441"/>
                </a:lnTo>
                <a:lnTo>
                  <a:pt x="4587218" y="4865784"/>
                </a:lnTo>
                <a:lnTo>
                  <a:pt x="4598182" y="4908599"/>
                </a:lnTo>
                <a:lnTo>
                  <a:pt x="4607142" y="4953817"/>
                </a:lnTo>
                <a:lnTo>
                  <a:pt x="4614212" y="5001365"/>
                </a:lnTo>
                <a:lnTo>
                  <a:pt x="4619509" y="5051174"/>
                </a:lnTo>
                <a:lnTo>
                  <a:pt x="4623150" y="5103171"/>
                </a:lnTo>
                <a:lnTo>
                  <a:pt x="4625249" y="5157286"/>
                </a:lnTo>
                <a:lnTo>
                  <a:pt x="4625923" y="5213447"/>
                </a:lnTo>
                <a:lnTo>
                  <a:pt x="4625281" y="5269849"/>
                </a:lnTo>
                <a:lnTo>
                  <a:pt x="4623274" y="5324204"/>
                </a:lnTo>
                <a:lnTo>
                  <a:pt x="4619775" y="5376438"/>
                </a:lnTo>
                <a:lnTo>
                  <a:pt x="4614658" y="5426481"/>
                </a:lnTo>
                <a:lnTo>
                  <a:pt x="4607797" y="5474260"/>
                </a:lnTo>
                <a:lnTo>
                  <a:pt x="4599067" y="5519702"/>
                </a:lnTo>
                <a:lnTo>
                  <a:pt x="4588342" y="5562735"/>
                </a:lnTo>
                <a:lnTo>
                  <a:pt x="4575496" y="5603288"/>
                </a:lnTo>
                <a:lnTo>
                  <a:pt x="4560403" y="5641288"/>
                </a:lnTo>
                <a:lnTo>
                  <a:pt x="4542938" y="5676663"/>
                </a:lnTo>
                <a:lnTo>
                  <a:pt x="4522974" y="5709341"/>
                </a:lnTo>
                <a:lnTo>
                  <a:pt x="4475049" y="5766315"/>
                </a:lnTo>
                <a:lnTo>
                  <a:pt x="4415622" y="5811633"/>
                </a:lnTo>
                <a:lnTo>
                  <a:pt x="4381279" y="5829741"/>
                </a:lnTo>
                <a:lnTo>
                  <a:pt x="4343685" y="5844719"/>
                </a:lnTo>
                <a:lnTo>
                  <a:pt x="4302711" y="5856494"/>
                </a:lnTo>
                <a:lnTo>
                  <a:pt x="4258233" y="5864994"/>
                </a:lnTo>
                <a:lnTo>
                  <a:pt x="4210125" y="5870147"/>
                </a:lnTo>
                <a:lnTo>
                  <a:pt x="4158261" y="5871880"/>
                </a:lnTo>
                <a:lnTo>
                  <a:pt x="4158261" y="5773960"/>
                </a:lnTo>
                <a:lnTo>
                  <a:pt x="4208509" y="5771701"/>
                </a:lnTo>
                <a:lnTo>
                  <a:pt x="4253940" y="5765006"/>
                </a:lnTo>
                <a:lnTo>
                  <a:pt x="4294781" y="5753993"/>
                </a:lnTo>
                <a:lnTo>
                  <a:pt x="4331261" y="5738782"/>
                </a:lnTo>
                <a:lnTo>
                  <a:pt x="4392054" y="5696245"/>
                </a:lnTo>
                <a:lnTo>
                  <a:pt x="4438152" y="5638352"/>
                </a:lnTo>
                <a:lnTo>
                  <a:pt x="4456261" y="5603946"/>
                </a:lnTo>
                <a:lnTo>
                  <a:pt x="4471383" y="5566059"/>
                </a:lnTo>
                <a:lnTo>
                  <a:pt x="4483746" y="5524811"/>
                </a:lnTo>
                <a:lnTo>
                  <a:pt x="4493579" y="5480323"/>
                </a:lnTo>
                <a:lnTo>
                  <a:pt x="4501111" y="5432712"/>
                </a:lnTo>
                <a:lnTo>
                  <a:pt x="4506571" y="5382100"/>
                </a:lnTo>
                <a:lnTo>
                  <a:pt x="4510187" y="5328605"/>
                </a:lnTo>
                <a:lnTo>
                  <a:pt x="4512189" y="5272348"/>
                </a:lnTo>
                <a:lnTo>
                  <a:pt x="4512806" y="5213447"/>
                </a:lnTo>
                <a:lnTo>
                  <a:pt x="4512156" y="5155124"/>
                </a:lnTo>
                <a:lnTo>
                  <a:pt x="4510064" y="5099410"/>
                </a:lnTo>
                <a:lnTo>
                  <a:pt x="4506311" y="5046423"/>
                </a:lnTo>
                <a:lnTo>
                  <a:pt x="4500682" y="4996284"/>
                </a:lnTo>
                <a:lnTo>
                  <a:pt x="4492961" y="4949112"/>
                </a:lnTo>
                <a:lnTo>
                  <a:pt x="4482930" y="4905026"/>
                </a:lnTo>
                <a:lnTo>
                  <a:pt x="4470374" y="4864147"/>
                </a:lnTo>
                <a:lnTo>
                  <a:pt x="4455075" y="4826593"/>
                </a:lnTo>
                <a:lnTo>
                  <a:pt x="4436818" y="4792484"/>
                </a:lnTo>
                <a:lnTo>
                  <a:pt x="4390560" y="4735082"/>
                </a:lnTo>
                <a:lnTo>
                  <a:pt x="4329869" y="4692895"/>
                </a:lnTo>
                <a:lnTo>
                  <a:pt x="4293570" y="4677807"/>
                </a:lnTo>
                <a:lnTo>
                  <a:pt x="4253013" y="4666882"/>
                </a:lnTo>
                <a:lnTo>
                  <a:pt x="4207982" y="4660239"/>
                </a:lnTo>
                <a:lnTo>
                  <a:pt x="4158261" y="4657998"/>
                </a:lnTo>
                <a:close/>
                <a:moveTo>
                  <a:pt x="4065343" y="4558390"/>
                </a:moveTo>
                <a:lnTo>
                  <a:pt x="4065343" y="4657998"/>
                </a:lnTo>
                <a:lnTo>
                  <a:pt x="4015903" y="4660239"/>
                </a:lnTo>
                <a:lnTo>
                  <a:pt x="3971120" y="4666882"/>
                </a:lnTo>
                <a:lnTo>
                  <a:pt x="3930781" y="4677807"/>
                </a:lnTo>
                <a:lnTo>
                  <a:pt x="3894670" y="4692895"/>
                </a:lnTo>
                <a:lnTo>
                  <a:pt x="3834276" y="4735082"/>
                </a:lnTo>
                <a:lnTo>
                  <a:pt x="3788225" y="4792484"/>
                </a:lnTo>
                <a:lnTo>
                  <a:pt x="3770042" y="4826593"/>
                </a:lnTo>
                <a:lnTo>
                  <a:pt x="3754800" y="4864147"/>
                </a:lnTo>
                <a:lnTo>
                  <a:pt x="3742287" y="4905026"/>
                </a:lnTo>
                <a:lnTo>
                  <a:pt x="3732287" y="4949112"/>
                </a:lnTo>
                <a:lnTo>
                  <a:pt x="3724586" y="4996284"/>
                </a:lnTo>
                <a:lnTo>
                  <a:pt x="3718969" y="5046423"/>
                </a:lnTo>
                <a:lnTo>
                  <a:pt x="3715223" y="5099410"/>
                </a:lnTo>
                <a:lnTo>
                  <a:pt x="3713132" y="5155124"/>
                </a:lnTo>
                <a:lnTo>
                  <a:pt x="3712483" y="5213447"/>
                </a:lnTo>
                <a:lnTo>
                  <a:pt x="3713116" y="5272348"/>
                </a:lnTo>
                <a:lnTo>
                  <a:pt x="3715161" y="5328605"/>
                </a:lnTo>
                <a:lnTo>
                  <a:pt x="3718840" y="5382100"/>
                </a:lnTo>
                <a:lnTo>
                  <a:pt x="3724372" y="5432712"/>
                </a:lnTo>
                <a:lnTo>
                  <a:pt x="3731978" y="5480323"/>
                </a:lnTo>
                <a:lnTo>
                  <a:pt x="3741879" y="5524811"/>
                </a:lnTo>
                <a:lnTo>
                  <a:pt x="3754296" y="5566059"/>
                </a:lnTo>
                <a:lnTo>
                  <a:pt x="3769449" y="5603946"/>
                </a:lnTo>
                <a:lnTo>
                  <a:pt x="3787558" y="5638352"/>
                </a:lnTo>
                <a:lnTo>
                  <a:pt x="3833530" y="5696245"/>
                </a:lnTo>
                <a:lnTo>
                  <a:pt x="3893974" y="5738782"/>
                </a:lnTo>
                <a:lnTo>
                  <a:pt x="3930176" y="5753993"/>
                </a:lnTo>
                <a:lnTo>
                  <a:pt x="3970657" y="5765006"/>
                </a:lnTo>
                <a:lnTo>
                  <a:pt x="4015639" y="5771701"/>
                </a:lnTo>
                <a:lnTo>
                  <a:pt x="4065343" y="5773960"/>
                </a:lnTo>
                <a:lnTo>
                  <a:pt x="4065343" y="5871880"/>
                </a:lnTo>
                <a:lnTo>
                  <a:pt x="4013697" y="5870147"/>
                </a:lnTo>
                <a:lnTo>
                  <a:pt x="3965764" y="5864994"/>
                </a:lnTo>
                <a:lnTo>
                  <a:pt x="3921423" y="5856494"/>
                </a:lnTo>
                <a:lnTo>
                  <a:pt x="3880550" y="5844719"/>
                </a:lnTo>
                <a:lnTo>
                  <a:pt x="3843023" y="5829741"/>
                </a:lnTo>
                <a:lnTo>
                  <a:pt x="3808718" y="5811633"/>
                </a:lnTo>
                <a:lnTo>
                  <a:pt x="3749292" y="5766315"/>
                </a:lnTo>
                <a:lnTo>
                  <a:pt x="3701290" y="5709341"/>
                </a:lnTo>
                <a:lnTo>
                  <a:pt x="3681266" y="5676663"/>
                </a:lnTo>
                <a:lnTo>
                  <a:pt x="3663731" y="5641288"/>
                </a:lnTo>
                <a:lnTo>
                  <a:pt x="3648562" y="5603288"/>
                </a:lnTo>
                <a:lnTo>
                  <a:pt x="3635636" y="5562735"/>
                </a:lnTo>
                <a:lnTo>
                  <a:pt x="3624831" y="5519702"/>
                </a:lnTo>
                <a:lnTo>
                  <a:pt x="3616025" y="5474260"/>
                </a:lnTo>
                <a:lnTo>
                  <a:pt x="3609094" y="5426481"/>
                </a:lnTo>
                <a:lnTo>
                  <a:pt x="3603917" y="5376438"/>
                </a:lnTo>
                <a:lnTo>
                  <a:pt x="3600371" y="5324204"/>
                </a:lnTo>
                <a:lnTo>
                  <a:pt x="3598333" y="5269849"/>
                </a:lnTo>
                <a:lnTo>
                  <a:pt x="3597681" y="5213447"/>
                </a:lnTo>
                <a:lnTo>
                  <a:pt x="3598355" y="5157286"/>
                </a:lnTo>
                <a:lnTo>
                  <a:pt x="3600454" y="5103171"/>
                </a:lnTo>
                <a:lnTo>
                  <a:pt x="3604094" y="5051174"/>
                </a:lnTo>
                <a:lnTo>
                  <a:pt x="3609392" y="5001365"/>
                </a:lnTo>
                <a:lnTo>
                  <a:pt x="3616463" y="4953817"/>
                </a:lnTo>
                <a:lnTo>
                  <a:pt x="3625423" y="4908599"/>
                </a:lnTo>
                <a:lnTo>
                  <a:pt x="3636387" y="4865784"/>
                </a:lnTo>
                <a:lnTo>
                  <a:pt x="3649473" y="4825441"/>
                </a:lnTo>
                <a:lnTo>
                  <a:pt x="3664796" y="4787643"/>
                </a:lnTo>
                <a:lnTo>
                  <a:pt x="3682471" y="4752460"/>
                </a:lnTo>
                <a:lnTo>
                  <a:pt x="3702615" y="4719963"/>
                </a:lnTo>
                <a:lnTo>
                  <a:pt x="3750773" y="4663313"/>
                </a:lnTo>
                <a:lnTo>
                  <a:pt x="3810197" y="4618262"/>
                </a:lnTo>
                <a:lnTo>
                  <a:pt x="3844425" y="4600264"/>
                </a:lnTo>
                <a:lnTo>
                  <a:pt x="3881816" y="4585379"/>
                </a:lnTo>
                <a:lnTo>
                  <a:pt x="3922488" y="4573678"/>
                </a:lnTo>
                <a:lnTo>
                  <a:pt x="3966555" y="4565232"/>
                </a:lnTo>
                <a:lnTo>
                  <a:pt x="4014135" y="4560112"/>
                </a:lnTo>
                <a:close/>
                <a:moveTo>
                  <a:pt x="0" y="3920215"/>
                </a:moveTo>
                <a:lnTo>
                  <a:pt x="915049" y="3920215"/>
                </a:lnTo>
                <a:lnTo>
                  <a:pt x="915049" y="4028265"/>
                </a:lnTo>
                <a:lnTo>
                  <a:pt x="0" y="4028265"/>
                </a:lnTo>
                <a:close/>
                <a:moveTo>
                  <a:pt x="0" y="3567362"/>
                </a:moveTo>
                <a:lnTo>
                  <a:pt x="915049" y="3567362"/>
                </a:lnTo>
                <a:lnTo>
                  <a:pt x="915049" y="3675412"/>
                </a:lnTo>
                <a:lnTo>
                  <a:pt x="0" y="3675412"/>
                </a:lnTo>
                <a:close/>
                <a:moveTo>
                  <a:pt x="1617156" y="3046199"/>
                </a:moveTo>
                <a:lnTo>
                  <a:pt x="1995337" y="3046199"/>
                </a:lnTo>
                <a:lnTo>
                  <a:pt x="1995337" y="3141449"/>
                </a:lnTo>
                <a:lnTo>
                  <a:pt x="1995337" y="4252699"/>
                </a:lnTo>
                <a:lnTo>
                  <a:pt x="1995337" y="4349219"/>
                </a:lnTo>
                <a:lnTo>
                  <a:pt x="1617156" y="4349219"/>
                </a:lnTo>
                <a:lnTo>
                  <a:pt x="1617156" y="4252699"/>
                </a:lnTo>
                <a:lnTo>
                  <a:pt x="1878853" y="4252699"/>
                </a:lnTo>
                <a:lnTo>
                  <a:pt x="1878853" y="3141449"/>
                </a:lnTo>
                <a:lnTo>
                  <a:pt x="1617156" y="3141449"/>
                </a:lnTo>
                <a:close/>
                <a:moveTo>
                  <a:pt x="1138061" y="3046199"/>
                </a:moveTo>
                <a:lnTo>
                  <a:pt x="1516242" y="3046199"/>
                </a:lnTo>
                <a:lnTo>
                  <a:pt x="1516242" y="3141449"/>
                </a:lnTo>
                <a:lnTo>
                  <a:pt x="1254558" y="3141449"/>
                </a:lnTo>
                <a:lnTo>
                  <a:pt x="1254558" y="4252699"/>
                </a:lnTo>
                <a:lnTo>
                  <a:pt x="1516242" y="4252699"/>
                </a:lnTo>
                <a:lnTo>
                  <a:pt x="1516242" y="4349219"/>
                </a:lnTo>
                <a:lnTo>
                  <a:pt x="1138061" y="4349219"/>
                </a:lnTo>
                <a:lnTo>
                  <a:pt x="1138061" y="4252699"/>
                </a:lnTo>
                <a:lnTo>
                  <a:pt x="1138061" y="3141449"/>
                </a:lnTo>
                <a:close/>
                <a:moveTo>
                  <a:pt x="3641480" y="3038926"/>
                </a:moveTo>
                <a:lnTo>
                  <a:pt x="3692687" y="3040648"/>
                </a:lnTo>
                <a:lnTo>
                  <a:pt x="3740267" y="3045768"/>
                </a:lnTo>
                <a:lnTo>
                  <a:pt x="3784335" y="3054214"/>
                </a:lnTo>
                <a:lnTo>
                  <a:pt x="3825006" y="3065915"/>
                </a:lnTo>
                <a:lnTo>
                  <a:pt x="3862397" y="3080800"/>
                </a:lnTo>
                <a:lnTo>
                  <a:pt x="3896625" y="3098798"/>
                </a:lnTo>
                <a:lnTo>
                  <a:pt x="3956049" y="3143849"/>
                </a:lnTo>
                <a:lnTo>
                  <a:pt x="4004207" y="3200499"/>
                </a:lnTo>
                <a:lnTo>
                  <a:pt x="4024351" y="3232996"/>
                </a:lnTo>
                <a:lnTo>
                  <a:pt x="4042026" y="3268179"/>
                </a:lnTo>
                <a:lnTo>
                  <a:pt x="4057349" y="3305977"/>
                </a:lnTo>
                <a:lnTo>
                  <a:pt x="4070435" y="3346320"/>
                </a:lnTo>
                <a:lnTo>
                  <a:pt x="4081399" y="3389137"/>
                </a:lnTo>
                <a:lnTo>
                  <a:pt x="4090359" y="3434354"/>
                </a:lnTo>
                <a:lnTo>
                  <a:pt x="4097430" y="3481903"/>
                </a:lnTo>
                <a:lnTo>
                  <a:pt x="4102728" y="3531711"/>
                </a:lnTo>
                <a:lnTo>
                  <a:pt x="4106368" y="3583708"/>
                </a:lnTo>
                <a:lnTo>
                  <a:pt x="4108468" y="3637823"/>
                </a:lnTo>
                <a:lnTo>
                  <a:pt x="4109142" y="3693984"/>
                </a:lnTo>
                <a:lnTo>
                  <a:pt x="4108500" y="3750386"/>
                </a:lnTo>
                <a:lnTo>
                  <a:pt x="4106493" y="3804741"/>
                </a:lnTo>
                <a:lnTo>
                  <a:pt x="4102994" y="3856976"/>
                </a:lnTo>
                <a:lnTo>
                  <a:pt x="4097877" y="3907019"/>
                </a:lnTo>
                <a:lnTo>
                  <a:pt x="4091016" y="3954797"/>
                </a:lnTo>
                <a:lnTo>
                  <a:pt x="4082286" y="4000240"/>
                </a:lnTo>
                <a:lnTo>
                  <a:pt x="4071561" y="4043273"/>
                </a:lnTo>
                <a:lnTo>
                  <a:pt x="4058715" y="4083826"/>
                </a:lnTo>
                <a:lnTo>
                  <a:pt x="4043622" y="4121826"/>
                </a:lnTo>
                <a:lnTo>
                  <a:pt x="4026157" y="4157201"/>
                </a:lnTo>
                <a:lnTo>
                  <a:pt x="4006193" y="4189879"/>
                </a:lnTo>
                <a:lnTo>
                  <a:pt x="3958268" y="4246853"/>
                </a:lnTo>
                <a:lnTo>
                  <a:pt x="3898841" y="4292171"/>
                </a:lnTo>
                <a:lnTo>
                  <a:pt x="3864498" y="4310279"/>
                </a:lnTo>
                <a:lnTo>
                  <a:pt x="3826904" y="4325257"/>
                </a:lnTo>
                <a:lnTo>
                  <a:pt x="3785930" y="4337032"/>
                </a:lnTo>
                <a:lnTo>
                  <a:pt x="3741452" y="4345532"/>
                </a:lnTo>
                <a:lnTo>
                  <a:pt x="3693344" y="4350685"/>
                </a:lnTo>
                <a:lnTo>
                  <a:pt x="3641480" y="4352418"/>
                </a:lnTo>
                <a:lnTo>
                  <a:pt x="3641480" y="4254498"/>
                </a:lnTo>
                <a:lnTo>
                  <a:pt x="3691728" y="4252239"/>
                </a:lnTo>
                <a:lnTo>
                  <a:pt x="3737159" y="4245544"/>
                </a:lnTo>
                <a:lnTo>
                  <a:pt x="3778000" y="4234531"/>
                </a:lnTo>
                <a:lnTo>
                  <a:pt x="3814480" y="4219320"/>
                </a:lnTo>
                <a:lnTo>
                  <a:pt x="3875274" y="4176783"/>
                </a:lnTo>
                <a:lnTo>
                  <a:pt x="3921371" y="4118890"/>
                </a:lnTo>
                <a:lnTo>
                  <a:pt x="3939480" y="4084484"/>
                </a:lnTo>
                <a:lnTo>
                  <a:pt x="3954602" y="4046597"/>
                </a:lnTo>
                <a:lnTo>
                  <a:pt x="3966965" y="4005349"/>
                </a:lnTo>
                <a:lnTo>
                  <a:pt x="3976798" y="3960860"/>
                </a:lnTo>
                <a:lnTo>
                  <a:pt x="3984330" y="3913250"/>
                </a:lnTo>
                <a:lnTo>
                  <a:pt x="3989790" y="3862638"/>
                </a:lnTo>
                <a:lnTo>
                  <a:pt x="3993406" y="3809143"/>
                </a:lnTo>
                <a:lnTo>
                  <a:pt x="3995408" y="3752885"/>
                </a:lnTo>
                <a:lnTo>
                  <a:pt x="3996025" y="3693984"/>
                </a:lnTo>
                <a:lnTo>
                  <a:pt x="3995375" y="3635662"/>
                </a:lnTo>
                <a:lnTo>
                  <a:pt x="3993282" y="3579947"/>
                </a:lnTo>
                <a:lnTo>
                  <a:pt x="3989529" y="3526961"/>
                </a:lnTo>
                <a:lnTo>
                  <a:pt x="3983900" y="3476822"/>
                </a:lnTo>
                <a:lnTo>
                  <a:pt x="3976178" y="3429650"/>
                </a:lnTo>
                <a:lnTo>
                  <a:pt x="3966147" y="3385563"/>
                </a:lnTo>
                <a:lnTo>
                  <a:pt x="3953590" y="3344684"/>
                </a:lnTo>
                <a:lnTo>
                  <a:pt x="3938291" y="3307130"/>
                </a:lnTo>
                <a:lnTo>
                  <a:pt x="3920033" y="3273021"/>
                </a:lnTo>
                <a:lnTo>
                  <a:pt x="3873774" y="3215619"/>
                </a:lnTo>
                <a:lnTo>
                  <a:pt x="3813084" y="3173432"/>
                </a:lnTo>
                <a:lnTo>
                  <a:pt x="3776785" y="3158344"/>
                </a:lnTo>
                <a:lnTo>
                  <a:pt x="3736230" y="3147419"/>
                </a:lnTo>
                <a:lnTo>
                  <a:pt x="3691200" y="3140776"/>
                </a:lnTo>
                <a:lnTo>
                  <a:pt x="3641480" y="3138535"/>
                </a:lnTo>
                <a:close/>
                <a:moveTo>
                  <a:pt x="3548584" y="3038926"/>
                </a:moveTo>
                <a:lnTo>
                  <a:pt x="3548584" y="3138535"/>
                </a:lnTo>
                <a:lnTo>
                  <a:pt x="3499144" y="3140776"/>
                </a:lnTo>
                <a:lnTo>
                  <a:pt x="3454362" y="3147419"/>
                </a:lnTo>
                <a:lnTo>
                  <a:pt x="3414023" y="3158344"/>
                </a:lnTo>
                <a:lnTo>
                  <a:pt x="3377913" y="3173432"/>
                </a:lnTo>
                <a:lnTo>
                  <a:pt x="3317522" y="3215619"/>
                </a:lnTo>
                <a:lnTo>
                  <a:pt x="3271471" y="3273021"/>
                </a:lnTo>
                <a:lnTo>
                  <a:pt x="3253289" y="3307130"/>
                </a:lnTo>
                <a:lnTo>
                  <a:pt x="3238049" y="3344684"/>
                </a:lnTo>
                <a:lnTo>
                  <a:pt x="3225536" y="3385563"/>
                </a:lnTo>
                <a:lnTo>
                  <a:pt x="3215537" y="3429650"/>
                </a:lnTo>
                <a:lnTo>
                  <a:pt x="3207836" y="3476822"/>
                </a:lnTo>
                <a:lnTo>
                  <a:pt x="3202221" y="3526961"/>
                </a:lnTo>
                <a:lnTo>
                  <a:pt x="3198475" y="3579947"/>
                </a:lnTo>
                <a:lnTo>
                  <a:pt x="3196384" y="3635662"/>
                </a:lnTo>
                <a:lnTo>
                  <a:pt x="3195735" y="3693984"/>
                </a:lnTo>
                <a:lnTo>
                  <a:pt x="3196368" y="3752885"/>
                </a:lnTo>
                <a:lnTo>
                  <a:pt x="3198413" y="3809143"/>
                </a:lnTo>
                <a:lnTo>
                  <a:pt x="3202091" y="3862638"/>
                </a:lnTo>
                <a:lnTo>
                  <a:pt x="3207622" y="3913250"/>
                </a:lnTo>
                <a:lnTo>
                  <a:pt x="3215228" y="3960860"/>
                </a:lnTo>
                <a:lnTo>
                  <a:pt x="3225128" y="4005349"/>
                </a:lnTo>
                <a:lnTo>
                  <a:pt x="3237544" y="4046597"/>
                </a:lnTo>
                <a:lnTo>
                  <a:pt x="3252696" y="4084484"/>
                </a:lnTo>
                <a:lnTo>
                  <a:pt x="3270804" y="4118890"/>
                </a:lnTo>
                <a:lnTo>
                  <a:pt x="3316774" y="4176783"/>
                </a:lnTo>
                <a:lnTo>
                  <a:pt x="3377217" y="4219320"/>
                </a:lnTo>
                <a:lnTo>
                  <a:pt x="3413418" y="4234531"/>
                </a:lnTo>
                <a:lnTo>
                  <a:pt x="3453899" y="4245544"/>
                </a:lnTo>
                <a:lnTo>
                  <a:pt x="3498881" y="4252239"/>
                </a:lnTo>
                <a:lnTo>
                  <a:pt x="3548584" y="4254498"/>
                </a:lnTo>
                <a:lnTo>
                  <a:pt x="3548584" y="4352418"/>
                </a:lnTo>
                <a:lnTo>
                  <a:pt x="3496940" y="4350685"/>
                </a:lnTo>
                <a:lnTo>
                  <a:pt x="3449008" y="4345532"/>
                </a:lnTo>
                <a:lnTo>
                  <a:pt x="3404668" y="4337032"/>
                </a:lnTo>
                <a:lnTo>
                  <a:pt x="3363796" y="4325257"/>
                </a:lnTo>
                <a:lnTo>
                  <a:pt x="3326270" y="4310279"/>
                </a:lnTo>
                <a:lnTo>
                  <a:pt x="3291967" y="4292171"/>
                </a:lnTo>
                <a:lnTo>
                  <a:pt x="3232542" y="4246853"/>
                </a:lnTo>
                <a:lnTo>
                  <a:pt x="3184540" y="4189879"/>
                </a:lnTo>
                <a:lnTo>
                  <a:pt x="3164517" y="4157201"/>
                </a:lnTo>
                <a:lnTo>
                  <a:pt x="3146982" y="4121826"/>
                </a:lnTo>
                <a:lnTo>
                  <a:pt x="3131813" y="4083826"/>
                </a:lnTo>
                <a:lnTo>
                  <a:pt x="3118888" y="4043273"/>
                </a:lnTo>
                <a:lnTo>
                  <a:pt x="3108083" y="4000240"/>
                </a:lnTo>
                <a:lnTo>
                  <a:pt x="3099276" y="3954797"/>
                </a:lnTo>
                <a:lnTo>
                  <a:pt x="3092346" y="3907019"/>
                </a:lnTo>
                <a:lnTo>
                  <a:pt x="3087169" y="3856976"/>
                </a:lnTo>
                <a:lnTo>
                  <a:pt x="3083623" y="3804741"/>
                </a:lnTo>
                <a:lnTo>
                  <a:pt x="3081585" y="3750386"/>
                </a:lnTo>
                <a:lnTo>
                  <a:pt x="3080933" y="3693984"/>
                </a:lnTo>
                <a:lnTo>
                  <a:pt x="3081606" y="3637823"/>
                </a:lnTo>
                <a:lnTo>
                  <a:pt x="3083706" y="3583708"/>
                </a:lnTo>
                <a:lnTo>
                  <a:pt x="3087346" y="3531711"/>
                </a:lnTo>
                <a:lnTo>
                  <a:pt x="3092643" y="3481903"/>
                </a:lnTo>
                <a:lnTo>
                  <a:pt x="3099713" y="3434354"/>
                </a:lnTo>
                <a:lnTo>
                  <a:pt x="3108673" y="3389137"/>
                </a:lnTo>
                <a:lnTo>
                  <a:pt x="3119637" y="3346320"/>
                </a:lnTo>
                <a:lnTo>
                  <a:pt x="3132722" y="3305977"/>
                </a:lnTo>
                <a:lnTo>
                  <a:pt x="3148044" y="3268179"/>
                </a:lnTo>
                <a:lnTo>
                  <a:pt x="3165718" y="3232996"/>
                </a:lnTo>
                <a:lnTo>
                  <a:pt x="3185862" y="3200499"/>
                </a:lnTo>
                <a:lnTo>
                  <a:pt x="3234018" y="3143849"/>
                </a:lnTo>
                <a:lnTo>
                  <a:pt x="3293441" y="3098798"/>
                </a:lnTo>
                <a:lnTo>
                  <a:pt x="3327668" y="3080800"/>
                </a:lnTo>
                <a:lnTo>
                  <a:pt x="3365059" y="3065915"/>
                </a:lnTo>
                <a:lnTo>
                  <a:pt x="3405730" y="3054214"/>
                </a:lnTo>
                <a:lnTo>
                  <a:pt x="3449797" y="3045768"/>
                </a:lnTo>
                <a:lnTo>
                  <a:pt x="3497376" y="3040648"/>
                </a:lnTo>
                <a:close/>
                <a:moveTo>
                  <a:pt x="3678369" y="2400757"/>
                </a:moveTo>
                <a:lnTo>
                  <a:pt x="4593430" y="2400757"/>
                </a:lnTo>
                <a:lnTo>
                  <a:pt x="4593430" y="2508807"/>
                </a:lnTo>
                <a:lnTo>
                  <a:pt x="3678369" y="2508807"/>
                </a:lnTo>
                <a:close/>
                <a:moveTo>
                  <a:pt x="2579115" y="2400753"/>
                </a:moveTo>
                <a:lnTo>
                  <a:pt x="3494165" y="2400753"/>
                </a:lnTo>
                <a:lnTo>
                  <a:pt x="3494165" y="2508804"/>
                </a:lnTo>
                <a:lnTo>
                  <a:pt x="2579115" y="2508804"/>
                </a:lnTo>
                <a:close/>
                <a:moveTo>
                  <a:pt x="3678369" y="2047903"/>
                </a:moveTo>
                <a:lnTo>
                  <a:pt x="4593430" y="2047903"/>
                </a:lnTo>
                <a:lnTo>
                  <a:pt x="4593430" y="2155954"/>
                </a:lnTo>
                <a:lnTo>
                  <a:pt x="3678369" y="2155954"/>
                </a:lnTo>
                <a:close/>
                <a:moveTo>
                  <a:pt x="2579115" y="2047899"/>
                </a:moveTo>
                <a:lnTo>
                  <a:pt x="3494165" y="2047899"/>
                </a:lnTo>
                <a:lnTo>
                  <a:pt x="3494165" y="2155950"/>
                </a:lnTo>
                <a:lnTo>
                  <a:pt x="2579115" y="2155950"/>
                </a:lnTo>
                <a:close/>
                <a:moveTo>
                  <a:pt x="6202942" y="1519467"/>
                </a:moveTo>
                <a:lnTo>
                  <a:pt x="6254150" y="1521189"/>
                </a:lnTo>
                <a:lnTo>
                  <a:pt x="6301730" y="1526309"/>
                </a:lnTo>
                <a:lnTo>
                  <a:pt x="6345796" y="1534755"/>
                </a:lnTo>
                <a:lnTo>
                  <a:pt x="6386468" y="1546456"/>
                </a:lnTo>
                <a:lnTo>
                  <a:pt x="6423858" y="1561341"/>
                </a:lnTo>
                <a:lnTo>
                  <a:pt x="6458084" y="1579339"/>
                </a:lnTo>
                <a:lnTo>
                  <a:pt x="6517506" y="1624390"/>
                </a:lnTo>
                <a:lnTo>
                  <a:pt x="6565664" y="1681040"/>
                </a:lnTo>
                <a:lnTo>
                  <a:pt x="6585806" y="1713537"/>
                </a:lnTo>
                <a:lnTo>
                  <a:pt x="6603482" y="1748720"/>
                </a:lnTo>
                <a:lnTo>
                  <a:pt x="6618804" y="1786518"/>
                </a:lnTo>
                <a:lnTo>
                  <a:pt x="6631888" y="1826861"/>
                </a:lnTo>
                <a:lnTo>
                  <a:pt x="6642852" y="1869678"/>
                </a:lnTo>
                <a:lnTo>
                  <a:pt x="6651812" y="1914895"/>
                </a:lnTo>
                <a:lnTo>
                  <a:pt x="6658882" y="1962443"/>
                </a:lnTo>
                <a:lnTo>
                  <a:pt x="6664180" y="2012251"/>
                </a:lnTo>
                <a:lnTo>
                  <a:pt x="6667820" y="2064248"/>
                </a:lnTo>
                <a:lnTo>
                  <a:pt x="6669918" y="2118363"/>
                </a:lnTo>
                <a:lnTo>
                  <a:pt x="6670594" y="2174524"/>
                </a:lnTo>
                <a:lnTo>
                  <a:pt x="6669952" y="2230926"/>
                </a:lnTo>
                <a:lnTo>
                  <a:pt x="6667946" y="2285281"/>
                </a:lnTo>
                <a:lnTo>
                  <a:pt x="6664446" y="2337516"/>
                </a:lnTo>
                <a:lnTo>
                  <a:pt x="6659328" y="2387560"/>
                </a:lnTo>
                <a:lnTo>
                  <a:pt x="6652468" y="2435337"/>
                </a:lnTo>
                <a:lnTo>
                  <a:pt x="6643740" y="2480781"/>
                </a:lnTo>
                <a:lnTo>
                  <a:pt x="6633014" y="2523814"/>
                </a:lnTo>
                <a:lnTo>
                  <a:pt x="6620170" y="2564367"/>
                </a:lnTo>
                <a:lnTo>
                  <a:pt x="6605078" y="2602367"/>
                </a:lnTo>
                <a:lnTo>
                  <a:pt x="6587612" y="2637742"/>
                </a:lnTo>
                <a:lnTo>
                  <a:pt x="6567650" y="2670420"/>
                </a:lnTo>
                <a:lnTo>
                  <a:pt x="6519726" y="2727394"/>
                </a:lnTo>
                <a:lnTo>
                  <a:pt x="6460300" y="2772712"/>
                </a:lnTo>
                <a:lnTo>
                  <a:pt x="6425960" y="2790820"/>
                </a:lnTo>
                <a:lnTo>
                  <a:pt x="6388366" y="2805798"/>
                </a:lnTo>
                <a:lnTo>
                  <a:pt x="6347392" y="2817573"/>
                </a:lnTo>
                <a:lnTo>
                  <a:pt x="6302914" y="2826073"/>
                </a:lnTo>
                <a:lnTo>
                  <a:pt x="6254806" y="2831226"/>
                </a:lnTo>
                <a:lnTo>
                  <a:pt x="6202942" y="2832959"/>
                </a:lnTo>
                <a:lnTo>
                  <a:pt x="6202942" y="2735039"/>
                </a:lnTo>
                <a:lnTo>
                  <a:pt x="6253190" y="2732780"/>
                </a:lnTo>
                <a:lnTo>
                  <a:pt x="6298622" y="2726085"/>
                </a:lnTo>
                <a:lnTo>
                  <a:pt x="6339462" y="2715072"/>
                </a:lnTo>
                <a:lnTo>
                  <a:pt x="6375942" y="2699861"/>
                </a:lnTo>
                <a:lnTo>
                  <a:pt x="6436736" y="2657324"/>
                </a:lnTo>
                <a:lnTo>
                  <a:pt x="6482832" y="2599431"/>
                </a:lnTo>
                <a:lnTo>
                  <a:pt x="6500942" y="2565024"/>
                </a:lnTo>
                <a:lnTo>
                  <a:pt x="6516064" y="2527138"/>
                </a:lnTo>
                <a:lnTo>
                  <a:pt x="6528426" y="2485890"/>
                </a:lnTo>
                <a:lnTo>
                  <a:pt x="6538260" y="2441401"/>
                </a:lnTo>
                <a:lnTo>
                  <a:pt x="6545792" y="2393791"/>
                </a:lnTo>
                <a:lnTo>
                  <a:pt x="6551252" y="2343178"/>
                </a:lnTo>
                <a:lnTo>
                  <a:pt x="6554868" y="2289683"/>
                </a:lnTo>
                <a:lnTo>
                  <a:pt x="6556870" y="2233425"/>
                </a:lnTo>
                <a:lnTo>
                  <a:pt x="6557486" y="2174524"/>
                </a:lnTo>
                <a:lnTo>
                  <a:pt x="6556836" y="2116203"/>
                </a:lnTo>
                <a:lnTo>
                  <a:pt x="6554744" y="2060487"/>
                </a:lnTo>
                <a:lnTo>
                  <a:pt x="6550990" y="2007501"/>
                </a:lnTo>
                <a:lnTo>
                  <a:pt x="6545362" y="1957362"/>
                </a:lnTo>
                <a:lnTo>
                  <a:pt x="6537640" y="1910190"/>
                </a:lnTo>
                <a:lnTo>
                  <a:pt x="6527608" y="1866104"/>
                </a:lnTo>
                <a:lnTo>
                  <a:pt x="6515052" y="1825226"/>
                </a:lnTo>
                <a:lnTo>
                  <a:pt x="6499752" y="1787671"/>
                </a:lnTo>
                <a:lnTo>
                  <a:pt x="6481494" y="1753562"/>
                </a:lnTo>
                <a:lnTo>
                  <a:pt x="6435236" y="1696160"/>
                </a:lnTo>
                <a:lnTo>
                  <a:pt x="6374546" y="1653973"/>
                </a:lnTo>
                <a:lnTo>
                  <a:pt x="6338248" y="1638885"/>
                </a:lnTo>
                <a:lnTo>
                  <a:pt x="6297692" y="1627960"/>
                </a:lnTo>
                <a:lnTo>
                  <a:pt x="6252662" y="1621317"/>
                </a:lnTo>
                <a:lnTo>
                  <a:pt x="6202942" y="1619076"/>
                </a:lnTo>
                <a:close/>
                <a:moveTo>
                  <a:pt x="6110023" y="1519467"/>
                </a:moveTo>
                <a:lnTo>
                  <a:pt x="6110023" y="1619076"/>
                </a:lnTo>
                <a:lnTo>
                  <a:pt x="6060583" y="1621317"/>
                </a:lnTo>
                <a:lnTo>
                  <a:pt x="6015801" y="1627960"/>
                </a:lnTo>
                <a:lnTo>
                  <a:pt x="5975462" y="1638885"/>
                </a:lnTo>
                <a:lnTo>
                  <a:pt x="5939352" y="1653973"/>
                </a:lnTo>
                <a:lnTo>
                  <a:pt x="5878960" y="1696160"/>
                </a:lnTo>
                <a:lnTo>
                  <a:pt x="5832910" y="1753562"/>
                </a:lnTo>
                <a:lnTo>
                  <a:pt x="5814728" y="1787671"/>
                </a:lnTo>
                <a:lnTo>
                  <a:pt x="5799488" y="1825226"/>
                </a:lnTo>
                <a:lnTo>
                  <a:pt x="5786975" y="1866104"/>
                </a:lnTo>
                <a:lnTo>
                  <a:pt x="5776976" y="1910190"/>
                </a:lnTo>
                <a:lnTo>
                  <a:pt x="5769275" y="1957362"/>
                </a:lnTo>
                <a:lnTo>
                  <a:pt x="5763660" y="2007501"/>
                </a:lnTo>
                <a:lnTo>
                  <a:pt x="5759914" y="2060487"/>
                </a:lnTo>
                <a:lnTo>
                  <a:pt x="5757823" y="2116203"/>
                </a:lnTo>
                <a:lnTo>
                  <a:pt x="5757174" y="2174524"/>
                </a:lnTo>
                <a:lnTo>
                  <a:pt x="5757807" y="2233425"/>
                </a:lnTo>
                <a:lnTo>
                  <a:pt x="5759852" y="2289683"/>
                </a:lnTo>
                <a:lnTo>
                  <a:pt x="5763530" y="2343178"/>
                </a:lnTo>
                <a:lnTo>
                  <a:pt x="5769061" y="2393791"/>
                </a:lnTo>
                <a:lnTo>
                  <a:pt x="5776667" y="2441401"/>
                </a:lnTo>
                <a:lnTo>
                  <a:pt x="5786567" y="2485890"/>
                </a:lnTo>
                <a:lnTo>
                  <a:pt x="5798983" y="2527138"/>
                </a:lnTo>
                <a:lnTo>
                  <a:pt x="5814135" y="2565024"/>
                </a:lnTo>
                <a:lnTo>
                  <a:pt x="5832243" y="2599431"/>
                </a:lnTo>
                <a:lnTo>
                  <a:pt x="5878214" y="2657324"/>
                </a:lnTo>
                <a:lnTo>
                  <a:pt x="5938656" y="2699861"/>
                </a:lnTo>
                <a:lnTo>
                  <a:pt x="5974857" y="2715072"/>
                </a:lnTo>
                <a:lnTo>
                  <a:pt x="6015338" y="2726085"/>
                </a:lnTo>
                <a:lnTo>
                  <a:pt x="6060320" y="2732780"/>
                </a:lnTo>
                <a:lnTo>
                  <a:pt x="6110023" y="2735039"/>
                </a:lnTo>
                <a:lnTo>
                  <a:pt x="6110023" y="2832959"/>
                </a:lnTo>
                <a:lnTo>
                  <a:pt x="6058379" y="2831226"/>
                </a:lnTo>
                <a:lnTo>
                  <a:pt x="6010447" y="2826073"/>
                </a:lnTo>
                <a:lnTo>
                  <a:pt x="5966107" y="2817573"/>
                </a:lnTo>
                <a:lnTo>
                  <a:pt x="5925235" y="2805798"/>
                </a:lnTo>
                <a:lnTo>
                  <a:pt x="5887709" y="2790820"/>
                </a:lnTo>
                <a:lnTo>
                  <a:pt x="5853406" y="2772712"/>
                </a:lnTo>
                <a:lnTo>
                  <a:pt x="5793981" y="2727394"/>
                </a:lnTo>
                <a:lnTo>
                  <a:pt x="5745979" y="2670420"/>
                </a:lnTo>
                <a:lnTo>
                  <a:pt x="5725956" y="2637742"/>
                </a:lnTo>
                <a:lnTo>
                  <a:pt x="5708421" y="2602367"/>
                </a:lnTo>
                <a:lnTo>
                  <a:pt x="5693252" y="2564367"/>
                </a:lnTo>
                <a:lnTo>
                  <a:pt x="5680327" y="2523814"/>
                </a:lnTo>
                <a:lnTo>
                  <a:pt x="5669522" y="2480781"/>
                </a:lnTo>
                <a:lnTo>
                  <a:pt x="5660715" y="2435337"/>
                </a:lnTo>
                <a:lnTo>
                  <a:pt x="5653785" y="2387560"/>
                </a:lnTo>
                <a:lnTo>
                  <a:pt x="5648608" y="2337516"/>
                </a:lnTo>
                <a:lnTo>
                  <a:pt x="5645062" y="2285281"/>
                </a:lnTo>
                <a:lnTo>
                  <a:pt x="5643024" y="2230926"/>
                </a:lnTo>
                <a:lnTo>
                  <a:pt x="5642372" y="2174524"/>
                </a:lnTo>
                <a:lnTo>
                  <a:pt x="5643045" y="2118363"/>
                </a:lnTo>
                <a:lnTo>
                  <a:pt x="5645145" y="2064248"/>
                </a:lnTo>
                <a:lnTo>
                  <a:pt x="5648785" y="2012251"/>
                </a:lnTo>
                <a:lnTo>
                  <a:pt x="5654082" y="1962443"/>
                </a:lnTo>
                <a:lnTo>
                  <a:pt x="5661152" y="1914895"/>
                </a:lnTo>
                <a:lnTo>
                  <a:pt x="5670112" y="1869678"/>
                </a:lnTo>
                <a:lnTo>
                  <a:pt x="5681076" y="1826861"/>
                </a:lnTo>
                <a:lnTo>
                  <a:pt x="5694161" y="1786518"/>
                </a:lnTo>
                <a:lnTo>
                  <a:pt x="5709483" y="1748720"/>
                </a:lnTo>
                <a:lnTo>
                  <a:pt x="5727157" y="1713537"/>
                </a:lnTo>
                <a:lnTo>
                  <a:pt x="5747301" y="1681040"/>
                </a:lnTo>
                <a:lnTo>
                  <a:pt x="5795457" y="1624390"/>
                </a:lnTo>
                <a:lnTo>
                  <a:pt x="5854880" y="1579339"/>
                </a:lnTo>
                <a:lnTo>
                  <a:pt x="5889107" y="1561341"/>
                </a:lnTo>
                <a:lnTo>
                  <a:pt x="5926498" y="1546456"/>
                </a:lnTo>
                <a:lnTo>
                  <a:pt x="5967169" y="1534755"/>
                </a:lnTo>
                <a:lnTo>
                  <a:pt x="6011236" y="1526309"/>
                </a:lnTo>
                <a:lnTo>
                  <a:pt x="6058815" y="1521189"/>
                </a:lnTo>
                <a:close/>
                <a:moveTo>
                  <a:pt x="4207776" y="1033233"/>
                </a:moveTo>
                <a:lnTo>
                  <a:pt x="4417120" y="1033233"/>
                </a:lnTo>
                <a:lnTo>
                  <a:pt x="4417120" y="1208814"/>
                </a:lnTo>
                <a:lnTo>
                  <a:pt x="4207776" y="1208814"/>
                </a:lnTo>
                <a:close/>
                <a:moveTo>
                  <a:pt x="5865088" y="881295"/>
                </a:moveTo>
                <a:lnTo>
                  <a:pt x="6780150" y="881295"/>
                </a:lnTo>
                <a:lnTo>
                  <a:pt x="6780150" y="989345"/>
                </a:lnTo>
                <a:lnTo>
                  <a:pt x="5865088" y="989345"/>
                </a:lnTo>
                <a:close/>
                <a:moveTo>
                  <a:pt x="5865088" y="528441"/>
                </a:moveTo>
                <a:lnTo>
                  <a:pt x="6780150" y="528441"/>
                </a:lnTo>
                <a:lnTo>
                  <a:pt x="6780150" y="636492"/>
                </a:lnTo>
                <a:lnTo>
                  <a:pt x="5865088" y="636492"/>
                </a:lnTo>
                <a:close/>
                <a:moveTo>
                  <a:pt x="7862878" y="7089"/>
                </a:moveTo>
                <a:lnTo>
                  <a:pt x="8241058" y="7089"/>
                </a:lnTo>
                <a:lnTo>
                  <a:pt x="8241058" y="103609"/>
                </a:lnTo>
                <a:lnTo>
                  <a:pt x="7979374" y="103609"/>
                </a:lnTo>
                <a:lnTo>
                  <a:pt x="7979374" y="1213589"/>
                </a:lnTo>
                <a:lnTo>
                  <a:pt x="8241058" y="1213589"/>
                </a:lnTo>
                <a:lnTo>
                  <a:pt x="8241058" y="1310109"/>
                </a:lnTo>
                <a:lnTo>
                  <a:pt x="7862878" y="1310109"/>
                </a:lnTo>
                <a:lnTo>
                  <a:pt x="7862878" y="1213589"/>
                </a:lnTo>
                <a:lnTo>
                  <a:pt x="7862878" y="103609"/>
                </a:lnTo>
                <a:close/>
                <a:moveTo>
                  <a:pt x="3051834" y="2"/>
                </a:moveTo>
                <a:lnTo>
                  <a:pt x="3051834" y="99613"/>
                </a:lnTo>
                <a:lnTo>
                  <a:pt x="3002394" y="101852"/>
                </a:lnTo>
                <a:lnTo>
                  <a:pt x="2957611" y="108497"/>
                </a:lnTo>
                <a:lnTo>
                  <a:pt x="2917272" y="119421"/>
                </a:lnTo>
                <a:lnTo>
                  <a:pt x="2881161" y="134509"/>
                </a:lnTo>
                <a:lnTo>
                  <a:pt x="2820768" y="176694"/>
                </a:lnTo>
                <a:lnTo>
                  <a:pt x="2774716" y="234098"/>
                </a:lnTo>
                <a:lnTo>
                  <a:pt x="2756533" y="268206"/>
                </a:lnTo>
                <a:lnTo>
                  <a:pt x="2741291" y="305760"/>
                </a:lnTo>
                <a:lnTo>
                  <a:pt x="2728778" y="346640"/>
                </a:lnTo>
                <a:lnTo>
                  <a:pt x="2718778" y="390725"/>
                </a:lnTo>
                <a:lnTo>
                  <a:pt x="2711077" y="437898"/>
                </a:lnTo>
                <a:lnTo>
                  <a:pt x="2705460" y="488037"/>
                </a:lnTo>
                <a:lnTo>
                  <a:pt x="2701714" y="541024"/>
                </a:lnTo>
                <a:lnTo>
                  <a:pt x="2699623" y="596738"/>
                </a:lnTo>
                <a:lnTo>
                  <a:pt x="2698974" y="655061"/>
                </a:lnTo>
                <a:lnTo>
                  <a:pt x="2699607" y="713962"/>
                </a:lnTo>
                <a:lnTo>
                  <a:pt x="2701652" y="770219"/>
                </a:lnTo>
                <a:lnTo>
                  <a:pt x="2705331" y="823713"/>
                </a:lnTo>
                <a:lnTo>
                  <a:pt x="2710863" y="874325"/>
                </a:lnTo>
                <a:lnTo>
                  <a:pt x="2718469" y="921936"/>
                </a:lnTo>
                <a:lnTo>
                  <a:pt x="2728370" y="966424"/>
                </a:lnTo>
                <a:lnTo>
                  <a:pt x="2740787" y="1007672"/>
                </a:lnTo>
                <a:lnTo>
                  <a:pt x="2755940" y="1045559"/>
                </a:lnTo>
                <a:lnTo>
                  <a:pt x="2774049" y="1079966"/>
                </a:lnTo>
                <a:lnTo>
                  <a:pt x="2820020" y="1137858"/>
                </a:lnTo>
                <a:lnTo>
                  <a:pt x="2880465" y="1180395"/>
                </a:lnTo>
                <a:lnTo>
                  <a:pt x="2916667" y="1195607"/>
                </a:lnTo>
                <a:lnTo>
                  <a:pt x="2957148" y="1206620"/>
                </a:lnTo>
                <a:lnTo>
                  <a:pt x="3002130" y="1213314"/>
                </a:lnTo>
                <a:lnTo>
                  <a:pt x="3051834" y="1215573"/>
                </a:lnTo>
                <a:lnTo>
                  <a:pt x="3051834" y="1313495"/>
                </a:lnTo>
                <a:lnTo>
                  <a:pt x="3000188" y="1311761"/>
                </a:lnTo>
                <a:lnTo>
                  <a:pt x="2952255" y="1306609"/>
                </a:lnTo>
                <a:lnTo>
                  <a:pt x="2907914" y="1298108"/>
                </a:lnTo>
                <a:lnTo>
                  <a:pt x="2867041" y="1286333"/>
                </a:lnTo>
                <a:lnTo>
                  <a:pt x="2829514" y="1271355"/>
                </a:lnTo>
                <a:lnTo>
                  <a:pt x="2795209" y="1253247"/>
                </a:lnTo>
                <a:lnTo>
                  <a:pt x="2735783" y="1207930"/>
                </a:lnTo>
                <a:lnTo>
                  <a:pt x="2687781" y="1150955"/>
                </a:lnTo>
                <a:lnTo>
                  <a:pt x="2667757" y="1118277"/>
                </a:lnTo>
                <a:lnTo>
                  <a:pt x="2650222" y="1082902"/>
                </a:lnTo>
                <a:lnTo>
                  <a:pt x="2635053" y="1044902"/>
                </a:lnTo>
                <a:lnTo>
                  <a:pt x="2622127" y="1004349"/>
                </a:lnTo>
                <a:lnTo>
                  <a:pt x="2611322" y="961316"/>
                </a:lnTo>
                <a:lnTo>
                  <a:pt x="2602516" y="915873"/>
                </a:lnTo>
                <a:lnTo>
                  <a:pt x="2595585" y="868095"/>
                </a:lnTo>
                <a:lnTo>
                  <a:pt x="2590408" y="818052"/>
                </a:lnTo>
                <a:lnTo>
                  <a:pt x="2586862" y="765818"/>
                </a:lnTo>
                <a:lnTo>
                  <a:pt x="2584824" y="711463"/>
                </a:lnTo>
                <a:lnTo>
                  <a:pt x="2584172" y="655061"/>
                </a:lnTo>
                <a:lnTo>
                  <a:pt x="2584846" y="598899"/>
                </a:lnTo>
                <a:lnTo>
                  <a:pt x="2586945" y="544784"/>
                </a:lnTo>
                <a:lnTo>
                  <a:pt x="2590585" y="492788"/>
                </a:lnTo>
                <a:lnTo>
                  <a:pt x="2595883" y="442980"/>
                </a:lnTo>
                <a:lnTo>
                  <a:pt x="2602954" y="395431"/>
                </a:lnTo>
                <a:lnTo>
                  <a:pt x="2611914" y="350213"/>
                </a:lnTo>
                <a:lnTo>
                  <a:pt x="2622878" y="307398"/>
                </a:lnTo>
                <a:lnTo>
                  <a:pt x="2635964" y="267054"/>
                </a:lnTo>
                <a:lnTo>
                  <a:pt x="2651287" y="229257"/>
                </a:lnTo>
                <a:lnTo>
                  <a:pt x="2668962" y="194074"/>
                </a:lnTo>
                <a:lnTo>
                  <a:pt x="2689106" y="161576"/>
                </a:lnTo>
                <a:lnTo>
                  <a:pt x="2737264" y="104925"/>
                </a:lnTo>
                <a:lnTo>
                  <a:pt x="2796688" y="59876"/>
                </a:lnTo>
                <a:lnTo>
                  <a:pt x="2830916" y="41878"/>
                </a:lnTo>
                <a:lnTo>
                  <a:pt x="2868307" y="26992"/>
                </a:lnTo>
                <a:lnTo>
                  <a:pt x="2908979" y="15290"/>
                </a:lnTo>
                <a:lnTo>
                  <a:pt x="2953046" y="6845"/>
                </a:lnTo>
                <a:lnTo>
                  <a:pt x="3000626" y="1724"/>
                </a:lnTo>
                <a:close/>
                <a:moveTo>
                  <a:pt x="8336918" y="1"/>
                </a:moveTo>
                <a:lnTo>
                  <a:pt x="8388126" y="1723"/>
                </a:lnTo>
                <a:lnTo>
                  <a:pt x="8435706" y="6843"/>
                </a:lnTo>
                <a:lnTo>
                  <a:pt x="8479774" y="15289"/>
                </a:lnTo>
                <a:lnTo>
                  <a:pt x="8520444" y="26990"/>
                </a:lnTo>
                <a:lnTo>
                  <a:pt x="8557834" y="41875"/>
                </a:lnTo>
                <a:lnTo>
                  <a:pt x="8592062" y="59873"/>
                </a:lnTo>
                <a:lnTo>
                  <a:pt x="8651484" y="104924"/>
                </a:lnTo>
                <a:lnTo>
                  <a:pt x="8699640" y="161574"/>
                </a:lnTo>
                <a:lnTo>
                  <a:pt x="8719784" y="194071"/>
                </a:lnTo>
                <a:lnTo>
                  <a:pt x="8737458" y="229254"/>
                </a:lnTo>
                <a:lnTo>
                  <a:pt x="8752780" y="267052"/>
                </a:lnTo>
                <a:lnTo>
                  <a:pt x="8765866" y="307395"/>
                </a:lnTo>
                <a:lnTo>
                  <a:pt x="8776830" y="350211"/>
                </a:lnTo>
                <a:lnTo>
                  <a:pt x="8785788" y="395428"/>
                </a:lnTo>
                <a:lnTo>
                  <a:pt x="8792860" y="442977"/>
                </a:lnTo>
                <a:lnTo>
                  <a:pt x="8798158" y="492785"/>
                </a:lnTo>
                <a:lnTo>
                  <a:pt x="8801798" y="544782"/>
                </a:lnTo>
                <a:lnTo>
                  <a:pt x="8803896" y="598897"/>
                </a:lnTo>
                <a:lnTo>
                  <a:pt x="8804570" y="655058"/>
                </a:lnTo>
                <a:lnTo>
                  <a:pt x="8803930" y="711460"/>
                </a:lnTo>
                <a:lnTo>
                  <a:pt x="8801922" y="765815"/>
                </a:lnTo>
                <a:lnTo>
                  <a:pt x="8798422" y="818050"/>
                </a:lnTo>
                <a:lnTo>
                  <a:pt x="8793306" y="868094"/>
                </a:lnTo>
                <a:lnTo>
                  <a:pt x="8786446" y="915872"/>
                </a:lnTo>
                <a:lnTo>
                  <a:pt x="8777716" y="961315"/>
                </a:lnTo>
                <a:lnTo>
                  <a:pt x="8766992" y="1004348"/>
                </a:lnTo>
                <a:lnTo>
                  <a:pt x="8754146" y="1044900"/>
                </a:lnTo>
                <a:lnTo>
                  <a:pt x="8739054" y="1082901"/>
                </a:lnTo>
                <a:lnTo>
                  <a:pt x="8721590" y="1118276"/>
                </a:lnTo>
                <a:lnTo>
                  <a:pt x="8701628" y="1150954"/>
                </a:lnTo>
                <a:lnTo>
                  <a:pt x="8653704" y="1207928"/>
                </a:lnTo>
                <a:lnTo>
                  <a:pt x="8594278" y="1253246"/>
                </a:lnTo>
                <a:lnTo>
                  <a:pt x="8559936" y="1271354"/>
                </a:lnTo>
                <a:lnTo>
                  <a:pt x="8522342" y="1286332"/>
                </a:lnTo>
                <a:lnTo>
                  <a:pt x="8481370" y="1298107"/>
                </a:lnTo>
                <a:lnTo>
                  <a:pt x="8436892" y="1306607"/>
                </a:lnTo>
                <a:lnTo>
                  <a:pt x="8388784" y="1311760"/>
                </a:lnTo>
                <a:lnTo>
                  <a:pt x="8336918" y="1313493"/>
                </a:lnTo>
                <a:lnTo>
                  <a:pt x="8336918" y="1215572"/>
                </a:lnTo>
                <a:lnTo>
                  <a:pt x="8387168" y="1213313"/>
                </a:lnTo>
                <a:lnTo>
                  <a:pt x="8432598" y="1206618"/>
                </a:lnTo>
                <a:lnTo>
                  <a:pt x="8473438" y="1195605"/>
                </a:lnTo>
                <a:lnTo>
                  <a:pt x="8509918" y="1180394"/>
                </a:lnTo>
                <a:lnTo>
                  <a:pt x="8570710" y="1137857"/>
                </a:lnTo>
                <a:lnTo>
                  <a:pt x="8616804" y="1079964"/>
                </a:lnTo>
                <a:lnTo>
                  <a:pt x="8634912" y="1045558"/>
                </a:lnTo>
                <a:lnTo>
                  <a:pt x="8650034" y="1007671"/>
                </a:lnTo>
                <a:lnTo>
                  <a:pt x="8662396" y="966423"/>
                </a:lnTo>
                <a:lnTo>
                  <a:pt x="8672228" y="921934"/>
                </a:lnTo>
                <a:lnTo>
                  <a:pt x="8679760" y="874323"/>
                </a:lnTo>
                <a:lnTo>
                  <a:pt x="8685218" y="823711"/>
                </a:lnTo>
                <a:lnTo>
                  <a:pt x="8688834" y="770216"/>
                </a:lnTo>
                <a:lnTo>
                  <a:pt x="8690836" y="713959"/>
                </a:lnTo>
                <a:lnTo>
                  <a:pt x="8691452" y="655058"/>
                </a:lnTo>
                <a:lnTo>
                  <a:pt x="8690804" y="596735"/>
                </a:lnTo>
                <a:lnTo>
                  <a:pt x="8688710" y="541021"/>
                </a:lnTo>
                <a:lnTo>
                  <a:pt x="8684958" y="488035"/>
                </a:lnTo>
                <a:lnTo>
                  <a:pt x="8679330" y="437895"/>
                </a:lnTo>
                <a:lnTo>
                  <a:pt x="8671608" y="390723"/>
                </a:lnTo>
                <a:lnTo>
                  <a:pt x="8661578" y="346638"/>
                </a:lnTo>
                <a:lnTo>
                  <a:pt x="8649022" y="305758"/>
                </a:lnTo>
                <a:lnTo>
                  <a:pt x="8633724" y="268204"/>
                </a:lnTo>
                <a:lnTo>
                  <a:pt x="8615466" y="234096"/>
                </a:lnTo>
                <a:lnTo>
                  <a:pt x="8569210" y="176693"/>
                </a:lnTo>
                <a:lnTo>
                  <a:pt x="8508522" y="134507"/>
                </a:lnTo>
                <a:lnTo>
                  <a:pt x="8472224" y="119419"/>
                </a:lnTo>
                <a:lnTo>
                  <a:pt x="8431668" y="108494"/>
                </a:lnTo>
                <a:lnTo>
                  <a:pt x="8386640" y="101851"/>
                </a:lnTo>
                <a:lnTo>
                  <a:pt x="8336918" y="99610"/>
                </a:lnTo>
                <a:close/>
                <a:moveTo>
                  <a:pt x="3144752" y="0"/>
                </a:moveTo>
                <a:lnTo>
                  <a:pt x="3195959" y="1722"/>
                </a:lnTo>
                <a:lnTo>
                  <a:pt x="3243539" y="6842"/>
                </a:lnTo>
                <a:lnTo>
                  <a:pt x="3287606" y="15288"/>
                </a:lnTo>
                <a:lnTo>
                  <a:pt x="3328277" y="26989"/>
                </a:lnTo>
                <a:lnTo>
                  <a:pt x="3365667" y="41874"/>
                </a:lnTo>
                <a:lnTo>
                  <a:pt x="3399895" y="59872"/>
                </a:lnTo>
                <a:lnTo>
                  <a:pt x="3459317" y="104923"/>
                </a:lnTo>
                <a:lnTo>
                  <a:pt x="3507474" y="161573"/>
                </a:lnTo>
                <a:lnTo>
                  <a:pt x="3527617" y="194070"/>
                </a:lnTo>
                <a:lnTo>
                  <a:pt x="3545292" y="229253"/>
                </a:lnTo>
                <a:lnTo>
                  <a:pt x="3560614" y="267051"/>
                </a:lnTo>
                <a:lnTo>
                  <a:pt x="3573699" y="307394"/>
                </a:lnTo>
                <a:lnTo>
                  <a:pt x="3584663" y="350210"/>
                </a:lnTo>
                <a:lnTo>
                  <a:pt x="3593622" y="395427"/>
                </a:lnTo>
                <a:lnTo>
                  <a:pt x="3600693" y="442977"/>
                </a:lnTo>
                <a:lnTo>
                  <a:pt x="3605990" y="492785"/>
                </a:lnTo>
                <a:lnTo>
                  <a:pt x="3609630" y="544782"/>
                </a:lnTo>
                <a:lnTo>
                  <a:pt x="3611729" y="598897"/>
                </a:lnTo>
                <a:lnTo>
                  <a:pt x="3612403" y="655058"/>
                </a:lnTo>
                <a:lnTo>
                  <a:pt x="3611762" y="711460"/>
                </a:lnTo>
                <a:lnTo>
                  <a:pt x="3609755" y="765815"/>
                </a:lnTo>
                <a:lnTo>
                  <a:pt x="3606255" y="818050"/>
                </a:lnTo>
                <a:lnTo>
                  <a:pt x="3601138" y="868093"/>
                </a:lnTo>
                <a:lnTo>
                  <a:pt x="3594278" y="915871"/>
                </a:lnTo>
                <a:lnTo>
                  <a:pt x="3585548" y="961314"/>
                </a:lnTo>
                <a:lnTo>
                  <a:pt x="3574823" y="1004347"/>
                </a:lnTo>
                <a:lnTo>
                  <a:pt x="3561977" y="1044900"/>
                </a:lnTo>
                <a:lnTo>
                  <a:pt x="3546884" y="1082900"/>
                </a:lnTo>
                <a:lnTo>
                  <a:pt x="3529420" y="1118275"/>
                </a:lnTo>
                <a:lnTo>
                  <a:pt x="3509456" y="1150953"/>
                </a:lnTo>
                <a:lnTo>
                  <a:pt x="3461532" y="1207927"/>
                </a:lnTo>
                <a:lnTo>
                  <a:pt x="3402106" y="1253245"/>
                </a:lnTo>
                <a:lnTo>
                  <a:pt x="3367764" y="1271353"/>
                </a:lnTo>
                <a:lnTo>
                  <a:pt x="3330171" y="1286331"/>
                </a:lnTo>
                <a:lnTo>
                  <a:pt x="3289198" y="1298106"/>
                </a:lnTo>
                <a:lnTo>
                  <a:pt x="3244722" y="1306606"/>
                </a:lnTo>
                <a:lnTo>
                  <a:pt x="3196615" y="1311759"/>
                </a:lnTo>
                <a:lnTo>
                  <a:pt x="3144752" y="1313492"/>
                </a:lnTo>
                <a:lnTo>
                  <a:pt x="3144752" y="1215571"/>
                </a:lnTo>
                <a:lnTo>
                  <a:pt x="3194999" y="1213312"/>
                </a:lnTo>
                <a:lnTo>
                  <a:pt x="3240428" y="1206617"/>
                </a:lnTo>
                <a:lnTo>
                  <a:pt x="3281267" y="1195604"/>
                </a:lnTo>
                <a:lnTo>
                  <a:pt x="3317746" y="1180393"/>
                </a:lnTo>
                <a:lnTo>
                  <a:pt x="3378538" y="1137856"/>
                </a:lnTo>
                <a:lnTo>
                  <a:pt x="3424634" y="1079963"/>
                </a:lnTo>
                <a:lnTo>
                  <a:pt x="3442743" y="1045557"/>
                </a:lnTo>
                <a:lnTo>
                  <a:pt x="3457864" y="1007670"/>
                </a:lnTo>
                <a:lnTo>
                  <a:pt x="3470227" y="966422"/>
                </a:lnTo>
                <a:lnTo>
                  <a:pt x="3480060" y="921934"/>
                </a:lnTo>
                <a:lnTo>
                  <a:pt x="3487591" y="874323"/>
                </a:lnTo>
                <a:lnTo>
                  <a:pt x="3493051" y="823711"/>
                </a:lnTo>
                <a:lnTo>
                  <a:pt x="3496668" y="770216"/>
                </a:lnTo>
                <a:lnTo>
                  <a:pt x="3498670" y="713959"/>
                </a:lnTo>
                <a:lnTo>
                  <a:pt x="3499286" y="655058"/>
                </a:lnTo>
                <a:lnTo>
                  <a:pt x="3498637" y="596735"/>
                </a:lnTo>
                <a:lnTo>
                  <a:pt x="3496544" y="541021"/>
                </a:lnTo>
                <a:lnTo>
                  <a:pt x="3492792" y="488034"/>
                </a:lnTo>
                <a:lnTo>
                  <a:pt x="3487163" y="437895"/>
                </a:lnTo>
                <a:lnTo>
                  <a:pt x="3479442" y="390722"/>
                </a:lnTo>
                <a:lnTo>
                  <a:pt x="3469411" y="346637"/>
                </a:lnTo>
                <a:lnTo>
                  <a:pt x="3456855" y="305757"/>
                </a:lnTo>
                <a:lnTo>
                  <a:pt x="3441557" y="268203"/>
                </a:lnTo>
                <a:lnTo>
                  <a:pt x="3423300" y="234095"/>
                </a:lnTo>
                <a:lnTo>
                  <a:pt x="3377044" y="176692"/>
                </a:lnTo>
                <a:lnTo>
                  <a:pt x="3316354" y="134506"/>
                </a:lnTo>
                <a:lnTo>
                  <a:pt x="3280057" y="119418"/>
                </a:lnTo>
                <a:lnTo>
                  <a:pt x="3239501" y="108493"/>
                </a:lnTo>
                <a:lnTo>
                  <a:pt x="3194472" y="101850"/>
                </a:lnTo>
                <a:lnTo>
                  <a:pt x="3144752" y="99609"/>
                </a:lnTo>
                <a:close/>
              </a:path>
            </a:pathLst>
          </a:custGeom>
          <a:solidFill>
            <a:srgbClr val="4D7836"/>
          </a:solidFill>
        </p:spPr>
        <p:txBody>
          <a:bodyPr wrap="square" lIns="0" tIns="0" rIns="0" bIns="0" rtlCol="0">
            <a:noAutofit/>
          </a:bodyPr>
          <a:lstStyle/>
          <a:p>
            <a:endParaRPr lang="da-DK" sz="1350" dirty="0"/>
          </a:p>
        </p:txBody>
      </p:sp>
    </p:spTree>
    <p:extLst>
      <p:ext uri="{BB962C8B-B14F-4D97-AF65-F5344CB8AC3E}">
        <p14:creationId xmlns:p14="http://schemas.microsoft.com/office/powerpoint/2010/main" val="345416646"/>
      </p:ext>
    </p:extLst>
  </p:cSld>
  <p:clrMapOvr>
    <a:masterClrMapping/>
  </p:clrMapOvr>
  <p:extLst>
    <p:ext uri="{DCECCB84-F9BA-43D5-87BE-67443E8EF086}">
      <p15:sldGuideLst xmlns:p15="http://schemas.microsoft.com/office/powerpoint/2012/main">
        <p15:guide id="2" orient="horz" pos="1201">
          <p15:clr>
            <a:srgbClr val="A4A3A4"/>
          </p15:clr>
        </p15:guide>
        <p15:guide id="3" orient="horz" pos="566">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2" name="Baggrund">
            <a:extLst>
              <a:ext uri="{FF2B5EF4-FFF2-40B4-BE49-F238E27FC236}">
                <a16:creationId xmlns:a16="http://schemas.microsoft.com/office/drawing/2014/main" id="{81746C71-8987-04A5-1F82-995BB745E14B}"/>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3" name="Title 2">
            <a:extLst>
              <a:ext uri="{FF2B5EF4-FFF2-40B4-BE49-F238E27FC236}">
                <a16:creationId xmlns:a16="http://schemas.microsoft.com/office/drawing/2014/main" id="{9ACD22E9-9AE9-424B-A7A1-AFD0F990FCCC}"/>
              </a:ext>
            </a:extLst>
          </p:cNvPr>
          <p:cNvSpPr>
            <a:spLocks noGrp="1"/>
          </p:cNvSpPr>
          <p:nvPr>
            <p:ph type="title" hasCustomPrompt="1"/>
          </p:nvPr>
        </p:nvSpPr>
        <p:spPr>
          <a:xfrm>
            <a:off x="405000" y="675000"/>
            <a:ext cx="4099135" cy="621000"/>
          </a:xfrm>
        </p:spPr>
        <p:txBody>
          <a:bodyPr/>
          <a:lstStyle>
            <a:lvl1pPr>
              <a:defRPr>
                <a:solidFill>
                  <a:schemeClr val="bg1"/>
                </a:solidFill>
              </a:defRPr>
            </a:lvl1pPr>
          </a:lstStyle>
          <a:p>
            <a:r>
              <a:rPr lang="da-DK" dirty="0"/>
              <a:t>Klik for at tilføje agenda titel</a:t>
            </a:r>
          </a:p>
        </p:txBody>
      </p:sp>
      <p:sp>
        <p:nvSpPr>
          <p:cNvPr id="7" name="Text Placeholder 2"/>
          <p:cNvSpPr>
            <a:spLocks noGrp="1"/>
          </p:cNvSpPr>
          <p:nvPr>
            <p:ph type="body" sz="quarter" idx="13" hasCustomPrompt="1"/>
          </p:nvPr>
        </p:nvSpPr>
        <p:spPr>
          <a:xfrm>
            <a:off x="405000" y="1431000"/>
            <a:ext cx="4099135" cy="3172500"/>
          </a:xfrm>
        </p:spPr>
        <p:txBody>
          <a:bodyPr/>
          <a:lstStyle>
            <a:lvl1pPr marL="135000" indent="-135000">
              <a:spcAft>
                <a:spcPts val="900"/>
              </a:spcAft>
              <a:buFont typeface="Arial" panose="020B0604020202020204" pitchFamily="34" charset="0"/>
              <a:buChar char="•"/>
              <a:defRPr b="0">
                <a:solidFill>
                  <a:schemeClr val="bg1"/>
                </a:solidFill>
                <a:latin typeface="+mn-lt"/>
              </a:defRPr>
            </a:lvl1pPr>
            <a:lvl2pPr marL="135000" indent="-135000">
              <a:spcBef>
                <a:spcPts val="0"/>
              </a:spcBef>
              <a:spcAft>
                <a:spcPts val="900"/>
              </a:spcAft>
              <a:buFont typeface="Arial" panose="020B0604020202020204" pitchFamily="34" charset="0"/>
              <a:buChar char="•"/>
              <a:defRPr sz="1200" b="0">
                <a:solidFill>
                  <a:schemeClr val="bg1"/>
                </a:solidFill>
                <a:latin typeface="+mn-lt"/>
              </a:defRPr>
            </a:lvl2pPr>
            <a:lvl3pPr marL="135000" indent="-135000">
              <a:spcBef>
                <a:spcPts val="0"/>
              </a:spcBef>
              <a:spcAft>
                <a:spcPts val="900"/>
              </a:spcAft>
              <a:buFont typeface="Arial" panose="020B0604020202020204" pitchFamily="34" charset="0"/>
              <a:buChar char="•"/>
              <a:defRPr sz="1200" b="0">
                <a:solidFill>
                  <a:schemeClr val="bg1"/>
                </a:solidFill>
                <a:latin typeface="+mn-lt"/>
              </a:defRPr>
            </a:lvl3pPr>
            <a:lvl4pPr marL="135000" indent="-135000">
              <a:spcBef>
                <a:spcPts val="0"/>
              </a:spcBef>
              <a:spcAft>
                <a:spcPts val="900"/>
              </a:spcAft>
              <a:buFont typeface="Arial" panose="020B0604020202020204" pitchFamily="34" charset="0"/>
              <a:buChar char="•"/>
              <a:defRPr sz="1200" b="0">
                <a:solidFill>
                  <a:schemeClr val="bg1"/>
                </a:solidFill>
                <a:latin typeface="+mn-lt"/>
              </a:defRPr>
            </a:lvl4pPr>
            <a:lvl5pPr marL="135000" indent="-135000">
              <a:spcBef>
                <a:spcPts val="0"/>
              </a:spcBef>
              <a:spcAft>
                <a:spcPts val="900"/>
              </a:spcAft>
              <a:buFont typeface="Arial" panose="020B0604020202020204" pitchFamily="34" charset="0"/>
              <a:buChar char="•"/>
              <a:defRPr sz="1200" b="0">
                <a:solidFill>
                  <a:schemeClr val="bg1"/>
                </a:solidFill>
                <a:latin typeface="+mn-lt"/>
              </a:defRPr>
            </a:lvl5pPr>
            <a:lvl6pPr marL="135000" indent="-135000">
              <a:spcBef>
                <a:spcPts val="0"/>
              </a:spcBef>
              <a:spcAft>
                <a:spcPts val="900"/>
              </a:spcAft>
              <a:buFont typeface="Arial" panose="020B0604020202020204" pitchFamily="34" charset="0"/>
              <a:buChar char="•"/>
              <a:defRPr sz="1200" b="0">
                <a:solidFill>
                  <a:schemeClr val="bg1"/>
                </a:solidFill>
                <a:latin typeface="+mn-lt"/>
              </a:defRPr>
            </a:lvl6pPr>
            <a:lvl7pPr marL="135000" indent="-135000">
              <a:spcBef>
                <a:spcPts val="0"/>
              </a:spcBef>
              <a:spcAft>
                <a:spcPts val="900"/>
              </a:spcAft>
              <a:buFont typeface="Arial" panose="020B0604020202020204" pitchFamily="34" charset="0"/>
              <a:buChar char="•"/>
              <a:defRPr sz="1200" b="0">
                <a:solidFill>
                  <a:schemeClr val="bg1"/>
                </a:solidFill>
                <a:latin typeface="+mn-lt"/>
              </a:defRPr>
            </a:lvl7pPr>
            <a:lvl8pPr marL="135000" indent="-135000">
              <a:spcBef>
                <a:spcPts val="0"/>
              </a:spcBef>
              <a:spcAft>
                <a:spcPts val="900"/>
              </a:spcAft>
              <a:buFont typeface="Arial" panose="020B0604020202020204" pitchFamily="34" charset="0"/>
              <a:buChar char="•"/>
              <a:defRPr sz="1200" b="0">
                <a:solidFill>
                  <a:schemeClr val="bg1"/>
                </a:solidFill>
                <a:latin typeface="+mn-lt"/>
              </a:defRPr>
            </a:lvl8pPr>
            <a:lvl9pPr marL="135000" indent="-135000">
              <a:spcBef>
                <a:spcPts val="0"/>
              </a:spcBef>
              <a:spcAft>
                <a:spcPts val="900"/>
              </a:spcAft>
              <a:buFont typeface="Arial" panose="020B0604020202020204" pitchFamily="34" charset="0"/>
              <a:buChar char="•"/>
              <a:defRPr sz="1200" b="0">
                <a:solidFill>
                  <a:schemeClr val="bg1"/>
                </a:solidFill>
                <a:latin typeface="+mn-lt"/>
              </a:defRPr>
            </a:lvl9pPr>
          </a:lstStyle>
          <a:p>
            <a:pPr lvl="0"/>
            <a:r>
              <a:rPr lang="da-DK" noProof="0" dirty="0"/>
              <a:t>Klik for at tilføje agendapunkt</a:t>
            </a:r>
          </a:p>
          <a:p>
            <a:pPr lvl="1"/>
            <a:r>
              <a:rPr lang="da-DK" noProof="0" dirty="0"/>
              <a:t>Anden Niveau</a:t>
            </a:r>
          </a:p>
          <a:p>
            <a:pPr lvl="2"/>
            <a:r>
              <a:rPr lang="da-DK" noProof="0" dirty="0"/>
              <a:t>Tredje Niveau</a:t>
            </a:r>
          </a:p>
          <a:p>
            <a:pPr lvl="3"/>
            <a:r>
              <a:rPr lang="da-DK" noProof="0" dirty="0"/>
              <a:t>Fjerde Niveau</a:t>
            </a:r>
          </a:p>
          <a:p>
            <a:pPr lvl="4"/>
            <a:r>
              <a:rPr lang="da-DK" noProof="0" dirty="0"/>
              <a:t>Femte Niveau</a:t>
            </a:r>
          </a:p>
          <a:p>
            <a:pPr lvl="5"/>
            <a:r>
              <a:rPr lang="da-DK" noProof="0" dirty="0"/>
              <a:t>6 Niveau</a:t>
            </a:r>
          </a:p>
          <a:p>
            <a:pPr lvl="6"/>
            <a:r>
              <a:rPr lang="da-DK" noProof="0" dirty="0"/>
              <a:t>7 Niveau</a:t>
            </a:r>
          </a:p>
          <a:p>
            <a:pPr lvl="7"/>
            <a:r>
              <a:rPr lang="da-DK" noProof="0" dirty="0"/>
              <a:t>8 Niveau</a:t>
            </a:r>
          </a:p>
          <a:p>
            <a:pPr lvl="8"/>
            <a:r>
              <a:rPr lang="da-DK" noProof="0" dirty="0"/>
              <a:t>9 Niveau</a:t>
            </a:r>
          </a:p>
        </p:txBody>
      </p:sp>
      <p:sp>
        <p:nvSpPr>
          <p:cNvPr id="16" name="Pladsholder til dato 15">
            <a:extLst>
              <a:ext uri="{FF2B5EF4-FFF2-40B4-BE49-F238E27FC236}">
                <a16:creationId xmlns:a16="http://schemas.microsoft.com/office/drawing/2014/main" id="{07B7D8D3-77D2-E785-81E3-AB119F5B3A7C}"/>
              </a:ext>
            </a:extLst>
          </p:cNvPr>
          <p:cNvSpPr>
            <a:spLocks noGrp="1"/>
          </p:cNvSpPr>
          <p:nvPr>
            <p:ph type="dt" sz="half" idx="19"/>
          </p:nvPr>
        </p:nvSpPr>
        <p:spPr/>
        <p:txBody>
          <a:bodyPr/>
          <a:lstStyle>
            <a:lvl1pPr>
              <a:defRPr>
                <a:solidFill>
                  <a:schemeClr val="bg1"/>
                </a:solidFill>
              </a:defRPr>
            </a:lvl1pPr>
          </a:lstStyle>
          <a:p>
            <a:fld id="{61BEDC24-6319-4BBB-9782-63587D1632F0}" type="datetime2">
              <a:rPr lang="da-DK" smtClean="0"/>
              <a:pPr/>
              <a:t>11. december 2025</a:t>
            </a:fld>
            <a:endParaRPr lang="da-DK" dirty="0"/>
          </a:p>
        </p:txBody>
      </p:sp>
      <p:sp>
        <p:nvSpPr>
          <p:cNvPr id="17" name="Pladsholder til sidefod 16">
            <a:extLst>
              <a:ext uri="{FF2B5EF4-FFF2-40B4-BE49-F238E27FC236}">
                <a16:creationId xmlns:a16="http://schemas.microsoft.com/office/drawing/2014/main" id="{19E82096-1CE6-E092-C8ED-9A675CC7FFC6}"/>
              </a:ext>
            </a:extLst>
          </p:cNvPr>
          <p:cNvSpPr>
            <a:spLocks noGrp="1"/>
          </p:cNvSpPr>
          <p:nvPr>
            <p:ph type="ftr" sz="quarter" idx="20"/>
          </p:nvPr>
        </p:nvSpPr>
        <p:spPr/>
        <p:txBody>
          <a:bodyPr/>
          <a:lstStyle>
            <a:lvl1pPr>
              <a:defRPr>
                <a:solidFill>
                  <a:schemeClr val="bg1"/>
                </a:solidFill>
              </a:defRPr>
            </a:lvl1pPr>
          </a:lstStyle>
          <a:p>
            <a:r>
              <a:rPr lang="da-DK" dirty="0"/>
              <a:t>Digitaliseringsstyrelsen</a:t>
            </a:r>
          </a:p>
        </p:txBody>
      </p:sp>
      <p:sp>
        <p:nvSpPr>
          <p:cNvPr id="18" name="Pladsholder til slidenummer 17">
            <a:extLst>
              <a:ext uri="{FF2B5EF4-FFF2-40B4-BE49-F238E27FC236}">
                <a16:creationId xmlns:a16="http://schemas.microsoft.com/office/drawing/2014/main" id="{385BC0ED-51CA-C2C1-3A79-5B97AB7EB508}"/>
              </a:ext>
            </a:extLst>
          </p:cNvPr>
          <p:cNvSpPr>
            <a:spLocks noGrp="1"/>
          </p:cNvSpPr>
          <p:nvPr>
            <p:ph type="sldNum" sz="quarter" idx="21"/>
          </p:nvPr>
        </p:nvSpPr>
        <p:spPr/>
        <p:txBody>
          <a:bodyPr/>
          <a:lstStyle>
            <a:lvl1pPr>
              <a:defRPr>
                <a:solidFill>
                  <a:schemeClr val="bg1"/>
                </a:solidFill>
              </a:defRPr>
            </a:lvl1pPr>
          </a:lstStyle>
          <a:p>
            <a:fld id="{24C8C45C-947F-4981-8B3F-4F32E973C901}" type="slidenum">
              <a:rPr lang="da-DK" smtClean="0"/>
              <a:pPr/>
              <a:t>‹nr.›</a:t>
            </a:fld>
            <a:endParaRPr lang="da-DK" dirty="0"/>
          </a:p>
        </p:txBody>
      </p:sp>
      <p:sp>
        <p:nvSpPr>
          <p:cNvPr id="5" name="Mikro grafik 1">
            <a:extLst>
              <a:ext uri="{FF2B5EF4-FFF2-40B4-BE49-F238E27FC236}">
                <a16:creationId xmlns:a16="http://schemas.microsoft.com/office/drawing/2014/main" id="{B7391C28-918F-1989-0558-6E9FBDFF6FEF}"/>
              </a:ext>
            </a:extLst>
          </p:cNvPr>
          <p:cNvSpPr/>
          <p:nvPr userDrawn="1"/>
        </p:nvSpPr>
        <p:spPr>
          <a:xfrm>
            <a:off x="4816131" y="575232"/>
            <a:ext cx="4124069" cy="3344379"/>
          </a:xfrm>
          <a:custGeom>
            <a:avLst/>
            <a:gdLst>
              <a:gd name="connsiteX0" fmla="*/ 6423906 w 9114518"/>
              <a:gd name="connsiteY0" fmla="*/ 7111086 h 7391342"/>
              <a:gd name="connsiteX1" fmla="*/ 6633262 w 9114518"/>
              <a:gd name="connsiteY1" fmla="*/ 7111086 h 7391342"/>
              <a:gd name="connsiteX2" fmla="*/ 6633262 w 9114518"/>
              <a:gd name="connsiteY2" fmla="*/ 7286668 h 7391342"/>
              <a:gd name="connsiteX3" fmla="*/ 6423906 w 9114518"/>
              <a:gd name="connsiteY3" fmla="*/ 7286668 h 7391342"/>
              <a:gd name="connsiteX4" fmla="*/ 3371709 w 9114518"/>
              <a:gd name="connsiteY4" fmla="*/ 6959141 h 7391342"/>
              <a:gd name="connsiteX5" fmla="*/ 4286770 w 9114518"/>
              <a:gd name="connsiteY5" fmla="*/ 6959141 h 7391342"/>
              <a:gd name="connsiteX6" fmla="*/ 4286770 w 9114518"/>
              <a:gd name="connsiteY6" fmla="*/ 7067193 h 7391342"/>
              <a:gd name="connsiteX7" fmla="*/ 3371709 w 9114518"/>
              <a:gd name="connsiteY7" fmla="*/ 7067193 h 7391342"/>
              <a:gd name="connsiteX8" fmla="*/ 3371709 w 9114518"/>
              <a:gd name="connsiteY8" fmla="*/ 6606288 h 7391342"/>
              <a:gd name="connsiteX9" fmla="*/ 4286770 w 9114518"/>
              <a:gd name="connsiteY9" fmla="*/ 6606288 h 7391342"/>
              <a:gd name="connsiteX10" fmla="*/ 4286770 w 9114518"/>
              <a:gd name="connsiteY10" fmla="*/ 6714340 h 7391342"/>
              <a:gd name="connsiteX11" fmla="*/ 3371709 w 9114518"/>
              <a:gd name="connsiteY11" fmla="*/ 6714340 h 7391342"/>
              <a:gd name="connsiteX12" fmla="*/ 5418710 w 9114518"/>
              <a:gd name="connsiteY12" fmla="*/ 6084039 h 7391342"/>
              <a:gd name="connsiteX13" fmla="*/ 5796891 w 9114518"/>
              <a:gd name="connsiteY13" fmla="*/ 6084039 h 7391342"/>
              <a:gd name="connsiteX14" fmla="*/ 5796891 w 9114518"/>
              <a:gd name="connsiteY14" fmla="*/ 6180559 h 7391342"/>
              <a:gd name="connsiteX15" fmla="*/ 5796891 w 9114518"/>
              <a:gd name="connsiteY15" fmla="*/ 7291809 h 7391342"/>
              <a:gd name="connsiteX16" fmla="*/ 5796891 w 9114518"/>
              <a:gd name="connsiteY16" fmla="*/ 7388329 h 7391342"/>
              <a:gd name="connsiteX17" fmla="*/ 5418710 w 9114518"/>
              <a:gd name="connsiteY17" fmla="*/ 7388329 h 7391342"/>
              <a:gd name="connsiteX18" fmla="*/ 5418710 w 9114518"/>
              <a:gd name="connsiteY18" fmla="*/ 7291809 h 7391342"/>
              <a:gd name="connsiteX19" fmla="*/ 5680394 w 9114518"/>
              <a:gd name="connsiteY19" fmla="*/ 7291809 h 7391342"/>
              <a:gd name="connsiteX20" fmla="*/ 5680394 w 9114518"/>
              <a:gd name="connsiteY20" fmla="*/ 6180559 h 7391342"/>
              <a:gd name="connsiteX21" fmla="*/ 5418710 w 9114518"/>
              <a:gd name="connsiteY21" fmla="*/ 6180559 h 7391342"/>
              <a:gd name="connsiteX22" fmla="*/ 4939629 w 9114518"/>
              <a:gd name="connsiteY22" fmla="*/ 6084039 h 7391342"/>
              <a:gd name="connsiteX23" fmla="*/ 5317797 w 9114518"/>
              <a:gd name="connsiteY23" fmla="*/ 6084039 h 7391342"/>
              <a:gd name="connsiteX24" fmla="*/ 5317797 w 9114518"/>
              <a:gd name="connsiteY24" fmla="*/ 6180559 h 7391342"/>
              <a:gd name="connsiteX25" fmla="*/ 5056113 w 9114518"/>
              <a:gd name="connsiteY25" fmla="*/ 6180559 h 7391342"/>
              <a:gd name="connsiteX26" fmla="*/ 5056113 w 9114518"/>
              <a:gd name="connsiteY26" fmla="*/ 7291809 h 7391342"/>
              <a:gd name="connsiteX27" fmla="*/ 5317797 w 9114518"/>
              <a:gd name="connsiteY27" fmla="*/ 7291809 h 7391342"/>
              <a:gd name="connsiteX28" fmla="*/ 5317797 w 9114518"/>
              <a:gd name="connsiteY28" fmla="*/ 7388329 h 7391342"/>
              <a:gd name="connsiteX29" fmla="*/ 4939629 w 9114518"/>
              <a:gd name="connsiteY29" fmla="*/ 7388329 h 7391342"/>
              <a:gd name="connsiteX30" fmla="*/ 4939629 w 9114518"/>
              <a:gd name="connsiteY30" fmla="*/ 7291809 h 7391342"/>
              <a:gd name="connsiteX31" fmla="*/ 4939629 w 9114518"/>
              <a:gd name="connsiteY31" fmla="*/ 6180559 h 7391342"/>
              <a:gd name="connsiteX32" fmla="*/ 8646856 w 9114518"/>
              <a:gd name="connsiteY32" fmla="*/ 6077851 h 7391342"/>
              <a:gd name="connsiteX33" fmla="*/ 8698064 w 9114518"/>
              <a:gd name="connsiteY33" fmla="*/ 6079573 h 7391342"/>
              <a:gd name="connsiteX34" fmla="*/ 8745644 w 9114518"/>
              <a:gd name="connsiteY34" fmla="*/ 6084693 h 7391342"/>
              <a:gd name="connsiteX35" fmla="*/ 8789712 w 9114518"/>
              <a:gd name="connsiteY35" fmla="*/ 6093139 h 7391342"/>
              <a:gd name="connsiteX36" fmla="*/ 8830382 w 9114518"/>
              <a:gd name="connsiteY36" fmla="*/ 6104840 h 7391342"/>
              <a:gd name="connsiteX37" fmla="*/ 8867774 w 9114518"/>
              <a:gd name="connsiteY37" fmla="*/ 6119725 h 7391342"/>
              <a:gd name="connsiteX38" fmla="*/ 8902000 w 9114518"/>
              <a:gd name="connsiteY38" fmla="*/ 6137723 h 7391342"/>
              <a:gd name="connsiteX39" fmla="*/ 8961424 w 9114518"/>
              <a:gd name="connsiteY39" fmla="*/ 6182774 h 7391342"/>
              <a:gd name="connsiteX40" fmla="*/ 9009582 w 9114518"/>
              <a:gd name="connsiteY40" fmla="*/ 6239424 h 7391342"/>
              <a:gd name="connsiteX41" fmla="*/ 9029726 w 9114518"/>
              <a:gd name="connsiteY41" fmla="*/ 6271921 h 7391342"/>
              <a:gd name="connsiteX42" fmla="*/ 9047402 w 9114518"/>
              <a:gd name="connsiteY42" fmla="*/ 6307104 h 7391342"/>
              <a:gd name="connsiteX43" fmla="*/ 9062724 w 9114518"/>
              <a:gd name="connsiteY43" fmla="*/ 6344902 h 7391342"/>
              <a:gd name="connsiteX44" fmla="*/ 9075810 w 9114518"/>
              <a:gd name="connsiteY44" fmla="*/ 6385245 h 7391342"/>
              <a:gd name="connsiteX45" fmla="*/ 9086774 w 9114518"/>
              <a:gd name="connsiteY45" fmla="*/ 6428061 h 7391342"/>
              <a:gd name="connsiteX46" fmla="*/ 9095734 w 9114518"/>
              <a:gd name="connsiteY46" fmla="*/ 6473278 h 7391342"/>
              <a:gd name="connsiteX47" fmla="*/ 9102806 w 9114518"/>
              <a:gd name="connsiteY47" fmla="*/ 6520827 h 7391342"/>
              <a:gd name="connsiteX48" fmla="*/ 9108104 w 9114518"/>
              <a:gd name="connsiteY48" fmla="*/ 6570635 h 7391342"/>
              <a:gd name="connsiteX49" fmla="*/ 9111744 w 9114518"/>
              <a:gd name="connsiteY49" fmla="*/ 6622632 h 7391342"/>
              <a:gd name="connsiteX50" fmla="*/ 9113844 w 9114518"/>
              <a:gd name="connsiteY50" fmla="*/ 6676747 h 7391342"/>
              <a:gd name="connsiteX51" fmla="*/ 9114518 w 9114518"/>
              <a:gd name="connsiteY51" fmla="*/ 6732908 h 7391342"/>
              <a:gd name="connsiteX52" fmla="*/ 9113876 w 9114518"/>
              <a:gd name="connsiteY52" fmla="*/ 6789310 h 7391342"/>
              <a:gd name="connsiteX53" fmla="*/ 9111870 w 9114518"/>
              <a:gd name="connsiteY53" fmla="*/ 6843665 h 7391342"/>
              <a:gd name="connsiteX54" fmla="*/ 9108370 w 9114518"/>
              <a:gd name="connsiteY54" fmla="*/ 6895900 h 7391342"/>
              <a:gd name="connsiteX55" fmla="*/ 9103252 w 9114518"/>
              <a:gd name="connsiteY55" fmla="*/ 6945943 h 7391342"/>
              <a:gd name="connsiteX56" fmla="*/ 9096392 w 9114518"/>
              <a:gd name="connsiteY56" fmla="*/ 6993721 h 7391342"/>
              <a:gd name="connsiteX57" fmla="*/ 9087662 w 9114518"/>
              <a:gd name="connsiteY57" fmla="*/ 7039164 h 7391342"/>
              <a:gd name="connsiteX58" fmla="*/ 9076936 w 9114518"/>
              <a:gd name="connsiteY58" fmla="*/ 7082197 h 7391342"/>
              <a:gd name="connsiteX59" fmla="*/ 9064090 w 9114518"/>
              <a:gd name="connsiteY59" fmla="*/ 7122750 h 7391342"/>
              <a:gd name="connsiteX60" fmla="*/ 9048998 w 9114518"/>
              <a:gd name="connsiteY60" fmla="*/ 7160750 h 7391342"/>
              <a:gd name="connsiteX61" fmla="*/ 9031532 w 9114518"/>
              <a:gd name="connsiteY61" fmla="*/ 7196125 h 7391342"/>
              <a:gd name="connsiteX62" fmla="*/ 9011568 w 9114518"/>
              <a:gd name="connsiteY62" fmla="*/ 7228803 h 7391342"/>
              <a:gd name="connsiteX63" fmla="*/ 8963644 w 9114518"/>
              <a:gd name="connsiteY63" fmla="*/ 7285777 h 7391342"/>
              <a:gd name="connsiteX64" fmla="*/ 8904216 w 9114518"/>
              <a:gd name="connsiteY64" fmla="*/ 7331095 h 7391342"/>
              <a:gd name="connsiteX65" fmla="*/ 8869874 w 9114518"/>
              <a:gd name="connsiteY65" fmla="*/ 7349203 h 7391342"/>
              <a:gd name="connsiteX66" fmla="*/ 8832280 w 9114518"/>
              <a:gd name="connsiteY66" fmla="*/ 7364181 h 7391342"/>
              <a:gd name="connsiteX67" fmla="*/ 8791306 w 9114518"/>
              <a:gd name="connsiteY67" fmla="*/ 7375956 h 7391342"/>
              <a:gd name="connsiteX68" fmla="*/ 8746828 w 9114518"/>
              <a:gd name="connsiteY68" fmla="*/ 7384456 h 7391342"/>
              <a:gd name="connsiteX69" fmla="*/ 8698720 w 9114518"/>
              <a:gd name="connsiteY69" fmla="*/ 7389609 h 7391342"/>
              <a:gd name="connsiteX70" fmla="*/ 8646856 w 9114518"/>
              <a:gd name="connsiteY70" fmla="*/ 7391342 h 7391342"/>
              <a:gd name="connsiteX71" fmla="*/ 8646856 w 9114518"/>
              <a:gd name="connsiteY71" fmla="*/ 7293421 h 7391342"/>
              <a:gd name="connsiteX72" fmla="*/ 8697104 w 9114518"/>
              <a:gd name="connsiteY72" fmla="*/ 7291162 h 7391342"/>
              <a:gd name="connsiteX73" fmla="*/ 8742536 w 9114518"/>
              <a:gd name="connsiteY73" fmla="*/ 7284467 h 7391342"/>
              <a:gd name="connsiteX74" fmla="*/ 8783376 w 9114518"/>
              <a:gd name="connsiteY74" fmla="*/ 7273454 h 7391342"/>
              <a:gd name="connsiteX75" fmla="*/ 8819856 w 9114518"/>
              <a:gd name="connsiteY75" fmla="*/ 7258243 h 7391342"/>
              <a:gd name="connsiteX76" fmla="*/ 8880650 w 9114518"/>
              <a:gd name="connsiteY76" fmla="*/ 7215706 h 7391342"/>
              <a:gd name="connsiteX77" fmla="*/ 8926746 w 9114518"/>
              <a:gd name="connsiteY77" fmla="*/ 7157813 h 7391342"/>
              <a:gd name="connsiteX78" fmla="*/ 8944856 w 9114518"/>
              <a:gd name="connsiteY78" fmla="*/ 7123407 h 7391342"/>
              <a:gd name="connsiteX79" fmla="*/ 8959978 w 9114518"/>
              <a:gd name="connsiteY79" fmla="*/ 7085520 h 7391342"/>
              <a:gd name="connsiteX80" fmla="*/ 8972340 w 9114518"/>
              <a:gd name="connsiteY80" fmla="*/ 7044272 h 7391342"/>
              <a:gd name="connsiteX81" fmla="*/ 8982174 w 9114518"/>
              <a:gd name="connsiteY81" fmla="*/ 6999784 h 7391342"/>
              <a:gd name="connsiteX82" fmla="*/ 8989706 w 9114518"/>
              <a:gd name="connsiteY82" fmla="*/ 6952173 h 7391342"/>
              <a:gd name="connsiteX83" fmla="*/ 8995166 w 9114518"/>
              <a:gd name="connsiteY83" fmla="*/ 6901561 h 7391342"/>
              <a:gd name="connsiteX84" fmla="*/ 8998782 w 9114518"/>
              <a:gd name="connsiteY84" fmla="*/ 6848066 h 7391342"/>
              <a:gd name="connsiteX85" fmla="*/ 9000784 w 9114518"/>
              <a:gd name="connsiteY85" fmla="*/ 6791809 h 7391342"/>
              <a:gd name="connsiteX86" fmla="*/ 9001400 w 9114518"/>
              <a:gd name="connsiteY86" fmla="*/ 6732908 h 7391342"/>
              <a:gd name="connsiteX87" fmla="*/ 9000750 w 9114518"/>
              <a:gd name="connsiteY87" fmla="*/ 6674585 h 7391342"/>
              <a:gd name="connsiteX88" fmla="*/ 8998658 w 9114518"/>
              <a:gd name="connsiteY88" fmla="*/ 6618871 h 7391342"/>
              <a:gd name="connsiteX89" fmla="*/ 8994906 w 9114518"/>
              <a:gd name="connsiteY89" fmla="*/ 6565885 h 7391342"/>
              <a:gd name="connsiteX90" fmla="*/ 8989276 w 9114518"/>
              <a:gd name="connsiteY90" fmla="*/ 6515745 h 7391342"/>
              <a:gd name="connsiteX91" fmla="*/ 8981556 w 9114518"/>
              <a:gd name="connsiteY91" fmla="*/ 6468573 h 7391342"/>
              <a:gd name="connsiteX92" fmla="*/ 8971524 w 9114518"/>
              <a:gd name="connsiteY92" fmla="*/ 6424488 h 7391342"/>
              <a:gd name="connsiteX93" fmla="*/ 8958968 w 9114518"/>
              <a:gd name="connsiteY93" fmla="*/ 6383608 h 7391342"/>
              <a:gd name="connsiteX94" fmla="*/ 8943670 w 9114518"/>
              <a:gd name="connsiteY94" fmla="*/ 6346054 h 7391342"/>
              <a:gd name="connsiteX95" fmla="*/ 8925412 w 9114518"/>
              <a:gd name="connsiteY95" fmla="*/ 6311946 h 7391342"/>
              <a:gd name="connsiteX96" fmla="*/ 8879156 w 9114518"/>
              <a:gd name="connsiteY96" fmla="*/ 6254543 h 7391342"/>
              <a:gd name="connsiteX97" fmla="*/ 8818464 w 9114518"/>
              <a:gd name="connsiteY97" fmla="*/ 6212357 h 7391342"/>
              <a:gd name="connsiteX98" fmla="*/ 8782166 w 9114518"/>
              <a:gd name="connsiteY98" fmla="*/ 6197269 h 7391342"/>
              <a:gd name="connsiteX99" fmla="*/ 8741608 w 9114518"/>
              <a:gd name="connsiteY99" fmla="*/ 6186344 h 7391342"/>
              <a:gd name="connsiteX100" fmla="*/ 8696578 w 9114518"/>
              <a:gd name="connsiteY100" fmla="*/ 6179701 h 7391342"/>
              <a:gd name="connsiteX101" fmla="*/ 8646856 w 9114518"/>
              <a:gd name="connsiteY101" fmla="*/ 6177460 h 7391342"/>
              <a:gd name="connsiteX102" fmla="*/ 8553970 w 9114518"/>
              <a:gd name="connsiteY102" fmla="*/ 6077851 h 7391342"/>
              <a:gd name="connsiteX103" fmla="*/ 8553970 w 9114518"/>
              <a:gd name="connsiteY103" fmla="*/ 6177460 h 7391342"/>
              <a:gd name="connsiteX104" fmla="*/ 8504528 w 9114518"/>
              <a:gd name="connsiteY104" fmla="*/ 6179701 h 7391342"/>
              <a:gd name="connsiteX105" fmla="*/ 8459744 w 9114518"/>
              <a:gd name="connsiteY105" fmla="*/ 6186344 h 7391342"/>
              <a:gd name="connsiteX106" fmla="*/ 8419404 w 9114518"/>
              <a:gd name="connsiteY106" fmla="*/ 6197269 h 7391342"/>
              <a:gd name="connsiteX107" fmla="*/ 8383292 w 9114518"/>
              <a:gd name="connsiteY107" fmla="*/ 6212357 h 7391342"/>
              <a:gd name="connsiteX108" fmla="*/ 8322900 w 9114518"/>
              <a:gd name="connsiteY108" fmla="*/ 6254543 h 7391342"/>
              <a:gd name="connsiteX109" fmla="*/ 8276848 w 9114518"/>
              <a:gd name="connsiteY109" fmla="*/ 6311946 h 7391342"/>
              <a:gd name="connsiteX110" fmla="*/ 8258666 w 9114518"/>
              <a:gd name="connsiteY110" fmla="*/ 6346054 h 7391342"/>
              <a:gd name="connsiteX111" fmla="*/ 8243424 w 9114518"/>
              <a:gd name="connsiteY111" fmla="*/ 6383608 h 7391342"/>
              <a:gd name="connsiteX112" fmla="*/ 8230912 w 9114518"/>
              <a:gd name="connsiteY112" fmla="*/ 6424488 h 7391342"/>
              <a:gd name="connsiteX113" fmla="*/ 8220912 w 9114518"/>
              <a:gd name="connsiteY113" fmla="*/ 6468573 h 7391342"/>
              <a:gd name="connsiteX114" fmla="*/ 8213212 w 9114518"/>
              <a:gd name="connsiteY114" fmla="*/ 6515745 h 7391342"/>
              <a:gd name="connsiteX115" fmla="*/ 8207596 w 9114518"/>
              <a:gd name="connsiteY115" fmla="*/ 6565885 h 7391342"/>
              <a:gd name="connsiteX116" fmla="*/ 8203850 w 9114518"/>
              <a:gd name="connsiteY116" fmla="*/ 6618871 h 7391342"/>
              <a:gd name="connsiteX117" fmla="*/ 8201760 w 9114518"/>
              <a:gd name="connsiteY117" fmla="*/ 6674585 h 7391342"/>
              <a:gd name="connsiteX118" fmla="*/ 8201110 w 9114518"/>
              <a:gd name="connsiteY118" fmla="*/ 6732908 h 7391342"/>
              <a:gd name="connsiteX119" fmla="*/ 8201744 w 9114518"/>
              <a:gd name="connsiteY119" fmla="*/ 6791809 h 7391342"/>
              <a:gd name="connsiteX120" fmla="*/ 8203788 w 9114518"/>
              <a:gd name="connsiteY120" fmla="*/ 6848066 h 7391342"/>
              <a:gd name="connsiteX121" fmla="*/ 8207466 w 9114518"/>
              <a:gd name="connsiteY121" fmla="*/ 6901561 h 7391342"/>
              <a:gd name="connsiteX122" fmla="*/ 8212998 w 9114518"/>
              <a:gd name="connsiteY122" fmla="*/ 6952173 h 7391342"/>
              <a:gd name="connsiteX123" fmla="*/ 8220604 w 9114518"/>
              <a:gd name="connsiteY123" fmla="*/ 6999784 h 7391342"/>
              <a:gd name="connsiteX124" fmla="*/ 8230504 w 9114518"/>
              <a:gd name="connsiteY124" fmla="*/ 7044272 h 7391342"/>
              <a:gd name="connsiteX125" fmla="*/ 8242920 w 9114518"/>
              <a:gd name="connsiteY125" fmla="*/ 7085520 h 7391342"/>
              <a:gd name="connsiteX126" fmla="*/ 8258072 w 9114518"/>
              <a:gd name="connsiteY126" fmla="*/ 7123407 h 7391342"/>
              <a:gd name="connsiteX127" fmla="*/ 8276182 w 9114518"/>
              <a:gd name="connsiteY127" fmla="*/ 7157813 h 7391342"/>
              <a:gd name="connsiteX128" fmla="*/ 8322152 w 9114518"/>
              <a:gd name="connsiteY128" fmla="*/ 7215706 h 7391342"/>
              <a:gd name="connsiteX129" fmla="*/ 8382596 w 9114518"/>
              <a:gd name="connsiteY129" fmla="*/ 7258243 h 7391342"/>
              <a:gd name="connsiteX130" fmla="*/ 8418798 w 9114518"/>
              <a:gd name="connsiteY130" fmla="*/ 7273454 h 7391342"/>
              <a:gd name="connsiteX131" fmla="*/ 8459280 w 9114518"/>
              <a:gd name="connsiteY131" fmla="*/ 7284467 h 7391342"/>
              <a:gd name="connsiteX132" fmla="*/ 8504264 w 9114518"/>
              <a:gd name="connsiteY132" fmla="*/ 7291162 h 7391342"/>
              <a:gd name="connsiteX133" fmla="*/ 8553970 w 9114518"/>
              <a:gd name="connsiteY133" fmla="*/ 7293421 h 7391342"/>
              <a:gd name="connsiteX134" fmla="*/ 8553970 w 9114518"/>
              <a:gd name="connsiteY134" fmla="*/ 7391342 h 7391342"/>
              <a:gd name="connsiteX135" fmla="*/ 8502324 w 9114518"/>
              <a:gd name="connsiteY135" fmla="*/ 7389609 h 7391342"/>
              <a:gd name="connsiteX136" fmla="*/ 8454390 w 9114518"/>
              <a:gd name="connsiteY136" fmla="*/ 7384456 h 7391342"/>
              <a:gd name="connsiteX137" fmla="*/ 8410050 w 9114518"/>
              <a:gd name="connsiteY137" fmla="*/ 7375956 h 7391342"/>
              <a:gd name="connsiteX138" fmla="*/ 8369176 w 9114518"/>
              <a:gd name="connsiteY138" fmla="*/ 7364181 h 7391342"/>
              <a:gd name="connsiteX139" fmla="*/ 8331650 w 9114518"/>
              <a:gd name="connsiteY139" fmla="*/ 7349203 h 7391342"/>
              <a:gd name="connsiteX140" fmla="*/ 8297346 w 9114518"/>
              <a:gd name="connsiteY140" fmla="*/ 7331095 h 7391342"/>
              <a:gd name="connsiteX141" fmla="*/ 8237920 w 9114518"/>
              <a:gd name="connsiteY141" fmla="*/ 7285777 h 7391342"/>
              <a:gd name="connsiteX142" fmla="*/ 8189918 w 9114518"/>
              <a:gd name="connsiteY142" fmla="*/ 7228803 h 7391342"/>
              <a:gd name="connsiteX143" fmla="*/ 8169894 w 9114518"/>
              <a:gd name="connsiteY143" fmla="*/ 7196125 h 7391342"/>
              <a:gd name="connsiteX144" fmla="*/ 8152358 w 9114518"/>
              <a:gd name="connsiteY144" fmla="*/ 7160750 h 7391342"/>
              <a:gd name="connsiteX145" fmla="*/ 8137190 w 9114518"/>
              <a:gd name="connsiteY145" fmla="*/ 7122750 h 7391342"/>
              <a:gd name="connsiteX146" fmla="*/ 8124264 w 9114518"/>
              <a:gd name="connsiteY146" fmla="*/ 7082197 h 7391342"/>
              <a:gd name="connsiteX147" fmla="*/ 8113458 w 9114518"/>
              <a:gd name="connsiteY147" fmla="*/ 7039164 h 7391342"/>
              <a:gd name="connsiteX148" fmla="*/ 8104652 w 9114518"/>
              <a:gd name="connsiteY148" fmla="*/ 6993721 h 7391342"/>
              <a:gd name="connsiteX149" fmla="*/ 8097722 w 9114518"/>
              <a:gd name="connsiteY149" fmla="*/ 6945943 h 7391342"/>
              <a:gd name="connsiteX150" fmla="*/ 8092544 w 9114518"/>
              <a:gd name="connsiteY150" fmla="*/ 6895900 h 7391342"/>
              <a:gd name="connsiteX151" fmla="*/ 8088998 w 9114518"/>
              <a:gd name="connsiteY151" fmla="*/ 6843665 h 7391342"/>
              <a:gd name="connsiteX152" fmla="*/ 8086960 w 9114518"/>
              <a:gd name="connsiteY152" fmla="*/ 6789310 h 7391342"/>
              <a:gd name="connsiteX153" fmla="*/ 8086308 w 9114518"/>
              <a:gd name="connsiteY153" fmla="*/ 6732908 h 7391342"/>
              <a:gd name="connsiteX154" fmla="*/ 8086982 w 9114518"/>
              <a:gd name="connsiteY154" fmla="*/ 6676747 h 7391342"/>
              <a:gd name="connsiteX155" fmla="*/ 8089082 w 9114518"/>
              <a:gd name="connsiteY155" fmla="*/ 6622632 h 7391342"/>
              <a:gd name="connsiteX156" fmla="*/ 8092722 w 9114518"/>
              <a:gd name="connsiteY156" fmla="*/ 6570635 h 7391342"/>
              <a:gd name="connsiteX157" fmla="*/ 8098020 w 9114518"/>
              <a:gd name="connsiteY157" fmla="*/ 6520827 h 7391342"/>
              <a:gd name="connsiteX158" fmla="*/ 8105090 w 9114518"/>
              <a:gd name="connsiteY158" fmla="*/ 6473278 h 7391342"/>
              <a:gd name="connsiteX159" fmla="*/ 8114050 w 9114518"/>
              <a:gd name="connsiteY159" fmla="*/ 6428061 h 7391342"/>
              <a:gd name="connsiteX160" fmla="*/ 8125014 w 9114518"/>
              <a:gd name="connsiteY160" fmla="*/ 6385245 h 7391342"/>
              <a:gd name="connsiteX161" fmla="*/ 8138100 w 9114518"/>
              <a:gd name="connsiteY161" fmla="*/ 6344902 h 7391342"/>
              <a:gd name="connsiteX162" fmla="*/ 8153424 w 9114518"/>
              <a:gd name="connsiteY162" fmla="*/ 6307104 h 7391342"/>
              <a:gd name="connsiteX163" fmla="*/ 8171098 w 9114518"/>
              <a:gd name="connsiteY163" fmla="*/ 6271921 h 7391342"/>
              <a:gd name="connsiteX164" fmla="*/ 8191242 w 9114518"/>
              <a:gd name="connsiteY164" fmla="*/ 6239424 h 7391342"/>
              <a:gd name="connsiteX165" fmla="*/ 8239400 w 9114518"/>
              <a:gd name="connsiteY165" fmla="*/ 6182774 h 7391342"/>
              <a:gd name="connsiteX166" fmla="*/ 8298824 w 9114518"/>
              <a:gd name="connsiteY166" fmla="*/ 6137723 h 7391342"/>
              <a:gd name="connsiteX167" fmla="*/ 8333052 w 9114518"/>
              <a:gd name="connsiteY167" fmla="*/ 6119725 h 7391342"/>
              <a:gd name="connsiteX168" fmla="*/ 8370442 w 9114518"/>
              <a:gd name="connsiteY168" fmla="*/ 6104840 h 7391342"/>
              <a:gd name="connsiteX169" fmla="*/ 8411114 w 9114518"/>
              <a:gd name="connsiteY169" fmla="*/ 6093139 h 7391342"/>
              <a:gd name="connsiteX170" fmla="*/ 8455182 w 9114518"/>
              <a:gd name="connsiteY170" fmla="*/ 6084693 h 7391342"/>
              <a:gd name="connsiteX171" fmla="*/ 8502762 w 9114518"/>
              <a:gd name="connsiteY171" fmla="*/ 6079573 h 7391342"/>
              <a:gd name="connsiteX172" fmla="*/ 1425338 w 9114518"/>
              <a:gd name="connsiteY172" fmla="*/ 6077851 h 7391342"/>
              <a:gd name="connsiteX173" fmla="*/ 1476547 w 9114518"/>
              <a:gd name="connsiteY173" fmla="*/ 6079573 h 7391342"/>
              <a:gd name="connsiteX174" fmla="*/ 1524127 w 9114518"/>
              <a:gd name="connsiteY174" fmla="*/ 6084693 h 7391342"/>
              <a:gd name="connsiteX175" fmla="*/ 1568196 w 9114518"/>
              <a:gd name="connsiteY175" fmla="*/ 6093139 h 7391342"/>
              <a:gd name="connsiteX176" fmla="*/ 1608868 w 9114518"/>
              <a:gd name="connsiteY176" fmla="*/ 6104840 h 7391342"/>
              <a:gd name="connsiteX177" fmla="*/ 1646259 w 9114518"/>
              <a:gd name="connsiteY177" fmla="*/ 6119725 h 7391342"/>
              <a:gd name="connsiteX178" fmla="*/ 1680486 w 9114518"/>
              <a:gd name="connsiteY178" fmla="*/ 6137723 h 7391342"/>
              <a:gd name="connsiteX179" fmla="*/ 1739910 w 9114518"/>
              <a:gd name="connsiteY179" fmla="*/ 6182774 h 7391342"/>
              <a:gd name="connsiteX180" fmla="*/ 1788068 w 9114518"/>
              <a:gd name="connsiteY180" fmla="*/ 6239424 h 7391342"/>
              <a:gd name="connsiteX181" fmla="*/ 1808212 w 9114518"/>
              <a:gd name="connsiteY181" fmla="*/ 6271921 h 7391342"/>
              <a:gd name="connsiteX182" fmla="*/ 1825887 w 9114518"/>
              <a:gd name="connsiteY182" fmla="*/ 6307104 h 7391342"/>
              <a:gd name="connsiteX183" fmla="*/ 1841209 w 9114518"/>
              <a:gd name="connsiteY183" fmla="*/ 6344902 h 7391342"/>
              <a:gd name="connsiteX184" fmla="*/ 1854294 w 9114518"/>
              <a:gd name="connsiteY184" fmla="*/ 6385245 h 7391342"/>
              <a:gd name="connsiteX185" fmla="*/ 1865258 w 9114518"/>
              <a:gd name="connsiteY185" fmla="*/ 6428061 h 7391342"/>
              <a:gd name="connsiteX186" fmla="*/ 1874218 w 9114518"/>
              <a:gd name="connsiteY186" fmla="*/ 6473278 h 7391342"/>
              <a:gd name="connsiteX187" fmla="*/ 1881288 w 9114518"/>
              <a:gd name="connsiteY187" fmla="*/ 6520827 h 7391342"/>
              <a:gd name="connsiteX188" fmla="*/ 1886585 w 9114518"/>
              <a:gd name="connsiteY188" fmla="*/ 6570635 h 7391342"/>
              <a:gd name="connsiteX189" fmla="*/ 1890226 w 9114518"/>
              <a:gd name="connsiteY189" fmla="*/ 6622632 h 7391342"/>
              <a:gd name="connsiteX190" fmla="*/ 1892325 w 9114518"/>
              <a:gd name="connsiteY190" fmla="*/ 6676747 h 7391342"/>
              <a:gd name="connsiteX191" fmla="*/ 1892999 w 9114518"/>
              <a:gd name="connsiteY191" fmla="*/ 6732908 h 7391342"/>
              <a:gd name="connsiteX192" fmla="*/ 1892357 w 9114518"/>
              <a:gd name="connsiteY192" fmla="*/ 6789310 h 7391342"/>
              <a:gd name="connsiteX193" fmla="*/ 1890350 w 9114518"/>
              <a:gd name="connsiteY193" fmla="*/ 6843665 h 7391342"/>
              <a:gd name="connsiteX194" fmla="*/ 1886851 w 9114518"/>
              <a:gd name="connsiteY194" fmla="*/ 6895900 h 7391342"/>
              <a:gd name="connsiteX195" fmla="*/ 1881734 w 9114518"/>
              <a:gd name="connsiteY195" fmla="*/ 6945943 h 7391342"/>
              <a:gd name="connsiteX196" fmla="*/ 1874873 w 9114518"/>
              <a:gd name="connsiteY196" fmla="*/ 6993721 h 7391342"/>
              <a:gd name="connsiteX197" fmla="*/ 1866143 w 9114518"/>
              <a:gd name="connsiteY197" fmla="*/ 7039164 h 7391342"/>
              <a:gd name="connsiteX198" fmla="*/ 1855418 w 9114518"/>
              <a:gd name="connsiteY198" fmla="*/ 7082197 h 7391342"/>
              <a:gd name="connsiteX199" fmla="*/ 1842572 w 9114518"/>
              <a:gd name="connsiteY199" fmla="*/ 7122750 h 7391342"/>
              <a:gd name="connsiteX200" fmla="*/ 1827479 w 9114518"/>
              <a:gd name="connsiteY200" fmla="*/ 7160750 h 7391342"/>
              <a:gd name="connsiteX201" fmla="*/ 1810014 w 9114518"/>
              <a:gd name="connsiteY201" fmla="*/ 7196125 h 7391342"/>
              <a:gd name="connsiteX202" fmla="*/ 1790050 w 9114518"/>
              <a:gd name="connsiteY202" fmla="*/ 7228803 h 7391342"/>
              <a:gd name="connsiteX203" fmla="*/ 1742125 w 9114518"/>
              <a:gd name="connsiteY203" fmla="*/ 7285777 h 7391342"/>
              <a:gd name="connsiteX204" fmla="*/ 1682698 w 9114518"/>
              <a:gd name="connsiteY204" fmla="*/ 7331095 h 7391342"/>
              <a:gd name="connsiteX205" fmla="*/ 1648356 w 9114518"/>
              <a:gd name="connsiteY205" fmla="*/ 7349203 h 7391342"/>
              <a:gd name="connsiteX206" fmla="*/ 1610762 w 9114518"/>
              <a:gd name="connsiteY206" fmla="*/ 7364181 h 7391342"/>
              <a:gd name="connsiteX207" fmla="*/ 1569788 w 9114518"/>
              <a:gd name="connsiteY207" fmla="*/ 7375956 h 7391342"/>
              <a:gd name="connsiteX208" fmla="*/ 1525310 w 9114518"/>
              <a:gd name="connsiteY208" fmla="*/ 7384456 h 7391342"/>
              <a:gd name="connsiteX209" fmla="*/ 1477202 w 9114518"/>
              <a:gd name="connsiteY209" fmla="*/ 7389609 h 7391342"/>
              <a:gd name="connsiteX210" fmla="*/ 1425338 w 9114518"/>
              <a:gd name="connsiteY210" fmla="*/ 7391342 h 7391342"/>
              <a:gd name="connsiteX211" fmla="*/ 1425338 w 9114518"/>
              <a:gd name="connsiteY211" fmla="*/ 7293421 h 7391342"/>
              <a:gd name="connsiteX212" fmla="*/ 1475586 w 9114518"/>
              <a:gd name="connsiteY212" fmla="*/ 7291162 h 7391342"/>
              <a:gd name="connsiteX213" fmla="*/ 1521017 w 9114518"/>
              <a:gd name="connsiteY213" fmla="*/ 7284467 h 7391342"/>
              <a:gd name="connsiteX214" fmla="*/ 1561858 w 9114518"/>
              <a:gd name="connsiteY214" fmla="*/ 7273454 h 7391342"/>
              <a:gd name="connsiteX215" fmla="*/ 1598338 w 9114518"/>
              <a:gd name="connsiteY215" fmla="*/ 7258243 h 7391342"/>
              <a:gd name="connsiteX216" fmla="*/ 1659131 w 9114518"/>
              <a:gd name="connsiteY216" fmla="*/ 7215706 h 7391342"/>
              <a:gd name="connsiteX217" fmla="*/ 1705228 w 9114518"/>
              <a:gd name="connsiteY217" fmla="*/ 7157813 h 7391342"/>
              <a:gd name="connsiteX218" fmla="*/ 1723337 w 9114518"/>
              <a:gd name="connsiteY218" fmla="*/ 7123407 h 7391342"/>
              <a:gd name="connsiteX219" fmla="*/ 1738459 w 9114518"/>
              <a:gd name="connsiteY219" fmla="*/ 7085520 h 7391342"/>
              <a:gd name="connsiteX220" fmla="*/ 1750822 w 9114518"/>
              <a:gd name="connsiteY220" fmla="*/ 7044272 h 7391342"/>
              <a:gd name="connsiteX221" fmla="*/ 1760655 w 9114518"/>
              <a:gd name="connsiteY221" fmla="*/ 6999784 h 7391342"/>
              <a:gd name="connsiteX222" fmla="*/ 1768187 w 9114518"/>
              <a:gd name="connsiteY222" fmla="*/ 6952173 h 7391342"/>
              <a:gd name="connsiteX223" fmla="*/ 1773647 w 9114518"/>
              <a:gd name="connsiteY223" fmla="*/ 6901561 h 7391342"/>
              <a:gd name="connsiteX224" fmla="*/ 1777263 w 9114518"/>
              <a:gd name="connsiteY224" fmla="*/ 6848066 h 7391342"/>
              <a:gd name="connsiteX225" fmla="*/ 1779265 w 9114518"/>
              <a:gd name="connsiteY225" fmla="*/ 6791809 h 7391342"/>
              <a:gd name="connsiteX226" fmla="*/ 1779882 w 9114518"/>
              <a:gd name="connsiteY226" fmla="*/ 6732908 h 7391342"/>
              <a:gd name="connsiteX227" fmla="*/ 1779232 w 9114518"/>
              <a:gd name="connsiteY227" fmla="*/ 6674585 h 7391342"/>
              <a:gd name="connsiteX228" fmla="*/ 1777140 w 9114518"/>
              <a:gd name="connsiteY228" fmla="*/ 6618871 h 7391342"/>
              <a:gd name="connsiteX229" fmla="*/ 1773387 w 9114518"/>
              <a:gd name="connsiteY229" fmla="*/ 6565885 h 7391342"/>
              <a:gd name="connsiteX230" fmla="*/ 1767758 w 9114518"/>
              <a:gd name="connsiteY230" fmla="*/ 6515745 h 7391342"/>
              <a:gd name="connsiteX231" fmla="*/ 1760037 w 9114518"/>
              <a:gd name="connsiteY231" fmla="*/ 6468573 h 7391342"/>
              <a:gd name="connsiteX232" fmla="*/ 1750006 w 9114518"/>
              <a:gd name="connsiteY232" fmla="*/ 6424488 h 7391342"/>
              <a:gd name="connsiteX233" fmla="*/ 1737450 w 9114518"/>
              <a:gd name="connsiteY233" fmla="*/ 6383608 h 7391342"/>
              <a:gd name="connsiteX234" fmla="*/ 1722151 w 9114518"/>
              <a:gd name="connsiteY234" fmla="*/ 6346054 h 7391342"/>
              <a:gd name="connsiteX235" fmla="*/ 1703894 w 9114518"/>
              <a:gd name="connsiteY235" fmla="*/ 6311946 h 7391342"/>
              <a:gd name="connsiteX236" fmla="*/ 1657637 w 9114518"/>
              <a:gd name="connsiteY236" fmla="*/ 6254543 h 7391342"/>
              <a:gd name="connsiteX237" fmla="*/ 1596946 w 9114518"/>
              <a:gd name="connsiteY237" fmla="*/ 6212357 h 7391342"/>
              <a:gd name="connsiteX238" fmla="*/ 1560647 w 9114518"/>
              <a:gd name="connsiteY238" fmla="*/ 6197269 h 7391342"/>
              <a:gd name="connsiteX239" fmla="*/ 1520090 w 9114518"/>
              <a:gd name="connsiteY239" fmla="*/ 6186344 h 7391342"/>
              <a:gd name="connsiteX240" fmla="*/ 1475059 w 9114518"/>
              <a:gd name="connsiteY240" fmla="*/ 6179701 h 7391342"/>
              <a:gd name="connsiteX241" fmla="*/ 1425338 w 9114518"/>
              <a:gd name="connsiteY241" fmla="*/ 6177460 h 7391342"/>
              <a:gd name="connsiteX242" fmla="*/ 1332420 w 9114518"/>
              <a:gd name="connsiteY242" fmla="*/ 6077851 h 7391342"/>
              <a:gd name="connsiteX243" fmla="*/ 1332420 w 9114518"/>
              <a:gd name="connsiteY243" fmla="*/ 6177460 h 7391342"/>
              <a:gd name="connsiteX244" fmla="*/ 1282980 w 9114518"/>
              <a:gd name="connsiteY244" fmla="*/ 6179701 h 7391342"/>
              <a:gd name="connsiteX245" fmla="*/ 1238197 w 9114518"/>
              <a:gd name="connsiteY245" fmla="*/ 6186344 h 7391342"/>
              <a:gd name="connsiteX246" fmla="*/ 1197858 w 9114518"/>
              <a:gd name="connsiteY246" fmla="*/ 6197269 h 7391342"/>
              <a:gd name="connsiteX247" fmla="*/ 1161747 w 9114518"/>
              <a:gd name="connsiteY247" fmla="*/ 6212357 h 7391342"/>
              <a:gd name="connsiteX248" fmla="*/ 1101354 w 9114518"/>
              <a:gd name="connsiteY248" fmla="*/ 6254543 h 7391342"/>
              <a:gd name="connsiteX249" fmla="*/ 1055303 w 9114518"/>
              <a:gd name="connsiteY249" fmla="*/ 6311946 h 7391342"/>
              <a:gd name="connsiteX250" fmla="*/ 1037120 w 9114518"/>
              <a:gd name="connsiteY250" fmla="*/ 6346054 h 7391342"/>
              <a:gd name="connsiteX251" fmla="*/ 1021878 w 9114518"/>
              <a:gd name="connsiteY251" fmla="*/ 6383608 h 7391342"/>
              <a:gd name="connsiteX252" fmla="*/ 1009365 w 9114518"/>
              <a:gd name="connsiteY252" fmla="*/ 6424488 h 7391342"/>
              <a:gd name="connsiteX253" fmla="*/ 999365 w 9114518"/>
              <a:gd name="connsiteY253" fmla="*/ 6468573 h 7391342"/>
              <a:gd name="connsiteX254" fmla="*/ 991664 w 9114518"/>
              <a:gd name="connsiteY254" fmla="*/ 6515745 h 7391342"/>
              <a:gd name="connsiteX255" fmla="*/ 986047 w 9114518"/>
              <a:gd name="connsiteY255" fmla="*/ 6565885 h 7391342"/>
              <a:gd name="connsiteX256" fmla="*/ 982301 w 9114518"/>
              <a:gd name="connsiteY256" fmla="*/ 6618871 h 7391342"/>
              <a:gd name="connsiteX257" fmla="*/ 980210 w 9114518"/>
              <a:gd name="connsiteY257" fmla="*/ 6674585 h 7391342"/>
              <a:gd name="connsiteX258" fmla="*/ 979561 w 9114518"/>
              <a:gd name="connsiteY258" fmla="*/ 6732908 h 7391342"/>
              <a:gd name="connsiteX259" fmla="*/ 980194 w 9114518"/>
              <a:gd name="connsiteY259" fmla="*/ 6791809 h 7391342"/>
              <a:gd name="connsiteX260" fmla="*/ 982239 w 9114518"/>
              <a:gd name="connsiteY260" fmla="*/ 6848066 h 7391342"/>
              <a:gd name="connsiteX261" fmla="*/ 985918 w 9114518"/>
              <a:gd name="connsiteY261" fmla="*/ 6901561 h 7391342"/>
              <a:gd name="connsiteX262" fmla="*/ 991450 w 9114518"/>
              <a:gd name="connsiteY262" fmla="*/ 6952173 h 7391342"/>
              <a:gd name="connsiteX263" fmla="*/ 999056 w 9114518"/>
              <a:gd name="connsiteY263" fmla="*/ 6999784 h 7391342"/>
              <a:gd name="connsiteX264" fmla="*/ 1008957 w 9114518"/>
              <a:gd name="connsiteY264" fmla="*/ 7044272 h 7391342"/>
              <a:gd name="connsiteX265" fmla="*/ 1021374 w 9114518"/>
              <a:gd name="connsiteY265" fmla="*/ 7085520 h 7391342"/>
              <a:gd name="connsiteX266" fmla="*/ 1036527 w 9114518"/>
              <a:gd name="connsiteY266" fmla="*/ 7123407 h 7391342"/>
              <a:gd name="connsiteX267" fmla="*/ 1054636 w 9114518"/>
              <a:gd name="connsiteY267" fmla="*/ 7157813 h 7391342"/>
              <a:gd name="connsiteX268" fmla="*/ 1100607 w 9114518"/>
              <a:gd name="connsiteY268" fmla="*/ 7215706 h 7391342"/>
              <a:gd name="connsiteX269" fmla="*/ 1161051 w 9114518"/>
              <a:gd name="connsiteY269" fmla="*/ 7258243 h 7391342"/>
              <a:gd name="connsiteX270" fmla="*/ 1197253 w 9114518"/>
              <a:gd name="connsiteY270" fmla="*/ 7273454 h 7391342"/>
              <a:gd name="connsiteX271" fmla="*/ 1237734 w 9114518"/>
              <a:gd name="connsiteY271" fmla="*/ 7284467 h 7391342"/>
              <a:gd name="connsiteX272" fmla="*/ 1282716 w 9114518"/>
              <a:gd name="connsiteY272" fmla="*/ 7291162 h 7391342"/>
              <a:gd name="connsiteX273" fmla="*/ 1332420 w 9114518"/>
              <a:gd name="connsiteY273" fmla="*/ 7293421 h 7391342"/>
              <a:gd name="connsiteX274" fmla="*/ 1332420 w 9114518"/>
              <a:gd name="connsiteY274" fmla="*/ 7391342 h 7391342"/>
              <a:gd name="connsiteX275" fmla="*/ 1280774 w 9114518"/>
              <a:gd name="connsiteY275" fmla="*/ 7389609 h 7391342"/>
              <a:gd name="connsiteX276" fmla="*/ 1232841 w 9114518"/>
              <a:gd name="connsiteY276" fmla="*/ 7384456 h 7391342"/>
              <a:gd name="connsiteX277" fmla="*/ 1188500 w 9114518"/>
              <a:gd name="connsiteY277" fmla="*/ 7375956 h 7391342"/>
              <a:gd name="connsiteX278" fmla="*/ 1147627 w 9114518"/>
              <a:gd name="connsiteY278" fmla="*/ 7364181 h 7391342"/>
              <a:gd name="connsiteX279" fmla="*/ 1110100 w 9114518"/>
              <a:gd name="connsiteY279" fmla="*/ 7349203 h 7391342"/>
              <a:gd name="connsiteX280" fmla="*/ 1075796 w 9114518"/>
              <a:gd name="connsiteY280" fmla="*/ 7331095 h 7391342"/>
              <a:gd name="connsiteX281" fmla="*/ 1016370 w 9114518"/>
              <a:gd name="connsiteY281" fmla="*/ 7285777 h 7391342"/>
              <a:gd name="connsiteX282" fmla="*/ 968368 w 9114518"/>
              <a:gd name="connsiteY282" fmla="*/ 7228803 h 7391342"/>
              <a:gd name="connsiteX283" fmla="*/ 948344 w 9114518"/>
              <a:gd name="connsiteY283" fmla="*/ 7196125 h 7391342"/>
              <a:gd name="connsiteX284" fmla="*/ 930809 w 9114518"/>
              <a:gd name="connsiteY284" fmla="*/ 7160750 h 7391342"/>
              <a:gd name="connsiteX285" fmla="*/ 915640 w 9114518"/>
              <a:gd name="connsiteY285" fmla="*/ 7122750 h 7391342"/>
              <a:gd name="connsiteX286" fmla="*/ 902714 w 9114518"/>
              <a:gd name="connsiteY286" fmla="*/ 7082197 h 7391342"/>
              <a:gd name="connsiteX287" fmla="*/ 891909 w 9114518"/>
              <a:gd name="connsiteY287" fmla="*/ 7039164 h 7391342"/>
              <a:gd name="connsiteX288" fmla="*/ 883103 w 9114518"/>
              <a:gd name="connsiteY288" fmla="*/ 6993721 h 7391342"/>
              <a:gd name="connsiteX289" fmla="*/ 876172 w 9114518"/>
              <a:gd name="connsiteY289" fmla="*/ 6945943 h 7391342"/>
              <a:gd name="connsiteX290" fmla="*/ 870995 w 9114518"/>
              <a:gd name="connsiteY290" fmla="*/ 6895900 h 7391342"/>
              <a:gd name="connsiteX291" fmla="*/ 867449 w 9114518"/>
              <a:gd name="connsiteY291" fmla="*/ 6843665 h 7391342"/>
              <a:gd name="connsiteX292" fmla="*/ 865411 w 9114518"/>
              <a:gd name="connsiteY292" fmla="*/ 6789310 h 7391342"/>
              <a:gd name="connsiteX293" fmla="*/ 864759 w 9114518"/>
              <a:gd name="connsiteY293" fmla="*/ 6732908 h 7391342"/>
              <a:gd name="connsiteX294" fmla="*/ 865433 w 9114518"/>
              <a:gd name="connsiteY294" fmla="*/ 6676747 h 7391342"/>
              <a:gd name="connsiteX295" fmla="*/ 867532 w 9114518"/>
              <a:gd name="connsiteY295" fmla="*/ 6622632 h 7391342"/>
              <a:gd name="connsiteX296" fmla="*/ 871172 w 9114518"/>
              <a:gd name="connsiteY296" fmla="*/ 6570635 h 7391342"/>
              <a:gd name="connsiteX297" fmla="*/ 876470 w 9114518"/>
              <a:gd name="connsiteY297" fmla="*/ 6520827 h 7391342"/>
              <a:gd name="connsiteX298" fmla="*/ 883541 w 9114518"/>
              <a:gd name="connsiteY298" fmla="*/ 6473278 h 7391342"/>
              <a:gd name="connsiteX299" fmla="*/ 892501 w 9114518"/>
              <a:gd name="connsiteY299" fmla="*/ 6428061 h 7391342"/>
              <a:gd name="connsiteX300" fmla="*/ 903465 w 9114518"/>
              <a:gd name="connsiteY300" fmla="*/ 6385245 h 7391342"/>
              <a:gd name="connsiteX301" fmla="*/ 916551 w 9114518"/>
              <a:gd name="connsiteY301" fmla="*/ 6344902 h 7391342"/>
              <a:gd name="connsiteX302" fmla="*/ 931874 w 9114518"/>
              <a:gd name="connsiteY302" fmla="*/ 6307104 h 7391342"/>
              <a:gd name="connsiteX303" fmla="*/ 949549 w 9114518"/>
              <a:gd name="connsiteY303" fmla="*/ 6271921 h 7391342"/>
              <a:gd name="connsiteX304" fmla="*/ 969693 w 9114518"/>
              <a:gd name="connsiteY304" fmla="*/ 6239424 h 7391342"/>
              <a:gd name="connsiteX305" fmla="*/ 1017851 w 9114518"/>
              <a:gd name="connsiteY305" fmla="*/ 6182774 h 7391342"/>
              <a:gd name="connsiteX306" fmla="*/ 1077275 w 9114518"/>
              <a:gd name="connsiteY306" fmla="*/ 6137723 h 7391342"/>
              <a:gd name="connsiteX307" fmla="*/ 1111502 w 9114518"/>
              <a:gd name="connsiteY307" fmla="*/ 6119725 h 7391342"/>
              <a:gd name="connsiteX308" fmla="*/ 1148893 w 9114518"/>
              <a:gd name="connsiteY308" fmla="*/ 6104840 h 7391342"/>
              <a:gd name="connsiteX309" fmla="*/ 1189565 w 9114518"/>
              <a:gd name="connsiteY309" fmla="*/ 6093139 h 7391342"/>
              <a:gd name="connsiteX310" fmla="*/ 1233632 w 9114518"/>
              <a:gd name="connsiteY310" fmla="*/ 6084693 h 7391342"/>
              <a:gd name="connsiteX311" fmla="*/ 1281212 w 9114518"/>
              <a:gd name="connsiteY311" fmla="*/ 6079573 h 7391342"/>
              <a:gd name="connsiteX312" fmla="*/ 510883 w 9114518"/>
              <a:gd name="connsiteY312" fmla="*/ 5591624 h 7391342"/>
              <a:gd name="connsiteX313" fmla="*/ 553593 w 9114518"/>
              <a:gd name="connsiteY313" fmla="*/ 5595343 h 7391342"/>
              <a:gd name="connsiteX314" fmla="*/ 586648 w 9114518"/>
              <a:gd name="connsiteY314" fmla="*/ 5608717 h 7391342"/>
              <a:gd name="connsiteX315" fmla="*/ 607989 w 9114518"/>
              <a:gd name="connsiteY315" fmla="*/ 5635070 h 7391342"/>
              <a:gd name="connsiteX316" fmla="*/ 615560 w 9114518"/>
              <a:gd name="connsiteY316" fmla="*/ 5677726 h 7391342"/>
              <a:gd name="connsiteX317" fmla="*/ 607989 w 9114518"/>
              <a:gd name="connsiteY317" fmla="*/ 5722334 h 7391342"/>
              <a:gd name="connsiteX318" fmla="*/ 586648 w 9114518"/>
              <a:gd name="connsiteY318" fmla="*/ 5749689 h 7391342"/>
              <a:gd name="connsiteX319" fmla="*/ 553593 w 9114518"/>
              <a:gd name="connsiteY319" fmla="*/ 5763433 h 7391342"/>
              <a:gd name="connsiteX320" fmla="*/ 510883 w 9114518"/>
              <a:gd name="connsiteY320" fmla="*/ 5767206 h 7391342"/>
              <a:gd name="connsiteX321" fmla="*/ 468173 w 9114518"/>
              <a:gd name="connsiteY321" fmla="*/ 5763433 h 7391342"/>
              <a:gd name="connsiteX322" fmla="*/ 435118 w 9114518"/>
              <a:gd name="connsiteY322" fmla="*/ 5749689 h 7391342"/>
              <a:gd name="connsiteX323" fmla="*/ 413777 w 9114518"/>
              <a:gd name="connsiteY323" fmla="*/ 5722334 h 7391342"/>
              <a:gd name="connsiteX324" fmla="*/ 406206 w 9114518"/>
              <a:gd name="connsiteY324" fmla="*/ 5677726 h 7391342"/>
              <a:gd name="connsiteX325" fmla="*/ 414015 w 9114518"/>
              <a:gd name="connsiteY325" fmla="*/ 5635070 h 7391342"/>
              <a:gd name="connsiteX326" fmla="*/ 435754 w 9114518"/>
              <a:gd name="connsiteY326" fmla="*/ 5608717 h 7391342"/>
              <a:gd name="connsiteX327" fmla="*/ 468888 w 9114518"/>
              <a:gd name="connsiteY327" fmla="*/ 5595343 h 7391342"/>
              <a:gd name="connsiteX328" fmla="*/ 2493379 w 9114518"/>
              <a:gd name="connsiteY328" fmla="*/ 5439680 h 7391342"/>
              <a:gd name="connsiteX329" fmla="*/ 3408440 w 9114518"/>
              <a:gd name="connsiteY329" fmla="*/ 5439680 h 7391342"/>
              <a:gd name="connsiteX330" fmla="*/ 3408440 w 9114518"/>
              <a:gd name="connsiteY330" fmla="*/ 5547731 h 7391342"/>
              <a:gd name="connsiteX331" fmla="*/ 2493379 w 9114518"/>
              <a:gd name="connsiteY331" fmla="*/ 5547731 h 7391342"/>
              <a:gd name="connsiteX332" fmla="*/ 2493379 w 9114518"/>
              <a:gd name="connsiteY332" fmla="*/ 5086827 h 7391342"/>
              <a:gd name="connsiteX333" fmla="*/ 3408440 w 9114518"/>
              <a:gd name="connsiteY333" fmla="*/ 5086827 h 7391342"/>
              <a:gd name="connsiteX334" fmla="*/ 3408440 w 9114518"/>
              <a:gd name="connsiteY334" fmla="*/ 5194878 h 7391342"/>
              <a:gd name="connsiteX335" fmla="*/ 2493379 w 9114518"/>
              <a:gd name="connsiteY335" fmla="*/ 5194878 h 7391342"/>
              <a:gd name="connsiteX336" fmla="*/ 510883 w 9114518"/>
              <a:gd name="connsiteY336" fmla="*/ 4882541 h 7391342"/>
              <a:gd name="connsiteX337" fmla="*/ 553593 w 9114518"/>
              <a:gd name="connsiteY337" fmla="*/ 4886049 h 7391342"/>
              <a:gd name="connsiteX338" fmla="*/ 586648 w 9114518"/>
              <a:gd name="connsiteY338" fmla="*/ 4899212 h 7391342"/>
              <a:gd name="connsiteX339" fmla="*/ 607989 w 9114518"/>
              <a:gd name="connsiteY339" fmla="*/ 4925987 h 7391342"/>
              <a:gd name="connsiteX340" fmla="*/ 615560 w 9114518"/>
              <a:gd name="connsiteY340" fmla="*/ 4970332 h 7391342"/>
              <a:gd name="connsiteX341" fmla="*/ 607989 w 9114518"/>
              <a:gd name="connsiteY341" fmla="*/ 5013251 h 7391342"/>
              <a:gd name="connsiteX342" fmla="*/ 586648 w 9114518"/>
              <a:gd name="connsiteY342" fmla="*/ 5040185 h 7391342"/>
              <a:gd name="connsiteX343" fmla="*/ 553593 w 9114518"/>
              <a:gd name="connsiteY343" fmla="*/ 5054139 h 7391342"/>
              <a:gd name="connsiteX344" fmla="*/ 510883 w 9114518"/>
              <a:gd name="connsiteY344" fmla="*/ 5058123 h 7391342"/>
              <a:gd name="connsiteX345" fmla="*/ 469154 w 9114518"/>
              <a:gd name="connsiteY345" fmla="*/ 5054139 h 7391342"/>
              <a:gd name="connsiteX346" fmla="*/ 436602 w 9114518"/>
              <a:gd name="connsiteY346" fmla="*/ 5040185 h 7391342"/>
              <a:gd name="connsiteX347" fmla="*/ 415446 w 9114518"/>
              <a:gd name="connsiteY347" fmla="*/ 5013251 h 7391342"/>
              <a:gd name="connsiteX348" fmla="*/ 407902 w 9114518"/>
              <a:gd name="connsiteY348" fmla="*/ 4970332 h 7391342"/>
              <a:gd name="connsiteX349" fmla="*/ 415446 w 9114518"/>
              <a:gd name="connsiteY349" fmla="*/ 4925987 h 7391342"/>
              <a:gd name="connsiteX350" fmla="*/ 436602 w 9114518"/>
              <a:gd name="connsiteY350" fmla="*/ 4899212 h 7391342"/>
              <a:gd name="connsiteX351" fmla="*/ 469154 w 9114518"/>
              <a:gd name="connsiteY351" fmla="*/ 4886049 h 7391342"/>
              <a:gd name="connsiteX352" fmla="*/ 4158261 w 9114518"/>
              <a:gd name="connsiteY352" fmla="*/ 4558390 h 7391342"/>
              <a:gd name="connsiteX353" fmla="*/ 4209470 w 9114518"/>
              <a:gd name="connsiteY353" fmla="*/ 4560112 h 7391342"/>
              <a:gd name="connsiteX354" fmla="*/ 4257050 w 9114518"/>
              <a:gd name="connsiteY354" fmla="*/ 4565232 h 7391342"/>
              <a:gd name="connsiteX355" fmla="*/ 4301119 w 9114518"/>
              <a:gd name="connsiteY355" fmla="*/ 4573678 h 7391342"/>
              <a:gd name="connsiteX356" fmla="*/ 4341791 w 9114518"/>
              <a:gd name="connsiteY356" fmla="*/ 4585379 h 7391342"/>
              <a:gd name="connsiteX357" fmla="*/ 4379182 w 9114518"/>
              <a:gd name="connsiteY357" fmla="*/ 4600264 h 7391342"/>
              <a:gd name="connsiteX358" fmla="*/ 4413410 w 9114518"/>
              <a:gd name="connsiteY358" fmla="*/ 4618262 h 7391342"/>
              <a:gd name="connsiteX359" fmla="*/ 4472834 w 9114518"/>
              <a:gd name="connsiteY359" fmla="*/ 4663313 h 7391342"/>
              <a:gd name="connsiteX360" fmla="*/ 4520992 w 9114518"/>
              <a:gd name="connsiteY360" fmla="*/ 4719963 h 7391342"/>
              <a:gd name="connsiteX361" fmla="*/ 4541136 w 9114518"/>
              <a:gd name="connsiteY361" fmla="*/ 4752460 h 7391342"/>
              <a:gd name="connsiteX362" fmla="*/ 4558811 w 9114518"/>
              <a:gd name="connsiteY362" fmla="*/ 4787643 h 7391342"/>
              <a:gd name="connsiteX363" fmla="*/ 4574133 w 9114518"/>
              <a:gd name="connsiteY363" fmla="*/ 4825441 h 7391342"/>
              <a:gd name="connsiteX364" fmla="*/ 4587218 w 9114518"/>
              <a:gd name="connsiteY364" fmla="*/ 4865784 h 7391342"/>
              <a:gd name="connsiteX365" fmla="*/ 4598182 w 9114518"/>
              <a:gd name="connsiteY365" fmla="*/ 4908599 h 7391342"/>
              <a:gd name="connsiteX366" fmla="*/ 4607142 w 9114518"/>
              <a:gd name="connsiteY366" fmla="*/ 4953817 h 7391342"/>
              <a:gd name="connsiteX367" fmla="*/ 4614212 w 9114518"/>
              <a:gd name="connsiteY367" fmla="*/ 5001365 h 7391342"/>
              <a:gd name="connsiteX368" fmla="*/ 4619509 w 9114518"/>
              <a:gd name="connsiteY368" fmla="*/ 5051174 h 7391342"/>
              <a:gd name="connsiteX369" fmla="*/ 4623150 w 9114518"/>
              <a:gd name="connsiteY369" fmla="*/ 5103171 h 7391342"/>
              <a:gd name="connsiteX370" fmla="*/ 4625249 w 9114518"/>
              <a:gd name="connsiteY370" fmla="*/ 5157286 h 7391342"/>
              <a:gd name="connsiteX371" fmla="*/ 4625923 w 9114518"/>
              <a:gd name="connsiteY371" fmla="*/ 5213447 h 7391342"/>
              <a:gd name="connsiteX372" fmla="*/ 4625281 w 9114518"/>
              <a:gd name="connsiteY372" fmla="*/ 5269849 h 7391342"/>
              <a:gd name="connsiteX373" fmla="*/ 4623274 w 9114518"/>
              <a:gd name="connsiteY373" fmla="*/ 5324204 h 7391342"/>
              <a:gd name="connsiteX374" fmla="*/ 4619775 w 9114518"/>
              <a:gd name="connsiteY374" fmla="*/ 5376438 h 7391342"/>
              <a:gd name="connsiteX375" fmla="*/ 4614658 w 9114518"/>
              <a:gd name="connsiteY375" fmla="*/ 5426481 h 7391342"/>
              <a:gd name="connsiteX376" fmla="*/ 4607797 w 9114518"/>
              <a:gd name="connsiteY376" fmla="*/ 5474260 h 7391342"/>
              <a:gd name="connsiteX377" fmla="*/ 4599067 w 9114518"/>
              <a:gd name="connsiteY377" fmla="*/ 5519702 h 7391342"/>
              <a:gd name="connsiteX378" fmla="*/ 4588342 w 9114518"/>
              <a:gd name="connsiteY378" fmla="*/ 5562735 h 7391342"/>
              <a:gd name="connsiteX379" fmla="*/ 4575496 w 9114518"/>
              <a:gd name="connsiteY379" fmla="*/ 5603288 h 7391342"/>
              <a:gd name="connsiteX380" fmla="*/ 4560403 w 9114518"/>
              <a:gd name="connsiteY380" fmla="*/ 5641288 h 7391342"/>
              <a:gd name="connsiteX381" fmla="*/ 4542938 w 9114518"/>
              <a:gd name="connsiteY381" fmla="*/ 5676663 h 7391342"/>
              <a:gd name="connsiteX382" fmla="*/ 4522974 w 9114518"/>
              <a:gd name="connsiteY382" fmla="*/ 5709341 h 7391342"/>
              <a:gd name="connsiteX383" fmla="*/ 4475049 w 9114518"/>
              <a:gd name="connsiteY383" fmla="*/ 5766315 h 7391342"/>
              <a:gd name="connsiteX384" fmla="*/ 4415622 w 9114518"/>
              <a:gd name="connsiteY384" fmla="*/ 5811633 h 7391342"/>
              <a:gd name="connsiteX385" fmla="*/ 4381279 w 9114518"/>
              <a:gd name="connsiteY385" fmla="*/ 5829741 h 7391342"/>
              <a:gd name="connsiteX386" fmla="*/ 4343685 w 9114518"/>
              <a:gd name="connsiteY386" fmla="*/ 5844719 h 7391342"/>
              <a:gd name="connsiteX387" fmla="*/ 4302711 w 9114518"/>
              <a:gd name="connsiteY387" fmla="*/ 5856494 h 7391342"/>
              <a:gd name="connsiteX388" fmla="*/ 4258233 w 9114518"/>
              <a:gd name="connsiteY388" fmla="*/ 5864994 h 7391342"/>
              <a:gd name="connsiteX389" fmla="*/ 4210125 w 9114518"/>
              <a:gd name="connsiteY389" fmla="*/ 5870147 h 7391342"/>
              <a:gd name="connsiteX390" fmla="*/ 4158261 w 9114518"/>
              <a:gd name="connsiteY390" fmla="*/ 5871880 h 7391342"/>
              <a:gd name="connsiteX391" fmla="*/ 4158261 w 9114518"/>
              <a:gd name="connsiteY391" fmla="*/ 5773960 h 7391342"/>
              <a:gd name="connsiteX392" fmla="*/ 4208509 w 9114518"/>
              <a:gd name="connsiteY392" fmla="*/ 5771701 h 7391342"/>
              <a:gd name="connsiteX393" fmla="*/ 4253940 w 9114518"/>
              <a:gd name="connsiteY393" fmla="*/ 5765006 h 7391342"/>
              <a:gd name="connsiteX394" fmla="*/ 4294781 w 9114518"/>
              <a:gd name="connsiteY394" fmla="*/ 5753993 h 7391342"/>
              <a:gd name="connsiteX395" fmla="*/ 4331261 w 9114518"/>
              <a:gd name="connsiteY395" fmla="*/ 5738782 h 7391342"/>
              <a:gd name="connsiteX396" fmla="*/ 4392054 w 9114518"/>
              <a:gd name="connsiteY396" fmla="*/ 5696245 h 7391342"/>
              <a:gd name="connsiteX397" fmla="*/ 4438152 w 9114518"/>
              <a:gd name="connsiteY397" fmla="*/ 5638352 h 7391342"/>
              <a:gd name="connsiteX398" fmla="*/ 4456261 w 9114518"/>
              <a:gd name="connsiteY398" fmla="*/ 5603946 h 7391342"/>
              <a:gd name="connsiteX399" fmla="*/ 4471383 w 9114518"/>
              <a:gd name="connsiteY399" fmla="*/ 5566059 h 7391342"/>
              <a:gd name="connsiteX400" fmla="*/ 4483746 w 9114518"/>
              <a:gd name="connsiteY400" fmla="*/ 5524811 h 7391342"/>
              <a:gd name="connsiteX401" fmla="*/ 4493579 w 9114518"/>
              <a:gd name="connsiteY401" fmla="*/ 5480323 h 7391342"/>
              <a:gd name="connsiteX402" fmla="*/ 4501111 w 9114518"/>
              <a:gd name="connsiteY402" fmla="*/ 5432712 h 7391342"/>
              <a:gd name="connsiteX403" fmla="*/ 4506571 w 9114518"/>
              <a:gd name="connsiteY403" fmla="*/ 5382100 h 7391342"/>
              <a:gd name="connsiteX404" fmla="*/ 4510187 w 9114518"/>
              <a:gd name="connsiteY404" fmla="*/ 5328605 h 7391342"/>
              <a:gd name="connsiteX405" fmla="*/ 4512189 w 9114518"/>
              <a:gd name="connsiteY405" fmla="*/ 5272348 h 7391342"/>
              <a:gd name="connsiteX406" fmla="*/ 4512806 w 9114518"/>
              <a:gd name="connsiteY406" fmla="*/ 5213447 h 7391342"/>
              <a:gd name="connsiteX407" fmla="*/ 4512156 w 9114518"/>
              <a:gd name="connsiteY407" fmla="*/ 5155124 h 7391342"/>
              <a:gd name="connsiteX408" fmla="*/ 4510064 w 9114518"/>
              <a:gd name="connsiteY408" fmla="*/ 5099410 h 7391342"/>
              <a:gd name="connsiteX409" fmla="*/ 4506311 w 9114518"/>
              <a:gd name="connsiteY409" fmla="*/ 5046423 h 7391342"/>
              <a:gd name="connsiteX410" fmla="*/ 4500682 w 9114518"/>
              <a:gd name="connsiteY410" fmla="*/ 4996284 h 7391342"/>
              <a:gd name="connsiteX411" fmla="*/ 4492961 w 9114518"/>
              <a:gd name="connsiteY411" fmla="*/ 4949112 h 7391342"/>
              <a:gd name="connsiteX412" fmla="*/ 4482930 w 9114518"/>
              <a:gd name="connsiteY412" fmla="*/ 4905026 h 7391342"/>
              <a:gd name="connsiteX413" fmla="*/ 4470374 w 9114518"/>
              <a:gd name="connsiteY413" fmla="*/ 4864147 h 7391342"/>
              <a:gd name="connsiteX414" fmla="*/ 4455075 w 9114518"/>
              <a:gd name="connsiteY414" fmla="*/ 4826593 h 7391342"/>
              <a:gd name="connsiteX415" fmla="*/ 4436818 w 9114518"/>
              <a:gd name="connsiteY415" fmla="*/ 4792484 h 7391342"/>
              <a:gd name="connsiteX416" fmla="*/ 4390560 w 9114518"/>
              <a:gd name="connsiteY416" fmla="*/ 4735082 h 7391342"/>
              <a:gd name="connsiteX417" fmla="*/ 4329869 w 9114518"/>
              <a:gd name="connsiteY417" fmla="*/ 4692895 h 7391342"/>
              <a:gd name="connsiteX418" fmla="*/ 4293570 w 9114518"/>
              <a:gd name="connsiteY418" fmla="*/ 4677807 h 7391342"/>
              <a:gd name="connsiteX419" fmla="*/ 4253013 w 9114518"/>
              <a:gd name="connsiteY419" fmla="*/ 4666882 h 7391342"/>
              <a:gd name="connsiteX420" fmla="*/ 4207982 w 9114518"/>
              <a:gd name="connsiteY420" fmla="*/ 4660239 h 7391342"/>
              <a:gd name="connsiteX421" fmla="*/ 4158261 w 9114518"/>
              <a:gd name="connsiteY421" fmla="*/ 4657998 h 7391342"/>
              <a:gd name="connsiteX422" fmla="*/ 4065343 w 9114518"/>
              <a:gd name="connsiteY422" fmla="*/ 4558390 h 7391342"/>
              <a:gd name="connsiteX423" fmla="*/ 4065343 w 9114518"/>
              <a:gd name="connsiteY423" fmla="*/ 4657998 h 7391342"/>
              <a:gd name="connsiteX424" fmla="*/ 4015903 w 9114518"/>
              <a:gd name="connsiteY424" fmla="*/ 4660239 h 7391342"/>
              <a:gd name="connsiteX425" fmla="*/ 3971120 w 9114518"/>
              <a:gd name="connsiteY425" fmla="*/ 4666882 h 7391342"/>
              <a:gd name="connsiteX426" fmla="*/ 3930781 w 9114518"/>
              <a:gd name="connsiteY426" fmla="*/ 4677807 h 7391342"/>
              <a:gd name="connsiteX427" fmla="*/ 3894670 w 9114518"/>
              <a:gd name="connsiteY427" fmla="*/ 4692895 h 7391342"/>
              <a:gd name="connsiteX428" fmla="*/ 3834276 w 9114518"/>
              <a:gd name="connsiteY428" fmla="*/ 4735082 h 7391342"/>
              <a:gd name="connsiteX429" fmla="*/ 3788225 w 9114518"/>
              <a:gd name="connsiteY429" fmla="*/ 4792484 h 7391342"/>
              <a:gd name="connsiteX430" fmla="*/ 3770042 w 9114518"/>
              <a:gd name="connsiteY430" fmla="*/ 4826593 h 7391342"/>
              <a:gd name="connsiteX431" fmla="*/ 3754800 w 9114518"/>
              <a:gd name="connsiteY431" fmla="*/ 4864147 h 7391342"/>
              <a:gd name="connsiteX432" fmla="*/ 3742287 w 9114518"/>
              <a:gd name="connsiteY432" fmla="*/ 4905026 h 7391342"/>
              <a:gd name="connsiteX433" fmla="*/ 3732287 w 9114518"/>
              <a:gd name="connsiteY433" fmla="*/ 4949112 h 7391342"/>
              <a:gd name="connsiteX434" fmla="*/ 3724586 w 9114518"/>
              <a:gd name="connsiteY434" fmla="*/ 4996284 h 7391342"/>
              <a:gd name="connsiteX435" fmla="*/ 3718969 w 9114518"/>
              <a:gd name="connsiteY435" fmla="*/ 5046423 h 7391342"/>
              <a:gd name="connsiteX436" fmla="*/ 3715223 w 9114518"/>
              <a:gd name="connsiteY436" fmla="*/ 5099410 h 7391342"/>
              <a:gd name="connsiteX437" fmla="*/ 3713132 w 9114518"/>
              <a:gd name="connsiteY437" fmla="*/ 5155124 h 7391342"/>
              <a:gd name="connsiteX438" fmla="*/ 3712483 w 9114518"/>
              <a:gd name="connsiteY438" fmla="*/ 5213447 h 7391342"/>
              <a:gd name="connsiteX439" fmla="*/ 3713116 w 9114518"/>
              <a:gd name="connsiteY439" fmla="*/ 5272348 h 7391342"/>
              <a:gd name="connsiteX440" fmla="*/ 3715161 w 9114518"/>
              <a:gd name="connsiteY440" fmla="*/ 5328605 h 7391342"/>
              <a:gd name="connsiteX441" fmla="*/ 3718840 w 9114518"/>
              <a:gd name="connsiteY441" fmla="*/ 5382100 h 7391342"/>
              <a:gd name="connsiteX442" fmla="*/ 3724372 w 9114518"/>
              <a:gd name="connsiteY442" fmla="*/ 5432712 h 7391342"/>
              <a:gd name="connsiteX443" fmla="*/ 3731978 w 9114518"/>
              <a:gd name="connsiteY443" fmla="*/ 5480323 h 7391342"/>
              <a:gd name="connsiteX444" fmla="*/ 3741879 w 9114518"/>
              <a:gd name="connsiteY444" fmla="*/ 5524811 h 7391342"/>
              <a:gd name="connsiteX445" fmla="*/ 3754296 w 9114518"/>
              <a:gd name="connsiteY445" fmla="*/ 5566059 h 7391342"/>
              <a:gd name="connsiteX446" fmla="*/ 3769449 w 9114518"/>
              <a:gd name="connsiteY446" fmla="*/ 5603946 h 7391342"/>
              <a:gd name="connsiteX447" fmla="*/ 3787558 w 9114518"/>
              <a:gd name="connsiteY447" fmla="*/ 5638352 h 7391342"/>
              <a:gd name="connsiteX448" fmla="*/ 3833530 w 9114518"/>
              <a:gd name="connsiteY448" fmla="*/ 5696245 h 7391342"/>
              <a:gd name="connsiteX449" fmla="*/ 3893974 w 9114518"/>
              <a:gd name="connsiteY449" fmla="*/ 5738782 h 7391342"/>
              <a:gd name="connsiteX450" fmla="*/ 3930176 w 9114518"/>
              <a:gd name="connsiteY450" fmla="*/ 5753993 h 7391342"/>
              <a:gd name="connsiteX451" fmla="*/ 3970657 w 9114518"/>
              <a:gd name="connsiteY451" fmla="*/ 5765006 h 7391342"/>
              <a:gd name="connsiteX452" fmla="*/ 4015639 w 9114518"/>
              <a:gd name="connsiteY452" fmla="*/ 5771701 h 7391342"/>
              <a:gd name="connsiteX453" fmla="*/ 4065343 w 9114518"/>
              <a:gd name="connsiteY453" fmla="*/ 5773960 h 7391342"/>
              <a:gd name="connsiteX454" fmla="*/ 4065343 w 9114518"/>
              <a:gd name="connsiteY454" fmla="*/ 5871880 h 7391342"/>
              <a:gd name="connsiteX455" fmla="*/ 4013697 w 9114518"/>
              <a:gd name="connsiteY455" fmla="*/ 5870147 h 7391342"/>
              <a:gd name="connsiteX456" fmla="*/ 3965764 w 9114518"/>
              <a:gd name="connsiteY456" fmla="*/ 5864994 h 7391342"/>
              <a:gd name="connsiteX457" fmla="*/ 3921423 w 9114518"/>
              <a:gd name="connsiteY457" fmla="*/ 5856494 h 7391342"/>
              <a:gd name="connsiteX458" fmla="*/ 3880550 w 9114518"/>
              <a:gd name="connsiteY458" fmla="*/ 5844719 h 7391342"/>
              <a:gd name="connsiteX459" fmla="*/ 3843023 w 9114518"/>
              <a:gd name="connsiteY459" fmla="*/ 5829741 h 7391342"/>
              <a:gd name="connsiteX460" fmla="*/ 3808718 w 9114518"/>
              <a:gd name="connsiteY460" fmla="*/ 5811633 h 7391342"/>
              <a:gd name="connsiteX461" fmla="*/ 3749292 w 9114518"/>
              <a:gd name="connsiteY461" fmla="*/ 5766315 h 7391342"/>
              <a:gd name="connsiteX462" fmla="*/ 3701290 w 9114518"/>
              <a:gd name="connsiteY462" fmla="*/ 5709341 h 7391342"/>
              <a:gd name="connsiteX463" fmla="*/ 3681266 w 9114518"/>
              <a:gd name="connsiteY463" fmla="*/ 5676663 h 7391342"/>
              <a:gd name="connsiteX464" fmla="*/ 3663731 w 9114518"/>
              <a:gd name="connsiteY464" fmla="*/ 5641288 h 7391342"/>
              <a:gd name="connsiteX465" fmla="*/ 3648562 w 9114518"/>
              <a:gd name="connsiteY465" fmla="*/ 5603288 h 7391342"/>
              <a:gd name="connsiteX466" fmla="*/ 3635636 w 9114518"/>
              <a:gd name="connsiteY466" fmla="*/ 5562735 h 7391342"/>
              <a:gd name="connsiteX467" fmla="*/ 3624831 w 9114518"/>
              <a:gd name="connsiteY467" fmla="*/ 5519702 h 7391342"/>
              <a:gd name="connsiteX468" fmla="*/ 3616025 w 9114518"/>
              <a:gd name="connsiteY468" fmla="*/ 5474260 h 7391342"/>
              <a:gd name="connsiteX469" fmla="*/ 3609094 w 9114518"/>
              <a:gd name="connsiteY469" fmla="*/ 5426481 h 7391342"/>
              <a:gd name="connsiteX470" fmla="*/ 3603917 w 9114518"/>
              <a:gd name="connsiteY470" fmla="*/ 5376438 h 7391342"/>
              <a:gd name="connsiteX471" fmla="*/ 3600371 w 9114518"/>
              <a:gd name="connsiteY471" fmla="*/ 5324204 h 7391342"/>
              <a:gd name="connsiteX472" fmla="*/ 3598333 w 9114518"/>
              <a:gd name="connsiteY472" fmla="*/ 5269849 h 7391342"/>
              <a:gd name="connsiteX473" fmla="*/ 3597681 w 9114518"/>
              <a:gd name="connsiteY473" fmla="*/ 5213447 h 7391342"/>
              <a:gd name="connsiteX474" fmla="*/ 3598355 w 9114518"/>
              <a:gd name="connsiteY474" fmla="*/ 5157286 h 7391342"/>
              <a:gd name="connsiteX475" fmla="*/ 3600454 w 9114518"/>
              <a:gd name="connsiteY475" fmla="*/ 5103171 h 7391342"/>
              <a:gd name="connsiteX476" fmla="*/ 3604094 w 9114518"/>
              <a:gd name="connsiteY476" fmla="*/ 5051174 h 7391342"/>
              <a:gd name="connsiteX477" fmla="*/ 3609392 w 9114518"/>
              <a:gd name="connsiteY477" fmla="*/ 5001365 h 7391342"/>
              <a:gd name="connsiteX478" fmla="*/ 3616463 w 9114518"/>
              <a:gd name="connsiteY478" fmla="*/ 4953817 h 7391342"/>
              <a:gd name="connsiteX479" fmla="*/ 3625423 w 9114518"/>
              <a:gd name="connsiteY479" fmla="*/ 4908599 h 7391342"/>
              <a:gd name="connsiteX480" fmla="*/ 3636387 w 9114518"/>
              <a:gd name="connsiteY480" fmla="*/ 4865784 h 7391342"/>
              <a:gd name="connsiteX481" fmla="*/ 3649473 w 9114518"/>
              <a:gd name="connsiteY481" fmla="*/ 4825441 h 7391342"/>
              <a:gd name="connsiteX482" fmla="*/ 3664796 w 9114518"/>
              <a:gd name="connsiteY482" fmla="*/ 4787643 h 7391342"/>
              <a:gd name="connsiteX483" fmla="*/ 3682471 w 9114518"/>
              <a:gd name="connsiteY483" fmla="*/ 4752460 h 7391342"/>
              <a:gd name="connsiteX484" fmla="*/ 3702615 w 9114518"/>
              <a:gd name="connsiteY484" fmla="*/ 4719963 h 7391342"/>
              <a:gd name="connsiteX485" fmla="*/ 3750773 w 9114518"/>
              <a:gd name="connsiteY485" fmla="*/ 4663313 h 7391342"/>
              <a:gd name="connsiteX486" fmla="*/ 3810197 w 9114518"/>
              <a:gd name="connsiteY486" fmla="*/ 4618262 h 7391342"/>
              <a:gd name="connsiteX487" fmla="*/ 3844425 w 9114518"/>
              <a:gd name="connsiteY487" fmla="*/ 4600264 h 7391342"/>
              <a:gd name="connsiteX488" fmla="*/ 3881816 w 9114518"/>
              <a:gd name="connsiteY488" fmla="*/ 4585379 h 7391342"/>
              <a:gd name="connsiteX489" fmla="*/ 3922488 w 9114518"/>
              <a:gd name="connsiteY489" fmla="*/ 4573678 h 7391342"/>
              <a:gd name="connsiteX490" fmla="*/ 3966555 w 9114518"/>
              <a:gd name="connsiteY490" fmla="*/ 4565232 h 7391342"/>
              <a:gd name="connsiteX491" fmla="*/ 4014135 w 9114518"/>
              <a:gd name="connsiteY491" fmla="*/ 4560112 h 7391342"/>
              <a:gd name="connsiteX492" fmla="*/ 0 w 9114518"/>
              <a:gd name="connsiteY492" fmla="*/ 3920215 h 7391342"/>
              <a:gd name="connsiteX493" fmla="*/ 915049 w 9114518"/>
              <a:gd name="connsiteY493" fmla="*/ 3920215 h 7391342"/>
              <a:gd name="connsiteX494" fmla="*/ 915049 w 9114518"/>
              <a:gd name="connsiteY494" fmla="*/ 4028265 h 7391342"/>
              <a:gd name="connsiteX495" fmla="*/ 0 w 9114518"/>
              <a:gd name="connsiteY495" fmla="*/ 4028265 h 7391342"/>
              <a:gd name="connsiteX496" fmla="*/ 0 w 9114518"/>
              <a:gd name="connsiteY496" fmla="*/ 3567362 h 7391342"/>
              <a:gd name="connsiteX497" fmla="*/ 915049 w 9114518"/>
              <a:gd name="connsiteY497" fmla="*/ 3567362 h 7391342"/>
              <a:gd name="connsiteX498" fmla="*/ 915049 w 9114518"/>
              <a:gd name="connsiteY498" fmla="*/ 3675412 h 7391342"/>
              <a:gd name="connsiteX499" fmla="*/ 0 w 9114518"/>
              <a:gd name="connsiteY499" fmla="*/ 3675412 h 7391342"/>
              <a:gd name="connsiteX500" fmla="*/ 1617156 w 9114518"/>
              <a:gd name="connsiteY500" fmla="*/ 3046199 h 7391342"/>
              <a:gd name="connsiteX501" fmla="*/ 1995337 w 9114518"/>
              <a:gd name="connsiteY501" fmla="*/ 3046199 h 7391342"/>
              <a:gd name="connsiteX502" fmla="*/ 1995337 w 9114518"/>
              <a:gd name="connsiteY502" fmla="*/ 3141449 h 7391342"/>
              <a:gd name="connsiteX503" fmla="*/ 1995337 w 9114518"/>
              <a:gd name="connsiteY503" fmla="*/ 4252699 h 7391342"/>
              <a:gd name="connsiteX504" fmla="*/ 1995337 w 9114518"/>
              <a:gd name="connsiteY504" fmla="*/ 4349219 h 7391342"/>
              <a:gd name="connsiteX505" fmla="*/ 1617156 w 9114518"/>
              <a:gd name="connsiteY505" fmla="*/ 4349219 h 7391342"/>
              <a:gd name="connsiteX506" fmla="*/ 1617156 w 9114518"/>
              <a:gd name="connsiteY506" fmla="*/ 4252699 h 7391342"/>
              <a:gd name="connsiteX507" fmla="*/ 1878853 w 9114518"/>
              <a:gd name="connsiteY507" fmla="*/ 4252699 h 7391342"/>
              <a:gd name="connsiteX508" fmla="*/ 1878853 w 9114518"/>
              <a:gd name="connsiteY508" fmla="*/ 3141449 h 7391342"/>
              <a:gd name="connsiteX509" fmla="*/ 1617156 w 9114518"/>
              <a:gd name="connsiteY509" fmla="*/ 3141449 h 7391342"/>
              <a:gd name="connsiteX510" fmla="*/ 1138061 w 9114518"/>
              <a:gd name="connsiteY510" fmla="*/ 3046199 h 7391342"/>
              <a:gd name="connsiteX511" fmla="*/ 1516242 w 9114518"/>
              <a:gd name="connsiteY511" fmla="*/ 3046199 h 7391342"/>
              <a:gd name="connsiteX512" fmla="*/ 1516242 w 9114518"/>
              <a:gd name="connsiteY512" fmla="*/ 3141449 h 7391342"/>
              <a:gd name="connsiteX513" fmla="*/ 1254558 w 9114518"/>
              <a:gd name="connsiteY513" fmla="*/ 3141449 h 7391342"/>
              <a:gd name="connsiteX514" fmla="*/ 1254558 w 9114518"/>
              <a:gd name="connsiteY514" fmla="*/ 4252699 h 7391342"/>
              <a:gd name="connsiteX515" fmla="*/ 1516242 w 9114518"/>
              <a:gd name="connsiteY515" fmla="*/ 4252699 h 7391342"/>
              <a:gd name="connsiteX516" fmla="*/ 1516242 w 9114518"/>
              <a:gd name="connsiteY516" fmla="*/ 4349219 h 7391342"/>
              <a:gd name="connsiteX517" fmla="*/ 1138061 w 9114518"/>
              <a:gd name="connsiteY517" fmla="*/ 4349219 h 7391342"/>
              <a:gd name="connsiteX518" fmla="*/ 1138061 w 9114518"/>
              <a:gd name="connsiteY518" fmla="*/ 4252699 h 7391342"/>
              <a:gd name="connsiteX519" fmla="*/ 1138061 w 9114518"/>
              <a:gd name="connsiteY519" fmla="*/ 3141449 h 7391342"/>
              <a:gd name="connsiteX520" fmla="*/ 3641480 w 9114518"/>
              <a:gd name="connsiteY520" fmla="*/ 3038926 h 7391342"/>
              <a:gd name="connsiteX521" fmla="*/ 3692687 w 9114518"/>
              <a:gd name="connsiteY521" fmla="*/ 3040648 h 7391342"/>
              <a:gd name="connsiteX522" fmla="*/ 3740267 w 9114518"/>
              <a:gd name="connsiteY522" fmla="*/ 3045768 h 7391342"/>
              <a:gd name="connsiteX523" fmla="*/ 3784335 w 9114518"/>
              <a:gd name="connsiteY523" fmla="*/ 3054214 h 7391342"/>
              <a:gd name="connsiteX524" fmla="*/ 3825006 w 9114518"/>
              <a:gd name="connsiteY524" fmla="*/ 3065915 h 7391342"/>
              <a:gd name="connsiteX525" fmla="*/ 3862397 w 9114518"/>
              <a:gd name="connsiteY525" fmla="*/ 3080800 h 7391342"/>
              <a:gd name="connsiteX526" fmla="*/ 3896625 w 9114518"/>
              <a:gd name="connsiteY526" fmla="*/ 3098798 h 7391342"/>
              <a:gd name="connsiteX527" fmla="*/ 3956049 w 9114518"/>
              <a:gd name="connsiteY527" fmla="*/ 3143849 h 7391342"/>
              <a:gd name="connsiteX528" fmla="*/ 4004207 w 9114518"/>
              <a:gd name="connsiteY528" fmla="*/ 3200499 h 7391342"/>
              <a:gd name="connsiteX529" fmla="*/ 4024351 w 9114518"/>
              <a:gd name="connsiteY529" fmla="*/ 3232996 h 7391342"/>
              <a:gd name="connsiteX530" fmla="*/ 4042026 w 9114518"/>
              <a:gd name="connsiteY530" fmla="*/ 3268179 h 7391342"/>
              <a:gd name="connsiteX531" fmla="*/ 4057349 w 9114518"/>
              <a:gd name="connsiteY531" fmla="*/ 3305977 h 7391342"/>
              <a:gd name="connsiteX532" fmla="*/ 4070435 w 9114518"/>
              <a:gd name="connsiteY532" fmla="*/ 3346320 h 7391342"/>
              <a:gd name="connsiteX533" fmla="*/ 4081399 w 9114518"/>
              <a:gd name="connsiteY533" fmla="*/ 3389137 h 7391342"/>
              <a:gd name="connsiteX534" fmla="*/ 4090359 w 9114518"/>
              <a:gd name="connsiteY534" fmla="*/ 3434354 h 7391342"/>
              <a:gd name="connsiteX535" fmla="*/ 4097430 w 9114518"/>
              <a:gd name="connsiteY535" fmla="*/ 3481903 h 7391342"/>
              <a:gd name="connsiteX536" fmla="*/ 4102728 w 9114518"/>
              <a:gd name="connsiteY536" fmla="*/ 3531711 h 7391342"/>
              <a:gd name="connsiteX537" fmla="*/ 4106368 w 9114518"/>
              <a:gd name="connsiteY537" fmla="*/ 3583708 h 7391342"/>
              <a:gd name="connsiteX538" fmla="*/ 4108468 w 9114518"/>
              <a:gd name="connsiteY538" fmla="*/ 3637823 h 7391342"/>
              <a:gd name="connsiteX539" fmla="*/ 4109142 w 9114518"/>
              <a:gd name="connsiteY539" fmla="*/ 3693984 h 7391342"/>
              <a:gd name="connsiteX540" fmla="*/ 4108500 w 9114518"/>
              <a:gd name="connsiteY540" fmla="*/ 3750386 h 7391342"/>
              <a:gd name="connsiteX541" fmla="*/ 4106493 w 9114518"/>
              <a:gd name="connsiteY541" fmla="*/ 3804741 h 7391342"/>
              <a:gd name="connsiteX542" fmla="*/ 4102994 w 9114518"/>
              <a:gd name="connsiteY542" fmla="*/ 3856976 h 7391342"/>
              <a:gd name="connsiteX543" fmla="*/ 4097877 w 9114518"/>
              <a:gd name="connsiteY543" fmla="*/ 3907019 h 7391342"/>
              <a:gd name="connsiteX544" fmla="*/ 4091016 w 9114518"/>
              <a:gd name="connsiteY544" fmla="*/ 3954797 h 7391342"/>
              <a:gd name="connsiteX545" fmla="*/ 4082286 w 9114518"/>
              <a:gd name="connsiteY545" fmla="*/ 4000240 h 7391342"/>
              <a:gd name="connsiteX546" fmla="*/ 4071561 w 9114518"/>
              <a:gd name="connsiteY546" fmla="*/ 4043273 h 7391342"/>
              <a:gd name="connsiteX547" fmla="*/ 4058715 w 9114518"/>
              <a:gd name="connsiteY547" fmla="*/ 4083826 h 7391342"/>
              <a:gd name="connsiteX548" fmla="*/ 4043622 w 9114518"/>
              <a:gd name="connsiteY548" fmla="*/ 4121826 h 7391342"/>
              <a:gd name="connsiteX549" fmla="*/ 4026157 w 9114518"/>
              <a:gd name="connsiteY549" fmla="*/ 4157201 h 7391342"/>
              <a:gd name="connsiteX550" fmla="*/ 4006193 w 9114518"/>
              <a:gd name="connsiteY550" fmla="*/ 4189879 h 7391342"/>
              <a:gd name="connsiteX551" fmla="*/ 3958268 w 9114518"/>
              <a:gd name="connsiteY551" fmla="*/ 4246853 h 7391342"/>
              <a:gd name="connsiteX552" fmla="*/ 3898841 w 9114518"/>
              <a:gd name="connsiteY552" fmla="*/ 4292171 h 7391342"/>
              <a:gd name="connsiteX553" fmla="*/ 3864498 w 9114518"/>
              <a:gd name="connsiteY553" fmla="*/ 4310279 h 7391342"/>
              <a:gd name="connsiteX554" fmla="*/ 3826904 w 9114518"/>
              <a:gd name="connsiteY554" fmla="*/ 4325257 h 7391342"/>
              <a:gd name="connsiteX555" fmla="*/ 3785930 w 9114518"/>
              <a:gd name="connsiteY555" fmla="*/ 4337032 h 7391342"/>
              <a:gd name="connsiteX556" fmla="*/ 3741452 w 9114518"/>
              <a:gd name="connsiteY556" fmla="*/ 4345532 h 7391342"/>
              <a:gd name="connsiteX557" fmla="*/ 3693344 w 9114518"/>
              <a:gd name="connsiteY557" fmla="*/ 4350685 h 7391342"/>
              <a:gd name="connsiteX558" fmla="*/ 3641480 w 9114518"/>
              <a:gd name="connsiteY558" fmla="*/ 4352418 h 7391342"/>
              <a:gd name="connsiteX559" fmla="*/ 3641480 w 9114518"/>
              <a:gd name="connsiteY559" fmla="*/ 4254498 h 7391342"/>
              <a:gd name="connsiteX560" fmla="*/ 3691728 w 9114518"/>
              <a:gd name="connsiteY560" fmla="*/ 4252239 h 7391342"/>
              <a:gd name="connsiteX561" fmla="*/ 3737159 w 9114518"/>
              <a:gd name="connsiteY561" fmla="*/ 4245544 h 7391342"/>
              <a:gd name="connsiteX562" fmla="*/ 3778000 w 9114518"/>
              <a:gd name="connsiteY562" fmla="*/ 4234531 h 7391342"/>
              <a:gd name="connsiteX563" fmla="*/ 3814480 w 9114518"/>
              <a:gd name="connsiteY563" fmla="*/ 4219320 h 7391342"/>
              <a:gd name="connsiteX564" fmla="*/ 3875274 w 9114518"/>
              <a:gd name="connsiteY564" fmla="*/ 4176783 h 7391342"/>
              <a:gd name="connsiteX565" fmla="*/ 3921371 w 9114518"/>
              <a:gd name="connsiteY565" fmla="*/ 4118890 h 7391342"/>
              <a:gd name="connsiteX566" fmla="*/ 3939480 w 9114518"/>
              <a:gd name="connsiteY566" fmla="*/ 4084484 h 7391342"/>
              <a:gd name="connsiteX567" fmla="*/ 3954602 w 9114518"/>
              <a:gd name="connsiteY567" fmla="*/ 4046597 h 7391342"/>
              <a:gd name="connsiteX568" fmla="*/ 3966965 w 9114518"/>
              <a:gd name="connsiteY568" fmla="*/ 4005349 h 7391342"/>
              <a:gd name="connsiteX569" fmla="*/ 3976798 w 9114518"/>
              <a:gd name="connsiteY569" fmla="*/ 3960860 h 7391342"/>
              <a:gd name="connsiteX570" fmla="*/ 3984330 w 9114518"/>
              <a:gd name="connsiteY570" fmla="*/ 3913250 h 7391342"/>
              <a:gd name="connsiteX571" fmla="*/ 3989790 w 9114518"/>
              <a:gd name="connsiteY571" fmla="*/ 3862638 h 7391342"/>
              <a:gd name="connsiteX572" fmla="*/ 3993406 w 9114518"/>
              <a:gd name="connsiteY572" fmla="*/ 3809143 h 7391342"/>
              <a:gd name="connsiteX573" fmla="*/ 3995408 w 9114518"/>
              <a:gd name="connsiteY573" fmla="*/ 3752885 h 7391342"/>
              <a:gd name="connsiteX574" fmla="*/ 3996025 w 9114518"/>
              <a:gd name="connsiteY574" fmla="*/ 3693984 h 7391342"/>
              <a:gd name="connsiteX575" fmla="*/ 3995375 w 9114518"/>
              <a:gd name="connsiteY575" fmla="*/ 3635662 h 7391342"/>
              <a:gd name="connsiteX576" fmla="*/ 3993282 w 9114518"/>
              <a:gd name="connsiteY576" fmla="*/ 3579947 h 7391342"/>
              <a:gd name="connsiteX577" fmla="*/ 3989529 w 9114518"/>
              <a:gd name="connsiteY577" fmla="*/ 3526961 h 7391342"/>
              <a:gd name="connsiteX578" fmla="*/ 3983900 w 9114518"/>
              <a:gd name="connsiteY578" fmla="*/ 3476822 h 7391342"/>
              <a:gd name="connsiteX579" fmla="*/ 3976178 w 9114518"/>
              <a:gd name="connsiteY579" fmla="*/ 3429650 h 7391342"/>
              <a:gd name="connsiteX580" fmla="*/ 3966147 w 9114518"/>
              <a:gd name="connsiteY580" fmla="*/ 3385563 h 7391342"/>
              <a:gd name="connsiteX581" fmla="*/ 3953590 w 9114518"/>
              <a:gd name="connsiteY581" fmla="*/ 3344684 h 7391342"/>
              <a:gd name="connsiteX582" fmla="*/ 3938291 w 9114518"/>
              <a:gd name="connsiteY582" fmla="*/ 3307130 h 7391342"/>
              <a:gd name="connsiteX583" fmla="*/ 3920033 w 9114518"/>
              <a:gd name="connsiteY583" fmla="*/ 3273021 h 7391342"/>
              <a:gd name="connsiteX584" fmla="*/ 3873774 w 9114518"/>
              <a:gd name="connsiteY584" fmla="*/ 3215619 h 7391342"/>
              <a:gd name="connsiteX585" fmla="*/ 3813084 w 9114518"/>
              <a:gd name="connsiteY585" fmla="*/ 3173432 h 7391342"/>
              <a:gd name="connsiteX586" fmla="*/ 3776785 w 9114518"/>
              <a:gd name="connsiteY586" fmla="*/ 3158344 h 7391342"/>
              <a:gd name="connsiteX587" fmla="*/ 3736230 w 9114518"/>
              <a:gd name="connsiteY587" fmla="*/ 3147419 h 7391342"/>
              <a:gd name="connsiteX588" fmla="*/ 3691200 w 9114518"/>
              <a:gd name="connsiteY588" fmla="*/ 3140776 h 7391342"/>
              <a:gd name="connsiteX589" fmla="*/ 3641480 w 9114518"/>
              <a:gd name="connsiteY589" fmla="*/ 3138535 h 7391342"/>
              <a:gd name="connsiteX590" fmla="*/ 3548584 w 9114518"/>
              <a:gd name="connsiteY590" fmla="*/ 3038926 h 7391342"/>
              <a:gd name="connsiteX591" fmla="*/ 3548584 w 9114518"/>
              <a:gd name="connsiteY591" fmla="*/ 3138535 h 7391342"/>
              <a:gd name="connsiteX592" fmla="*/ 3499144 w 9114518"/>
              <a:gd name="connsiteY592" fmla="*/ 3140776 h 7391342"/>
              <a:gd name="connsiteX593" fmla="*/ 3454362 w 9114518"/>
              <a:gd name="connsiteY593" fmla="*/ 3147419 h 7391342"/>
              <a:gd name="connsiteX594" fmla="*/ 3414023 w 9114518"/>
              <a:gd name="connsiteY594" fmla="*/ 3158344 h 7391342"/>
              <a:gd name="connsiteX595" fmla="*/ 3377913 w 9114518"/>
              <a:gd name="connsiteY595" fmla="*/ 3173432 h 7391342"/>
              <a:gd name="connsiteX596" fmla="*/ 3317522 w 9114518"/>
              <a:gd name="connsiteY596" fmla="*/ 3215619 h 7391342"/>
              <a:gd name="connsiteX597" fmla="*/ 3271471 w 9114518"/>
              <a:gd name="connsiteY597" fmla="*/ 3273021 h 7391342"/>
              <a:gd name="connsiteX598" fmla="*/ 3253289 w 9114518"/>
              <a:gd name="connsiteY598" fmla="*/ 3307130 h 7391342"/>
              <a:gd name="connsiteX599" fmla="*/ 3238049 w 9114518"/>
              <a:gd name="connsiteY599" fmla="*/ 3344684 h 7391342"/>
              <a:gd name="connsiteX600" fmla="*/ 3225536 w 9114518"/>
              <a:gd name="connsiteY600" fmla="*/ 3385563 h 7391342"/>
              <a:gd name="connsiteX601" fmla="*/ 3215537 w 9114518"/>
              <a:gd name="connsiteY601" fmla="*/ 3429650 h 7391342"/>
              <a:gd name="connsiteX602" fmla="*/ 3207836 w 9114518"/>
              <a:gd name="connsiteY602" fmla="*/ 3476822 h 7391342"/>
              <a:gd name="connsiteX603" fmla="*/ 3202221 w 9114518"/>
              <a:gd name="connsiteY603" fmla="*/ 3526961 h 7391342"/>
              <a:gd name="connsiteX604" fmla="*/ 3198475 w 9114518"/>
              <a:gd name="connsiteY604" fmla="*/ 3579947 h 7391342"/>
              <a:gd name="connsiteX605" fmla="*/ 3196384 w 9114518"/>
              <a:gd name="connsiteY605" fmla="*/ 3635662 h 7391342"/>
              <a:gd name="connsiteX606" fmla="*/ 3195735 w 9114518"/>
              <a:gd name="connsiteY606" fmla="*/ 3693984 h 7391342"/>
              <a:gd name="connsiteX607" fmla="*/ 3196368 w 9114518"/>
              <a:gd name="connsiteY607" fmla="*/ 3752885 h 7391342"/>
              <a:gd name="connsiteX608" fmla="*/ 3198413 w 9114518"/>
              <a:gd name="connsiteY608" fmla="*/ 3809143 h 7391342"/>
              <a:gd name="connsiteX609" fmla="*/ 3202091 w 9114518"/>
              <a:gd name="connsiteY609" fmla="*/ 3862638 h 7391342"/>
              <a:gd name="connsiteX610" fmla="*/ 3207622 w 9114518"/>
              <a:gd name="connsiteY610" fmla="*/ 3913250 h 7391342"/>
              <a:gd name="connsiteX611" fmla="*/ 3215228 w 9114518"/>
              <a:gd name="connsiteY611" fmla="*/ 3960860 h 7391342"/>
              <a:gd name="connsiteX612" fmla="*/ 3225128 w 9114518"/>
              <a:gd name="connsiteY612" fmla="*/ 4005349 h 7391342"/>
              <a:gd name="connsiteX613" fmla="*/ 3237544 w 9114518"/>
              <a:gd name="connsiteY613" fmla="*/ 4046597 h 7391342"/>
              <a:gd name="connsiteX614" fmla="*/ 3252696 w 9114518"/>
              <a:gd name="connsiteY614" fmla="*/ 4084484 h 7391342"/>
              <a:gd name="connsiteX615" fmla="*/ 3270804 w 9114518"/>
              <a:gd name="connsiteY615" fmla="*/ 4118890 h 7391342"/>
              <a:gd name="connsiteX616" fmla="*/ 3316774 w 9114518"/>
              <a:gd name="connsiteY616" fmla="*/ 4176783 h 7391342"/>
              <a:gd name="connsiteX617" fmla="*/ 3377217 w 9114518"/>
              <a:gd name="connsiteY617" fmla="*/ 4219320 h 7391342"/>
              <a:gd name="connsiteX618" fmla="*/ 3413418 w 9114518"/>
              <a:gd name="connsiteY618" fmla="*/ 4234531 h 7391342"/>
              <a:gd name="connsiteX619" fmla="*/ 3453899 w 9114518"/>
              <a:gd name="connsiteY619" fmla="*/ 4245544 h 7391342"/>
              <a:gd name="connsiteX620" fmla="*/ 3498881 w 9114518"/>
              <a:gd name="connsiteY620" fmla="*/ 4252239 h 7391342"/>
              <a:gd name="connsiteX621" fmla="*/ 3548584 w 9114518"/>
              <a:gd name="connsiteY621" fmla="*/ 4254498 h 7391342"/>
              <a:gd name="connsiteX622" fmla="*/ 3548584 w 9114518"/>
              <a:gd name="connsiteY622" fmla="*/ 4352418 h 7391342"/>
              <a:gd name="connsiteX623" fmla="*/ 3496940 w 9114518"/>
              <a:gd name="connsiteY623" fmla="*/ 4350685 h 7391342"/>
              <a:gd name="connsiteX624" fmla="*/ 3449008 w 9114518"/>
              <a:gd name="connsiteY624" fmla="*/ 4345532 h 7391342"/>
              <a:gd name="connsiteX625" fmla="*/ 3404668 w 9114518"/>
              <a:gd name="connsiteY625" fmla="*/ 4337032 h 7391342"/>
              <a:gd name="connsiteX626" fmla="*/ 3363796 w 9114518"/>
              <a:gd name="connsiteY626" fmla="*/ 4325257 h 7391342"/>
              <a:gd name="connsiteX627" fmla="*/ 3326270 w 9114518"/>
              <a:gd name="connsiteY627" fmla="*/ 4310279 h 7391342"/>
              <a:gd name="connsiteX628" fmla="*/ 3291967 w 9114518"/>
              <a:gd name="connsiteY628" fmla="*/ 4292171 h 7391342"/>
              <a:gd name="connsiteX629" fmla="*/ 3232542 w 9114518"/>
              <a:gd name="connsiteY629" fmla="*/ 4246853 h 7391342"/>
              <a:gd name="connsiteX630" fmla="*/ 3184540 w 9114518"/>
              <a:gd name="connsiteY630" fmla="*/ 4189879 h 7391342"/>
              <a:gd name="connsiteX631" fmla="*/ 3164517 w 9114518"/>
              <a:gd name="connsiteY631" fmla="*/ 4157201 h 7391342"/>
              <a:gd name="connsiteX632" fmla="*/ 3146982 w 9114518"/>
              <a:gd name="connsiteY632" fmla="*/ 4121826 h 7391342"/>
              <a:gd name="connsiteX633" fmla="*/ 3131813 w 9114518"/>
              <a:gd name="connsiteY633" fmla="*/ 4083826 h 7391342"/>
              <a:gd name="connsiteX634" fmla="*/ 3118888 w 9114518"/>
              <a:gd name="connsiteY634" fmla="*/ 4043273 h 7391342"/>
              <a:gd name="connsiteX635" fmla="*/ 3108083 w 9114518"/>
              <a:gd name="connsiteY635" fmla="*/ 4000240 h 7391342"/>
              <a:gd name="connsiteX636" fmla="*/ 3099276 w 9114518"/>
              <a:gd name="connsiteY636" fmla="*/ 3954797 h 7391342"/>
              <a:gd name="connsiteX637" fmla="*/ 3092346 w 9114518"/>
              <a:gd name="connsiteY637" fmla="*/ 3907019 h 7391342"/>
              <a:gd name="connsiteX638" fmla="*/ 3087169 w 9114518"/>
              <a:gd name="connsiteY638" fmla="*/ 3856976 h 7391342"/>
              <a:gd name="connsiteX639" fmla="*/ 3083623 w 9114518"/>
              <a:gd name="connsiteY639" fmla="*/ 3804741 h 7391342"/>
              <a:gd name="connsiteX640" fmla="*/ 3081585 w 9114518"/>
              <a:gd name="connsiteY640" fmla="*/ 3750386 h 7391342"/>
              <a:gd name="connsiteX641" fmla="*/ 3080933 w 9114518"/>
              <a:gd name="connsiteY641" fmla="*/ 3693984 h 7391342"/>
              <a:gd name="connsiteX642" fmla="*/ 3081606 w 9114518"/>
              <a:gd name="connsiteY642" fmla="*/ 3637823 h 7391342"/>
              <a:gd name="connsiteX643" fmla="*/ 3083706 w 9114518"/>
              <a:gd name="connsiteY643" fmla="*/ 3583708 h 7391342"/>
              <a:gd name="connsiteX644" fmla="*/ 3087346 w 9114518"/>
              <a:gd name="connsiteY644" fmla="*/ 3531711 h 7391342"/>
              <a:gd name="connsiteX645" fmla="*/ 3092643 w 9114518"/>
              <a:gd name="connsiteY645" fmla="*/ 3481903 h 7391342"/>
              <a:gd name="connsiteX646" fmla="*/ 3099713 w 9114518"/>
              <a:gd name="connsiteY646" fmla="*/ 3434354 h 7391342"/>
              <a:gd name="connsiteX647" fmla="*/ 3108673 w 9114518"/>
              <a:gd name="connsiteY647" fmla="*/ 3389137 h 7391342"/>
              <a:gd name="connsiteX648" fmla="*/ 3119637 w 9114518"/>
              <a:gd name="connsiteY648" fmla="*/ 3346320 h 7391342"/>
              <a:gd name="connsiteX649" fmla="*/ 3132722 w 9114518"/>
              <a:gd name="connsiteY649" fmla="*/ 3305977 h 7391342"/>
              <a:gd name="connsiteX650" fmla="*/ 3148044 w 9114518"/>
              <a:gd name="connsiteY650" fmla="*/ 3268179 h 7391342"/>
              <a:gd name="connsiteX651" fmla="*/ 3165718 w 9114518"/>
              <a:gd name="connsiteY651" fmla="*/ 3232996 h 7391342"/>
              <a:gd name="connsiteX652" fmla="*/ 3185862 w 9114518"/>
              <a:gd name="connsiteY652" fmla="*/ 3200499 h 7391342"/>
              <a:gd name="connsiteX653" fmla="*/ 3234018 w 9114518"/>
              <a:gd name="connsiteY653" fmla="*/ 3143849 h 7391342"/>
              <a:gd name="connsiteX654" fmla="*/ 3293441 w 9114518"/>
              <a:gd name="connsiteY654" fmla="*/ 3098798 h 7391342"/>
              <a:gd name="connsiteX655" fmla="*/ 3327668 w 9114518"/>
              <a:gd name="connsiteY655" fmla="*/ 3080800 h 7391342"/>
              <a:gd name="connsiteX656" fmla="*/ 3365059 w 9114518"/>
              <a:gd name="connsiteY656" fmla="*/ 3065915 h 7391342"/>
              <a:gd name="connsiteX657" fmla="*/ 3405730 w 9114518"/>
              <a:gd name="connsiteY657" fmla="*/ 3054214 h 7391342"/>
              <a:gd name="connsiteX658" fmla="*/ 3449797 w 9114518"/>
              <a:gd name="connsiteY658" fmla="*/ 3045768 h 7391342"/>
              <a:gd name="connsiteX659" fmla="*/ 3497376 w 9114518"/>
              <a:gd name="connsiteY659" fmla="*/ 3040648 h 7391342"/>
              <a:gd name="connsiteX660" fmla="*/ 3678369 w 9114518"/>
              <a:gd name="connsiteY660" fmla="*/ 2400757 h 7391342"/>
              <a:gd name="connsiteX661" fmla="*/ 4593430 w 9114518"/>
              <a:gd name="connsiteY661" fmla="*/ 2400757 h 7391342"/>
              <a:gd name="connsiteX662" fmla="*/ 4593430 w 9114518"/>
              <a:gd name="connsiteY662" fmla="*/ 2508807 h 7391342"/>
              <a:gd name="connsiteX663" fmla="*/ 3678369 w 9114518"/>
              <a:gd name="connsiteY663" fmla="*/ 2508807 h 7391342"/>
              <a:gd name="connsiteX664" fmla="*/ 2579115 w 9114518"/>
              <a:gd name="connsiteY664" fmla="*/ 2400753 h 7391342"/>
              <a:gd name="connsiteX665" fmla="*/ 3494165 w 9114518"/>
              <a:gd name="connsiteY665" fmla="*/ 2400753 h 7391342"/>
              <a:gd name="connsiteX666" fmla="*/ 3494165 w 9114518"/>
              <a:gd name="connsiteY666" fmla="*/ 2508804 h 7391342"/>
              <a:gd name="connsiteX667" fmla="*/ 2579115 w 9114518"/>
              <a:gd name="connsiteY667" fmla="*/ 2508804 h 7391342"/>
              <a:gd name="connsiteX668" fmla="*/ 3678369 w 9114518"/>
              <a:gd name="connsiteY668" fmla="*/ 2047903 h 7391342"/>
              <a:gd name="connsiteX669" fmla="*/ 4593430 w 9114518"/>
              <a:gd name="connsiteY669" fmla="*/ 2047903 h 7391342"/>
              <a:gd name="connsiteX670" fmla="*/ 4593430 w 9114518"/>
              <a:gd name="connsiteY670" fmla="*/ 2155954 h 7391342"/>
              <a:gd name="connsiteX671" fmla="*/ 3678369 w 9114518"/>
              <a:gd name="connsiteY671" fmla="*/ 2155954 h 7391342"/>
              <a:gd name="connsiteX672" fmla="*/ 2579115 w 9114518"/>
              <a:gd name="connsiteY672" fmla="*/ 2047899 h 7391342"/>
              <a:gd name="connsiteX673" fmla="*/ 3494165 w 9114518"/>
              <a:gd name="connsiteY673" fmla="*/ 2047899 h 7391342"/>
              <a:gd name="connsiteX674" fmla="*/ 3494165 w 9114518"/>
              <a:gd name="connsiteY674" fmla="*/ 2155950 h 7391342"/>
              <a:gd name="connsiteX675" fmla="*/ 2579115 w 9114518"/>
              <a:gd name="connsiteY675" fmla="*/ 2155950 h 7391342"/>
              <a:gd name="connsiteX676" fmla="*/ 6202942 w 9114518"/>
              <a:gd name="connsiteY676" fmla="*/ 1519467 h 7391342"/>
              <a:gd name="connsiteX677" fmla="*/ 6254150 w 9114518"/>
              <a:gd name="connsiteY677" fmla="*/ 1521189 h 7391342"/>
              <a:gd name="connsiteX678" fmla="*/ 6301730 w 9114518"/>
              <a:gd name="connsiteY678" fmla="*/ 1526309 h 7391342"/>
              <a:gd name="connsiteX679" fmla="*/ 6345796 w 9114518"/>
              <a:gd name="connsiteY679" fmla="*/ 1534755 h 7391342"/>
              <a:gd name="connsiteX680" fmla="*/ 6386468 w 9114518"/>
              <a:gd name="connsiteY680" fmla="*/ 1546456 h 7391342"/>
              <a:gd name="connsiteX681" fmla="*/ 6423858 w 9114518"/>
              <a:gd name="connsiteY681" fmla="*/ 1561341 h 7391342"/>
              <a:gd name="connsiteX682" fmla="*/ 6458084 w 9114518"/>
              <a:gd name="connsiteY682" fmla="*/ 1579339 h 7391342"/>
              <a:gd name="connsiteX683" fmla="*/ 6517506 w 9114518"/>
              <a:gd name="connsiteY683" fmla="*/ 1624390 h 7391342"/>
              <a:gd name="connsiteX684" fmla="*/ 6565664 w 9114518"/>
              <a:gd name="connsiteY684" fmla="*/ 1681040 h 7391342"/>
              <a:gd name="connsiteX685" fmla="*/ 6585806 w 9114518"/>
              <a:gd name="connsiteY685" fmla="*/ 1713537 h 7391342"/>
              <a:gd name="connsiteX686" fmla="*/ 6603482 w 9114518"/>
              <a:gd name="connsiteY686" fmla="*/ 1748720 h 7391342"/>
              <a:gd name="connsiteX687" fmla="*/ 6618804 w 9114518"/>
              <a:gd name="connsiteY687" fmla="*/ 1786518 h 7391342"/>
              <a:gd name="connsiteX688" fmla="*/ 6631888 w 9114518"/>
              <a:gd name="connsiteY688" fmla="*/ 1826861 h 7391342"/>
              <a:gd name="connsiteX689" fmla="*/ 6642852 w 9114518"/>
              <a:gd name="connsiteY689" fmla="*/ 1869678 h 7391342"/>
              <a:gd name="connsiteX690" fmla="*/ 6651812 w 9114518"/>
              <a:gd name="connsiteY690" fmla="*/ 1914895 h 7391342"/>
              <a:gd name="connsiteX691" fmla="*/ 6658882 w 9114518"/>
              <a:gd name="connsiteY691" fmla="*/ 1962443 h 7391342"/>
              <a:gd name="connsiteX692" fmla="*/ 6664180 w 9114518"/>
              <a:gd name="connsiteY692" fmla="*/ 2012251 h 7391342"/>
              <a:gd name="connsiteX693" fmla="*/ 6667820 w 9114518"/>
              <a:gd name="connsiteY693" fmla="*/ 2064248 h 7391342"/>
              <a:gd name="connsiteX694" fmla="*/ 6669918 w 9114518"/>
              <a:gd name="connsiteY694" fmla="*/ 2118363 h 7391342"/>
              <a:gd name="connsiteX695" fmla="*/ 6670594 w 9114518"/>
              <a:gd name="connsiteY695" fmla="*/ 2174524 h 7391342"/>
              <a:gd name="connsiteX696" fmla="*/ 6669952 w 9114518"/>
              <a:gd name="connsiteY696" fmla="*/ 2230926 h 7391342"/>
              <a:gd name="connsiteX697" fmla="*/ 6667946 w 9114518"/>
              <a:gd name="connsiteY697" fmla="*/ 2285281 h 7391342"/>
              <a:gd name="connsiteX698" fmla="*/ 6664446 w 9114518"/>
              <a:gd name="connsiteY698" fmla="*/ 2337516 h 7391342"/>
              <a:gd name="connsiteX699" fmla="*/ 6659328 w 9114518"/>
              <a:gd name="connsiteY699" fmla="*/ 2387560 h 7391342"/>
              <a:gd name="connsiteX700" fmla="*/ 6652468 w 9114518"/>
              <a:gd name="connsiteY700" fmla="*/ 2435337 h 7391342"/>
              <a:gd name="connsiteX701" fmla="*/ 6643740 w 9114518"/>
              <a:gd name="connsiteY701" fmla="*/ 2480781 h 7391342"/>
              <a:gd name="connsiteX702" fmla="*/ 6633014 w 9114518"/>
              <a:gd name="connsiteY702" fmla="*/ 2523814 h 7391342"/>
              <a:gd name="connsiteX703" fmla="*/ 6620170 w 9114518"/>
              <a:gd name="connsiteY703" fmla="*/ 2564367 h 7391342"/>
              <a:gd name="connsiteX704" fmla="*/ 6605078 w 9114518"/>
              <a:gd name="connsiteY704" fmla="*/ 2602367 h 7391342"/>
              <a:gd name="connsiteX705" fmla="*/ 6587612 w 9114518"/>
              <a:gd name="connsiteY705" fmla="*/ 2637742 h 7391342"/>
              <a:gd name="connsiteX706" fmla="*/ 6567650 w 9114518"/>
              <a:gd name="connsiteY706" fmla="*/ 2670420 h 7391342"/>
              <a:gd name="connsiteX707" fmla="*/ 6519726 w 9114518"/>
              <a:gd name="connsiteY707" fmla="*/ 2727394 h 7391342"/>
              <a:gd name="connsiteX708" fmla="*/ 6460300 w 9114518"/>
              <a:gd name="connsiteY708" fmla="*/ 2772712 h 7391342"/>
              <a:gd name="connsiteX709" fmla="*/ 6425960 w 9114518"/>
              <a:gd name="connsiteY709" fmla="*/ 2790820 h 7391342"/>
              <a:gd name="connsiteX710" fmla="*/ 6388366 w 9114518"/>
              <a:gd name="connsiteY710" fmla="*/ 2805798 h 7391342"/>
              <a:gd name="connsiteX711" fmla="*/ 6347392 w 9114518"/>
              <a:gd name="connsiteY711" fmla="*/ 2817573 h 7391342"/>
              <a:gd name="connsiteX712" fmla="*/ 6302914 w 9114518"/>
              <a:gd name="connsiteY712" fmla="*/ 2826073 h 7391342"/>
              <a:gd name="connsiteX713" fmla="*/ 6254806 w 9114518"/>
              <a:gd name="connsiteY713" fmla="*/ 2831226 h 7391342"/>
              <a:gd name="connsiteX714" fmla="*/ 6202942 w 9114518"/>
              <a:gd name="connsiteY714" fmla="*/ 2832959 h 7391342"/>
              <a:gd name="connsiteX715" fmla="*/ 6202942 w 9114518"/>
              <a:gd name="connsiteY715" fmla="*/ 2735039 h 7391342"/>
              <a:gd name="connsiteX716" fmla="*/ 6253190 w 9114518"/>
              <a:gd name="connsiteY716" fmla="*/ 2732780 h 7391342"/>
              <a:gd name="connsiteX717" fmla="*/ 6298622 w 9114518"/>
              <a:gd name="connsiteY717" fmla="*/ 2726085 h 7391342"/>
              <a:gd name="connsiteX718" fmla="*/ 6339462 w 9114518"/>
              <a:gd name="connsiteY718" fmla="*/ 2715072 h 7391342"/>
              <a:gd name="connsiteX719" fmla="*/ 6375942 w 9114518"/>
              <a:gd name="connsiteY719" fmla="*/ 2699861 h 7391342"/>
              <a:gd name="connsiteX720" fmla="*/ 6436736 w 9114518"/>
              <a:gd name="connsiteY720" fmla="*/ 2657324 h 7391342"/>
              <a:gd name="connsiteX721" fmla="*/ 6482832 w 9114518"/>
              <a:gd name="connsiteY721" fmla="*/ 2599431 h 7391342"/>
              <a:gd name="connsiteX722" fmla="*/ 6500942 w 9114518"/>
              <a:gd name="connsiteY722" fmla="*/ 2565024 h 7391342"/>
              <a:gd name="connsiteX723" fmla="*/ 6516064 w 9114518"/>
              <a:gd name="connsiteY723" fmla="*/ 2527138 h 7391342"/>
              <a:gd name="connsiteX724" fmla="*/ 6528426 w 9114518"/>
              <a:gd name="connsiteY724" fmla="*/ 2485890 h 7391342"/>
              <a:gd name="connsiteX725" fmla="*/ 6538260 w 9114518"/>
              <a:gd name="connsiteY725" fmla="*/ 2441401 h 7391342"/>
              <a:gd name="connsiteX726" fmla="*/ 6545792 w 9114518"/>
              <a:gd name="connsiteY726" fmla="*/ 2393791 h 7391342"/>
              <a:gd name="connsiteX727" fmla="*/ 6551252 w 9114518"/>
              <a:gd name="connsiteY727" fmla="*/ 2343178 h 7391342"/>
              <a:gd name="connsiteX728" fmla="*/ 6554868 w 9114518"/>
              <a:gd name="connsiteY728" fmla="*/ 2289683 h 7391342"/>
              <a:gd name="connsiteX729" fmla="*/ 6556870 w 9114518"/>
              <a:gd name="connsiteY729" fmla="*/ 2233425 h 7391342"/>
              <a:gd name="connsiteX730" fmla="*/ 6557486 w 9114518"/>
              <a:gd name="connsiteY730" fmla="*/ 2174524 h 7391342"/>
              <a:gd name="connsiteX731" fmla="*/ 6556836 w 9114518"/>
              <a:gd name="connsiteY731" fmla="*/ 2116203 h 7391342"/>
              <a:gd name="connsiteX732" fmla="*/ 6554744 w 9114518"/>
              <a:gd name="connsiteY732" fmla="*/ 2060487 h 7391342"/>
              <a:gd name="connsiteX733" fmla="*/ 6550990 w 9114518"/>
              <a:gd name="connsiteY733" fmla="*/ 2007501 h 7391342"/>
              <a:gd name="connsiteX734" fmla="*/ 6545362 w 9114518"/>
              <a:gd name="connsiteY734" fmla="*/ 1957362 h 7391342"/>
              <a:gd name="connsiteX735" fmla="*/ 6537640 w 9114518"/>
              <a:gd name="connsiteY735" fmla="*/ 1910190 h 7391342"/>
              <a:gd name="connsiteX736" fmla="*/ 6527608 w 9114518"/>
              <a:gd name="connsiteY736" fmla="*/ 1866104 h 7391342"/>
              <a:gd name="connsiteX737" fmla="*/ 6515052 w 9114518"/>
              <a:gd name="connsiteY737" fmla="*/ 1825226 h 7391342"/>
              <a:gd name="connsiteX738" fmla="*/ 6499752 w 9114518"/>
              <a:gd name="connsiteY738" fmla="*/ 1787671 h 7391342"/>
              <a:gd name="connsiteX739" fmla="*/ 6481494 w 9114518"/>
              <a:gd name="connsiteY739" fmla="*/ 1753562 h 7391342"/>
              <a:gd name="connsiteX740" fmla="*/ 6435236 w 9114518"/>
              <a:gd name="connsiteY740" fmla="*/ 1696160 h 7391342"/>
              <a:gd name="connsiteX741" fmla="*/ 6374546 w 9114518"/>
              <a:gd name="connsiteY741" fmla="*/ 1653973 h 7391342"/>
              <a:gd name="connsiteX742" fmla="*/ 6338248 w 9114518"/>
              <a:gd name="connsiteY742" fmla="*/ 1638885 h 7391342"/>
              <a:gd name="connsiteX743" fmla="*/ 6297692 w 9114518"/>
              <a:gd name="connsiteY743" fmla="*/ 1627960 h 7391342"/>
              <a:gd name="connsiteX744" fmla="*/ 6252662 w 9114518"/>
              <a:gd name="connsiteY744" fmla="*/ 1621317 h 7391342"/>
              <a:gd name="connsiteX745" fmla="*/ 6202942 w 9114518"/>
              <a:gd name="connsiteY745" fmla="*/ 1619076 h 7391342"/>
              <a:gd name="connsiteX746" fmla="*/ 6110023 w 9114518"/>
              <a:gd name="connsiteY746" fmla="*/ 1519467 h 7391342"/>
              <a:gd name="connsiteX747" fmla="*/ 6110023 w 9114518"/>
              <a:gd name="connsiteY747" fmla="*/ 1619076 h 7391342"/>
              <a:gd name="connsiteX748" fmla="*/ 6060583 w 9114518"/>
              <a:gd name="connsiteY748" fmla="*/ 1621317 h 7391342"/>
              <a:gd name="connsiteX749" fmla="*/ 6015801 w 9114518"/>
              <a:gd name="connsiteY749" fmla="*/ 1627960 h 7391342"/>
              <a:gd name="connsiteX750" fmla="*/ 5975462 w 9114518"/>
              <a:gd name="connsiteY750" fmla="*/ 1638885 h 7391342"/>
              <a:gd name="connsiteX751" fmla="*/ 5939352 w 9114518"/>
              <a:gd name="connsiteY751" fmla="*/ 1653973 h 7391342"/>
              <a:gd name="connsiteX752" fmla="*/ 5878960 w 9114518"/>
              <a:gd name="connsiteY752" fmla="*/ 1696160 h 7391342"/>
              <a:gd name="connsiteX753" fmla="*/ 5832910 w 9114518"/>
              <a:gd name="connsiteY753" fmla="*/ 1753562 h 7391342"/>
              <a:gd name="connsiteX754" fmla="*/ 5814728 w 9114518"/>
              <a:gd name="connsiteY754" fmla="*/ 1787671 h 7391342"/>
              <a:gd name="connsiteX755" fmla="*/ 5799488 w 9114518"/>
              <a:gd name="connsiteY755" fmla="*/ 1825226 h 7391342"/>
              <a:gd name="connsiteX756" fmla="*/ 5786975 w 9114518"/>
              <a:gd name="connsiteY756" fmla="*/ 1866104 h 7391342"/>
              <a:gd name="connsiteX757" fmla="*/ 5776976 w 9114518"/>
              <a:gd name="connsiteY757" fmla="*/ 1910190 h 7391342"/>
              <a:gd name="connsiteX758" fmla="*/ 5769275 w 9114518"/>
              <a:gd name="connsiteY758" fmla="*/ 1957362 h 7391342"/>
              <a:gd name="connsiteX759" fmla="*/ 5763660 w 9114518"/>
              <a:gd name="connsiteY759" fmla="*/ 2007501 h 7391342"/>
              <a:gd name="connsiteX760" fmla="*/ 5759914 w 9114518"/>
              <a:gd name="connsiteY760" fmla="*/ 2060487 h 7391342"/>
              <a:gd name="connsiteX761" fmla="*/ 5757823 w 9114518"/>
              <a:gd name="connsiteY761" fmla="*/ 2116203 h 7391342"/>
              <a:gd name="connsiteX762" fmla="*/ 5757174 w 9114518"/>
              <a:gd name="connsiteY762" fmla="*/ 2174524 h 7391342"/>
              <a:gd name="connsiteX763" fmla="*/ 5757807 w 9114518"/>
              <a:gd name="connsiteY763" fmla="*/ 2233425 h 7391342"/>
              <a:gd name="connsiteX764" fmla="*/ 5759852 w 9114518"/>
              <a:gd name="connsiteY764" fmla="*/ 2289683 h 7391342"/>
              <a:gd name="connsiteX765" fmla="*/ 5763530 w 9114518"/>
              <a:gd name="connsiteY765" fmla="*/ 2343178 h 7391342"/>
              <a:gd name="connsiteX766" fmla="*/ 5769061 w 9114518"/>
              <a:gd name="connsiteY766" fmla="*/ 2393791 h 7391342"/>
              <a:gd name="connsiteX767" fmla="*/ 5776667 w 9114518"/>
              <a:gd name="connsiteY767" fmla="*/ 2441401 h 7391342"/>
              <a:gd name="connsiteX768" fmla="*/ 5786567 w 9114518"/>
              <a:gd name="connsiteY768" fmla="*/ 2485890 h 7391342"/>
              <a:gd name="connsiteX769" fmla="*/ 5798983 w 9114518"/>
              <a:gd name="connsiteY769" fmla="*/ 2527138 h 7391342"/>
              <a:gd name="connsiteX770" fmla="*/ 5814135 w 9114518"/>
              <a:gd name="connsiteY770" fmla="*/ 2565024 h 7391342"/>
              <a:gd name="connsiteX771" fmla="*/ 5832243 w 9114518"/>
              <a:gd name="connsiteY771" fmla="*/ 2599431 h 7391342"/>
              <a:gd name="connsiteX772" fmla="*/ 5878214 w 9114518"/>
              <a:gd name="connsiteY772" fmla="*/ 2657324 h 7391342"/>
              <a:gd name="connsiteX773" fmla="*/ 5938656 w 9114518"/>
              <a:gd name="connsiteY773" fmla="*/ 2699861 h 7391342"/>
              <a:gd name="connsiteX774" fmla="*/ 5974857 w 9114518"/>
              <a:gd name="connsiteY774" fmla="*/ 2715072 h 7391342"/>
              <a:gd name="connsiteX775" fmla="*/ 6015338 w 9114518"/>
              <a:gd name="connsiteY775" fmla="*/ 2726085 h 7391342"/>
              <a:gd name="connsiteX776" fmla="*/ 6060320 w 9114518"/>
              <a:gd name="connsiteY776" fmla="*/ 2732780 h 7391342"/>
              <a:gd name="connsiteX777" fmla="*/ 6110023 w 9114518"/>
              <a:gd name="connsiteY777" fmla="*/ 2735039 h 7391342"/>
              <a:gd name="connsiteX778" fmla="*/ 6110023 w 9114518"/>
              <a:gd name="connsiteY778" fmla="*/ 2832959 h 7391342"/>
              <a:gd name="connsiteX779" fmla="*/ 6058379 w 9114518"/>
              <a:gd name="connsiteY779" fmla="*/ 2831226 h 7391342"/>
              <a:gd name="connsiteX780" fmla="*/ 6010447 w 9114518"/>
              <a:gd name="connsiteY780" fmla="*/ 2826073 h 7391342"/>
              <a:gd name="connsiteX781" fmla="*/ 5966107 w 9114518"/>
              <a:gd name="connsiteY781" fmla="*/ 2817573 h 7391342"/>
              <a:gd name="connsiteX782" fmla="*/ 5925235 w 9114518"/>
              <a:gd name="connsiteY782" fmla="*/ 2805798 h 7391342"/>
              <a:gd name="connsiteX783" fmla="*/ 5887709 w 9114518"/>
              <a:gd name="connsiteY783" fmla="*/ 2790820 h 7391342"/>
              <a:gd name="connsiteX784" fmla="*/ 5853406 w 9114518"/>
              <a:gd name="connsiteY784" fmla="*/ 2772712 h 7391342"/>
              <a:gd name="connsiteX785" fmla="*/ 5793981 w 9114518"/>
              <a:gd name="connsiteY785" fmla="*/ 2727394 h 7391342"/>
              <a:gd name="connsiteX786" fmla="*/ 5745979 w 9114518"/>
              <a:gd name="connsiteY786" fmla="*/ 2670420 h 7391342"/>
              <a:gd name="connsiteX787" fmla="*/ 5725956 w 9114518"/>
              <a:gd name="connsiteY787" fmla="*/ 2637742 h 7391342"/>
              <a:gd name="connsiteX788" fmla="*/ 5708421 w 9114518"/>
              <a:gd name="connsiteY788" fmla="*/ 2602367 h 7391342"/>
              <a:gd name="connsiteX789" fmla="*/ 5693252 w 9114518"/>
              <a:gd name="connsiteY789" fmla="*/ 2564367 h 7391342"/>
              <a:gd name="connsiteX790" fmla="*/ 5680327 w 9114518"/>
              <a:gd name="connsiteY790" fmla="*/ 2523814 h 7391342"/>
              <a:gd name="connsiteX791" fmla="*/ 5669522 w 9114518"/>
              <a:gd name="connsiteY791" fmla="*/ 2480781 h 7391342"/>
              <a:gd name="connsiteX792" fmla="*/ 5660715 w 9114518"/>
              <a:gd name="connsiteY792" fmla="*/ 2435337 h 7391342"/>
              <a:gd name="connsiteX793" fmla="*/ 5653785 w 9114518"/>
              <a:gd name="connsiteY793" fmla="*/ 2387560 h 7391342"/>
              <a:gd name="connsiteX794" fmla="*/ 5648608 w 9114518"/>
              <a:gd name="connsiteY794" fmla="*/ 2337516 h 7391342"/>
              <a:gd name="connsiteX795" fmla="*/ 5645062 w 9114518"/>
              <a:gd name="connsiteY795" fmla="*/ 2285281 h 7391342"/>
              <a:gd name="connsiteX796" fmla="*/ 5643024 w 9114518"/>
              <a:gd name="connsiteY796" fmla="*/ 2230926 h 7391342"/>
              <a:gd name="connsiteX797" fmla="*/ 5642372 w 9114518"/>
              <a:gd name="connsiteY797" fmla="*/ 2174524 h 7391342"/>
              <a:gd name="connsiteX798" fmla="*/ 5643045 w 9114518"/>
              <a:gd name="connsiteY798" fmla="*/ 2118363 h 7391342"/>
              <a:gd name="connsiteX799" fmla="*/ 5645145 w 9114518"/>
              <a:gd name="connsiteY799" fmla="*/ 2064248 h 7391342"/>
              <a:gd name="connsiteX800" fmla="*/ 5648785 w 9114518"/>
              <a:gd name="connsiteY800" fmla="*/ 2012251 h 7391342"/>
              <a:gd name="connsiteX801" fmla="*/ 5654082 w 9114518"/>
              <a:gd name="connsiteY801" fmla="*/ 1962443 h 7391342"/>
              <a:gd name="connsiteX802" fmla="*/ 5661152 w 9114518"/>
              <a:gd name="connsiteY802" fmla="*/ 1914895 h 7391342"/>
              <a:gd name="connsiteX803" fmla="*/ 5670112 w 9114518"/>
              <a:gd name="connsiteY803" fmla="*/ 1869678 h 7391342"/>
              <a:gd name="connsiteX804" fmla="*/ 5681076 w 9114518"/>
              <a:gd name="connsiteY804" fmla="*/ 1826861 h 7391342"/>
              <a:gd name="connsiteX805" fmla="*/ 5694161 w 9114518"/>
              <a:gd name="connsiteY805" fmla="*/ 1786518 h 7391342"/>
              <a:gd name="connsiteX806" fmla="*/ 5709483 w 9114518"/>
              <a:gd name="connsiteY806" fmla="*/ 1748720 h 7391342"/>
              <a:gd name="connsiteX807" fmla="*/ 5727157 w 9114518"/>
              <a:gd name="connsiteY807" fmla="*/ 1713537 h 7391342"/>
              <a:gd name="connsiteX808" fmla="*/ 5747301 w 9114518"/>
              <a:gd name="connsiteY808" fmla="*/ 1681040 h 7391342"/>
              <a:gd name="connsiteX809" fmla="*/ 5795457 w 9114518"/>
              <a:gd name="connsiteY809" fmla="*/ 1624390 h 7391342"/>
              <a:gd name="connsiteX810" fmla="*/ 5854880 w 9114518"/>
              <a:gd name="connsiteY810" fmla="*/ 1579339 h 7391342"/>
              <a:gd name="connsiteX811" fmla="*/ 5889107 w 9114518"/>
              <a:gd name="connsiteY811" fmla="*/ 1561341 h 7391342"/>
              <a:gd name="connsiteX812" fmla="*/ 5926498 w 9114518"/>
              <a:gd name="connsiteY812" fmla="*/ 1546456 h 7391342"/>
              <a:gd name="connsiteX813" fmla="*/ 5967169 w 9114518"/>
              <a:gd name="connsiteY813" fmla="*/ 1534755 h 7391342"/>
              <a:gd name="connsiteX814" fmla="*/ 6011236 w 9114518"/>
              <a:gd name="connsiteY814" fmla="*/ 1526309 h 7391342"/>
              <a:gd name="connsiteX815" fmla="*/ 6058815 w 9114518"/>
              <a:gd name="connsiteY815" fmla="*/ 1521189 h 7391342"/>
              <a:gd name="connsiteX816" fmla="*/ 4207776 w 9114518"/>
              <a:gd name="connsiteY816" fmla="*/ 1033233 h 7391342"/>
              <a:gd name="connsiteX817" fmla="*/ 4417120 w 9114518"/>
              <a:gd name="connsiteY817" fmla="*/ 1033233 h 7391342"/>
              <a:gd name="connsiteX818" fmla="*/ 4417120 w 9114518"/>
              <a:gd name="connsiteY818" fmla="*/ 1208814 h 7391342"/>
              <a:gd name="connsiteX819" fmla="*/ 4207776 w 9114518"/>
              <a:gd name="connsiteY819" fmla="*/ 1208814 h 7391342"/>
              <a:gd name="connsiteX820" fmla="*/ 5865088 w 9114518"/>
              <a:gd name="connsiteY820" fmla="*/ 881295 h 7391342"/>
              <a:gd name="connsiteX821" fmla="*/ 6780150 w 9114518"/>
              <a:gd name="connsiteY821" fmla="*/ 881295 h 7391342"/>
              <a:gd name="connsiteX822" fmla="*/ 6780150 w 9114518"/>
              <a:gd name="connsiteY822" fmla="*/ 989345 h 7391342"/>
              <a:gd name="connsiteX823" fmla="*/ 5865088 w 9114518"/>
              <a:gd name="connsiteY823" fmla="*/ 989345 h 7391342"/>
              <a:gd name="connsiteX824" fmla="*/ 5865088 w 9114518"/>
              <a:gd name="connsiteY824" fmla="*/ 528441 h 7391342"/>
              <a:gd name="connsiteX825" fmla="*/ 6780150 w 9114518"/>
              <a:gd name="connsiteY825" fmla="*/ 528441 h 7391342"/>
              <a:gd name="connsiteX826" fmla="*/ 6780150 w 9114518"/>
              <a:gd name="connsiteY826" fmla="*/ 636492 h 7391342"/>
              <a:gd name="connsiteX827" fmla="*/ 5865088 w 9114518"/>
              <a:gd name="connsiteY827" fmla="*/ 636492 h 7391342"/>
              <a:gd name="connsiteX828" fmla="*/ 7862878 w 9114518"/>
              <a:gd name="connsiteY828" fmla="*/ 7089 h 7391342"/>
              <a:gd name="connsiteX829" fmla="*/ 8241058 w 9114518"/>
              <a:gd name="connsiteY829" fmla="*/ 7089 h 7391342"/>
              <a:gd name="connsiteX830" fmla="*/ 8241058 w 9114518"/>
              <a:gd name="connsiteY830" fmla="*/ 103609 h 7391342"/>
              <a:gd name="connsiteX831" fmla="*/ 7979374 w 9114518"/>
              <a:gd name="connsiteY831" fmla="*/ 103609 h 7391342"/>
              <a:gd name="connsiteX832" fmla="*/ 7979374 w 9114518"/>
              <a:gd name="connsiteY832" fmla="*/ 1213589 h 7391342"/>
              <a:gd name="connsiteX833" fmla="*/ 8241058 w 9114518"/>
              <a:gd name="connsiteY833" fmla="*/ 1213589 h 7391342"/>
              <a:gd name="connsiteX834" fmla="*/ 8241058 w 9114518"/>
              <a:gd name="connsiteY834" fmla="*/ 1310109 h 7391342"/>
              <a:gd name="connsiteX835" fmla="*/ 7862878 w 9114518"/>
              <a:gd name="connsiteY835" fmla="*/ 1310109 h 7391342"/>
              <a:gd name="connsiteX836" fmla="*/ 7862878 w 9114518"/>
              <a:gd name="connsiteY836" fmla="*/ 1213589 h 7391342"/>
              <a:gd name="connsiteX837" fmla="*/ 7862878 w 9114518"/>
              <a:gd name="connsiteY837" fmla="*/ 103609 h 7391342"/>
              <a:gd name="connsiteX838" fmla="*/ 3051834 w 9114518"/>
              <a:gd name="connsiteY838" fmla="*/ 2 h 7391342"/>
              <a:gd name="connsiteX839" fmla="*/ 3051834 w 9114518"/>
              <a:gd name="connsiteY839" fmla="*/ 99613 h 7391342"/>
              <a:gd name="connsiteX840" fmla="*/ 3002394 w 9114518"/>
              <a:gd name="connsiteY840" fmla="*/ 101852 h 7391342"/>
              <a:gd name="connsiteX841" fmla="*/ 2957611 w 9114518"/>
              <a:gd name="connsiteY841" fmla="*/ 108497 h 7391342"/>
              <a:gd name="connsiteX842" fmla="*/ 2917272 w 9114518"/>
              <a:gd name="connsiteY842" fmla="*/ 119421 h 7391342"/>
              <a:gd name="connsiteX843" fmla="*/ 2881161 w 9114518"/>
              <a:gd name="connsiteY843" fmla="*/ 134509 h 7391342"/>
              <a:gd name="connsiteX844" fmla="*/ 2820768 w 9114518"/>
              <a:gd name="connsiteY844" fmla="*/ 176694 h 7391342"/>
              <a:gd name="connsiteX845" fmla="*/ 2774716 w 9114518"/>
              <a:gd name="connsiteY845" fmla="*/ 234098 h 7391342"/>
              <a:gd name="connsiteX846" fmla="*/ 2756533 w 9114518"/>
              <a:gd name="connsiteY846" fmla="*/ 268206 h 7391342"/>
              <a:gd name="connsiteX847" fmla="*/ 2741291 w 9114518"/>
              <a:gd name="connsiteY847" fmla="*/ 305760 h 7391342"/>
              <a:gd name="connsiteX848" fmla="*/ 2728778 w 9114518"/>
              <a:gd name="connsiteY848" fmla="*/ 346640 h 7391342"/>
              <a:gd name="connsiteX849" fmla="*/ 2718778 w 9114518"/>
              <a:gd name="connsiteY849" fmla="*/ 390725 h 7391342"/>
              <a:gd name="connsiteX850" fmla="*/ 2711077 w 9114518"/>
              <a:gd name="connsiteY850" fmla="*/ 437898 h 7391342"/>
              <a:gd name="connsiteX851" fmla="*/ 2705460 w 9114518"/>
              <a:gd name="connsiteY851" fmla="*/ 488037 h 7391342"/>
              <a:gd name="connsiteX852" fmla="*/ 2701714 w 9114518"/>
              <a:gd name="connsiteY852" fmla="*/ 541024 h 7391342"/>
              <a:gd name="connsiteX853" fmla="*/ 2699623 w 9114518"/>
              <a:gd name="connsiteY853" fmla="*/ 596738 h 7391342"/>
              <a:gd name="connsiteX854" fmla="*/ 2698974 w 9114518"/>
              <a:gd name="connsiteY854" fmla="*/ 655061 h 7391342"/>
              <a:gd name="connsiteX855" fmla="*/ 2699607 w 9114518"/>
              <a:gd name="connsiteY855" fmla="*/ 713962 h 7391342"/>
              <a:gd name="connsiteX856" fmla="*/ 2701652 w 9114518"/>
              <a:gd name="connsiteY856" fmla="*/ 770219 h 7391342"/>
              <a:gd name="connsiteX857" fmla="*/ 2705331 w 9114518"/>
              <a:gd name="connsiteY857" fmla="*/ 823713 h 7391342"/>
              <a:gd name="connsiteX858" fmla="*/ 2710863 w 9114518"/>
              <a:gd name="connsiteY858" fmla="*/ 874325 h 7391342"/>
              <a:gd name="connsiteX859" fmla="*/ 2718469 w 9114518"/>
              <a:gd name="connsiteY859" fmla="*/ 921936 h 7391342"/>
              <a:gd name="connsiteX860" fmla="*/ 2728370 w 9114518"/>
              <a:gd name="connsiteY860" fmla="*/ 966424 h 7391342"/>
              <a:gd name="connsiteX861" fmla="*/ 2740787 w 9114518"/>
              <a:gd name="connsiteY861" fmla="*/ 1007672 h 7391342"/>
              <a:gd name="connsiteX862" fmla="*/ 2755940 w 9114518"/>
              <a:gd name="connsiteY862" fmla="*/ 1045559 h 7391342"/>
              <a:gd name="connsiteX863" fmla="*/ 2774049 w 9114518"/>
              <a:gd name="connsiteY863" fmla="*/ 1079966 h 7391342"/>
              <a:gd name="connsiteX864" fmla="*/ 2820020 w 9114518"/>
              <a:gd name="connsiteY864" fmla="*/ 1137858 h 7391342"/>
              <a:gd name="connsiteX865" fmla="*/ 2880465 w 9114518"/>
              <a:gd name="connsiteY865" fmla="*/ 1180395 h 7391342"/>
              <a:gd name="connsiteX866" fmla="*/ 2916667 w 9114518"/>
              <a:gd name="connsiteY866" fmla="*/ 1195607 h 7391342"/>
              <a:gd name="connsiteX867" fmla="*/ 2957148 w 9114518"/>
              <a:gd name="connsiteY867" fmla="*/ 1206620 h 7391342"/>
              <a:gd name="connsiteX868" fmla="*/ 3002130 w 9114518"/>
              <a:gd name="connsiteY868" fmla="*/ 1213314 h 7391342"/>
              <a:gd name="connsiteX869" fmla="*/ 3051834 w 9114518"/>
              <a:gd name="connsiteY869" fmla="*/ 1215573 h 7391342"/>
              <a:gd name="connsiteX870" fmla="*/ 3051834 w 9114518"/>
              <a:gd name="connsiteY870" fmla="*/ 1313495 h 7391342"/>
              <a:gd name="connsiteX871" fmla="*/ 3000188 w 9114518"/>
              <a:gd name="connsiteY871" fmla="*/ 1311761 h 7391342"/>
              <a:gd name="connsiteX872" fmla="*/ 2952255 w 9114518"/>
              <a:gd name="connsiteY872" fmla="*/ 1306609 h 7391342"/>
              <a:gd name="connsiteX873" fmla="*/ 2907914 w 9114518"/>
              <a:gd name="connsiteY873" fmla="*/ 1298108 h 7391342"/>
              <a:gd name="connsiteX874" fmla="*/ 2867041 w 9114518"/>
              <a:gd name="connsiteY874" fmla="*/ 1286333 h 7391342"/>
              <a:gd name="connsiteX875" fmla="*/ 2829514 w 9114518"/>
              <a:gd name="connsiteY875" fmla="*/ 1271355 h 7391342"/>
              <a:gd name="connsiteX876" fmla="*/ 2795209 w 9114518"/>
              <a:gd name="connsiteY876" fmla="*/ 1253247 h 7391342"/>
              <a:gd name="connsiteX877" fmla="*/ 2735783 w 9114518"/>
              <a:gd name="connsiteY877" fmla="*/ 1207930 h 7391342"/>
              <a:gd name="connsiteX878" fmla="*/ 2687781 w 9114518"/>
              <a:gd name="connsiteY878" fmla="*/ 1150955 h 7391342"/>
              <a:gd name="connsiteX879" fmla="*/ 2667757 w 9114518"/>
              <a:gd name="connsiteY879" fmla="*/ 1118277 h 7391342"/>
              <a:gd name="connsiteX880" fmla="*/ 2650222 w 9114518"/>
              <a:gd name="connsiteY880" fmla="*/ 1082902 h 7391342"/>
              <a:gd name="connsiteX881" fmla="*/ 2635053 w 9114518"/>
              <a:gd name="connsiteY881" fmla="*/ 1044902 h 7391342"/>
              <a:gd name="connsiteX882" fmla="*/ 2622127 w 9114518"/>
              <a:gd name="connsiteY882" fmla="*/ 1004349 h 7391342"/>
              <a:gd name="connsiteX883" fmla="*/ 2611322 w 9114518"/>
              <a:gd name="connsiteY883" fmla="*/ 961316 h 7391342"/>
              <a:gd name="connsiteX884" fmla="*/ 2602516 w 9114518"/>
              <a:gd name="connsiteY884" fmla="*/ 915873 h 7391342"/>
              <a:gd name="connsiteX885" fmla="*/ 2595585 w 9114518"/>
              <a:gd name="connsiteY885" fmla="*/ 868095 h 7391342"/>
              <a:gd name="connsiteX886" fmla="*/ 2590408 w 9114518"/>
              <a:gd name="connsiteY886" fmla="*/ 818052 h 7391342"/>
              <a:gd name="connsiteX887" fmla="*/ 2586862 w 9114518"/>
              <a:gd name="connsiteY887" fmla="*/ 765818 h 7391342"/>
              <a:gd name="connsiteX888" fmla="*/ 2584824 w 9114518"/>
              <a:gd name="connsiteY888" fmla="*/ 711463 h 7391342"/>
              <a:gd name="connsiteX889" fmla="*/ 2584172 w 9114518"/>
              <a:gd name="connsiteY889" fmla="*/ 655061 h 7391342"/>
              <a:gd name="connsiteX890" fmla="*/ 2584846 w 9114518"/>
              <a:gd name="connsiteY890" fmla="*/ 598899 h 7391342"/>
              <a:gd name="connsiteX891" fmla="*/ 2586945 w 9114518"/>
              <a:gd name="connsiteY891" fmla="*/ 544784 h 7391342"/>
              <a:gd name="connsiteX892" fmla="*/ 2590585 w 9114518"/>
              <a:gd name="connsiteY892" fmla="*/ 492788 h 7391342"/>
              <a:gd name="connsiteX893" fmla="*/ 2595883 w 9114518"/>
              <a:gd name="connsiteY893" fmla="*/ 442980 h 7391342"/>
              <a:gd name="connsiteX894" fmla="*/ 2602954 w 9114518"/>
              <a:gd name="connsiteY894" fmla="*/ 395431 h 7391342"/>
              <a:gd name="connsiteX895" fmla="*/ 2611914 w 9114518"/>
              <a:gd name="connsiteY895" fmla="*/ 350213 h 7391342"/>
              <a:gd name="connsiteX896" fmla="*/ 2622878 w 9114518"/>
              <a:gd name="connsiteY896" fmla="*/ 307398 h 7391342"/>
              <a:gd name="connsiteX897" fmla="*/ 2635964 w 9114518"/>
              <a:gd name="connsiteY897" fmla="*/ 267054 h 7391342"/>
              <a:gd name="connsiteX898" fmla="*/ 2651287 w 9114518"/>
              <a:gd name="connsiteY898" fmla="*/ 229257 h 7391342"/>
              <a:gd name="connsiteX899" fmla="*/ 2668962 w 9114518"/>
              <a:gd name="connsiteY899" fmla="*/ 194074 h 7391342"/>
              <a:gd name="connsiteX900" fmla="*/ 2689106 w 9114518"/>
              <a:gd name="connsiteY900" fmla="*/ 161576 h 7391342"/>
              <a:gd name="connsiteX901" fmla="*/ 2737264 w 9114518"/>
              <a:gd name="connsiteY901" fmla="*/ 104925 h 7391342"/>
              <a:gd name="connsiteX902" fmla="*/ 2796688 w 9114518"/>
              <a:gd name="connsiteY902" fmla="*/ 59876 h 7391342"/>
              <a:gd name="connsiteX903" fmla="*/ 2830916 w 9114518"/>
              <a:gd name="connsiteY903" fmla="*/ 41878 h 7391342"/>
              <a:gd name="connsiteX904" fmla="*/ 2868307 w 9114518"/>
              <a:gd name="connsiteY904" fmla="*/ 26992 h 7391342"/>
              <a:gd name="connsiteX905" fmla="*/ 2908979 w 9114518"/>
              <a:gd name="connsiteY905" fmla="*/ 15290 h 7391342"/>
              <a:gd name="connsiteX906" fmla="*/ 2953046 w 9114518"/>
              <a:gd name="connsiteY906" fmla="*/ 6845 h 7391342"/>
              <a:gd name="connsiteX907" fmla="*/ 3000626 w 9114518"/>
              <a:gd name="connsiteY907" fmla="*/ 1724 h 7391342"/>
              <a:gd name="connsiteX908" fmla="*/ 8336918 w 9114518"/>
              <a:gd name="connsiteY908" fmla="*/ 1 h 7391342"/>
              <a:gd name="connsiteX909" fmla="*/ 8388126 w 9114518"/>
              <a:gd name="connsiteY909" fmla="*/ 1723 h 7391342"/>
              <a:gd name="connsiteX910" fmla="*/ 8435706 w 9114518"/>
              <a:gd name="connsiteY910" fmla="*/ 6843 h 7391342"/>
              <a:gd name="connsiteX911" fmla="*/ 8479774 w 9114518"/>
              <a:gd name="connsiteY911" fmla="*/ 15289 h 7391342"/>
              <a:gd name="connsiteX912" fmla="*/ 8520444 w 9114518"/>
              <a:gd name="connsiteY912" fmla="*/ 26990 h 7391342"/>
              <a:gd name="connsiteX913" fmla="*/ 8557834 w 9114518"/>
              <a:gd name="connsiteY913" fmla="*/ 41875 h 7391342"/>
              <a:gd name="connsiteX914" fmla="*/ 8592062 w 9114518"/>
              <a:gd name="connsiteY914" fmla="*/ 59873 h 7391342"/>
              <a:gd name="connsiteX915" fmla="*/ 8651484 w 9114518"/>
              <a:gd name="connsiteY915" fmla="*/ 104924 h 7391342"/>
              <a:gd name="connsiteX916" fmla="*/ 8699640 w 9114518"/>
              <a:gd name="connsiteY916" fmla="*/ 161574 h 7391342"/>
              <a:gd name="connsiteX917" fmla="*/ 8719784 w 9114518"/>
              <a:gd name="connsiteY917" fmla="*/ 194071 h 7391342"/>
              <a:gd name="connsiteX918" fmla="*/ 8737458 w 9114518"/>
              <a:gd name="connsiteY918" fmla="*/ 229254 h 7391342"/>
              <a:gd name="connsiteX919" fmla="*/ 8752780 w 9114518"/>
              <a:gd name="connsiteY919" fmla="*/ 267052 h 7391342"/>
              <a:gd name="connsiteX920" fmla="*/ 8765866 w 9114518"/>
              <a:gd name="connsiteY920" fmla="*/ 307395 h 7391342"/>
              <a:gd name="connsiteX921" fmla="*/ 8776830 w 9114518"/>
              <a:gd name="connsiteY921" fmla="*/ 350211 h 7391342"/>
              <a:gd name="connsiteX922" fmla="*/ 8785788 w 9114518"/>
              <a:gd name="connsiteY922" fmla="*/ 395428 h 7391342"/>
              <a:gd name="connsiteX923" fmla="*/ 8792860 w 9114518"/>
              <a:gd name="connsiteY923" fmla="*/ 442977 h 7391342"/>
              <a:gd name="connsiteX924" fmla="*/ 8798158 w 9114518"/>
              <a:gd name="connsiteY924" fmla="*/ 492785 h 7391342"/>
              <a:gd name="connsiteX925" fmla="*/ 8801798 w 9114518"/>
              <a:gd name="connsiteY925" fmla="*/ 544782 h 7391342"/>
              <a:gd name="connsiteX926" fmla="*/ 8803896 w 9114518"/>
              <a:gd name="connsiteY926" fmla="*/ 598897 h 7391342"/>
              <a:gd name="connsiteX927" fmla="*/ 8804570 w 9114518"/>
              <a:gd name="connsiteY927" fmla="*/ 655058 h 7391342"/>
              <a:gd name="connsiteX928" fmla="*/ 8803930 w 9114518"/>
              <a:gd name="connsiteY928" fmla="*/ 711460 h 7391342"/>
              <a:gd name="connsiteX929" fmla="*/ 8801922 w 9114518"/>
              <a:gd name="connsiteY929" fmla="*/ 765815 h 7391342"/>
              <a:gd name="connsiteX930" fmla="*/ 8798422 w 9114518"/>
              <a:gd name="connsiteY930" fmla="*/ 818050 h 7391342"/>
              <a:gd name="connsiteX931" fmla="*/ 8793306 w 9114518"/>
              <a:gd name="connsiteY931" fmla="*/ 868094 h 7391342"/>
              <a:gd name="connsiteX932" fmla="*/ 8786446 w 9114518"/>
              <a:gd name="connsiteY932" fmla="*/ 915872 h 7391342"/>
              <a:gd name="connsiteX933" fmla="*/ 8777716 w 9114518"/>
              <a:gd name="connsiteY933" fmla="*/ 961315 h 7391342"/>
              <a:gd name="connsiteX934" fmla="*/ 8766992 w 9114518"/>
              <a:gd name="connsiteY934" fmla="*/ 1004348 h 7391342"/>
              <a:gd name="connsiteX935" fmla="*/ 8754146 w 9114518"/>
              <a:gd name="connsiteY935" fmla="*/ 1044900 h 7391342"/>
              <a:gd name="connsiteX936" fmla="*/ 8739054 w 9114518"/>
              <a:gd name="connsiteY936" fmla="*/ 1082901 h 7391342"/>
              <a:gd name="connsiteX937" fmla="*/ 8721590 w 9114518"/>
              <a:gd name="connsiteY937" fmla="*/ 1118276 h 7391342"/>
              <a:gd name="connsiteX938" fmla="*/ 8701628 w 9114518"/>
              <a:gd name="connsiteY938" fmla="*/ 1150954 h 7391342"/>
              <a:gd name="connsiteX939" fmla="*/ 8653704 w 9114518"/>
              <a:gd name="connsiteY939" fmla="*/ 1207928 h 7391342"/>
              <a:gd name="connsiteX940" fmla="*/ 8594278 w 9114518"/>
              <a:gd name="connsiteY940" fmla="*/ 1253246 h 7391342"/>
              <a:gd name="connsiteX941" fmla="*/ 8559936 w 9114518"/>
              <a:gd name="connsiteY941" fmla="*/ 1271354 h 7391342"/>
              <a:gd name="connsiteX942" fmla="*/ 8522342 w 9114518"/>
              <a:gd name="connsiteY942" fmla="*/ 1286332 h 7391342"/>
              <a:gd name="connsiteX943" fmla="*/ 8481370 w 9114518"/>
              <a:gd name="connsiteY943" fmla="*/ 1298107 h 7391342"/>
              <a:gd name="connsiteX944" fmla="*/ 8436892 w 9114518"/>
              <a:gd name="connsiteY944" fmla="*/ 1306607 h 7391342"/>
              <a:gd name="connsiteX945" fmla="*/ 8388784 w 9114518"/>
              <a:gd name="connsiteY945" fmla="*/ 1311760 h 7391342"/>
              <a:gd name="connsiteX946" fmla="*/ 8336918 w 9114518"/>
              <a:gd name="connsiteY946" fmla="*/ 1313493 h 7391342"/>
              <a:gd name="connsiteX947" fmla="*/ 8336918 w 9114518"/>
              <a:gd name="connsiteY947" fmla="*/ 1215572 h 7391342"/>
              <a:gd name="connsiteX948" fmla="*/ 8387168 w 9114518"/>
              <a:gd name="connsiteY948" fmla="*/ 1213313 h 7391342"/>
              <a:gd name="connsiteX949" fmla="*/ 8432598 w 9114518"/>
              <a:gd name="connsiteY949" fmla="*/ 1206618 h 7391342"/>
              <a:gd name="connsiteX950" fmla="*/ 8473438 w 9114518"/>
              <a:gd name="connsiteY950" fmla="*/ 1195605 h 7391342"/>
              <a:gd name="connsiteX951" fmla="*/ 8509918 w 9114518"/>
              <a:gd name="connsiteY951" fmla="*/ 1180394 h 7391342"/>
              <a:gd name="connsiteX952" fmla="*/ 8570710 w 9114518"/>
              <a:gd name="connsiteY952" fmla="*/ 1137857 h 7391342"/>
              <a:gd name="connsiteX953" fmla="*/ 8616804 w 9114518"/>
              <a:gd name="connsiteY953" fmla="*/ 1079964 h 7391342"/>
              <a:gd name="connsiteX954" fmla="*/ 8634912 w 9114518"/>
              <a:gd name="connsiteY954" fmla="*/ 1045558 h 7391342"/>
              <a:gd name="connsiteX955" fmla="*/ 8650034 w 9114518"/>
              <a:gd name="connsiteY955" fmla="*/ 1007671 h 7391342"/>
              <a:gd name="connsiteX956" fmla="*/ 8662396 w 9114518"/>
              <a:gd name="connsiteY956" fmla="*/ 966423 h 7391342"/>
              <a:gd name="connsiteX957" fmla="*/ 8672228 w 9114518"/>
              <a:gd name="connsiteY957" fmla="*/ 921934 h 7391342"/>
              <a:gd name="connsiteX958" fmla="*/ 8679760 w 9114518"/>
              <a:gd name="connsiteY958" fmla="*/ 874323 h 7391342"/>
              <a:gd name="connsiteX959" fmla="*/ 8685218 w 9114518"/>
              <a:gd name="connsiteY959" fmla="*/ 823711 h 7391342"/>
              <a:gd name="connsiteX960" fmla="*/ 8688834 w 9114518"/>
              <a:gd name="connsiteY960" fmla="*/ 770216 h 7391342"/>
              <a:gd name="connsiteX961" fmla="*/ 8690836 w 9114518"/>
              <a:gd name="connsiteY961" fmla="*/ 713959 h 7391342"/>
              <a:gd name="connsiteX962" fmla="*/ 8691452 w 9114518"/>
              <a:gd name="connsiteY962" fmla="*/ 655058 h 7391342"/>
              <a:gd name="connsiteX963" fmla="*/ 8690804 w 9114518"/>
              <a:gd name="connsiteY963" fmla="*/ 596735 h 7391342"/>
              <a:gd name="connsiteX964" fmla="*/ 8688710 w 9114518"/>
              <a:gd name="connsiteY964" fmla="*/ 541021 h 7391342"/>
              <a:gd name="connsiteX965" fmla="*/ 8684958 w 9114518"/>
              <a:gd name="connsiteY965" fmla="*/ 488035 h 7391342"/>
              <a:gd name="connsiteX966" fmla="*/ 8679330 w 9114518"/>
              <a:gd name="connsiteY966" fmla="*/ 437895 h 7391342"/>
              <a:gd name="connsiteX967" fmla="*/ 8671608 w 9114518"/>
              <a:gd name="connsiteY967" fmla="*/ 390723 h 7391342"/>
              <a:gd name="connsiteX968" fmla="*/ 8661578 w 9114518"/>
              <a:gd name="connsiteY968" fmla="*/ 346638 h 7391342"/>
              <a:gd name="connsiteX969" fmla="*/ 8649022 w 9114518"/>
              <a:gd name="connsiteY969" fmla="*/ 305758 h 7391342"/>
              <a:gd name="connsiteX970" fmla="*/ 8633724 w 9114518"/>
              <a:gd name="connsiteY970" fmla="*/ 268204 h 7391342"/>
              <a:gd name="connsiteX971" fmla="*/ 8615466 w 9114518"/>
              <a:gd name="connsiteY971" fmla="*/ 234096 h 7391342"/>
              <a:gd name="connsiteX972" fmla="*/ 8569210 w 9114518"/>
              <a:gd name="connsiteY972" fmla="*/ 176693 h 7391342"/>
              <a:gd name="connsiteX973" fmla="*/ 8508522 w 9114518"/>
              <a:gd name="connsiteY973" fmla="*/ 134507 h 7391342"/>
              <a:gd name="connsiteX974" fmla="*/ 8472224 w 9114518"/>
              <a:gd name="connsiteY974" fmla="*/ 119419 h 7391342"/>
              <a:gd name="connsiteX975" fmla="*/ 8431668 w 9114518"/>
              <a:gd name="connsiteY975" fmla="*/ 108494 h 7391342"/>
              <a:gd name="connsiteX976" fmla="*/ 8386640 w 9114518"/>
              <a:gd name="connsiteY976" fmla="*/ 101851 h 7391342"/>
              <a:gd name="connsiteX977" fmla="*/ 8336918 w 9114518"/>
              <a:gd name="connsiteY977" fmla="*/ 99610 h 7391342"/>
              <a:gd name="connsiteX978" fmla="*/ 3144752 w 9114518"/>
              <a:gd name="connsiteY978" fmla="*/ 0 h 7391342"/>
              <a:gd name="connsiteX979" fmla="*/ 3195959 w 9114518"/>
              <a:gd name="connsiteY979" fmla="*/ 1722 h 7391342"/>
              <a:gd name="connsiteX980" fmla="*/ 3243539 w 9114518"/>
              <a:gd name="connsiteY980" fmla="*/ 6842 h 7391342"/>
              <a:gd name="connsiteX981" fmla="*/ 3287606 w 9114518"/>
              <a:gd name="connsiteY981" fmla="*/ 15288 h 7391342"/>
              <a:gd name="connsiteX982" fmla="*/ 3328277 w 9114518"/>
              <a:gd name="connsiteY982" fmla="*/ 26989 h 7391342"/>
              <a:gd name="connsiteX983" fmla="*/ 3365667 w 9114518"/>
              <a:gd name="connsiteY983" fmla="*/ 41874 h 7391342"/>
              <a:gd name="connsiteX984" fmla="*/ 3399895 w 9114518"/>
              <a:gd name="connsiteY984" fmla="*/ 59872 h 7391342"/>
              <a:gd name="connsiteX985" fmla="*/ 3459317 w 9114518"/>
              <a:gd name="connsiteY985" fmla="*/ 104923 h 7391342"/>
              <a:gd name="connsiteX986" fmla="*/ 3507474 w 9114518"/>
              <a:gd name="connsiteY986" fmla="*/ 161573 h 7391342"/>
              <a:gd name="connsiteX987" fmla="*/ 3527617 w 9114518"/>
              <a:gd name="connsiteY987" fmla="*/ 194070 h 7391342"/>
              <a:gd name="connsiteX988" fmla="*/ 3545292 w 9114518"/>
              <a:gd name="connsiteY988" fmla="*/ 229253 h 7391342"/>
              <a:gd name="connsiteX989" fmla="*/ 3560614 w 9114518"/>
              <a:gd name="connsiteY989" fmla="*/ 267051 h 7391342"/>
              <a:gd name="connsiteX990" fmla="*/ 3573699 w 9114518"/>
              <a:gd name="connsiteY990" fmla="*/ 307394 h 7391342"/>
              <a:gd name="connsiteX991" fmla="*/ 3584663 w 9114518"/>
              <a:gd name="connsiteY991" fmla="*/ 350210 h 7391342"/>
              <a:gd name="connsiteX992" fmla="*/ 3593622 w 9114518"/>
              <a:gd name="connsiteY992" fmla="*/ 395427 h 7391342"/>
              <a:gd name="connsiteX993" fmla="*/ 3600693 w 9114518"/>
              <a:gd name="connsiteY993" fmla="*/ 442977 h 7391342"/>
              <a:gd name="connsiteX994" fmla="*/ 3605990 w 9114518"/>
              <a:gd name="connsiteY994" fmla="*/ 492785 h 7391342"/>
              <a:gd name="connsiteX995" fmla="*/ 3609630 w 9114518"/>
              <a:gd name="connsiteY995" fmla="*/ 544782 h 7391342"/>
              <a:gd name="connsiteX996" fmla="*/ 3611729 w 9114518"/>
              <a:gd name="connsiteY996" fmla="*/ 598897 h 7391342"/>
              <a:gd name="connsiteX997" fmla="*/ 3612403 w 9114518"/>
              <a:gd name="connsiteY997" fmla="*/ 655058 h 7391342"/>
              <a:gd name="connsiteX998" fmla="*/ 3611762 w 9114518"/>
              <a:gd name="connsiteY998" fmla="*/ 711460 h 7391342"/>
              <a:gd name="connsiteX999" fmla="*/ 3609755 w 9114518"/>
              <a:gd name="connsiteY999" fmla="*/ 765815 h 7391342"/>
              <a:gd name="connsiteX1000" fmla="*/ 3606255 w 9114518"/>
              <a:gd name="connsiteY1000" fmla="*/ 818050 h 7391342"/>
              <a:gd name="connsiteX1001" fmla="*/ 3601138 w 9114518"/>
              <a:gd name="connsiteY1001" fmla="*/ 868093 h 7391342"/>
              <a:gd name="connsiteX1002" fmla="*/ 3594278 w 9114518"/>
              <a:gd name="connsiteY1002" fmla="*/ 915871 h 7391342"/>
              <a:gd name="connsiteX1003" fmla="*/ 3585548 w 9114518"/>
              <a:gd name="connsiteY1003" fmla="*/ 961314 h 7391342"/>
              <a:gd name="connsiteX1004" fmla="*/ 3574823 w 9114518"/>
              <a:gd name="connsiteY1004" fmla="*/ 1004347 h 7391342"/>
              <a:gd name="connsiteX1005" fmla="*/ 3561977 w 9114518"/>
              <a:gd name="connsiteY1005" fmla="*/ 1044900 h 7391342"/>
              <a:gd name="connsiteX1006" fmla="*/ 3546884 w 9114518"/>
              <a:gd name="connsiteY1006" fmla="*/ 1082900 h 7391342"/>
              <a:gd name="connsiteX1007" fmla="*/ 3529420 w 9114518"/>
              <a:gd name="connsiteY1007" fmla="*/ 1118275 h 7391342"/>
              <a:gd name="connsiteX1008" fmla="*/ 3509456 w 9114518"/>
              <a:gd name="connsiteY1008" fmla="*/ 1150953 h 7391342"/>
              <a:gd name="connsiteX1009" fmla="*/ 3461532 w 9114518"/>
              <a:gd name="connsiteY1009" fmla="*/ 1207927 h 7391342"/>
              <a:gd name="connsiteX1010" fmla="*/ 3402106 w 9114518"/>
              <a:gd name="connsiteY1010" fmla="*/ 1253245 h 7391342"/>
              <a:gd name="connsiteX1011" fmla="*/ 3367764 w 9114518"/>
              <a:gd name="connsiteY1011" fmla="*/ 1271353 h 7391342"/>
              <a:gd name="connsiteX1012" fmla="*/ 3330171 w 9114518"/>
              <a:gd name="connsiteY1012" fmla="*/ 1286331 h 7391342"/>
              <a:gd name="connsiteX1013" fmla="*/ 3289198 w 9114518"/>
              <a:gd name="connsiteY1013" fmla="*/ 1298106 h 7391342"/>
              <a:gd name="connsiteX1014" fmla="*/ 3244722 w 9114518"/>
              <a:gd name="connsiteY1014" fmla="*/ 1306606 h 7391342"/>
              <a:gd name="connsiteX1015" fmla="*/ 3196615 w 9114518"/>
              <a:gd name="connsiteY1015" fmla="*/ 1311759 h 7391342"/>
              <a:gd name="connsiteX1016" fmla="*/ 3144752 w 9114518"/>
              <a:gd name="connsiteY1016" fmla="*/ 1313492 h 7391342"/>
              <a:gd name="connsiteX1017" fmla="*/ 3144752 w 9114518"/>
              <a:gd name="connsiteY1017" fmla="*/ 1215571 h 7391342"/>
              <a:gd name="connsiteX1018" fmla="*/ 3194999 w 9114518"/>
              <a:gd name="connsiteY1018" fmla="*/ 1213312 h 7391342"/>
              <a:gd name="connsiteX1019" fmla="*/ 3240428 w 9114518"/>
              <a:gd name="connsiteY1019" fmla="*/ 1206617 h 7391342"/>
              <a:gd name="connsiteX1020" fmla="*/ 3281267 w 9114518"/>
              <a:gd name="connsiteY1020" fmla="*/ 1195604 h 7391342"/>
              <a:gd name="connsiteX1021" fmla="*/ 3317746 w 9114518"/>
              <a:gd name="connsiteY1021" fmla="*/ 1180393 h 7391342"/>
              <a:gd name="connsiteX1022" fmla="*/ 3378538 w 9114518"/>
              <a:gd name="connsiteY1022" fmla="*/ 1137856 h 7391342"/>
              <a:gd name="connsiteX1023" fmla="*/ 3424634 w 9114518"/>
              <a:gd name="connsiteY1023" fmla="*/ 1079963 h 7391342"/>
              <a:gd name="connsiteX1024" fmla="*/ 3442743 w 9114518"/>
              <a:gd name="connsiteY1024" fmla="*/ 1045557 h 7391342"/>
              <a:gd name="connsiteX1025" fmla="*/ 3457864 w 9114518"/>
              <a:gd name="connsiteY1025" fmla="*/ 1007670 h 7391342"/>
              <a:gd name="connsiteX1026" fmla="*/ 3470227 w 9114518"/>
              <a:gd name="connsiteY1026" fmla="*/ 966422 h 7391342"/>
              <a:gd name="connsiteX1027" fmla="*/ 3480060 w 9114518"/>
              <a:gd name="connsiteY1027" fmla="*/ 921934 h 7391342"/>
              <a:gd name="connsiteX1028" fmla="*/ 3487591 w 9114518"/>
              <a:gd name="connsiteY1028" fmla="*/ 874323 h 7391342"/>
              <a:gd name="connsiteX1029" fmla="*/ 3493051 w 9114518"/>
              <a:gd name="connsiteY1029" fmla="*/ 823711 h 7391342"/>
              <a:gd name="connsiteX1030" fmla="*/ 3496668 w 9114518"/>
              <a:gd name="connsiteY1030" fmla="*/ 770216 h 7391342"/>
              <a:gd name="connsiteX1031" fmla="*/ 3498670 w 9114518"/>
              <a:gd name="connsiteY1031" fmla="*/ 713959 h 7391342"/>
              <a:gd name="connsiteX1032" fmla="*/ 3499286 w 9114518"/>
              <a:gd name="connsiteY1032" fmla="*/ 655058 h 7391342"/>
              <a:gd name="connsiteX1033" fmla="*/ 3498637 w 9114518"/>
              <a:gd name="connsiteY1033" fmla="*/ 596735 h 7391342"/>
              <a:gd name="connsiteX1034" fmla="*/ 3496544 w 9114518"/>
              <a:gd name="connsiteY1034" fmla="*/ 541021 h 7391342"/>
              <a:gd name="connsiteX1035" fmla="*/ 3492792 w 9114518"/>
              <a:gd name="connsiteY1035" fmla="*/ 488034 h 7391342"/>
              <a:gd name="connsiteX1036" fmla="*/ 3487163 w 9114518"/>
              <a:gd name="connsiteY1036" fmla="*/ 437895 h 7391342"/>
              <a:gd name="connsiteX1037" fmla="*/ 3479442 w 9114518"/>
              <a:gd name="connsiteY1037" fmla="*/ 390722 h 7391342"/>
              <a:gd name="connsiteX1038" fmla="*/ 3469411 w 9114518"/>
              <a:gd name="connsiteY1038" fmla="*/ 346637 h 7391342"/>
              <a:gd name="connsiteX1039" fmla="*/ 3456855 w 9114518"/>
              <a:gd name="connsiteY1039" fmla="*/ 305757 h 7391342"/>
              <a:gd name="connsiteX1040" fmla="*/ 3441557 w 9114518"/>
              <a:gd name="connsiteY1040" fmla="*/ 268203 h 7391342"/>
              <a:gd name="connsiteX1041" fmla="*/ 3423300 w 9114518"/>
              <a:gd name="connsiteY1041" fmla="*/ 234095 h 7391342"/>
              <a:gd name="connsiteX1042" fmla="*/ 3377044 w 9114518"/>
              <a:gd name="connsiteY1042" fmla="*/ 176692 h 7391342"/>
              <a:gd name="connsiteX1043" fmla="*/ 3316354 w 9114518"/>
              <a:gd name="connsiteY1043" fmla="*/ 134506 h 7391342"/>
              <a:gd name="connsiteX1044" fmla="*/ 3280057 w 9114518"/>
              <a:gd name="connsiteY1044" fmla="*/ 119418 h 7391342"/>
              <a:gd name="connsiteX1045" fmla="*/ 3239501 w 9114518"/>
              <a:gd name="connsiteY1045" fmla="*/ 108493 h 7391342"/>
              <a:gd name="connsiteX1046" fmla="*/ 3194472 w 9114518"/>
              <a:gd name="connsiteY1046" fmla="*/ 101850 h 7391342"/>
              <a:gd name="connsiteX1047" fmla="*/ 3144752 w 9114518"/>
              <a:gd name="connsiteY1047" fmla="*/ 99609 h 739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Lst>
            <a:rect l="l" t="t" r="r" b="b"/>
            <a:pathLst>
              <a:path w="9114518" h="7391342">
                <a:moveTo>
                  <a:pt x="6423906" y="7111086"/>
                </a:moveTo>
                <a:lnTo>
                  <a:pt x="6633262" y="7111086"/>
                </a:lnTo>
                <a:lnTo>
                  <a:pt x="6633262" y="7286668"/>
                </a:lnTo>
                <a:lnTo>
                  <a:pt x="6423906" y="7286668"/>
                </a:lnTo>
                <a:close/>
                <a:moveTo>
                  <a:pt x="3371709" y="6959141"/>
                </a:moveTo>
                <a:lnTo>
                  <a:pt x="4286770" y="6959141"/>
                </a:lnTo>
                <a:lnTo>
                  <a:pt x="4286770" y="7067193"/>
                </a:lnTo>
                <a:lnTo>
                  <a:pt x="3371709" y="7067193"/>
                </a:lnTo>
                <a:close/>
                <a:moveTo>
                  <a:pt x="3371709" y="6606288"/>
                </a:moveTo>
                <a:lnTo>
                  <a:pt x="4286770" y="6606288"/>
                </a:lnTo>
                <a:lnTo>
                  <a:pt x="4286770" y="6714340"/>
                </a:lnTo>
                <a:lnTo>
                  <a:pt x="3371709" y="6714340"/>
                </a:lnTo>
                <a:close/>
                <a:moveTo>
                  <a:pt x="5418710" y="6084039"/>
                </a:moveTo>
                <a:lnTo>
                  <a:pt x="5796891" y="6084039"/>
                </a:lnTo>
                <a:lnTo>
                  <a:pt x="5796891" y="6180559"/>
                </a:lnTo>
                <a:lnTo>
                  <a:pt x="5796891" y="7291809"/>
                </a:lnTo>
                <a:lnTo>
                  <a:pt x="5796891" y="7388329"/>
                </a:lnTo>
                <a:lnTo>
                  <a:pt x="5418710" y="7388329"/>
                </a:lnTo>
                <a:lnTo>
                  <a:pt x="5418710" y="7291809"/>
                </a:lnTo>
                <a:lnTo>
                  <a:pt x="5680394" y="7291809"/>
                </a:lnTo>
                <a:lnTo>
                  <a:pt x="5680394" y="6180559"/>
                </a:lnTo>
                <a:lnTo>
                  <a:pt x="5418710" y="6180559"/>
                </a:lnTo>
                <a:close/>
                <a:moveTo>
                  <a:pt x="4939629" y="6084039"/>
                </a:moveTo>
                <a:lnTo>
                  <a:pt x="5317797" y="6084039"/>
                </a:lnTo>
                <a:lnTo>
                  <a:pt x="5317797" y="6180559"/>
                </a:lnTo>
                <a:lnTo>
                  <a:pt x="5056113" y="6180559"/>
                </a:lnTo>
                <a:lnTo>
                  <a:pt x="5056113" y="7291809"/>
                </a:lnTo>
                <a:lnTo>
                  <a:pt x="5317797" y="7291809"/>
                </a:lnTo>
                <a:lnTo>
                  <a:pt x="5317797" y="7388329"/>
                </a:lnTo>
                <a:lnTo>
                  <a:pt x="4939629" y="7388329"/>
                </a:lnTo>
                <a:lnTo>
                  <a:pt x="4939629" y="7291809"/>
                </a:lnTo>
                <a:lnTo>
                  <a:pt x="4939629" y="6180559"/>
                </a:lnTo>
                <a:close/>
                <a:moveTo>
                  <a:pt x="8646856" y="6077851"/>
                </a:moveTo>
                <a:lnTo>
                  <a:pt x="8698064" y="6079573"/>
                </a:lnTo>
                <a:lnTo>
                  <a:pt x="8745644" y="6084693"/>
                </a:lnTo>
                <a:lnTo>
                  <a:pt x="8789712" y="6093139"/>
                </a:lnTo>
                <a:lnTo>
                  <a:pt x="8830382" y="6104840"/>
                </a:lnTo>
                <a:lnTo>
                  <a:pt x="8867774" y="6119725"/>
                </a:lnTo>
                <a:lnTo>
                  <a:pt x="8902000" y="6137723"/>
                </a:lnTo>
                <a:lnTo>
                  <a:pt x="8961424" y="6182774"/>
                </a:lnTo>
                <a:lnTo>
                  <a:pt x="9009582" y="6239424"/>
                </a:lnTo>
                <a:lnTo>
                  <a:pt x="9029726" y="6271921"/>
                </a:lnTo>
                <a:lnTo>
                  <a:pt x="9047402" y="6307104"/>
                </a:lnTo>
                <a:lnTo>
                  <a:pt x="9062724" y="6344902"/>
                </a:lnTo>
                <a:lnTo>
                  <a:pt x="9075810" y="6385245"/>
                </a:lnTo>
                <a:lnTo>
                  <a:pt x="9086774" y="6428061"/>
                </a:lnTo>
                <a:lnTo>
                  <a:pt x="9095734" y="6473278"/>
                </a:lnTo>
                <a:lnTo>
                  <a:pt x="9102806" y="6520827"/>
                </a:lnTo>
                <a:lnTo>
                  <a:pt x="9108104" y="6570635"/>
                </a:lnTo>
                <a:lnTo>
                  <a:pt x="9111744" y="6622632"/>
                </a:lnTo>
                <a:lnTo>
                  <a:pt x="9113844" y="6676747"/>
                </a:lnTo>
                <a:lnTo>
                  <a:pt x="9114518" y="6732908"/>
                </a:lnTo>
                <a:lnTo>
                  <a:pt x="9113876" y="6789310"/>
                </a:lnTo>
                <a:lnTo>
                  <a:pt x="9111870" y="6843665"/>
                </a:lnTo>
                <a:lnTo>
                  <a:pt x="9108370" y="6895900"/>
                </a:lnTo>
                <a:lnTo>
                  <a:pt x="9103252" y="6945943"/>
                </a:lnTo>
                <a:lnTo>
                  <a:pt x="9096392" y="6993721"/>
                </a:lnTo>
                <a:lnTo>
                  <a:pt x="9087662" y="7039164"/>
                </a:lnTo>
                <a:lnTo>
                  <a:pt x="9076936" y="7082197"/>
                </a:lnTo>
                <a:lnTo>
                  <a:pt x="9064090" y="7122750"/>
                </a:lnTo>
                <a:lnTo>
                  <a:pt x="9048998" y="7160750"/>
                </a:lnTo>
                <a:lnTo>
                  <a:pt x="9031532" y="7196125"/>
                </a:lnTo>
                <a:lnTo>
                  <a:pt x="9011568" y="7228803"/>
                </a:lnTo>
                <a:lnTo>
                  <a:pt x="8963644" y="7285777"/>
                </a:lnTo>
                <a:lnTo>
                  <a:pt x="8904216" y="7331095"/>
                </a:lnTo>
                <a:lnTo>
                  <a:pt x="8869874" y="7349203"/>
                </a:lnTo>
                <a:lnTo>
                  <a:pt x="8832280" y="7364181"/>
                </a:lnTo>
                <a:lnTo>
                  <a:pt x="8791306" y="7375956"/>
                </a:lnTo>
                <a:lnTo>
                  <a:pt x="8746828" y="7384456"/>
                </a:lnTo>
                <a:lnTo>
                  <a:pt x="8698720" y="7389609"/>
                </a:lnTo>
                <a:lnTo>
                  <a:pt x="8646856" y="7391342"/>
                </a:lnTo>
                <a:lnTo>
                  <a:pt x="8646856" y="7293421"/>
                </a:lnTo>
                <a:lnTo>
                  <a:pt x="8697104" y="7291162"/>
                </a:lnTo>
                <a:lnTo>
                  <a:pt x="8742536" y="7284467"/>
                </a:lnTo>
                <a:lnTo>
                  <a:pt x="8783376" y="7273454"/>
                </a:lnTo>
                <a:lnTo>
                  <a:pt x="8819856" y="7258243"/>
                </a:lnTo>
                <a:lnTo>
                  <a:pt x="8880650" y="7215706"/>
                </a:lnTo>
                <a:lnTo>
                  <a:pt x="8926746" y="7157813"/>
                </a:lnTo>
                <a:lnTo>
                  <a:pt x="8944856" y="7123407"/>
                </a:lnTo>
                <a:lnTo>
                  <a:pt x="8959978" y="7085520"/>
                </a:lnTo>
                <a:lnTo>
                  <a:pt x="8972340" y="7044272"/>
                </a:lnTo>
                <a:lnTo>
                  <a:pt x="8982174" y="6999784"/>
                </a:lnTo>
                <a:lnTo>
                  <a:pt x="8989706" y="6952173"/>
                </a:lnTo>
                <a:lnTo>
                  <a:pt x="8995166" y="6901561"/>
                </a:lnTo>
                <a:lnTo>
                  <a:pt x="8998782" y="6848066"/>
                </a:lnTo>
                <a:lnTo>
                  <a:pt x="9000784" y="6791809"/>
                </a:lnTo>
                <a:lnTo>
                  <a:pt x="9001400" y="6732908"/>
                </a:lnTo>
                <a:lnTo>
                  <a:pt x="9000750" y="6674585"/>
                </a:lnTo>
                <a:lnTo>
                  <a:pt x="8998658" y="6618871"/>
                </a:lnTo>
                <a:lnTo>
                  <a:pt x="8994906" y="6565885"/>
                </a:lnTo>
                <a:lnTo>
                  <a:pt x="8989276" y="6515745"/>
                </a:lnTo>
                <a:lnTo>
                  <a:pt x="8981556" y="6468573"/>
                </a:lnTo>
                <a:lnTo>
                  <a:pt x="8971524" y="6424488"/>
                </a:lnTo>
                <a:lnTo>
                  <a:pt x="8958968" y="6383608"/>
                </a:lnTo>
                <a:lnTo>
                  <a:pt x="8943670" y="6346054"/>
                </a:lnTo>
                <a:lnTo>
                  <a:pt x="8925412" y="6311946"/>
                </a:lnTo>
                <a:lnTo>
                  <a:pt x="8879156" y="6254543"/>
                </a:lnTo>
                <a:lnTo>
                  <a:pt x="8818464" y="6212357"/>
                </a:lnTo>
                <a:lnTo>
                  <a:pt x="8782166" y="6197269"/>
                </a:lnTo>
                <a:lnTo>
                  <a:pt x="8741608" y="6186344"/>
                </a:lnTo>
                <a:lnTo>
                  <a:pt x="8696578" y="6179701"/>
                </a:lnTo>
                <a:lnTo>
                  <a:pt x="8646856" y="6177460"/>
                </a:lnTo>
                <a:close/>
                <a:moveTo>
                  <a:pt x="8553970" y="6077851"/>
                </a:moveTo>
                <a:lnTo>
                  <a:pt x="8553970" y="6177460"/>
                </a:lnTo>
                <a:lnTo>
                  <a:pt x="8504528" y="6179701"/>
                </a:lnTo>
                <a:lnTo>
                  <a:pt x="8459744" y="6186344"/>
                </a:lnTo>
                <a:lnTo>
                  <a:pt x="8419404" y="6197269"/>
                </a:lnTo>
                <a:lnTo>
                  <a:pt x="8383292" y="6212357"/>
                </a:lnTo>
                <a:lnTo>
                  <a:pt x="8322900" y="6254543"/>
                </a:lnTo>
                <a:lnTo>
                  <a:pt x="8276848" y="6311946"/>
                </a:lnTo>
                <a:lnTo>
                  <a:pt x="8258666" y="6346054"/>
                </a:lnTo>
                <a:lnTo>
                  <a:pt x="8243424" y="6383608"/>
                </a:lnTo>
                <a:lnTo>
                  <a:pt x="8230912" y="6424488"/>
                </a:lnTo>
                <a:lnTo>
                  <a:pt x="8220912" y="6468573"/>
                </a:lnTo>
                <a:lnTo>
                  <a:pt x="8213212" y="6515745"/>
                </a:lnTo>
                <a:lnTo>
                  <a:pt x="8207596" y="6565885"/>
                </a:lnTo>
                <a:lnTo>
                  <a:pt x="8203850" y="6618871"/>
                </a:lnTo>
                <a:lnTo>
                  <a:pt x="8201760" y="6674585"/>
                </a:lnTo>
                <a:lnTo>
                  <a:pt x="8201110" y="6732908"/>
                </a:lnTo>
                <a:lnTo>
                  <a:pt x="8201744" y="6791809"/>
                </a:lnTo>
                <a:lnTo>
                  <a:pt x="8203788" y="6848066"/>
                </a:lnTo>
                <a:lnTo>
                  <a:pt x="8207466" y="6901561"/>
                </a:lnTo>
                <a:lnTo>
                  <a:pt x="8212998" y="6952173"/>
                </a:lnTo>
                <a:lnTo>
                  <a:pt x="8220604" y="6999784"/>
                </a:lnTo>
                <a:lnTo>
                  <a:pt x="8230504" y="7044272"/>
                </a:lnTo>
                <a:lnTo>
                  <a:pt x="8242920" y="7085520"/>
                </a:lnTo>
                <a:lnTo>
                  <a:pt x="8258072" y="7123407"/>
                </a:lnTo>
                <a:lnTo>
                  <a:pt x="8276182" y="7157813"/>
                </a:lnTo>
                <a:lnTo>
                  <a:pt x="8322152" y="7215706"/>
                </a:lnTo>
                <a:lnTo>
                  <a:pt x="8382596" y="7258243"/>
                </a:lnTo>
                <a:lnTo>
                  <a:pt x="8418798" y="7273454"/>
                </a:lnTo>
                <a:lnTo>
                  <a:pt x="8459280" y="7284467"/>
                </a:lnTo>
                <a:lnTo>
                  <a:pt x="8504264" y="7291162"/>
                </a:lnTo>
                <a:lnTo>
                  <a:pt x="8553970" y="7293421"/>
                </a:lnTo>
                <a:lnTo>
                  <a:pt x="8553970" y="7391342"/>
                </a:lnTo>
                <a:lnTo>
                  <a:pt x="8502324" y="7389609"/>
                </a:lnTo>
                <a:lnTo>
                  <a:pt x="8454390" y="7384456"/>
                </a:lnTo>
                <a:lnTo>
                  <a:pt x="8410050" y="7375956"/>
                </a:lnTo>
                <a:lnTo>
                  <a:pt x="8369176" y="7364181"/>
                </a:lnTo>
                <a:lnTo>
                  <a:pt x="8331650" y="7349203"/>
                </a:lnTo>
                <a:lnTo>
                  <a:pt x="8297346" y="7331095"/>
                </a:lnTo>
                <a:lnTo>
                  <a:pt x="8237920" y="7285777"/>
                </a:lnTo>
                <a:lnTo>
                  <a:pt x="8189918" y="7228803"/>
                </a:lnTo>
                <a:lnTo>
                  <a:pt x="8169894" y="7196125"/>
                </a:lnTo>
                <a:lnTo>
                  <a:pt x="8152358" y="7160750"/>
                </a:lnTo>
                <a:lnTo>
                  <a:pt x="8137190" y="7122750"/>
                </a:lnTo>
                <a:lnTo>
                  <a:pt x="8124264" y="7082197"/>
                </a:lnTo>
                <a:lnTo>
                  <a:pt x="8113458" y="7039164"/>
                </a:lnTo>
                <a:lnTo>
                  <a:pt x="8104652" y="6993721"/>
                </a:lnTo>
                <a:lnTo>
                  <a:pt x="8097722" y="6945943"/>
                </a:lnTo>
                <a:lnTo>
                  <a:pt x="8092544" y="6895900"/>
                </a:lnTo>
                <a:lnTo>
                  <a:pt x="8088998" y="6843665"/>
                </a:lnTo>
                <a:lnTo>
                  <a:pt x="8086960" y="6789310"/>
                </a:lnTo>
                <a:lnTo>
                  <a:pt x="8086308" y="6732908"/>
                </a:lnTo>
                <a:lnTo>
                  <a:pt x="8086982" y="6676747"/>
                </a:lnTo>
                <a:lnTo>
                  <a:pt x="8089082" y="6622632"/>
                </a:lnTo>
                <a:lnTo>
                  <a:pt x="8092722" y="6570635"/>
                </a:lnTo>
                <a:lnTo>
                  <a:pt x="8098020" y="6520827"/>
                </a:lnTo>
                <a:lnTo>
                  <a:pt x="8105090" y="6473278"/>
                </a:lnTo>
                <a:lnTo>
                  <a:pt x="8114050" y="6428061"/>
                </a:lnTo>
                <a:lnTo>
                  <a:pt x="8125014" y="6385245"/>
                </a:lnTo>
                <a:lnTo>
                  <a:pt x="8138100" y="6344902"/>
                </a:lnTo>
                <a:lnTo>
                  <a:pt x="8153424" y="6307104"/>
                </a:lnTo>
                <a:lnTo>
                  <a:pt x="8171098" y="6271921"/>
                </a:lnTo>
                <a:lnTo>
                  <a:pt x="8191242" y="6239424"/>
                </a:lnTo>
                <a:lnTo>
                  <a:pt x="8239400" y="6182774"/>
                </a:lnTo>
                <a:lnTo>
                  <a:pt x="8298824" y="6137723"/>
                </a:lnTo>
                <a:lnTo>
                  <a:pt x="8333052" y="6119725"/>
                </a:lnTo>
                <a:lnTo>
                  <a:pt x="8370442" y="6104840"/>
                </a:lnTo>
                <a:lnTo>
                  <a:pt x="8411114" y="6093139"/>
                </a:lnTo>
                <a:lnTo>
                  <a:pt x="8455182" y="6084693"/>
                </a:lnTo>
                <a:lnTo>
                  <a:pt x="8502762" y="6079573"/>
                </a:lnTo>
                <a:close/>
                <a:moveTo>
                  <a:pt x="1425338" y="6077851"/>
                </a:moveTo>
                <a:lnTo>
                  <a:pt x="1476547" y="6079573"/>
                </a:lnTo>
                <a:lnTo>
                  <a:pt x="1524127" y="6084693"/>
                </a:lnTo>
                <a:lnTo>
                  <a:pt x="1568196" y="6093139"/>
                </a:lnTo>
                <a:lnTo>
                  <a:pt x="1608868" y="6104840"/>
                </a:lnTo>
                <a:lnTo>
                  <a:pt x="1646259" y="6119725"/>
                </a:lnTo>
                <a:lnTo>
                  <a:pt x="1680486" y="6137723"/>
                </a:lnTo>
                <a:lnTo>
                  <a:pt x="1739910" y="6182774"/>
                </a:lnTo>
                <a:lnTo>
                  <a:pt x="1788068" y="6239424"/>
                </a:lnTo>
                <a:lnTo>
                  <a:pt x="1808212" y="6271921"/>
                </a:lnTo>
                <a:lnTo>
                  <a:pt x="1825887" y="6307104"/>
                </a:lnTo>
                <a:lnTo>
                  <a:pt x="1841209" y="6344902"/>
                </a:lnTo>
                <a:lnTo>
                  <a:pt x="1854294" y="6385245"/>
                </a:lnTo>
                <a:lnTo>
                  <a:pt x="1865258" y="6428061"/>
                </a:lnTo>
                <a:lnTo>
                  <a:pt x="1874218" y="6473278"/>
                </a:lnTo>
                <a:lnTo>
                  <a:pt x="1881288" y="6520827"/>
                </a:lnTo>
                <a:lnTo>
                  <a:pt x="1886585" y="6570635"/>
                </a:lnTo>
                <a:lnTo>
                  <a:pt x="1890226" y="6622632"/>
                </a:lnTo>
                <a:lnTo>
                  <a:pt x="1892325" y="6676747"/>
                </a:lnTo>
                <a:lnTo>
                  <a:pt x="1892999" y="6732908"/>
                </a:lnTo>
                <a:lnTo>
                  <a:pt x="1892357" y="6789310"/>
                </a:lnTo>
                <a:lnTo>
                  <a:pt x="1890350" y="6843665"/>
                </a:lnTo>
                <a:lnTo>
                  <a:pt x="1886851" y="6895900"/>
                </a:lnTo>
                <a:lnTo>
                  <a:pt x="1881734" y="6945943"/>
                </a:lnTo>
                <a:lnTo>
                  <a:pt x="1874873" y="6993721"/>
                </a:lnTo>
                <a:lnTo>
                  <a:pt x="1866143" y="7039164"/>
                </a:lnTo>
                <a:lnTo>
                  <a:pt x="1855418" y="7082197"/>
                </a:lnTo>
                <a:lnTo>
                  <a:pt x="1842572" y="7122750"/>
                </a:lnTo>
                <a:lnTo>
                  <a:pt x="1827479" y="7160750"/>
                </a:lnTo>
                <a:lnTo>
                  <a:pt x="1810014" y="7196125"/>
                </a:lnTo>
                <a:lnTo>
                  <a:pt x="1790050" y="7228803"/>
                </a:lnTo>
                <a:lnTo>
                  <a:pt x="1742125" y="7285777"/>
                </a:lnTo>
                <a:lnTo>
                  <a:pt x="1682698" y="7331095"/>
                </a:lnTo>
                <a:lnTo>
                  <a:pt x="1648356" y="7349203"/>
                </a:lnTo>
                <a:lnTo>
                  <a:pt x="1610762" y="7364181"/>
                </a:lnTo>
                <a:lnTo>
                  <a:pt x="1569788" y="7375956"/>
                </a:lnTo>
                <a:lnTo>
                  <a:pt x="1525310" y="7384456"/>
                </a:lnTo>
                <a:lnTo>
                  <a:pt x="1477202" y="7389609"/>
                </a:lnTo>
                <a:lnTo>
                  <a:pt x="1425338" y="7391342"/>
                </a:lnTo>
                <a:lnTo>
                  <a:pt x="1425338" y="7293421"/>
                </a:lnTo>
                <a:lnTo>
                  <a:pt x="1475586" y="7291162"/>
                </a:lnTo>
                <a:lnTo>
                  <a:pt x="1521017" y="7284467"/>
                </a:lnTo>
                <a:lnTo>
                  <a:pt x="1561858" y="7273454"/>
                </a:lnTo>
                <a:lnTo>
                  <a:pt x="1598338" y="7258243"/>
                </a:lnTo>
                <a:lnTo>
                  <a:pt x="1659131" y="7215706"/>
                </a:lnTo>
                <a:lnTo>
                  <a:pt x="1705228" y="7157813"/>
                </a:lnTo>
                <a:lnTo>
                  <a:pt x="1723337" y="7123407"/>
                </a:lnTo>
                <a:lnTo>
                  <a:pt x="1738459" y="7085520"/>
                </a:lnTo>
                <a:lnTo>
                  <a:pt x="1750822" y="7044272"/>
                </a:lnTo>
                <a:lnTo>
                  <a:pt x="1760655" y="6999784"/>
                </a:lnTo>
                <a:lnTo>
                  <a:pt x="1768187" y="6952173"/>
                </a:lnTo>
                <a:lnTo>
                  <a:pt x="1773647" y="6901561"/>
                </a:lnTo>
                <a:lnTo>
                  <a:pt x="1777263" y="6848066"/>
                </a:lnTo>
                <a:lnTo>
                  <a:pt x="1779265" y="6791809"/>
                </a:lnTo>
                <a:lnTo>
                  <a:pt x="1779882" y="6732908"/>
                </a:lnTo>
                <a:lnTo>
                  <a:pt x="1779232" y="6674585"/>
                </a:lnTo>
                <a:lnTo>
                  <a:pt x="1777140" y="6618871"/>
                </a:lnTo>
                <a:lnTo>
                  <a:pt x="1773387" y="6565885"/>
                </a:lnTo>
                <a:lnTo>
                  <a:pt x="1767758" y="6515745"/>
                </a:lnTo>
                <a:lnTo>
                  <a:pt x="1760037" y="6468573"/>
                </a:lnTo>
                <a:lnTo>
                  <a:pt x="1750006" y="6424488"/>
                </a:lnTo>
                <a:lnTo>
                  <a:pt x="1737450" y="6383608"/>
                </a:lnTo>
                <a:lnTo>
                  <a:pt x="1722151" y="6346054"/>
                </a:lnTo>
                <a:lnTo>
                  <a:pt x="1703894" y="6311946"/>
                </a:lnTo>
                <a:lnTo>
                  <a:pt x="1657637" y="6254543"/>
                </a:lnTo>
                <a:lnTo>
                  <a:pt x="1596946" y="6212357"/>
                </a:lnTo>
                <a:lnTo>
                  <a:pt x="1560647" y="6197269"/>
                </a:lnTo>
                <a:lnTo>
                  <a:pt x="1520090" y="6186344"/>
                </a:lnTo>
                <a:lnTo>
                  <a:pt x="1475059" y="6179701"/>
                </a:lnTo>
                <a:lnTo>
                  <a:pt x="1425338" y="6177460"/>
                </a:lnTo>
                <a:close/>
                <a:moveTo>
                  <a:pt x="1332420" y="6077851"/>
                </a:moveTo>
                <a:lnTo>
                  <a:pt x="1332420" y="6177460"/>
                </a:lnTo>
                <a:lnTo>
                  <a:pt x="1282980" y="6179701"/>
                </a:lnTo>
                <a:lnTo>
                  <a:pt x="1238197" y="6186344"/>
                </a:lnTo>
                <a:lnTo>
                  <a:pt x="1197858" y="6197269"/>
                </a:lnTo>
                <a:lnTo>
                  <a:pt x="1161747" y="6212357"/>
                </a:lnTo>
                <a:lnTo>
                  <a:pt x="1101354" y="6254543"/>
                </a:lnTo>
                <a:lnTo>
                  <a:pt x="1055303" y="6311946"/>
                </a:lnTo>
                <a:lnTo>
                  <a:pt x="1037120" y="6346054"/>
                </a:lnTo>
                <a:lnTo>
                  <a:pt x="1021878" y="6383608"/>
                </a:lnTo>
                <a:lnTo>
                  <a:pt x="1009365" y="6424488"/>
                </a:lnTo>
                <a:lnTo>
                  <a:pt x="999365" y="6468573"/>
                </a:lnTo>
                <a:lnTo>
                  <a:pt x="991664" y="6515745"/>
                </a:lnTo>
                <a:lnTo>
                  <a:pt x="986047" y="6565885"/>
                </a:lnTo>
                <a:lnTo>
                  <a:pt x="982301" y="6618871"/>
                </a:lnTo>
                <a:lnTo>
                  <a:pt x="980210" y="6674585"/>
                </a:lnTo>
                <a:lnTo>
                  <a:pt x="979561" y="6732908"/>
                </a:lnTo>
                <a:lnTo>
                  <a:pt x="980194" y="6791809"/>
                </a:lnTo>
                <a:lnTo>
                  <a:pt x="982239" y="6848066"/>
                </a:lnTo>
                <a:lnTo>
                  <a:pt x="985918" y="6901561"/>
                </a:lnTo>
                <a:lnTo>
                  <a:pt x="991450" y="6952173"/>
                </a:lnTo>
                <a:lnTo>
                  <a:pt x="999056" y="6999784"/>
                </a:lnTo>
                <a:lnTo>
                  <a:pt x="1008957" y="7044272"/>
                </a:lnTo>
                <a:lnTo>
                  <a:pt x="1021374" y="7085520"/>
                </a:lnTo>
                <a:lnTo>
                  <a:pt x="1036527" y="7123407"/>
                </a:lnTo>
                <a:lnTo>
                  <a:pt x="1054636" y="7157813"/>
                </a:lnTo>
                <a:lnTo>
                  <a:pt x="1100607" y="7215706"/>
                </a:lnTo>
                <a:lnTo>
                  <a:pt x="1161051" y="7258243"/>
                </a:lnTo>
                <a:lnTo>
                  <a:pt x="1197253" y="7273454"/>
                </a:lnTo>
                <a:lnTo>
                  <a:pt x="1237734" y="7284467"/>
                </a:lnTo>
                <a:lnTo>
                  <a:pt x="1282716" y="7291162"/>
                </a:lnTo>
                <a:lnTo>
                  <a:pt x="1332420" y="7293421"/>
                </a:lnTo>
                <a:lnTo>
                  <a:pt x="1332420" y="7391342"/>
                </a:lnTo>
                <a:lnTo>
                  <a:pt x="1280774" y="7389609"/>
                </a:lnTo>
                <a:lnTo>
                  <a:pt x="1232841" y="7384456"/>
                </a:lnTo>
                <a:lnTo>
                  <a:pt x="1188500" y="7375956"/>
                </a:lnTo>
                <a:lnTo>
                  <a:pt x="1147627" y="7364181"/>
                </a:lnTo>
                <a:lnTo>
                  <a:pt x="1110100" y="7349203"/>
                </a:lnTo>
                <a:lnTo>
                  <a:pt x="1075796" y="7331095"/>
                </a:lnTo>
                <a:lnTo>
                  <a:pt x="1016370" y="7285777"/>
                </a:lnTo>
                <a:lnTo>
                  <a:pt x="968368" y="7228803"/>
                </a:lnTo>
                <a:lnTo>
                  <a:pt x="948344" y="7196125"/>
                </a:lnTo>
                <a:lnTo>
                  <a:pt x="930809" y="7160750"/>
                </a:lnTo>
                <a:lnTo>
                  <a:pt x="915640" y="7122750"/>
                </a:lnTo>
                <a:lnTo>
                  <a:pt x="902714" y="7082197"/>
                </a:lnTo>
                <a:lnTo>
                  <a:pt x="891909" y="7039164"/>
                </a:lnTo>
                <a:lnTo>
                  <a:pt x="883103" y="6993721"/>
                </a:lnTo>
                <a:lnTo>
                  <a:pt x="876172" y="6945943"/>
                </a:lnTo>
                <a:lnTo>
                  <a:pt x="870995" y="6895900"/>
                </a:lnTo>
                <a:lnTo>
                  <a:pt x="867449" y="6843665"/>
                </a:lnTo>
                <a:lnTo>
                  <a:pt x="865411" y="6789310"/>
                </a:lnTo>
                <a:lnTo>
                  <a:pt x="864759" y="6732908"/>
                </a:lnTo>
                <a:lnTo>
                  <a:pt x="865433" y="6676747"/>
                </a:lnTo>
                <a:lnTo>
                  <a:pt x="867532" y="6622632"/>
                </a:lnTo>
                <a:lnTo>
                  <a:pt x="871172" y="6570635"/>
                </a:lnTo>
                <a:lnTo>
                  <a:pt x="876470" y="6520827"/>
                </a:lnTo>
                <a:lnTo>
                  <a:pt x="883541" y="6473278"/>
                </a:lnTo>
                <a:lnTo>
                  <a:pt x="892501" y="6428061"/>
                </a:lnTo>
                <a:lnTo>
                  <a:pt x="903465" y="6385245"/>
                </a:lnTo>
                <a:lnTo>
                  <a:pt x="916551" y="6344902"/>
                </a:lnTo>
                <a:lnTo>
                  <a:pt x="931874" y="6307104"/>
                </a:lnTo>
                <a:lnTo>
                  <a:pt x="949549" y="6271921"/>
                </a:lnTo>
                <a:lnTo>
                  <a:pt x="969693" y="6239424"/>
                </a:lnTo>
                <a:lnTo>
                  <a:pt x="1017851" y="6182774"/>
                </a:lnTo>
                <a:lnTo>
                  <a:pt x="1077275" y="6137723"/>
                </a:lnTo>
                <a:lnTo>
                  <a:pt x="1111502" y="6119725"/>
                </a:lnTo>
                <a:lnTo>
                  <a:pt x="1148893" y="6104840"/>
                </a:lnTo>
                <a:lnTo>
                  <a:pt x="1189565" y="6093139"/>
                </a:lnTo>
                <a:lnTo>
                  <a:pt x="1233632" y="6084693"/>
                </a:lnTo>
                <a:lnTo>
                  <a:pt x="1281212" y="6079573"/>
                </a:lnTo>
                <a:close/>
                <a:moveTo>
                  <a:pt x="510883" y="5591624"/>
                </a:moveTo>
                <a:lnTo>
                  <a:pt x="553593" y="5595343"/>
                </a:lnTo>
                <a:lnTo>
                  <a:pt x="586648" y="5608717"/>
                </a:lnTo>
                <a:lnTo>
                  <a:pt x="607989" y="5635070"/>
                </a:lnTo>
                <a:lnTo>
                  <a:pt x="615560" y="5677726"/>
                </a:lnTo>
                <a:lnTo>
                  <a:pt x="607989" y="5722334"/>
                </a:lnTo>
                <a:lnTo>
                  <a:pt x="586648" y="5749689"/>
                </a:lnTo>
                <a:lnTo>
                  <a:pt x="553593" y="5763433"/>
                </a:lnTo>
                <a:lnTo>
                  <a:pt x="510883" y="5767206"/>
                </a:lnTo>
                <a:lnTo>
                  <a:pt x="468173" y="5763433"/>
                </a:lnTo>
                <a:lnTo>
                  <a:pt x="435118" y="5749689"/>
                </a:lnTo>
                <a:lnTo>
                  <a:pt x="413777" y="5722334"/>
                </a:lnTo>
                <a:lnTo>
                  <a:pt x="406206" y="5677726"/>
                </a:lnTo>
                <a:lnTo>
                  <a:pt x="414015" y="5635070"/>
                </a:lnTo>
                <a:lnTo>
                  <a:pt x="435754" y="5608717"/>
                </a:lnTo>
                <a:lnTo>
                  <a:pt x="468888" y="5595343"/>
                </a:lnTo>
                <a:close/>
                <a:moveTo>
                  <a:pt x="2493379" y="5439680"/>
                </a:moveTo>
                <a:lnTo>
                  <a:pt x="3408440" y="5439680"/>
                </a:lnTo>
                <a:lnTo>
                  <a:pt x="3408440" y="5547731"/>
                </a:lnTo>
                <a:lnTo>
                  <a:pt x="2493379" y="5547731"/>
                </a:lnTo>
                <a:close/>
                <a:moveTo>
                  <a:pt x="2493379" y="5086827"/>
                </a:moveTo>
                <a:lnTo>
                  <a:pt x="3408440" y="5086827"/>
                </a:lnTo>
                <a:lnTo>
                  <a:pt x="3408440" y="5194878"/>
                </a:lnTo>
                <a:lnTo>
                  <a:pt x="2493379" y="5194878"/>
                </a:lnTo>
                <a:close/>
                <a:moveTo>
                  <a:pt x="510883" y="4882541"/>
                </a:moveTo>
                <a:lnTo>
                  <a:pt x="553593" y="4886049"/>
                </a:lnTo>
                <a:lnTo>
                  <a:pt x="586648" y="4899212"/>
                </a:lnTo>
                <a:lnTo>
                  <a:pt x="607989" y="4925987"/>
                </a:lnTo>
                <a:lnTo>
                  <a:pt x="615560" y="4970332"/>
                </a:lnTo>
                <a:lnTo>
                  <a:pt x="607989" y="5013251"/>
                </a:lnTo>
                <a:lnTo>
                  <a:pt x="586648" y="5040185"/>
                </a:lnTo>
                <a:lnTo>
                  <a:pt x="553593" y="5054139"/>
                </a:lnTo>
                <a:lnTo>
                  <a:pt x="510883" y="5058123"/>
                </a:lnTo>
                <a:lnTo>
                  <a:pt x="469154" y="5054139"/>
                </a:lnTo>
                <a:lnTo>
                  <a:pt x="436602" y="5040185"/>
                </a:lnTo>
                <a:lnTo>
                  <a:pt x="415446" y="5013251"/>
                </a:lnTo>
                <a:lnTo>
                  <a:pt x="407902" y="4970332"/>
                </a:lnTo>
                <a:lnTo>
                  <a:pt x="415446" y="4925987"/>
                </a:lnTo>
                <a:lnTo>
                  <a:pt x="436602" y="4899212"/>
                </a:lnTo>
                <a:lnTo>
                  <a:pt x="469154" y="4886049"/>
                </a:lnTo>
                <a:close/>
                <a:moveTo>
                  <a:pt x="4158261" y="4558390"/>
                </a:moveTo>
                <a:lnTo>
                  <a:pt x="4209470" y="4560112"/>
                </a:lnTo>
                <a:lnTo>
                  <a:pt x="4257050" y="4565232"/>
                </a:lnTo>
                <a:lnTo>
                  <a:pt x="4301119" y="4573678"/>
                </a:lnTo>
                <a:lnTo>
                  <a:pt x="4341791" y="4585379"/>
                </a:lnTo>
                <a:lnTo>
                  <a:pt x="4379182" y="4600264"/>
                </a:lnTo>
                <a:lnTo>
                  <a:pt x="4413410" y="4618262"/>
                </a:lnTo>
                <a:lnTo>
                  <a:pt x="4472834" y="4663313"/>
                </a:lnTo>
                <a:lnTo>
                  <a:pt x="4520992" y="4719963"/>
                </a:lnTo>
                <a:lnTo>
                  <a:pt x="4541136" y="4752460"/>
                </a:lnTo>
                <a:lnTo>
                  <a:pt x="4558811" y="4787643"/>
                </a:lnTo>
                <a:lnTo>
                  <a:pt x="4574133" y="4825441"/>
                </a:lnTo>
                <a:lnTo>
                  <a:pt x="4587218" y="4865784"/>
                </a:lnTo>
                <a:lnTo>
                  <a:pt x="4598182" y="4908599"/>
                </a:lnTo>
                <a:lnTo>
                  <a:pt x="4607142" y="4953817"/>
                </a:lnTo>
                <a:lnTo>
                  <a:pt x="4614212" y="5001365"/>
                </a:lnTo>
                <a:lnTo>
                  <a:pt x="4619509" y="5051174"/>
                </a:lnTo>
                <a:lnTo>
                  <a:pt x="4623150" y="5103171"/>
                </a:lnTo>
                <a:lnTo>
                  <a:pt x="4625249" y="5157286"/>
                </a:lnTo>
                <a:lnTo>
                  <a:pt x="4625923" y="5213447"/>
                </a:lnTo>
                <a:lnTo>
                  <a:pt x="4625281" y="5269849"/>
                </a:lnTo>
                <a:lnTo>
                  <a:pt x="4623274" y="5324204"/>
                </a:lnTo>
                <a:lnTo>
                  <a:pt x="4619775" y="5376438"/>
                </a:lnTo>
                <a:lnTo>
                  <a:pt x="4614658" y="5426481"/>
                </a:lnTo>
                <a:lnTo>
                  <a:pt x="4607797" y="5474260"/>
                </a:lnTo>
                <a:lnTo>
                  <a:pt x="4599067" y="5519702"/>
                </a:lnTo>
                <a:lnTo>
                  <a:pt x="4588342" y="5562735"/>
                </a:lnTo>
                <a:lnTo>
                  <a:pt x="4575496" y="5603288"/>
                </a:lnTo>
                <a:lnTo>
                  <a:pt x="4560403" y="5641288"/>
                </a:lnTo>
                <a:lnTo>
                  <a:pt x="4542938" y="5676663"/>
                </a:lnTo>
                <a:lnTo>
                  <a:pt x="4522974" y="5709341"/>
                </a:lnTo>
                <a:lnTo>
                  <a:pt x="4475049" y="5766315"/>
                </a:lnTo>
                <a:lnTo>
                  <a:pt x="4415622" y="5811633"/>
                </a:lnTo>
                <a:lnTo>
                  <a:pt x="4381279" y="5829741"/>
                </a:lnTo>
                <a:lnTo>
                  <a:pt x="4343685" y="5844719"/>
                </a:lnTo>
                <a:lnTo>
                  <a:pt x="4302711" y="5856494"/>
                </a:lnTo>
                <a:lnTo>
                  <a:pt x="4258233" y="5864994"/>
                </a:lnTo>
                <a:lnTo>
                  <a:pt x="4210125" y="5870147"/>
                </a:lnTo>
                <a:lnTo>
                  <a:pt x="4158261" y="5871880"/>
                </a:lnTo>
                <a:lnTo>
                  <a:pt x="4158261" y="5773960"/>
                </a:lnTo>
                <a:lnTo>
                  <a:pt x="4208509" y="5771701"/>
                </a:lnTo>
                <a:lnTo>
                  <a:pt x="4253940" y="5765006"/>
                </a:lnTo>
                <a:lnTo>
                  <a:pt x="4294781" y="5753993"/>
                </a:lnTo>
                <a:lnTo>
                  <a:pt x="4331261" y="5738782"/>
                </a:lnTo>
                <a:lnTo>
                  <a:pt x="4392054" y="5696245"/>
                </a:lnTo>
                <a:lnTo>
                  <a:pt x="4438152" y="5638352"/>
                </a:lnTo>
                <a:lnTo>
                  <a:pt x="4456261" y="5603946"/>
                </a:lnTo>
                <a:lnTo>
                  <a:pt x="4471383" y="5566059"/>
                </a:lnTo>
                <a:lnTo>
                  <a:pt x="4483746" y="5524811"/>
                </a:lnTo>
                <a:lnTo>
                  <a:pt x="4493579" y="5480323"/>
                </a:lnTo>
                <a:lnTo>
                  <a:pt x="4501111" y="5432712"/>
                </a:lnTo>
                <a:lnTo>
                  <a:pt x="4506571" y="5382100"/>
                </a:lnTo>
                <a:lnTo>
                  <a:pt x="4510187" y="5328605"/>
                </a:lnTo>
                <a:lnTo>
                  <a:pt x="4512189" y="5272348"/>
                </a:lnTo>
                <a:lnTo>
                  <a:pt x="4512806" y="5213447"/>
                </a:lnTo>
                <a:lnTo>
                  <a:pt x="4512156" y="5155124"/>
                </a:lnTo>
                <a:lnTo>
                  <a:pt x="4510064" y="5099410"/>
                </a:lnTo>
                <a:lnTo>
                  <a:pt x="4506311" y="5046423"/>
                </a:lnTo>
                <a:lnTo>
                  <a:pt x="4500682" y="4996284"/>
                </a:lnTo>
                <a:lnTo>
                  <a:pt x="4492961" y="4949112"/>
                </a:lnTo>
                <a:lnTo>
                  <a:pt x="4482930" y="4905026"/>
                </a:lnTo>
                <a:lnTo>
                  <a:pt x="4470374" y="4864147"/>
                </a:lnTo>
                <a:lnTo>
                  <a:pt x="4455075" y="4826593"/>
                </a:lnTo>
                <a:lnTo>
                  <a:pt x="4436818" y="4792484"/>
                </a:lnTo>
                <a:lnTo>
                  <a:pt x="4390560" y="4735082"/>
                </a:lnTo>
                <a:lnTo>
                  <a:pt x="4329869" y="4692895"/>
                </a:lnTo>
                <a:lnTo>
                  <a:pt x="4293570" y="4677807"/>
                </a:lnTo>
                <a:lnTo>
                  <a:pt x="4253013" y="4666882"/>
                </a:lnTo>
                <a:lnTo>
                  <a:pt x="4207982" y="4660239"/>
                </a:lnTo>
                <a:lnTo>
                  <a:pt x="4158261" y="4657998"/>
                </a:lnTo>
                <a:close/>
                <a:moveTo>
                  <a:pt x="4065343" y="4558390"/>
                </a:moveTo>
                <a:lnTo>
                  <a:pt x="4065343" y="4657998"/>
                </a:lnTo>
                <a:lnTo>
                  <a:pt x="4015903" y="4660239"/>
                </a:lnTo>
                <a:lnTo>
                  <a:pt x="3971120" y="4666882"/>
                </a:lnTo>
                <a:lnTo>
                  <a:pt x="3930781" y="4677807"/>
                </a:lnTo>
                <a:lnTo>
                  <a:pt x="3894670" y="4692895"/>
                </a:lnTo>
                <a:lnTo>
                  <a:pt x="3834276" y="4735082"/>
                </a:lnTo>
                <a:lnTo>
                  <a:pt x="3788225" y="4792484"/>
                </a:lnTo>
                <a:lnTo>
                  <a:pt x="3770042" y="4826593"/>
                </a:lnTo>
                <a:lnTo>
                  <a:pt x="3754800" y="4864147"/>
                </a:lnTo>
                <a:lnTo>
                  <a:pt x="3742287" y="4905026"/>
                </a:lnTo>
                <a:lnTo>
                  <a:pt x="3732287" y="4949112"/>
                </a:lnTo>
                <a:lnTo>
                  <a:pt x="3724586" y="4996284"/>
                </a:lnTo>
                <a:lnTo>
                  <a:pt x="3718969" y="5046423"/>
                </a:lnTo>
                <a:lnTo>
                  <a:pt x="3715223" y="5099410"/>
                </a:lnTo>
                <a:lnTo>
                  <a:pt x="3713132" y="5155124"/>
                </a:lnTo>
                <a:lnTo>
                  <a:pt x="3712483" y="5213447"/>
                </a:lnTo>
                <a:lnTo>
                  <a:pt x="3713116" y="5272348"/>
                </a:lnTo>
                <a:lnTo>
                  <a:pt x="3715161" y="5328605"/>
                </a:lnTo>
                <a:lnTo>
                  <a:pt x="3718840" y="5382100"/>
                </a:lnTo>
                <a:lnTo>
                  <a:pt x="3724372" y="5432712"/>
                </a:lnTo>
                <a:lnTo>
                  <a:pt x="3731978" y="5480323"/>
                </a:lnTo>
                <a:lnTo>
                  <a:pt x="3741879" y="5524811"/>
                </a:lnTo>
                <a:lnTo>
                  <a:pt x="3754296" y="5566059"/>
                </a:lnTo>
                <a:lnTo>
                  <a:pt x="3769449" y="5603946"/>
                </a:lnTo>
                <a:lnTo>
                  <a:pt x="3787558" y="5638352"/>
                </a:lnTo>
                <a:lnTo>
                  <a:pt x="3833530" y="5696245"/>
                </a:lnTo>
                <a:lnTo>
                  <a:pt x="3893974" y="5738782"/>
                </a:lnTo>
                <a:lnTo>
                  <a:pt x="3930176" y="5753993"/>
                </a:lnTo>
                <a:lnTo>
                  <a:pt x="3970657" y="5765006"/>
                </a:lnTo>
                <a:lnTo>
                  <a:pt x="4015639" y="5771701"/>
                </a:lnTo>
                <a:lnTo>
                  <a:pt x="4065343" y="5773960"/>
                </a:lnTo>
                <a:lnTo>
                  <a:pt x="4065343" y="5871880"/>
                </a:lnTo>
                <a:lnTo>
                  <a:pt x="4013697" y="5870147"/>
                </a:lnTo>
                <a:lnTo>
                  <a:pt x="3965764" y="5864994"/>
                </a:lnTo>
                <a:lnTo>
                  <a:pt x="3921423" y="5856494"/>
                </a:lnTo>
                <a:lnTo>
                  <a:pt x="3880550" y="5844719"/>
                </a:lnTo>
                <a:lnTo>
                  <a:pt x="3843023" y="5829741"/>
                </a:lnTo>
                <a:lnTo>
                  <a:pt x="3808718" y="5811633"/>
                </a:lnTo>
                <a:lnTo>
                  <a:pt x="3749292" y="5766315"/>
                </a:lnTo>
                <a:lnTo>
                  <a:pt x="3701290" y="5709341"/>
                </a:lnTo>
                <a:lnTo>
                  <a:pt x="3681266" y="5676663"/>
                </a:lnTo>
                <a:lnTo>
                  <a:pt x="3663731" y="5641288"/>
                </a:lnTo>
                <a:lnTo>
                  <a:pt x="3648562" y="5603288"/>
                </a:lnTo>
                <a:lnTo>
                  <a:pt x="3635636" y="5562735"/>
                </a:lnTo>
                <a:lnTo>
                  <a:pt x="3624831" y="5519702"/>
                </a:lnTo>
                <a:lnTo>
                  <a:pt x="3616025" y="5474260"/>
                </a:lnTo>
                <a:lnTo>
                  <a:pt x="3609094" y="5426481"/>
                </a:lnTo>
                <a:lnTo>
                  <a:pt x="3603917" y="5376438"/>
                </a:lnTo>
                <a:lnTo>
                  <a:pt x="3600371" y="5324204"/>
                </a:lnTo>
                <a:lnTo>
                  <a:pt x="3598333" y="5269849"/>
                </a:lnTo>
                <a:lnTo>
                  <a:pt x="3597681" y="5213447"/>
                </a:lnTo>
                <a:lnTo>
                  <a:pt x="3598355" y="5157286"/>
                </a:lnTo>
                <a:lnTo>
                  <a:pt x="3600454" y="5103171"/>
                </a:lnTo>
                <a:lnTo>
                  <a:pt x="3604094" y="5051174"/>
                </a:lnTo>
                <a:lnTo>
                  <a:pt x="3609392" y="5001365"/>
                </a:lnTo>
                <a:lnTo>
                  <a:pt x="3616463" y="4953817"/>
                </a:lnTo>
                <a:lnTo>
                  <a:pt x="3625423" y="4908599"/>
                </a:lnTo>
                <a:lnTo>
                  <a:pt x="3636387" y="4865784"/>
                </a:lnTo>
                <a:lnTo>
                  <a:pt x="3649473" y="4825441"/>
                </a:lnTo>
                <a:lnTo>
                  <a:pt x="3664796" y="4787643"/>
                </a:lnTo>
                <a:lnTo>
                  <a:pt x="3682471" y="4752460"/>
                </a:lnTo>
                <a:lnTo>
                  <a:pt x="3702615" y="4719963"/>
                </a:lnTo>
                <a:lnTo>
                  <a:pt x="3750773" y="4663313"/>
                </a:lnTo>
                <a:lnTo>
                  <a:pt x="3810197" y="4618262"/>
                </a:lnTo>
                <a:lnTo>
                  <a:pt x="3844425" y="4600264"/>
                </a:lnTo>
                <a:lnTo>
                  <a:pt x="3881816" y="4585379"/>
                </a:lnTo>
                <a:lnTo>
                  <a:pt x="3922488" y="4573678"/>
                </a:lnTo>
                <a:lnTo>
                  <a:pt x="3966555" y="4565232"/>
                </a:lnTo>
                <a:lnTo>
                  <a:pt x="4014135" y="4560112"/>
                </a:lnTo>
                <a:close/>
                <a:moveTo>
                  <a:pt x="0" y="3920215"/>
                </a:moveTo>
                <a:lnTo>
                  <a:pt x="915049" y="3920215"/>
                </a:lnTo>
                <a:lnTo>
                  <a:pt x="915049" y="4028265"/>
                </a:lnTo>
                <a:lnTo>
                  <a:pt x="0" y="4028265"/>
                </a:lnTo>
                <a:close/>
                <a:moveTo>
                  <a:pt x="0" y="3567362"/>
                </a:moveTo>
                <a:lnTo>
                  <a:pt x="915049" y="3567362"/>
                </a:lnTo>
                <a:lnTo>
                  <a:pt x="915049" y="3675412"/>
                </a:lnTo>
                <a:lnTo>
                  <a:pt x="0" y="3675412"/>
                </a:lnTo>
                <a:close/>
                <a:moveTo>
                  <a:pt x="1617156" y="3046199"/>
                </a:moveTo>
                <a:lnTo>
                  <a:pt x="1995337" y="3046199"/>
                </a:lnTo>
                <a:lnTo>
                  <a:pt x="1995337" y="3141449"/>
                </a:lnTo>
                <a:lnTo>
                  <a:pt x="1995337" y="4252699"/>
                </a:lnTo>
                <a:lnTo>
                  <a:pt x="1995337" y="4349219"/>
                </a:lnTo>
                <a:lnTo>
                  <a:pt x="1617156" y="4349219"/>
                </a:lnTo>
                <a:lnTo>
                  <a:pt x="1617156" y="4252699"/>
                </a:lnTo>
                <a:lnTo>
                  <a:pt x="1878853" y="4252699"/>
                </a:lnTo>
                <a:lnTo>
                  <a:pt x="1878853" y="3141449"/>
                </a:lnTo>
                <a:lnTo>
                  <a:pt x="1617156" y="3141449"/>
                </a:lnTo>
                <a:close/>
                <a:moveTo>
                  <a:pt x="1138061" y="3046199"/>
                </a:moveTo>
                <a:lnTo>
                  <a:pt x="1516242" y="3046199"/>
                </a:lnTo>
                <a:lnTo>
                  <a:pt x="1516242" y="3141449"/>
                </a:lnTo>
                <a:lnTo>
                  <a:pt x="1254558" y="3141449"/>
                </a:lnTo>
                <a:lnTo>
                  <a:pt x="1254558" y="4252699"/>
                </a:lnTo>
                <a:lnTo>
                  <a:pt x="1516242" y="4252699"/>
                </a:lnTo>
                <a:lnTo>
                  <a:pt x="1516242" y="4349219"/>
                </a:lnTo>
                <a:lnTo>
                  <a:pt x="1138061" y="4349219"/>
                </a:lnTo>
                <a:lnTo>
                  <a:pt x="1138061" y="4252699"/>
                </a:lnTo>
                <a:lnTo>
                  <a:pt x="1138061" y="3141449"/>
                </a:lnTo>
                <a:close/>
                <a:moveTo>
                  <a:pt x="3641480" y="3038926"/>
                </a:moveTo>
                <a:lnTo>
                  <a:pt x="3692687" y="3040648"/>
                </a:lnTo>
                <a:lnTo>
                  <a:pt x="3740267" y="3045768"/>
                </a:lnTo>
                <a:lnTo>
                  <a:pt x="3784335" y="3054214"/>
                </a:lnTo>
                <a:lnTo>
                  <a:pt x="3825006" y="3065915"/>
                </a:lnTo>
                <a:lnTo>
                  <a:pt x="3862397" y="3080800"/>
                </a:lnTo>
                <a:lnTo>
                  <a:pt x="3896625" y="3098798"/>
                </a:lnTo>
                <a:lnTo>
                  <a:pt x="3956049" y="3143849"/>
                </a:lnTo>
                <a:lnTo>
                  <a:pt x="4004207" y="3200499"/>
                </a:lnTo>
                <a:lnTo>
                  <a:pt x="4024351" y="3232996"/>
                </a:lnTo>
                <a:lnTo>
                  <a:pt x="4042026" y="3268179"/>
                </a:lnTo>
                <a:lnTo>
                  <a:pt x="4057349" y="3305977"/>
                </a:lnTo>
                <a:lnTo>
                  <a:pt x="4070435" y="3346320"/>
                </a:lnTo>
                <a:lnTo>
                  <a:pt x="4081399" y="3389137"/>
                </a:lnTo>
                <a:lnTo>
                  <a:pt x="4090359" y="3434354"/>
                </a:lnTo>
                <a:lnTo>
                  <a:pt x="4097430" y="3481903"/>
                </a:lnTo>
                <a:lnTo>
                  <a:pt x="4102728" y="3531711"/>
                </a:lnTo>
                <a:lnTo>
                  <a:pt x="4106368" y="3583708"/>
                </a:lnTo>
                <a:lnTo>
                  <a:pt x="4108468" y="3637823"/>
                </a:lnTo>
                <a:lnTo>
                  <a:pt x="4109142" y="3693984"/>
                </a:lnTo>
                <a:lnTo>
                  <a:pt x="4108500" y="3750386"/>
                </a:lnTo>
                <a:lnTo>
                  <a:pt x="4106493" y="3804741"/>
                </a:lnTo>
                <a:lnTo>
                  <a:pt x="4102994" y="3856976"/>
                </a:lnTo>
                <a:lnTo>
                  <a:pt x="4097877" y="3907019"/>
                </a:lnTo>
                <a:lnTo>
                  <a:pt x="4091016" y="3954797"/>
                </a:lnTo>
                <a:lnTo>
                  <a:pt x="4082286" y="4000240"/>
                </a:lnTo>
                <a:lnTo>
                  <a:pt x="4071561" y="4043273"/>
                </a:lnTo>
                <a:lnTo>
                  <a:pt x="4058715" y="4083826"/>
                </a:lnTo>
                <a:lnTo>
                  <a:pt x="4043622" y="4121826"/>
                </a:lnTo>
                <a:lnTo>
                  <a:pt x="4026157" y="4157201"/>
                </a:lnTo>
                <a:lnTo>
                  <a:pt x="4006193" y="4189879"/>
                </a:lnTo>
                <a:lnTo>
                  <a:pt x="3958268" y="4246853"/>
                </a:lnTo>
                <a:lnTo>
                  <a:pt x="3898841" y="4292171"/>
                </a:lnTo>
                <a:lnTo>
                  <a:pt x="3864498" y="4310279"/>
                </a:lnTo>
                <a:lnTo>
                  <a:pt x="3826904" y="4325257"/>
                </a:lnTo>
                <a:lnTo>
                  <a:pt x="3785930" y="4337032"/>
                </a:lnTo>
                <a:lnTo>
                  <a:pt x="3741452" y="4345532"/>
                </a:lnTo>
                <a:lnTo>
                  <a:pt x="3693344" y="4350685"/>
                </a:lnTo>
                <a:lnTo>
                  <a:pt x="3641480" y="4352418"/>
                </a:lnTo>
                <a:lnTo>
                  <a:pt x="3641480" y="4254498"/>
                </a:lnTo>
                <a:lnTo>
                  <a:pt x="3691728" y="4252239"/>
                </a:lnTo>
                <a:lnTo>
                  <a:pt x="3737159" y="4245544"/>
                </a:lnTo>
                <a:lnTo>
                  <a:pt x="3778000" y="4234531"/>
                </a:lnTo>
                <a:lnTo>
                  <a:pt x="3814480" y="4219320"/>
                </a:lnTo>
                <a:lnTo>
                  <a:pt x="3875274" y="4176783"/>
                </a:lnTo>
                <a:lnTo>
                  <a:pt x="3921371" y="4118890"/>
                </a:lnTo>
                <a:lnTo>
                  <a:pt x="3939480" y="4084484"/>
                </a:lnTo>
                <a:lnTo>
                  <a:pt x="3954602" y="4046597"/>
                </a:lnTo>
                <a:lnTo>
                  <a:pt x="3966965" y="4005349"/>
                </a:lnTo>
                <a:lnTo>
                  <a:pt x="3976798" y="3960860"/>
                </a:lnTo>
                <a:lnTo>
                  <a:pt x="3984330" y="3913250"/>
                </a:lnTo>
                <a:lnTo>
                  <a:pt x="3989790" y="3862638"/>
                </a:lnTo>
                <a:lnTo>
                  <a:pt x="3993406" y="3809143"/>
                </a:lnTo>
                <a:lnTo>
                  <a:pt x="3995408" y="3752885"/>
                </a:lnTo>
                <a:lnTo>
                  <a:pt x="3996025" y="3693984"/>
                </a:lnTo>
                <a:lnTo>
                  <a:pt x="3995375" y="3635662"/>
                </a:lnTo>
                <a:lnTo>
                  <a:pt x="3993282" y="3579947"/>
                </a:lnTo>
                <a:lnTo>
                  <a:pt x="3989529" y="3526961"/>
                </a:lnTo>
                <a:lnTo>
                  <a:pt x="3983900" y="3476822"/>
                </a:lnTo>
                <a:lnTo>
                  <a:pt x="3976178" y="3429650"/>
                </a:lnTo>
                <a:lnTo>
                  <a:pt x="3966147" y="3385563"/>
                </a:lnTo>
                <a:lnTo>
                  <a:pt x="3953590" y="3344684"/>
                </a:lnTo>
                <a:lnTo>
                  <a:pt x="3938291" y="3307130"/>
                </a:lnTo>
                <a:lnTo>
                  <a:pt x="3920033" y="3273021"/>
                </a:lnTo>
                <a:lnTo>
                  <a:pt x="3873774" y="3215619"/>
                </a:lnTo>
                <a:lnTo>
                  <a:pt x="3813084" y="3173432"/>
                </a:lnTo>
                <a:lnTo>
                  <a:pt x="3776785" y="3158344"/>
                </a:lnTo>
                <a:lnTo>
                  <a:pt x="3736230" y="3147419"/>
                </a:lnTo>
                <a:lnTo>
                  <a:pt x="3691200" y="3140776"/>
                </a:lnTo>
                <a:lnTo>
                  <a:pt x="3641480" y="3138535"/>
                </a:lnTo>
                <a:close/>
                <a:moveTo>
                  <a:pt x="3548584" y="3038926"/>
                </a:moveTo>
                <a:lnTo>
                  <a:pt x="3548584" y="3138535"/>
                </a:lnTo>
                <a:lnTo>
                  <a:pt x="3499144" y="3140776"/>
                </a:lnTo>
                <a:lnTo>
                  <a:pt x="3454362" y="3147419"/>
                </a:lnTo>
                <a:lnTo>
                  <a:pt x="3414023" y="3158344"/>
                </a:lnTo>
                <a:lnTo>
                  <a:pt x="3377913" y="3173432"/>
                </a:lnTo>
                <a:lnTo>
                  <a:pt x="3317522" y="3215619"/>
                </a:lnTo>
                <a:lnTo>
                  <a:pt x="3271471" y="3273021"/>
                </a:lnTo>
                <a:lnTo>
                  <a:pt x="3253289" y="3307130"/>
                </a:lnTo>
                <a:lnTo>
                  <a:pt x="3238049" y="3344684"/>
                </a:lnTo>
                <a:lnTo>
                  <a:pt x="3225536" y="3385563"/>
                </a:lnTo>
                <a:lnTo>
                  <a:pt x="3215537" y="3429650"/>
                </a:lnTo>
                <a:lnTo>
                  <a:pt x="3207836" y="3476822"/>
                </a:lnTo>
                <a:lnTo>
                  <a:pt x="3202221" y="3526961"/>
                </a:lnTo>
                <a:lnTo>
                  <a:pt x="3198475" y="3579947"/>
                </a:lnTo>
                <a:lnTo>
                  <a:pt x="3196384" y="3635662"/>
                </a:lnTo>
                <a:lnTo>
                  <a:pt x="3195735" y="3693984"/>
                </a:lnTo>
                <a:lnTo>
                  <a:pt x="3196368" y="3752885"/>
                </a:lnTo>
                <a:lnTo>
                  <a:pt x="3198413" y="3809143"/>
                </a:lnTo>
                <a:lnTo>
                  <a:pt x="3202091" y="3862638"/>
                </a:lnTo>
                <a:lnTo>
                  <a:pt x="3207622" y="3913250"/>
                </a:lnTo>
                <a:lnTo>
                  <a:pt x="3215228" y="3960860"/>
                </a:lnTo>
                <a:lnTo>
                  <a:pt x="3225128" y="4005349"/>
                </a:lnTo>
                <a:lnTo>
                  <a:pt x="3237544" y="4046597"/>
                </a:lnTo>
                <a:lnTo>
                  <a:pt x="3252696" y="4084484"/>
                </a:lnTo>
                <a:lnTo>
                  <a:pt x="3270804" y="4118890"/>
                </a:lnTo>
                <a:lnTo>
                  <a:pt x="3316774" y="4176783"/>
                </a:lnTo>
                <a:lnTo>
                  <a:pt x="3377217" y="4219320"/>
                </a:lnTo>
                <a:lnTo>
                  <a:pt x="3413418" y="4234531"/>
                </a:lnTo>
                <a:lnTo>
                  <a:pt x="3453899" y="4245544"/>
                </a:lnTo>
                <a:lnTo>
                  <a:pt x="3498881" y="4252239"/>
                </a:lnTo>
                <a:lnTo>
                  <a:pt x="3548584" y="4254498"/>
                </a:lnTo>
                <a:lnTo>
                  <a:pt x="3548584" y="4352418"/>
                </a:lnTo>
                <a:lnTo>
                  <a:pt x="3496940" y="4350685"/>
                </a:lnTo>
                <a:lnTo>
                  <a:pt x="3449008" y="4345532"/>
                </a:lnTo>
                <a:lnTo>
                  <a:pt x="3404668" y="4337032"/>
                </a:lnTo>
                <a:lnTo>
                  <a:pt x="3363796" y="4325257"/>
                </a:lnTo>
                <a:lnTo>
                  <a:pt x="3326270" y="4310279"/>
                </a:lnTo>
                <a:lnTo>
                  <a:pt x="3291967" y="4292171"/>
                </a:lnTo>
                <a:lnTo>
                  <a:pt x="3232542" y="4246853"/>
                </a:lnTo>
                <a:lnTo>
                  <a:pt x="3184540" y="4189879"/>
                </a:lnTo>
                <a:lnTo>
                  <a:pt x="3164517" y="4157201"/>
                </a:lnTo>
                <a:lnTo>
                  <a:pt x="3146982" y="4121826"/>
                </a:lnTo>
                <a:lnTo>
                  <a:pt x="3131813" y="4083826"/>
                </a:lnTo>
                <a:lnTo>
                  <a:pt x="3118888" y="4043273"/>
                </a:lnTo>
                <a:lnTo>
                  <a:pt x="3108083" y="4000240"/>
                </a:lnTo>
                <a:lnTo>
                  <a:pt x="3099276" y="3954797"/>
                </a:lnTo>
                <a:lnTo>
                  <a:pt x="3092346" y="3907019"/>
                </a:lnTo>
                <a:lnTo>
                  <a:pt x="3087169" y="3856976"/>
                </a:lnTo>
                <a:lnTo>
                  <a:pt x="3083623" y="3804741"/>
                </a:lnTo>
                <a:lnTo>
                  <a:pt x="3081585" y="3750386"/>
                </a:lnTo>
                <a:lnTo>
                  <a:pt x="3080933" y="3693984"/>
                </a:lnTo>
                <a:lnTo>
                  <a:pt x="3081606" y="3637823"/>
                </a:lnTo>
                <a:lnTo>
                  <a:pt x="3083706" y="3583708"/>
                </a:lnTo>
                <a:lnTo>
                  <a:pt x="3087346" y="3531711"/>
                </a:lnTo>
                <a:lnTo>
                  <a:pt x="3092643" y="3481903"/>
                </a:lnTo>
                <a:lnTo>
                  <a:pt x="3099713" y="3434354"/>
                </a:lnTo>
                <a:lnTo>
                  <a:pt x="3108673" y="3389137"/>
                </a:lnTo>
                <a:lnTo>
                  <a:pt x="3119637" y="3346320"/>
                </a:lnTo>
                <a:lnTo>
                  <a:pt x="3132722" y="3305977"/>
                </a:lnTo>
                <a:lnTo>
                  <a:pt x="3148044" y="3268179"/>
                </a:lnTo>
                <a:lnTo>
                  <a:pt x="3165718" y="3232996"/>
                </a:lnTo>
                <a:lnTo>
                  <a:pt x="3185862" y="3200499"/>
                </a:lnTo>
                <a:lnTo>
                  <a:pt x="3234018" y="3143849"/>
                </a:lnTo>
                <a:lnTo>
                  <a:pt x="3293441" y="3098798"/>
                </a:lnTo>
                <a:lnTo>
                  <a:pt x="3327668" y="3080800"/>
                </a:lnTo>
                <a:lnTo>
                  <a:pt x="3365059" y="3065915"/>
                </a:lnTo>
                <a:lnTo>
                  <a:pt x="3405730" y="3054214"/>
                </a:lnTo>
                <a:lnTo>
                  <a:pt x="3449797" y="3045768"/>
                </a:lnTo>
                <a:lnTo>
                  <a:pt x="3497376" y="3040648"/>
                </a:lnTo>
                <a:close/>
                <a:moveTo>
                  <a:pt x="3678369" y="2400757"/>
                </a:moveTo>
                <a:lnTo>
                  <a:pt x="4593430" y="2400757"/>
                </a:lnTo>
                <a:lnTo>
                  <a:pt x="4593430" y="2508807"/>
                </a:lnTo>
                <a:lnTo>
                  <a:pt x="3678369" y="2508807"/>
                </a:lnTo>
                <a:close/>
                <a:moveTo>
                  <a:pt x="2579115" y="2400753"/>
                </a:moveTo>
                <a:lnTo>
                  <a:pt x="3494165" y="2400753"/>
                </a:lnTo>
                <a:lnTo>
                  <a:pt x="3494165" y="2508804"/>
                </a:lnTo>
                <a:lnTo>
                  <a:pt x="2579115" y="2508804"/>
                </a:lnTo>
                <a:close/>
                <a:moveTo>
                  <a:pt x="3678369" y="2047903"/>
                </a:moveTo>
                <a:lnTo>
                  <a:pt x="4593430" y="2047903"/>
                </a:lnTo>
                <a:lnTo>
                  <a:pt x="4593430" y="2155954"/>
                </a:lnTo>
                <a:lnTo>
                  <a:pt x="3678369" y="2155954"/>
                </a:lnTo>
                <a:close/>
                <a:moveTo>
                  <a:pt x="2579115" y="2047899"/>
                </a:moveTo>
                <a:lnTo>
                  <a:pt x="3494165" y="2047899"/>
                </a:lnTo>
                <a:lnTo>
                  <a:pt x="3494165" y="2155950"/>
                </a:lnTo>
                <a:lnTo>
                  <a:pt x="2579115" y="2155950"/>
                </a:lnTo>
                <a:close/>
                <a:moveTo>
                  <a:pt x="6202942" y="1519467"/>
                </a:moveTo>
                <a:lnTo>
                  <a:pt x="6254150" y="1521189"/>
                </a:lnTo>
                <a:lnTo>
                  <a:pt x="6301730" y="1526309"/>
                </a:lnTo>
                <a:lnTo>
                  <a:pt x="6345796" y="1534755"/>
                </a:lnTo>
                <a:lnTo>
                  <a:pt x="6386468" y="1546456"/>
                </a:lnTo>
                <a:lnTo>
                  <a:pt x="6423858" y="1561341"/>
                </a:lnTo>
                <a:lnTo>
                  <a:pt x="6458084" y="1579339"/>
                </a:lnTo>
                <a:lnTo>
                  <a:pt x="6517506" y="1624390"/>
                </a:lnTo>
                <a:lnTo>
                  <a:pt x="6565664" y="1681040"/>
                </a:lnTo>
                <a:lnTo>
                  <a:pt x="6585806" y="1713537"/>
                </a:lnTo>
                <a:lnTo>
                  <a:pt x="6603482" y="1748720"/>
                </a:lnTo>
                <a:lnTo>
                  <a:pt x="6618804" y="1786518"/>
                </a:lnTo>
                <a:lnTo>
                  <a:pt x="6631888" y="1826861"/>
                </a:lnTo>
                <a:lnTo>
                  <a:pt x="6642852" y="1869678"/>
                </a:lnTo>
                <a:lnTo>
                  <a:pt x="6651812" y="1914895"/>
                </a:lnTo>
                <a:lnTo>
                  <a:pt x="6658882" y="1962443"/>
                </a:lnTo>
                <a:lnTo>
                  <a:pt x="6664180" y="2012251"/>
                </a:lnTo>
                <a:lnTo>
                  <a:pt x="6667820" y="2064248"/>
                </a:lnTo>
                <a:lnTo>
                  <a:pt x="6669918" y="2118363"/>
                </a:lnTo>
                <a:lnTo>
                  <a:pt x="6670594" y="2174524"/>
                </a:lnTo>
                <a:lnTo>
                  <a:pt x="6669952" y="2230926"/>
                </a:lnTo>
                <a:lnTo>
                  <a:pt x="6667946" y="2285281"/>
                </a:lnTo>
                <a:lnTo>
                  <a:pt x="6664446" y="2337516"/>
                </a:lnTo>
                <a:lnTo>
                  <a:pt x="6659328" y="2387560"/>
                </a:lnTo>
                <a:lnTo>
                  <a:pt x="6652468" y="2435337"/>
                </a:lnTo>
                <a:lnTo>
                  <a:pt x="6643740" y="2480781"/>
                </a:lnTo>
                <a:lnTo>
                  <a:pt x="6633014" y="2523814"/>
                </a:lnTo>
                <a:lnTo>
                  <a:pt x="6620170" y="2564367"/>
                </a:lnTo>
                <a:lnTo>
                  <a:pt x="6605078" y="2602367"/>
                </a:lnTo>
                <a:lnTo>
                  <a:pt x="6587612" y="2637742"/>
                </a:lnTo>
                <a:lnTo>
                  <a:pt x="6567650" y="2670420"/>
                </a:lnTo>
                <a:lnTo>
                  <a:pt x="6519726" y="2727394"/>
                </a:lnTo>
                <a:lnTo>
                  <a:pt x="6460300" y="2772712"/>
                </a:lnTo>
                <a:lnTo>
                  <a:pt x="6425960" y="2790820"/>
                </a:lnTo>
                <a:lnTo>
                  <a:pt x="6388366" y="2805798"/>
                </a:lnTo>
                <a:lnTo>
                  <a:pt x="6347392" y="2817573"/>
                </a:lnTo>
                <a:lnTo>
                  <a:pt x="6302914" y="2826073"/>
                </a:lnTo>
                <a:lnTo>
                  <a:pt x="6254806" y="2831226"/>
                </a:lnTo>
                <a:lnTo>
                  <a:pt x="6202942" y="2832959"/>
                </a:lnTo>
                <a:lnTo>
                  <a:pt x="6202942" y="2735039"/>
                </a:lnTo>
                <a:lnTo>
                  <a:pt x="6253190" y="2732780"/>
                </a:lnTo>
                <a:lnTo>
                  <a:pt x="6298622" y="2726085"/>
                </a:lnTo>
                <a:lnTo>
                  <a:pt x="6339462" y="2715072"/>
                </a:lnTo>
                <a:lnTo>
                  <a:pt x="6375942" y="2699861"/>
                </a:lnTo>
                <a:lnTo>
                  <a:pt x="6436736" y="2657324"/>
                </a:lnTo>
                <a:lnTo>
                  <a:pt x="6482832" y="2599431"/>
                </a:lnTo>
                <a:lnTo>
                  <a:pt x="6500942" y="2565024"/>
                </a:lnTo>
                <a:lnTo>
                  <a:pt x="6516064" y="2527138"/>
                </a:lnTo>
                <a:lnTo>
                  <a:pt x="6528426" y="2485890"/>
                </a:lnTo>
                <a:lnTo>
                  <a:pt x="6538260" y="2441401"/>
                </a:lnTo>
                <a:lnTo>
                  <a:pt x="6545792" y="2393791"/>
                </a:lnTo>
                <a:lnTo>
                  <a:pt x="6551252" y="2343178"/>
                </a:lnTo>
                <a:lnTo>
                  <a:pt x="6554868" y="2289683"/>
                </a:lnTo>
                <a:lnTo>
                  <a:pt x="6556870" y="2233425"/>
                </a:lnTo>
                <a:lnTo>
                  <a:pt x="6557486" y="2174524"/>
                </a:lnTo>
                <a:lnTo>
                  <a:pt x="6556836" y="2116203"/>
                </a:lnTo>
                <a:lnTo>
                  <a:pt x="6554744" y="2060487"/>
                </a:lnTo>
                <a:lnTo>
                  <a:pt x="6550990" y="2007501"/>
                </a:lnTo>
                <a:lnTo>
                  <a:pt x="6545362" y="1957362"/>
                </a:lnTo>
                <a:lnTo>
                  <a:pt x="6537640" y="1910190"/>
                </a:lnTo>
                <a:lnTo>
                  <a:pt x="6527608" y="1866104"/>
                </a:lnTo>
                <a:lnTo>
                  <a:pt x="6515052" y="1825226"/>
                </a:lnTo>
                <a:lnTo>
                  <a:pt x="6499752" y="1787671"/>
                </a:lnTo>
                <a:lnTo>
                  <a:pt x="6481494" y="1753562"/>
                </a:lnTo>
                <a:lnTo>
                  <a:pt x="6435236" y="1696160"/>
                </a:lnTo>
                <a:lnTo>
                  <a:pt x="6374546" y="1653973"/>
                </a:lnTo>
                <a:lnTo>
                  <a:pt x="6338248" y="1638885"/>
                </a:lnTo>
                <a:lnTo>
                  <a:pt x="6297692" y="1627960"/>
                </a:lnTo>
                <a:lnTo>
                  <a:pt x="6252662" y="1621317"/>
                </a:lnTo>
                <a:lnTo>
                  <a:pt x="6202942" y="1619076"/>
                </a:lnTo>
                <a:close/>
                <a:moveTo>
                  <a:pt x="6110023" y="1519467"/>
                </a:moveTo>
                <a:lnTo>
                  <a:pt x="6110023" y="1619076"/>
                </a:lnTo>
                <a:lnTo>
                  <a:pt x="6060583" y="1621317"/>
                </a:lnTo>
                <a:lnTo>
                  <a:pt x="6015801" y="1627960"/>
                </a:lnTo>
                <a:lnTo>
                  <a:pt x="5975462" y="1638885"/>
                </a:lnTo>
                <a:lnTo>
                  <a:pt x="5939352" y="1653973"/>
                </a:lnTo>
                <a:lnTo>
                  <a:pt x="5878960" y="1696160"/>
                </a:lnTo>
                <a:lnTo>
                  <a:pt x="5832910" y="1753562"/>
                </a:lnTo>
                <a:lnTo>
                  <a:pt x="5814728" y="1787671"/>
                </a:lnTo>
                <a:lnTo>
                  <a:pt x="5799488" y="1825226"/>
                </a:lnTo>
                <a:lnTo>
                  <a:pt x="5786975" y="1866104"/>
                </a:lnTo>
                <a:lnTo>
                  <a:pt x="5776976" y="1910190"/>
                </a:lnTo>
                <a:lnTo>
                  <a:pt x="5769275" y="1957362"/>
                </a:lnTo>
                <a:lnTo>
                  <a:pt x="5763660" y="2007501"/>
                </a:lnTo>
                <a:lnTo>
                  <a:pt x="5759914" y="2060487"/>
                </a:lnTo>
                <a:lnTo>
                  <a:pt x="5757823" y="2116203"/>
                </a:lnTo>
                <a:lnTo>
                  <a:pt x="5757174" y="2174524"/>
                </a:lnTo>
                <a:lnTo>
                  <a:pt x="5757807" y="2233425"/>
                </a:lnTo>
                <a:lnTo>
                  <a:pt x="5759852" y="2289683"/>
                </a:lnTo>
                <a:lnTo>
                  <a:pt x="5763530" y="2343178"/>
                </a:lnTo>
                <a:lnTo>
                  <a:pt x="5769061" y="2393791"/>
                </a:lnTo>
                <a:lnTo>
                  <a:pt x="5776667" y="2441401"/>
                </a:lnTo>
                <a:lnTo>
                  <a:pt x="5786567" y="2485890"/>
                </a:lnTo>
                <a:lnTo>
                  <a:pt x="5798983" y="2527138"/>
                </a:lnTo>
                <a:lnTo>
                  <a:pt x="5814135" y="2565024"/>
                </a:lnTo>
                <a:lnTo>
                  <a:pt x="5832243" y="2599431"/>
                </a:lnTo>
                <a:lnTo>
                  <a:pt x="5878214" y="2657324"/>
                </a:lnTo>
                <a:lnTo>
                  <a:pt x="5938656" y="2699861"/>
                </a:lnTo>
                <a:lnTo>
                  <a:pt x="5974857" y="2715072"/>
                </a:lnTo>
                <a:lnTo>
                  <a:pt x="6015338" y="2726085"/>
                </a:lnTo>
                <a:lnTo>
                  <a:pt x="6060320" y="2732780"/>
                </a:lnTo>
                <a:lnTo>
                  <a:pt x="6110023" y="2735039"/>
                </a:lnTo>
                <a:lnTo>
                  <a:pt x="6110023" y="2832959"/>
                </a:lnTo>
                <a:lnTo>
                  <a:pt x="6058379" y="2831226"/>
                </a:lnTo>
                <a:lnTo>
                  <a:pt x="6010447" y="2826073"/>
                </a:lnTo>
                <a:lnTo>
                  <a:pt x="5966107" y="2817573"/>
                </a:lnTo>
                <a:lnTo>
                  <a:pt x="5925235" y="2805798"/>
                </a:lnTo>
                <a:lnTo>
                  <a:pt x="5887709" y="2790820"/>
                </a:lnTo>
                <a:lnTo>
                  <a:pt x="5853406" y="2772712"/>
                </a:lnTo>
                <a:lnTo>
                  <a:pt x="5793981" y="2727394"/>
                </a:lnTo>
                <a:lnTo>
                  <a:pt x="5745979" y="2670420"/>
                </a:lnTo>
                <a:lnTo>
                  <a:pt x="5725956" y="2637742"/>
                </a:lnTo>
                <a:lnTo>
                  <a:pt x="5708421" y="2602367"/>
                </a:lnTo>
                <a:lnTo>
                  <a:pt x="5693252" y="2564367"/>
                </a:lnTo>
                <a:lnTo>
                  <a:pt x="5680327" y="2523814"/>
                </a:lnTo>
                <a:lnTo>
                  <a:pt x="5669522" y="2480781"/>
                </a:lnTo>
                <a:lnTo>
                  <a:pt x="5660715" y="2435337"/>
                </a:lnTo>
                <a:lnTo>
                  <a:pt x="5653785" y="2387560"/>
                </a:lnTo>
                <a:lnTo>
                  <a:pt x="5648608" y="2337516"/>
                </a:lnTo>
                <a:lnTo>
                  <a:pt x="5645062" y="2285281"/>
                </a:lnTo>
                <a:lnTo>
                  <a:pt x="5643024" y="2230926"/>
                </a:lnTo>
                <a:lnTo>
                  <a:pt x="5642372" y="2174524"/>
                </a:lnTo>
                <a:lnTo>
                  <a:pt x="5643045" y="2118363"/>
                </a:lnTo>
                <a:lnTo>
                  <a:pt x="5645145" y="2064248"/>
                </a:lnTo>
                <a:lnTo>
                  <a:pt x="5648785" y="2012251"/>
                </a:lnTo>
                <a:lnTo>
                  <a:pt x="5654082" y="1962443"/>
                </a:lnTo>
                <a:lnTo>
                  <a:pt x="5661152" y="1914895"/>
                </a:lnTo>
                <a:lnTo>
                  <a:pt x="5670112" y="1869678"/>
                </a:lnTo>
                <a:lnTo>
                  <a:pt x="5681076" y="1826861"/>
                </a:lnTo>
                <a:lnTo>
                  <a:pt x="5694161" y="1786518"/>
                </a:lnTo>
                <a:lnTo>
                  <a:pt x="5709483" y="1748720"/>
                </a:lnTo>
                <a:lnTo>
                  <a:pt x="5727157" y="1713537"/>
                </a:lnTo>
                <a:lnTo>
                  <a:pt x="5747301" y="1681040"/>
                </a:lnTo>
                <a:lnTo>
                  <a:pt x="5795457" y="1624390"/>
                </a:lnTo>
                <a:lnTo>
                  <a:pt x="5854880" y="1579339"/>
                </a:lnTo>
                <a:lnTo>
                  <a:pt x="5889107" y="1561341"/>
                </a:lnTo>
                <a:lnTo>
                  <a:pt x="5926498" y="1546456"/>
                </a:lnTo>
                <a:lnTo>
                  <a:pt x="5967169" y="1534755"/>
                </a:lnTo>
                <a:lnTo>
                  <a:pt x="6011236" y="1526309"/>
                </a:lnTo>
                <a:lnTo>
                  <a:pt x="6058815" y="1521189"/>
                </a:lnTo>
                <a:close/>
                <a:moveTo>
                  <a:pt x="4207776" y="1033233"/>
                </a:moveTo>
                <a:lnTo>
                  <a:pt x="4417120" y="1033233"/>
                </a:lnTo>
                <a:lnTo>
                  <a:pt x="4417120" y="1208814"/>
                </a:lnTo>
                <a:lnTo>
                  <a:pt x="4207776" y="1208814"/>
                </a:lnTo>
                <a:close/>
                <a:moveTo>
                  <a:pt x="5865088" y="881295"/>
                </a:moveTo>
                <a:lnTo>
                  <a:pt x="6780150" y="881295"/>
                </a:lnTo>
                <a:lnTo>
                  <a:pt x="6780150" y="989345"/>
                </a:lnTo>
                <a:lnTo>
                  <a:pt x="5865088" y="989345"/>
                </a:lnTo>
                <a:close/>
                <a:moveTo>
                  <a:pt x="5865088" y="528441"/>
                </a:moveTo>
                <a:lnTo>
                  <a:pt x="6780150" y="528441"/>
                </a:lnTo>
                <a:lnTo>
                  <a:pt x="6780150" y="636492"/>
                </a:lnTo>
                <a:lnTo>
                  <a:pt x="5865088" y="636492"/>
                </a:lnTo>
                <a:close/>
                <a:moveTo>
                  <a:pt x="7862878" y="7089"/>
                </a:moveTo>
                <a:lnTo>
                  <a:pt x="8241058" y="7089"/>
                </a:lnTo>
                <a:lnTo>
                  <a:pt x="8241058" y="103609"/>
                </a:lnTo>
                <a:lnTo>
                  <a:pt x="7979374" y="103609"/>
                </a:lnTo>
                <a:lnTo>
                  <a:pt x="7979374" y="1213589"/>
                </a:lnTo>
                <a:lnTo>
                  <a:pt x="8241058" y="1213589"/>
                </a:lnTo>
                <a:lnTo>
                  <a:pt x="8241058" y="1310109"/>
                </a:lnTo>
                <a:lnTo>
                  <a:pt x="7862878" y="1310109"/>
                </a:lnTo>
                <a:lnTo>
                  <a:pt x="7862878" y="1213589"/>
                </a:lnTo>
                <a:lnTo>
                  <a:pt x="7862878" y="103609"/>
                </a:lnTo>
                <a:close/>
                <a:moveTo>
                  <a:pt x="3051834" y="2"/>
                </a:moveTo>
                <a:lnTo>
                  <a:pt x="3051834" y="99613"/>
                </a:lnTo>
                <a:lnTo>
                  <a:pt x="3002394" y="101852"/>
                </a:lnTo>
                <a:lnTo>
                  <a:pt x="2957611" y="108497"/>
                </a:lnTo>
                <a:lnTo>
                  <a:pt x="2917272" y="119421"/>
                </a:lnTo>
                <a:lnTo>
                  <a:pt x="2881161" y="134509"/>
                </a:lnTo>
                <a:lnTo>
                  <a:pt x="2820768" y="176694"/>
                </a:lnTo>
                <a:lnTo>
                  <a:pt x="2774716" y="234098"/>
                </a:lnTo>
                <a:lnTo>
                  <a:pt x="2756533" y="268206"/>
                </a:lnTo>
                <a:lnTo>
                  <a:pt x="2741291" y="305760"/>
                </a:lnTo>
                <a:lnTo>
                  <a:pt x="2728778" y="346640"/>
                </a:lnTo>
                <a:lnTo>
                  <a:pt x="2718778" y="390725"/>
                </a:lnTo>
                <a:lnTo>
                  <a:pt x="2711077" y="437898"/>
                </a:lnTo>
                <a:lnTo>
                  <a:pt x="2705460" y="488037"/>
                </a:lnTo>
                <a:lnTo>
                  <a:pt x="2701714" y="541024"/>
                </a:lnTo>
                <a:lnTo>
                  <a:pt x="2699623" y="596738"/>
                </a:lnTo>
                <a:lnTo>
                  <a:pt x="2698974" y="655061"/>
                </a:lnTo>
                <a:lnTo>
                  <a:pt x="2699607" y="713962"/>
                </a:lnTo>
                <a:lnTo>
                  <a:pt x="2701652" y="770219"/>
                </a:lnTo>
                <a:lnTo>
                  <a:pt x="2705331" y="823713"/>
                </a:lnTo>
                <a:lnTo>
                  <a:pt x="2710863" y="874325"/>
                </a:lnTo>
                <a:lnTo>
                  <a:pt x="2718469" y="921936"/>
                </a:lnTo>
                <a:lnTo>
                  <a:pt x="2728370" y="966424"/>
                </a:lnTo>
                <a:lnTo>
                  <a:pt x="2740787" y="1007672"/>
                </a:lnTo>
                <a:lnTo>
                  <a:pt x="2755940" y="1045559"/>
                </a:lnTo>
                <a:lnTo>
                  <a:pt x="2774049" y="1079966"/>
                </a:lnTo>
                <a:lnTo>
                  <a:pt x="2820020" y="1137858"/>
                </a:lnTo>
                <a:lnTo>
                  <a:pt x="2880465" y="1180395"/>
                </a:lnTo>
                <a:lnTo>
                  <a:pt x="2916667" y="1195607"/>
                </a:lnTo>
                <a:lnTo>
                  <a:pt x="2957148" y="1206620"/>
                </a:lnTo>
                <a:lnTo>
                  <a:pt x="3002130" y="1213314"/>
                </a:lnTo>
                <a:lnTo>
                  <a:pt x="3051834" y="1215573"/>
                </a:lnTo>
                <a:lnTo>
                  <a:pt x="3051834" y="1313495"/>
                </a:lnTo>
                <a:lnTo>
                  <a:pt x="3000188" y="1311761"/>
                </a:lnTo>
                <a:lnTo>
                  <a:pt x="2952255" y="1306609"/>
                </a:lnTo>
                <a:lnTo>
                  <a:pt x="2907914" y="1298108"/>
                </a:lnTo>
                <a:lnTo>
                  <a:pt x="2867041" y="1286333"/>
                </a:lnTo>
                <a:lnTo>
                  <a:pt x="2829514" y="1271355"/>
                </a:lnTo>
                <a:lnTo>
                  <a:pt x="2795209" y="1253247"/>
                </a:lnTo>
                <a:lnTo>
                  <a:pt x="2735783" y="1207930"/>
                </a:lnTo>
                <a:lnTo>
                  <a:pt x="2687781" y="1150955"/>
                </a:lnTo>
                <a:lnTo>
                  <a:pt x="2667757" y="1118277"/>
                </a:lnTo>
                <a:lnTo>
                  <a:pt x="2650222" y="1082902"/>
                </a:lnTo>
                <a:lnTo>
                  <a:pt x="2635053" y="1044902"/>
                </a:lnTo>
                <a:lnTo>
                  <a:pt x="2622127" y="1004349"/>
                </a:lnTo>
                <a:lnTo>
                  <a:pt x="2611322" y="961316"/>
                </a:lnTo>
                <a:lnTo>
                  <a:pt x="2602516" y="915873"/>
                </a:lnTo>
                <a:lnTo>
                  <a:pt x="2595585" y="868095"/>
                </a:lnTo>
                <a:lnTo>
                  <a:pt x="2590408" y="818052"/>
                </a:lnTo>
                <a:lnTo>
                  <a:pt x="2586862" y="765818"/>
                </a:lnTo>
                <a:lnTo>
                  <a:pt x="2584824" y="711463"/>
                </a:lnTo>
                <a:lnTo>
                  <a:pt x="2584172" y="655061"/>
                </a:lnTo>
                <a:lnTo>
                  <a:pt x="2584846" y="598899"/>
                </a:lnTo>
                <a:lnTo>
                  <a:pt x="2586945" y="544784"/>
                </a:lnTo>
                <a:lnTo>
                  <a:pt x="2590585" y="492788"/>
                </a:lnTo>
                <a:lnTo>
                  <a:pt x="2595883" y="442980"/>
                </a:lnTo>
                <a:lnTo>
                  <a:pt x="2602954" y="395431"/>
                </a:lnTo>
                <a:lnTo>
                  <a:pt x="2611914" y="350213"/>
                </a:lnTo>
                <a:lnTo>
                  <a:pt x="2622878" y="307398"/>
                </a:lnTo>
                <a:lnTo>
                  <a:pt x="2635964" y="267054"/>
                </a:lnTo>
                <a:lnTo>
                  <a:pt x="2651287" y="229257"/>
                </a:lnTo>
                <a:lnTo>
                  <a:pt x="2668962" y="194074"/>
                </a:lnTo>
                <a:lnTo>
                  <a:pt x="2689106" y="161576"/>
                </a:lnTo>
                <a:lnTo>
                  <a:pt x="2737264" y="104925"/>
                </a:lnTo>
                <a:lnTo>
                  <a:pt x="2796688" y="59876"/>
                </a:lnTo>
                <a:lnTo>
                  <a:pt x="2830916" y="41878"/>
                </a:lnTo>
                <a:lnTo>
                  <a:pt x="2868307" y="26992"/>
                </a:lnTo>
                <a:lnTo>
                  <a:pt x="2908979" y="15290"/>
                </a:lnTo>
                <a:lnTo>
                  <a:pt x="2953046" y="6845"/>
                </a:lnTo>
                <a:lnTo>
                  <a:pt x="3000626" y="1724"/>
                </a:lnTo>
                <a:close/>
                <a:moveTo>
                  <a:pt x="8336918" y="1"/>
                </a:moveTo>
                <a:lnTo>
                  <a:pt x="8388126" y="1723"/>
                </a:lnTo>
                <a:lnTo>
                  <a:pt x="8435706" y="6843"/>
                </a:lnTo>
                <a:lnTo>
                  <a:pt x="8479774" y="15289"/>
                </a:lnTo>
                <a:lnTo>
                  <a:pt x="8520444" y="26990"/>
                </a:lnTo>
                <a:lnTo>
                  <a:pt x="8557834" y="41875"/>
                </a:lnTo>
                <a:lnTo>
                  <a:pt x="8592062" y="59873"/>
                </a:lnTo>
                <a:lnTo>
                  <a:pt x="8651484" y="104924"/>
                </a:lnTo>
                <a:lnTo>
                  <a:pt x="8699640" y="161574"/>
                </a:lnTo>
                <a:lnTo>
                  <a:pt x="8719784" y="194071"/>
                </a:lnTo>
                <a:lnTo>
                  <a:pt x="8737458" y="229254"/>
                </a:lnTo>
                <a:lnTo>
                  <a:pt x="8752780" y="267052"/>
                </a:lnTo>
                <a:lnTo>
                  <a:pt x="8765866" y="307395"/>
                </a:lnTo>
                <a:lnTo>
                  <a:pt x="8776830" y="350211"/>
                </a:lnTo>
                <a:lnTo>
                  <a:pt x="8785788" y="395428"/>
                </a:lnTo>
                <a:lnTo>
                  <a:pt x="8792860" y="442977"/>
                </a:lnTo>
                <a:lnTo>
                  <a:pt x="8798158" y="492785"/>
                </a:lnTo>
                <a:lnTo>
                  <a:pt x="8801798" y="544782"/>
                </a:lnTo>
                <a:lnTo>
                  <a:pt x="8803896" y="598897"/>
                </a:lnTo>
                <a:lnTo>
                  <a:pt x="8804570" y="655058"/>
                </a:lnTo>
                <a:lnTo>
                  <a:pt x="8803930" y="711460"/>
                </a:lnTo>
                <a:lnTo>
                  <a:pt x="8801922" y="765815"/>
                </a:lnTo>
                <a:lnTo>
                  <a:pt x="8798422" y="818050"/>
                </a:lnTo>
                <a:lnTo>
                  <a:pt x="8793306" y="868094"/>
                </a:lnTo>
                <a:lnTo>
                  <a:pt x="8786446" y="915872"/>
                </a:lnTo>
                <a:lnTo>
                  <a:pt x="8777716" y="961315"/>
                </a:lnTo>
                <a:lnTo>
                  <a:pt x="8766992" y="1004348"/>
                </a:lnTo>
                <a:lnTo>
                  <a:pt x="8754146" y="1044900"/>
                </a:lnTo>
                <a:lnTo>
                  <a:pt x="8739054" y="1082901"/>
                </a:lnTo>
                <a:lnTo>
                  <a:pt x="8721590" y="1118276"/>
                </a:lnTo>
                <a:lnTo>
                  <a:pt x="8701628" y="1150954"/>
                </a:lnTo>
                <a:lnTo>
                  <a:pt x="8653704" y="1207928"/>
                </a:lnTo>
                <a:lnTo>
                  <a:pt x="8594278" y="1253246"/>
                </a:lnTo>
                <a:lnTo>
                  <a:pt x="8559936" y="1271354"/>
                </a:lnTo>
                <a:lnTo>
                  <a:pt x="8522342" y="1286332"/>
                </a:lnTo>
                <a:lnTo>
                  <a:pt x="8481370" y="1298107"/>
                </a:lnTo>
                <a:lnTo>
                  <a:pt x="8436892" y="1306607"/>
                </a:lnTo>
                <a:lnTo>
                  <a:pt x="8388784" y="1311760"/>
                </a:lnTo>
                <a:lnTo>
                  <a:pt x="8336918" y="1313493"/>
                </a:lnTo>
                <a:lnTo>
                  <a:pt x="8336918" y="1215572"/>
                </a:lnTo>
                <a:lnTo>
                  <a:pt x="8387168" y="1213313"/>
                </a:lnTo>
                <a:lnTo>
                  <a:pt x="8432598" y="1206618"/>
                </a:lnTo>
                <a:lnTo>
                  <a:pt x="8473438" y="1195605"/>
                </a:lnTo>
                <a:lnTo>
                  <a:pt x="8509918" y="1180394"/>
                </a:lnTo>
                <a:lnTo>
                  <a:pt x="8570710" y="1137857"/>
                </a:lnTo>
                <a:lnTo>
                  <a:pt x="8616804" y="1079964"/>
                </a:lnTo>
                <a:lnTo>
                  <a:pt x="8634912" y="1045558"/>
                </a:lnTo>
                <a:lnTo>
                  <a:pt x="8650034" y="1007671"/>
                </a:lnTo>
                <a:lnTo>
                  <a:pt x="8662396" y="966423"/>
                </a:lnTo>
                <a:lnTo>
                  <a:pt x="8672228" y="921934"/>
                </a:lnTo>
                <a:lnTo>
                  <a:pt x="8679760" y="874323"/>
                </a:lnTo>
                <a:lnTo>
                  <a:pt x="8685218" y="823711"/>
                </a:lnTo>
                <a:lnTo>
                  <a:pt x="8688834" y="770216"/>
                </a:lnTo>
                <a:lnTo>
                  <a:pt x="8690836" y="713959"/>
                </a:lnTo>
                <a:lnTo>
                  <a:pt x="8691452" y="655058"/>
                </a:lnTo>
                <a:lnTo>
                  <a:pt x="8690804" y="596735"/>
                </a:lnTo>
                <a:lnTo>
                  <a:pt x="8688710" y="541021"/>
                </a:lnTo>
                <a:lnTo>
                  <a:pt x="8684958" y="488035"/>
                </a:lnTo>
                <a:lnTo>
                  <a:pt x="8679330" y="437895"/>
                </a:lnTo>
                <a:lnTo>
                  <a:pt x="8671608" y="390723"/>
                </a:lnTo>
                <a:lnTo>
                  <a:pt x="8661578" y="346638"/>
                </a:lnTo>
                <a:lnTo>
                  <a:pt x="8649022" y="305758"/>
                </a:lnTo>
                <a:lnTo>
                  <a:pt x="8633724" y="268204"/>
                </a:lnTo>
                <a:lnTo>
                  <a:pt x="8615466" y="234096"/>
                </a:lnTo>
                <a:lnTo>
                  <a:pt x="8569210" y="176693"/>
                </a:lnTo>
                <a:lnTo>
                  <a:pt x="8508522" y="134507"/>
                </a:lnTo>
                <a:lnTo>
                  <a:pt x="8472224" y="119419"/>
                </a:lnTo>
                <a:lnTo>
                  <a:pt x="8431668" y="108494"/>
                </a:lnTo>
                <a:lnTo>
                  <a:pt x="8386640" y="101851"/>
                </a:lnTo>
                <a:lnTo>
                  <a:pt x="8336918" y="99610"/>
                </a:lnTo>
                <a:close/>
                <a:moveTo>
                  <a:pt x="3144752" y="0"/>
                </a:moveTo>
                <a:lnTo>
                  <a:pt x="3195959" y="1722"/>
                </a:lnTo>
                <a:lnTo>
                  <a:pt x="3243539" y="6842"/>
                </a:lnTo>
                <a:lnTo>
                  <a:pt x="3287606" y="15288"/>
                </a:lnTo>
                <a:lnTo>
                  <a:pt x="3328277" y="26989"/>
                </a:lnTo>
                <a:lnTo>
                  <a:pt x="3365667" y="41874"/>
                </a:lnTo>
                <a:lnTo>
                  <a:pt x="3399895" y="59872"/>
                </a:lnTo>
                <a:lnTo>
                  <a:pt x="3459317" y="104923"/>
                </a:lnTo>
                <a:lnTo>
                  <a:pt x="3507474" y="161573"/>
                </a:lnTo>
                <a:lnTo>
                  <a:pt x="3527617" y="194070"/>
                </a:lnTo>
                <a:lnTo>
                  <a:pt x="3545292" y="229253"/>
                </a:lnTo>
                <a:lnTo>
                  <a:pt x="3560614" y="267051"/>
                </a:lnTo>
                <a:lnTo>
                  <a:pt x="3573699" y="307394"/>
                </a:lnTo>
                <a:lnTo>
                  <a:pt x="3584663" y="350210"/>
                </a:lnTo>
                <a:lnTo>
                  <a:pt x="3593622" y="395427"/>
                </a:lnTo>
                <a:lnTo>
                  <a:pt x="3600693" y="442977"/>
                </a:lnTo>
                <a:lnTo>
                  <a:pt x="3605990" y="492785"/>
                </a:lnTo>
                <a:lnTo>
                  <a:pt x="3609630" y="544782"/>
                </a:lnTo>
                <a:lnTo>
                  <a:pt x="3611729" y="598897"/>
                </a:lnTo>
                <a:lnTo>
                  <a:pt x="3612403" y="655058"/>
                </a:lnTo>
                <a:lnTo>
                  <a:pt x="3611762" y="711460"/>
                </a:lnTo>
                <a:lnTo>
                  <a:pt x="3609755" y="765815"/>
                </a:lnTo>
                <a:lnTo>
                  <a:pt x="3606255" y="818050"/>
                </a:lnTo>
                <a:lnTo>
                  <a:pt x="3601138" y="868093"/>
                </a:lnTo>
                <a:lnTo>
                  <a:pt x="3594278" y="915871"/>
                </a:lnTo>
                <a:lnTo>
                  <a:pt x="3585548" y="961314"/>
                </a:lnTo>
                <a:lnTo>
                  <a:pt x="3574823" y="1004347"/>
                </a:lnTo>
                <a:lnTo>
                  <a:pt x="3561977" y="1044900"/>
                </a:lnTo>
                <a:lnTo>
                  <a:pt x="3546884" y="1082900"/>
                </a:lnTo>
                <a:lnTo>
                  <a:pt x="3529420" y="1118275"/>
                </a:lnTo>
                <a:lnTo>
                  <a:pt x="3509456" y="1150953"/>
                </a:lnTo>
                <a:lnTo>
                  <a:pt x="3461532" y="1207927"/>
                </a:lnTo>
                <a:lnTo>
                  <a:pt x="3402106" y="1253245"/>
                </a:lnTo>
                <a:lnTo>
                  <a:pt x="3367764" y="1271353"/>
                </a:lnTo>
                <a:lnTo>
                  <a:pt x="3330171" y="1286331"/>
                </a:lnTo>
                <a:lnTo>
                  <a:pt x="3289198" y="1298106"/>
                </a:lnTo>
                <a:lnTo>
                  <a:pt x="3244722" y="1306606"/>
                </a:lnTo>
                <a:lnTo>
                  <a:pt x="3196615" y="1311759"/>
                </a:lnTo>
                <a:lnTo>
                  <a:pt x="3144752" y="1313492"/>
                </a:lnTo>
                <a:lnTo>
                  <a:pt x="3144752" y="1215571"/>
                </a:lnTo>
                <a:lnTo>
                  <a:pt x="3194999" y="1213312"/>
                </a:lnTo>
                <a:lnTo>
                  <a:pt x="3240428" y="1206617"/>
                </a:lnTo>
                <a:lnTo>
                  <a:pt x="3281267" y="1195604"/>
                </a:lnTo>
                <a:lnTo>
                  <a:pt x="3317746" y="1180393"/>
                </a:lnTo>
                <a:lnTo>
                  <a:pt x="3378538" y="1137856"/>
                </a:lnTo>
                <a:lnTo>
                  <a:pt x="3424634" y="1079963"/>
                </a:lnTo>
                <a:lnTo>
                  <a:pt x="3442743" y="1045557"/>
                </a:lnTo>
                <a:lnTo>
                  <a:pt x="3457864" y="1007670"/>
                </a:lnTo>
                <a:lnTo>
                  <a:pt x="3470227" y="966422"/>
                </a:lnTo>
                <a:lnTo>
                  <a:pt x="3480060" y="921934"/>
                </a:lnTo>
                <a:lnTo>
                  <a:pt x="3487591" y="874323"/>
                </a:lnTo>
                <a:lnTo>
                  <a:pt x="3493051" y="823711"/>
                </a:lnTo>
                <a:lnTo>
                  <a:pt x="3496668" y="770216"/>
                </a:lnTo>
                <a:lnTo>
                  <a:pt x="3498670" y="713959"/>
                </a:lnTo>
                <a:lnTo>
                  <a:pt x="3499286" y="655058"/>
                </a:lnTo>
                <a:lnTo>
                  <a:pt x="3498637" y="596735"/>
                </a:lnTo>
                <a:lnTo>
                  <a:pt x="3496544" y="541021"/>
                </a:lnTo>
                <a:lnTo>
                  <a:pt x="3492792" y="488034"/>
                </a:lnTo>
                <a:lnTo>
                  <a:pt x="3487163" y="437895"/>
                </a:lnTo>
                <a:lnTo>
                  <a:pt x="3479442" y="390722"/>
                </a:lnTo>
                <a:lnTo>
                  <a:pt x="3469411" y="346637"/>
                </a:lnTo>
                <a:lnTo>
                  <a:pt x="3456855" y="305757"/>
                </a:lnTo>
                <a:lnTo>
                  <a:pt x="3441557" y="268203"/>
                </a:lnTo>
                <a:lnTo>
                  <a:pt x="3423300" y="234095"/>
                </a:lnTo>
                <a:lnTo>
                  <a:pt x="3377044" y="176692"/>
                </a:lnTo>
                <a:lnTo>
                  <a:pt x="3316354" y="134506"/>
                </a:lnTo>
                <a:lnTo>
                  <a:pt x="3280057" y="119418"/>
                </a:lnTo>
                <a:lnTo>
                  <a:pt x="3239501" y="108493"/>
                </a:lnTo>
                <a:lnTo>
                  <a:pt x="3194472" y="101850"/>
                </a:lnTo>
                <a:lnTo>
                  <a:pt x="3144752" y="99609"/>
                </a:lnTo>
                <a:close/>
              </a:path>
            </a:pathLst>
          </a:custGeom>
          <a:solidFill>
            <a:srgbClr val="88C66D"/>
          </a:solidFill>
        </p:spPr>
        <p:txBody>
          <a:bodyPr wrap="square" lIns="0" tIns="0" rIns="0" bIns="0" rtlCol="0">
            <a:noAutofit/>
          </a:bodyPr>
          <a:lstStyle/>
          <a:p>
            <a:endParaRPr lang="da-DK" sz="1350" dirty="0"/>
          </a:p>
        </p:txBody>
      </p:sp>
    </p:spTree>
    <p:extLst>
      <p:ext uri="{BB962C8B-B14F-4D97-AF65-F5344CB8AC3E}">
        <p14:creationId xmlns:p14="http://schemas.microsoft.com/office/powerpoint/2010/main" val="2903240310"/>
      </p:ext>
    </p:extLst>
  </p:cSld>
  <p:clrMapOvr>
    <a:masterClrMapping/>
  </p:clrMapOvr>
  <p:extLst>
    <p:ext uri="{DCECCB84-F9BA-43D5-87BE-67443E8EF086}">
      <p15:sldGuideLst xmlns:p15="http://schemas.microsoft.com/office/powerpoint/2012/main">
        <p15:guide id="2" orient="horz" pos="1201">
          <p15:clr>
            <a:srgbClr val="A4A3A4"/>
          </p15:clr>
        </p15:guide>
        <p15:guide id="3" orient="horz" pos="56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verskrift +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002998-56E0-B41C-4611-6E392593EFA3}"/>
              </a:ext>
            </a:extLst>
          </p:cNvPr>
          <p:cNvSpPr>
            <a:spLocks noGrp="1"/>
          </p:cNvSpPr>
          <p:nvPr>
            <p:ph type="title"/>
          </p:nvPr>
        </p:nvSpPr>
        <p:spPr/>
        <p:txBody>
          <a:bodyPr/>
          <a:lstStyle/>
          <a:p>
            <a:r>
              <a:rPr lang="da-DK"/>
              <a:t>Klik for at redigere titeltypografien i masteren</a:t>
            </a:r>
            <a:endParaRPr lang="en-GB"/>
          </a:p>
        </p:txBody>
      </p:sp>
      <p:sp>
        <p:nvSpPr>
          <p:cNvPr id="4" name="Pladsholder til tekst 3">
            <a:extLst>
              <a:ext uri="{FF2B5EF4-FFF2-40B4-BE49-F238E27FC236}">
                <a16:creationId xmlns:a16="http://schemas.microsoft.com/office/drawing/2014/main" id="{E4635518-A0E4-AE02-8A01-B963156D663C}"/>
              </a:ext>
            </a:extLst>
          </p:cNvPr>
          <p:cNvSpPr>
            <a:spLocks noGrp="1"/>
          </p:cNvSpPr>
          <p:nvPr>
            <p:ph type="body" sz="quarter" idx="10"/>
          </p:nvPr>
        </p:nvSpPr>
        <p:spPr>
          <a:xfrm>
            <a:off x="468313" y="1419225"/>
            <a:ext cx="8207376" cy="3168650"/>
          </a:xfrm>
        </p:spPr>
        <p:txBody>
          <a:bodyPr/>
          <a:lstStyle/>
          <a:p>
            <a:pPr lvl="0"/>
            <a:r>
              <a:rPr lang="da-DK"/>
              <a:t>Klik for at redigere teksttypografierne i masteren</a:t>
            </a:r>
          </a:p>
          <a:p>
            <a:pPr lvl="1"/>
            <a:r>
              <a:rPr lang="da-DK"/>
              <a:t>Andet niveau</a:t>
            </a:r>
          </a:p>
          <a:p>
            <a:pPr lvl="2"/>
            <a:r>
              <a:rPr lang="da-DK"/>
              <a:t>Tredje niveau</a:t>
            </a:r>
          </a:p>
        </p:txBody>
      </p:sp>
      <p:sp>
        <p:nvSpPr>
          <p:cNvPr id="6" name="Pladsholder til tekst 5">
            <a:extLst>
              <a:ext uri="{FF2B5EF4-FFF2-40B4-BE49-F238E27FC236}">
                <a16:creationId xmlns:a16="http://schemas.microsoft.com/office/drawing/2014/main" id="{0E6AF5B2-3A69-1F49-DA1A-FED935DE13C4}"/>
              </a:ext>
            </a:extLst>
          </p:cNvPr>
          <p:cNvSpPr>
            <a:spLocks noGrp="1"/>
          </p:cNvSpPr>
          <p:nvPr>
            <p:ph type="body" sz="quarter" idx="11"/>
          </p:nvPr>
        </p:nvSpPr>
        <p:spPr>
          <a:xfrm>
            <a:off x="468313" y="339998"/>
            <a:ext cx="4103687" cy="144190"/>
          </a:xfrm>
        </p:spPr>
        <p:txBody>
          <a:bodyPr lIns="14400" rIns="0"/>
          <a:lstStyle>
            <a:lvl1pPr marL="0" indent="0">
              <a:buFont typeface="Arial" panose="020B0604020202020204" pitchFamily="34" charset="0"/>
              <a:buNone/>
              <a:defRPr sz="1000" b="0" i="0" cap="all" baseline="0">
                <a:solidFill>
                  <a:srgbClr val="878787"/>
                </a:solidFill>
                <a:latin typeface="Neue Haas Grotesk Text Pro" panose="020B0504020202020204" pitchFamily="34" charset="77"/>
              </a:defRPr>
            </a:lvl1pPr>
            <a:lvl2pPr marL="72000" indent="0">
              <a:buNone/>
              <a:defRPr sz="1000">
                <a:latin typeface="Helvetica" pitchFamily="2" charset="0"/>
              </a:defRPr>
            </a:lvl2pPr>
            <a:lvl3pPr marL="252000" indent="0">
              <a:buNone/>
              <a:defRPr sz="1000">
                <a:latin typeface="Helvetica" pitchFamily="2" charset="0"/>
              </a:defRPr>
            </a:lvl3pPr>
            <a:lvl4pPr marL="378000" indent="0">
              <a:buFont typeface="Arial" panose="020B0604020202020204" pitchFamily="34" charset="0"/>
              <a:buNone/>
              <a:defRPr sz="1000">
                <a:latin typeface="Helvetica" pitchFamily="2" charset="0"/>
              </a:defRPr>
            </a:lvl4pPr>
            <a:lvl5pPr marL="252000" indent="0">
              <a:buNone/>
              <a:defRPr sz="1000">
                <a:latin typeface="Helvetica" pitchFamily="2" charset="0"/>
              </a:defRPr>
            </a:lvl5pPr>
          </a:lstStyle>
          <a:p>
            <a:pPr lvl="0"/>
            <a:r>
              <a:rPr lang="da-DK"/>
              <a:t>Klik for at redigere teksttypografierne i masteren</a:t>
            </a:r>
          </a:p>
        </p:txBody>
      </p:sp>
    </p:spTree>
    <p:extLst>
      <p:ext uri="{BB962C8B-B14F-4D97-AF65-F5344CB8AC3E}">
        <p14:creationId xmlns:p14="http://schemas.microsoft.com/office/powerpoint/2010/main" val="29494112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65F358-3D0B-4C30-94C6-9BC8E1B3EA11}"/>
              </a:ext>
            </a:extLst>
          </p:cNvPr>
          <p:cNvSpPr>
            <a:spLocks noGrp="1"/>
          </p:cNvSpPr>
          <p:nvPr>
            <p:ph type="title" hasCustomPrompt="1"/>
          </p:nvPr>
        </p:nvSpPr>
        <p:spPr>
          <a:xfrm>
            <a:off x="405000" y="675000"/>
            <a:ext cx="5510025" cy="621000"/>
          </a:xfrm>
        </p:spPr>
        <p:txBody>
          <a:bodyPr/>
          <a:lstStyle>
            <a:lvl1pPr>
              <a:defRPr/>
            </a:lvl1pPr>
          </a:lstStyle>
          <a:p>
            <a:r>
              <a:rPr lang="da-DK" dirty="0"/>
              <a:t>Klik for at tilføje titel, Dagens Program</a:t>
            </a:r>
          </a:p>
        </p:txBody>
      </p:sp>
      <p:sp>
        <p:nvSpPr>
          <p:cNvPr id="2" name="Text Placeholder 3">
            <a:extLst>
              <a:ext uri="{FF2B5EF4-FFF2-40B4-BE49-F238E27FC236}">
                <a16:creationId xmlns:a16="http://schemas.microsoft.com/office/drawing/2014/main" id="{A76E8226-8174-E37A-FCF1-4C304793A7DE}"/>
              </a:ext>
            </a:extLst>
          </p:cNvPr>
          <p:cNvSpPr>
            <a:spLocks noGrp="1"/>
          </p:cNvSpPr>
          <p:nvPr>
            <p:ph type="body" sz="quarter" idx="17" hasCustomPrompt="1"/>
          </p:nvPr>
        </p:nvSpPr>
        <p:spPr>
          <a:xfrm>
            <a:off x="405001" y="1431000"/>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5" name="Text Placeholder 2">
            <a:extLst>
              <a:ext uri="{FF2B5EF4-FFF2-40B4-BE49-F238E27FC236}">
                <a16:creationId xmlns:a16="http://schemas.microsoft.com/office/drawing/2014/main" id="{7E937C38-A16E-A8FA-62D1-0E27C181FC6A}"/>
              </a:ext>
            </a:extLst>
          </p:cNvPr>
          <p:cNvSpPr>
            <a:spLocks noGrp="1"/>
          </p:cNvSpPr>
          <p:nvPr>
            <p:ph type="body" sz="quarter" idx="13" hasCustomPrompt="1"/>
          </p:nvPr>
        </p:nvSpPr>
        <p:spPr>
          <a:xfrm>
            <a:off x="1504336" y="1431000"/>
            <a:ext cx="4410689" cy="189000"/>
          </a:xfrm>
        </p:spPr>
        <p:txBody>
          <a:bodyPr/>
          <a:lstStyle>
            <a:lvl1pPr marL="0" indent="0">
              <a:lnSpc>
                <a:spcPct val="100000"/>
              </a:lnSpc>
              <a:spcAft>
                <a:spcPts val="0"/>
              </a:spcAft>
              <a:buFontTx/>
              <a:buNone/>
              <a:defRPr sz="1200" b="0">
                <a:latin typeface="+mn-lt"/>
              </a:defRPr>
            </a:lvl1pPr>
            <a:lvl2pPr marL="0" indent="0">
              <a:lnSpc>
                <a:spcPts val="1440"/>
              </a:lnSpc>
              <a:spcBef>
                <a:spcPts val="0"/>
              </a:spcBef>
              <a:spcAft>
                <a:spcPts val="0"/>
              </a:spcAft>
              <a:buFont typeface="Arial" panose="020B0604020202020204" pitchFamily="34" charset="0"/>
              <a:buChar char="​"/>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p:txBody>
      </p:sp>
      <p:sp>
        <p:nvSpPr>
          <p:cNvPr id="6" name="Text Placeholder 3">
            <a:extLst>
              <a:ext uri="{FF2B5EF4-FFF2-40B4-BE49-F238E27FC236}">
                <a16:creationId xmlns:a16="http://schemas.microsoft.com/office/drawing/2014/main" id="{74FC6D8A-08C2-F9D4-BD0B-9862DB0E141E}"/>
              </a:ext>
            </a:extLst>
          </p:cNvPr>
          <p:cNvSpPr>
            <a:spLocks noGrp="1"/>
          </p:cNvSpPr>
          <p:nvPr>
            <p:ph type="body" sz="quarter" idx="23" hasCustomPrompt="1"/>
          </p:nvPr>
        </p:nvSpPr>
        <p:spPr>
          <a:xfrm>
            <a:off x="405001" y="1671271"/>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12" name="Text Placeholder 2">
            <a:extLst>
              <a:ext uri="{FF2B5EF4-FFF2-40B4-BE49-F238E27FC236}">
                <a16:creationId xmlns:a16="http://schemas.microsoft.com/office/drawing/2014/main" id="{4C651BE7-A3F6-A61D-4318-D4218D00A6F1}"/>
              </a:ext>
            </a:extLst>
          </p:cNvPr>
          <p:cNvSpPr>
            <a:spLocks noGrp="1"/>
          </p:cNvSpPr>
          <p:nvPr>
            <p:ph type="body" sz="quarter" idx="24" hasCustomPrompt="1"/>
          </p:nvPr>
        </p:nvSpPr>
        <p:spPr>
          <a:xfrm>
            <a:off x="1504336" y="1671271"/>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13" name="Text Placeholder 3">
            <a:extLst>
              <a:ext uri="{FF2B5EF4-FFF2-40B4-BE49-F238E27FC236}">
                <a16:creationId xmlns:a16="http://schemas.microsoft.com/office/drawing/2014/main" id="{5F760D39-AA85-35CE-800E-4A532815DE09}"/>
              </a:ext>
            </a:extLst>
          </p:cNvPr>
          <p:cNvSpPr>
            <a:spLocks noGrp="1"/>
          </p:cNvSpPr>
          <p:nvPr>
            <p:ph type="body" sz="quarter" idx="25" hasCustomPrompt="1"/>
          </p:nvPr>
        </p:nvSpPr>
        <p:spPr>
          <a:xfrm>
            <a:off x="405001" y="1911541"/>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14" name="Text Placeholder 2">
            <a:extLst>
              <a:ext uri="{FF2B5EF4-FFF2-40B4-BE49-F238E27FC236}">
                <a16:creationId xmlns:a16="http://schemas.microsoft.com/office/drawing/2014/main" id="{BC823F29-C5ED-685F-A1D5-4A25E6F1C24B}"/>
              </a:ext>
            </a:extLst>
          </p:cNvPr>
          <p:cNvSpPr>
            <a:spLocks noGrp="1"/>
          </p:cNvSpPr>
          <p:nvPr>
            <p:ph type="body" sz="quarter" idx="26" hasCustomPrompt="1"/>
          </p:nvPr>
        </p:nvSpPr>
        <p:spPr>
          <a:xfrm>
            <a:off x="1504336" y="1911541"/>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15" name="Text Placeholder 3">
            <a:extLst>
              <a:ext uri="{FF2B5EF4-FFF2-40B4-BE49-F238E27FC236}">
                <a16:creationId xmlns:a16="http://schemas.microsoft.com/office/drawing/2014/main" id="{AB2EEFA3-2976-5729-22E5-D1DF3E83DBD9}"/>
              </a:ext>
            </a:extLst>
          </p:cNvPr>
          <p:cNvSpPr>
            <a:spLocks noGrp="1"/>
          </p:cNvSpPr>
          <p:nvPr>
            <p:ph type="body" sz="quarter" idx="27" hasCustomPrompt="1"/>
          </p:nvPr>
        </p:nvSpPr>
        <p:spPr>
          <a:xfrm>
            <a:off x="405001" y="2153655"/>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16" name="Text Placeholder 2">
            <a:extLst>
              <a:ext uri="{FF2B5EF4-FFF2-40B4-BE49-F238E27FC236}">
                <a16:creationId xmlns:a16="http://schemas.microsoft.com/office/drawing/2014/main" id="{E73FC7A0-48E0-C209-104D-3230D2125043}"/>
              </a:ext>
            </a:extLst>
          </p:cNvPr>
          <p:cNvSpPr>
            <a:spLocks noGrp="1"/>
          </p:cNvSpPr>
          <p:nvPr>
            <p:ph type="body" sz="quarter" idx="28" hasCustomPrompt="1"/>
          </p:nvPr>
        </p:nvSpPr>
        <p:spPr>
          <a:xfrm>
            <a:off x="1504336" y="2153655"/>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17" name="Text Placeholder 3">
            <a:extLst>
              <a:ext uri="{FF2B5EF4-FFF2-40B4-BE49-F238E27FC236}">
                <a16:creationId xmlns:a16="http://schemas.microsoft.com/office/drawing/2014/main" id="{C059AC41-5B7A-4338-4A21-10726563A4D5}"/>
              </a:ext>
            </a:extLst>
          </p:cNvPr>
          <p:cNvSpPr>
            <a:spLocks noGrp="1"/>
          </p:cNvSpPr>
          <p:nvPr>
            <p:ph type="body" sz="quarter" idx="29" hasCustomPrompt="1"/>
          </p:nvPr>
        </p:nvSpPr>
        <p:spPr>
          <a:xfrm>
            <a:off x="405001" y="2395769"/>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21" name="Text Placeholder 2">
            <a:extLst>
              <a:ext uri="{FF2B5EF4-FFF2-40B4-BE49-F238E27FC236}">
                <a16:creationId xmlns:a16="http://schemas.microsoft.com/office/drawing/2014/main" id="{AFAC4992-FDAB-EEF1-85BC-401446ED7BBA}"/>
              </a:ext>
            </a:extLst>
          </p:cNvPr>
          <p:cNvSpPr>
            <a:spLocks noGrp="1"/>
          </p:cNvSpPr>
          <p:nvPr>
            <p:ph type="body" sz="quarter" idx="30" hasCustomPrompt="1"/>
          </p:nvPr>
        </p:nvSpPr>
        <p:spPr>
          <a:xfrm>
            <a:off x="1504336" y="2395769"/>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22" name="Text Placeholder 3">
            <a:extLst>
              <a:ext uri="{FF2B5EF4-FFF2-40B4-BE49-F238E27FC236}">
                <a16:creationId xmlns:a16="http://schemas.microsoft.com/office/drawing/2014/main" id="{6111B8AB-3518-5D1C-F370-620ADD18E924}"/>
              </a:ext>
            </a:extLst>
          </p:cNvPr>
          <p:cNvSpPr>
            <a:spLocks noGrp="1"/>
          </p:cNvSpPr>
          <p:nvPr>
            <p:ph type="body" sz="quarter" idx="31" hasCustomPrompt="1"/>
          </p:nvPr>
        </p:nvSpPr>
        <p:spPr>
          <a:xfrm>
            <a:off x="405001" y="2637884"/>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23" name="Text Placeholder 2">
            <a:extLst>
              <a:ext uri="{FF2B5EF4-FFF2-40B4-BE49-F238E27FC236}">
                <a16:creationId xmlns:a16="http://schemas.microsoft.com/office/drawing/2014/main" id="{B86BA501-BE19-02A4-C6DE-4BD3111439C9}"/>
              </a:ext>
            </a:extLst>
          </p:cNvPr>
          <p:cNvSpPr>
            <a:spLocks noGrp="1"/>
          </p:cNvSpPr>
          <p:nvPr>
            <p:ph type="body" sz="quarter" idx="32" hasCustomPrompt="1"/>
          </p:nvPr>
        </p:nvSpPr>
        <p:spPr>
          <a:xfrm>
            <a:off x="1504336" y="2637884"/>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24" name="Text Placeholder 3">
            <a:extLst>
              <a:ext uri="{FF2B5EF4-FFF2-40B4-BE49-F238E27FC236}">
                <a16:creationId xmlns:a16="http://schemas.microsoft.com/office/drawing/2014/main" id="{7FD88E33-EB65-34CD-C09A-087D644E9C61}"/>
              </a:ext>
            </a:extLst>
          </p:cNvPr>
          <p:cNvSpPr>
            <a:spLocks noGrp="1"/>
          </p:cNvSpPr>
          <p:nvPr>
            <p:ph type="body" sz="quarter" idx="33" hasCustomPrompt="1"/>
          </p:nvPr>
        </p:nvSpPr>
        <p:spPr>
          <a:xfrm>
            <a:off x="405001" y="2879998"/>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25" name="Text Placeholder 2">
            <a:extLst>
              <a:ext uri="{FF2B5EF4-FFF2-40B4-BE49-F238E27FC236}">
                <a16:creationId xmlns:a16="http://schemas.microsoft.com/office/drawing/2014/main" id="{8C840B5A-4ECE-B864-6FC7-AC3D5A610A50}"/>
              </a:ext>
            </a:extLst>
          </p:cNvPr>
          <p:cNvSpPr>
            <a:spLocks noGrp="1"/>
          </p:cNvSpPr>
          <p:nvPr>
            <p:ph type="body" sz="quarter" idx="34" hasCustomPrompt="1"/>
          </p:nvPr>
        </p:nvSpPr>
        <p:spPr>
          <a:xfrm>
            <a:off x="1504336" y="2879998"/>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26" name="Text Placeholder 3">
            <a:extLst>
              <a:ext uri="{FF2B5EF4-FFF2-40B4-BE49-F238E27FC236}">
                <a16:creationId xmlns:a16="http://schemas.microsoft.com/office/drawing/2014/main" id="{B3FF9F75-5E25-6779-CD0C-8A05BDA51D3B}"/>
              </a:ext>
            </a:extLst>
          </p:cNvPr>
          <p:cNvSpPr>
            <a:spLocks noGrp="1"/>
          </p:cNvSpPr>
          <p:nvPr>
            <p:ph type="body" sz="quarter" idx="35" hasCustomPrompt="1"/>
          </p:nvPr>
        </p:nvSpPr>
        <p:spPr>
          <a:xfrm>
            <a:off x="405001" y="3122112"/>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27" name="Text Placeholder 2">
            <a:extLst>
              <a:ext uri="{FF2B5EF4-FFF2-40B4-BE49-F238E27FC236}">
                <a16:creationId xmlns:a16="http://schemas.microsoft.com/office/drawing/2014/main" id="{19DFD96B-F954-22DC-C18E-3B859ACC069C}"/>
              </a:ext>
            </a:extLst>
          </p:cNvPr>
          <p:cNvSpPr>
            <a:spLocks noGrp="1"/>
          </p:cNvSpPr>
          <p:nvPr>
            <p:ph type="body" sz="quarter" idx="36" hasCustomPrompt="1"/>
          </p:nvPr>
        </p:nvSpPr>
        <p:spPr>
          <a:xfrm>
            <a:off x="1504336" y="3122112"/>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28" name="Text Placeholder 3">
            <a:extLst>
              <a:ext uri="{FF2B5EF4-FFF2-40B4-BE49-F238E27FC236}">
                <a16:creationId xmlns:a16="http://schemas.microsoft.com/office/drawing/2014/main" id="{1B6A67BA-9689-D829-7A04-48256C947CFF}"/>
              </a:ext>
            </a:extLst>
          </p:cNvPr>
          <p:cNvSpPr>
            <a:spLocks noGrp="1"/>
          </p:cNvSpPr>
          <p:nvPr>
            <p:ph type="body" sz="quarter" idx="37" hasCustomPrompt="1"/>
          </p:nvPr>
        </p:nvSpPr>
        <p:spPr>
          <a:xfrm>
            <a:off x="405001" y="3364226"/>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29" name="Text Placeholder 2">
            <a:extLst>
              <a:ext uri="{FF2B5EF4-FFF2-40B4-BE49-F238E27FC236}">
                <a16:creationId xmlns:a16="http://schemas.microsoft.com/office/drawing/2014/main" id="{2F4FAB9B-9AF4-028B-BB6B-137516B7A4A7}"/>
              </a:ext>
            </a:extLst>
          </p:cNvPr>
          <p:cNvSpPr>
            <a:spLocks noGrp="1"/>
          </p:cNvSpPr>
          <p:nvPr>
            <p:ph type="body" sz="quarter" idx="38" hasCustomPrompt="1"/>
          </p:nvPr>
        </p:nvSpPr>
        <p:spPr>
          <a:xfrm>
            <a:off x="1504336" y="3364226"/>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30" name="Text Placeholder 3">
            <a:extLst>
              <a:ext uri="{FF2B5EF4-FFF2-40B4-BE49-F238E27FC236}">
                <a16:creationId xmlns:a16="http://schemas.microsoft.com/office/drawing/2014/main" id="{C296EEBB-C352-16F9-ACE2-441D6CDF5087}"/>
              </a:ext>
            </a:extLst>
          </p:cNvPr>
          <p:cNvSpPr>
            <a:spLocks noGrp="1"/>
          </p:cNvSpPr>
          <p:nvPr>
            <p:ph type="body" sz="quarter" idx="39" hasCustomPrompt="1"/>
          </p:nvPr>
        </p:nvSpPr>
        <p:spPr>
          <a:xfrm>
            <a:off x="404813" y="3606341"/>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31" name="Text Placeholder 2">
            <a:extLst>
              <a:ext uri="{FF2B5EF4-FFF2-40B4-BE49-F238E27FC236}">
                <a16:creationId xmlns:a16="http://schemas.microsoft.com/office/drawing/2014/main" id="{69E33C77-C0D2-B3F3-4438-1E3B57755E1C}"/>
              </a:ext>
            </a:extLst>
          </p:cNvPr>
          <p:cNvSpPr>
            <a:spLocks noGrp="1"/>
          </p:cNvSpPr>
          <p:nvPr>
            <p:ph type="body" sz="quarter" idx="40" hasCustomPrompt="1"/>
          </p:nvPr>
        </p:nvSpPr>
        <p:spPr>
          <a:xfrm>
            <a:off x="1504149" y="3606341"/>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32" name="Text Placeholder 3">
            <a:extLst>
              <a:ext uri="{FF2B5EF4-FFF2-40B4-BE49-F238E27FC236}">
                <a16:creationId xmlns:a16="http://schemas.microsoft.com/office/drawing/2014/main" id="{41CB8987-4D07-1DB1-6C86-0E673000558D}"/>
              </a:ext>
            </a:extLst>
          </p:cNvPr>
          <p:cNvSpPr>
            <a:spLocks noGrp="1"/>
          </p:cNvSpPr>
          <p:nvPr>
            <p:ph type="body" sz="quarter" idx="41" hasCustomPrompt="1"/>
          </p:nvPr>
        </p:nvSpPr>
        <p:spPr>
          <a:xfrm>
            <a:off x="404813" y="3846611"/>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33" name="Text Placeholder 2">
            <a:extLst>
              <a:ext uri="{FF2B5EF4-FFF2-40B4-BE49-F238E27FC236}">
                <a16:creationId xmlns:a16="http://schemas.microsoft.com/office/drawing/2014/main" id="{28A18388-F62A-13D5-BBEE-582271022735}"/>
              </a:ext>
            </a:extLst>
          </p:cNvPr>
          <p:cNvSpPr>
            <a:spLocks noGrp="1"/>
          </p:cNvSpPr>
          <p:nvPr>
            <p:ph type="body" sz="quarter" idx="42" hasCustomPrompt="1"/>
          </p:nvPr>
        </p:nvSpPr>
        <p:spPr>
          <a:xfrm>
            <a:off x="1504149" y="3846611"/>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34" name="Text Placeholder 3">
            <a:extLst>
              <a:ext uri="{FF2B5EF4-FFF2-40B4-BE49-F238E27FC236}">
                <a16:creationId xmlns:a16="http://schemas.microsoft.com/office/drawing/2014/main" id="{231E6D39-6AE2-E985-9DAE-92D5F367698B}"/>
              </a:ext>
            </a:extLst>
          </p:cNvPr>
          <p:cNvSpPr>
            <a:spLocks noGrp="1"/>
          </p:cNvSpPr>
          <p:nvPr>
            <p:ph type="body" sz="quarter" idx="43" hasCustomPrompt="1"/>
          </p:nvPr>
        </p:nvSpPr>
        <p:spPr>
          <a:xfrm>
            <a:off x="405001" y="4086882"/>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35" name="Text Placeholder 2">
            <a:extLst>
              <a:ext uri="{FF2B5EF4-FFF2-40B4-BE49-F238E27FC236}">
                <a16:creationId xmlns:a16="http://schemas.microsoft.com/office/drawing/2014/main" id="{FED9C863-C34F-399D-6ED6-BA93913CB8E0}"/>
              </a:ext>
            </a:extLst>
          </p:cNvPr>
          <p:cNvSpPr>
            <a:spLocks noGrp="1"/>
          </p:cNvSpPr>
          <p:nvPr>
            <p:ph type="body" sz="quarter" idx="44" hasCustomPrompt="1"/>
          </p:nvPr>
        </p:nvSpPr>
        <p:spPr>
          <a:xfrm>
            <a:off x="1504336" y="4086882"/>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36" name="Text Placeholder 3">
            <a:extLst>
              <a:ext uri="{FF2B5EF4-FFF2-40B4-BE49-F238E27FC236}">
                <a16:creationId xmlns:a16="http://schemas.microsoft.com/office/drawing/2014/main" id="{DB083309-C46A-38CE-0FFB-3027F1DE00B8}"/>
              </a:ext>
            </a:extLst>
          </p:cNvPr>
          <p:cNvSpPr>
            <a:spLocks noGrp="1"/>
          </p:cNvSpPr>
          <p:nvPr>
            <p:ph type="body" sz="quarter" idx="45" hasCustomPrompt="1"/>
          </p:nvPr>
        </p:nvSpPr>
        <p:spPr>
          <a:xfrm>
            <a:off x="405001" y="4327153"/>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37" name="Text Placeholder 2">
            <a:extLst>
              <a:ext uri="{FF2B5EF4-FFF2-40B4-BE49-F238E27FC236}">
                <a16:creationId xmlns:a16="http://schemas.microsoft.com/office/drawing/2014/main" id="{55AD81F8-13FF-AD9A-07F0-D91DB37D44D8}"/>
              </a:ext>
            </a:extLst>
          </p:cNvPr>
          <p:cNvSpPr>
            <a:spLocks noGrp="1"/>
          </p:cNvSpPr>
          <p:nvPr>
            <p:ph type="body" sz="quarter" idx="46" hasCustomPrompt="1"/>
          </p:nvPr>
        </p:nvSpPr>
        <p:spPr>
          <a:xfrm>
            <a:off x="1504336" y="4327153"/>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18" name="Pladsholder til dato 17">
            <a:extLst>
              <a:ext uri="{FF2B5EF4-FFF2-40B4-BE49-F238E27FC236}">
                <a16:creationId xmlns:a16="http://schemas.microsoft.com/office/drawing/2014/main" id="{CD90634D-8101-F6C4-83E7-B23E68904390}"/>
              </a:ext>
            </a:extLst>
          </p:cNvPr>
          <p:cNvSpPr>
            <a:spLocks noGrp="1"/>
          </p:cNvSpPr>
          <p:nvPr>
            <p:ph type="dt" sz="half" idx="20"/>
          </p:nvPr>
        </p:nvSpPr>
        <p:spPr/>
        <p:txBody>
          <a:bodyPr/>
          <a:lstStyle/>
          <a:p>
            <a:fld id="{2A9E7E65-270D-4F3F-848C-98E95A93B5E1}" type="datetime2">
              <a:rPr lang="da-DK" smtClean="0"/>
              <a:t>11. december 2025</a:t>
            </a:fld>
            <a:endParaRPr lang="da-DK" dirty="0"/>
          </a:p>
        </p:txBody>
      </p:sp>
      <p:sp>
        <p:nvSpPr>
          <p:cNvPr id="19" name="Pladsholder til sidefod 18">
            <a:extLst>
              <a:ext uri="{FF2B5EF4-FFF2-40B4-BE49-F238E27FC236}">
                <a16:creationId xmlns:a16="http://schemas.microsoft.com/office/drawing/2014/main" id="{FAD3D5B6-58B2-9664-F0BC-1DEF32B0772B}"/>
              </a:ext>
            </a:extLst>
          </p:cNvPr>
          <p:cNvSpPr>
            <a:spLocks noGrp="1"/>
          </p:cNvSpPr>
          <p:nvPr>
            <p:ph type="ftr" sz="quarter" idx="21"/>
          </p:nvPr>
        </p:nvSpPr>
        <p:spPr/>
        <p:txBody>
          <a:bodyPr/>
          <a:lstStyle/>
          <a:p>
            <a:r>
              <a:rPr lang="da-DK" dirty="0"/>
              <a:t>Digitaliseringsstyrelsen</a:t>
            </a:r>
          </a:p>
        </p:txBody>
      </p:sp>
      <p:sp>
        <p:nvSpPr>
          <p:cNvPr id="20" name="Pladsholder til slidenummer 19">
            <a:extLst>
              <a:ext uri="{FF2B5EF4-FFF2-40B4-BE49-F238E27FC236}">
                <a16:creationId xmlns:a16="http://schemas.microsoft.com/office/drawing/2014/main" id="{DFAA6004-F3B1-3667-5F85-60651A0B7444}"/>
              </a:ext>
            </a:extLst>
          </p:cNvPr>
          <p:cNvSpPr>
            <a:spLocks noGrp="1"/>
          </p:cNvSpPr>
          <p:nvPr>
            <p:ph type="sldNum" sz="quarter" idx="22"/>
          </p:nvPr>
        </p:nvSpPr>
        <p:spPr/>
        <p:txBody>
          <a:bodyPr/>
          <a:lstStyle/>
          <a:p>
            <a:fld id="{24C8C45C-947F-4981-8B3F-4F32E973C901}" type="slidenum">
              <a:rPr lang="da-DK" smtClean="0"/>
              <a:pPr/>
              <a:t>‹nr.›</a:t>
            </a:fld>
            <a:endParaRPr lang="da-DK" dirty="0"/>
          </a:p>
        </p:txBody>
      </p:sp>
      <p:grpSp>
        <p:nvGrpSpPr>
          <p:cNvPr id="8" name="Makro grafik 1">
            <a:extLst>
              <a:ext uri="{FF2B5EF4-FFF2-40B4-BE49-F238E27FC236}">
                <a16:creationId xmlns:a16="http://schemas.microsoft.com/office/drawing/2014/main" id="{7CB9B91B-9F42-9A6B-994C-DBFB7D0F9075}"/>
              </a:ext>
            </a:extLst>
          </p:cNvPr>
          <p:cNvGrpSpPr/>
          <p:nvPr userDrawn="1"/>
        </p:nvGrpSpPr>
        <p:grpSpPr>
          <a:xfrm>
            <a:off x="6550364" y="661590"/>
            <a:ext cx="2202731" cy="3163881"/>
            <a:chOff x="14414221" y="1458764"/>
            <a:chExt cx="4856885" cy="6976163"/>
          </a:xfrm>
          <a:solidFill>
            <a:srgbClr val="4D7836"/>
          </a:solidFill>
        </p:grpSpPr>
        <p:sp>
          <p:nvSpPr>
            <p:cNvPr id="9" name="object 39">
              <a:extLst>
                <a:ext uri="{FF2B5EF4-FFF2-40B4-BE49-F238E27FC236}">
                  <a16:creationId xmlns:a16="http://schemas.microsoft.com/office/drawing/2014/main" id="{DBE52B15-4C22-6CD1-3F0A-BB3A69D3053E}"/>
                </a:ext>
              </a:extLst>
            </p:cNvPr>
            <p:cNvSpPr/>
            <p:nvPr/>
          </p:nvSpPr>
          <p:spPr>
            <a:xfrm>
              <a:off x="17451196" y="6499447"/>
              <a:ext cx="1819910" cy="1935480"/>
            </a:xfrm>
            <a:custGeom>
              <a:avLst/>
              <a:gdLst/>
              <a:ahLst/>
              <a:cxnLst/>
              <a:rect l="l" t="t" r="r" b="b"/>
              <a:pathLst>
                <a:path w="1819909" h="1935479">
                  <a:moveTo>
                    <a:pt x="1005204" y="0"/>
                  </a:moveTo>
                  <a:lnTo>
                    <a:pt x="814216" y="0"/>
                  </a:lnTo>
                  <a:lnTo>
                    <a:pt x="824268" y="849398"/>
                  </a:lnTo>
                  <a:lnTo>
                    <a:pt x="100520" y="422185"/>
                  </a:lnTo>
                  <a:lnTo>
                    <a:pt x="0" y="577991"/>
                  </a:lnTo>
                  <a:lnTo>
                    <a:pt x="738825" y="995152"/>
                  </a:lnTo>
                  <a:lnTo>
                    <a:pt x="0" y="1402260"/>
                  </a:lnTo>
                  <a:lnTo>
                    <a:pt x="100520" y="1558067"/>
                  </a:lnTo>
                  <a:lnTo>
                    <a:pt x="824268" y="1130855"/>
                  </a:lnTo>
                  <a:lnTo>
                    <a:pt x="814216" y="1935019"/>
                  </a:lnTo>
                  <a:lnTo>
                    <a:pt x="1005204" y="1935019"/>
                  </a:lnTo>
                  <a:lnTo>
                    <a:pt x="1000178" y="1130855"/>
                  </a:lnTo>
                  <a:lnTo>
                    <a:pt x="1723926" y="1558067"/>
                  </a:lnTo>
                  <a:lnTo>
                    <a:pt x="1819421" y="1402260"/>
                  </a:lnTo>
                  <a:lnTo>
                    <a:pt x="1090647" y="995152"/>
                  </a:lnTo>
                  <a:lnTo>
                    <a:pt x="1819421" y="577991"/>
                  </a:lnTo>
                  <a:lnTo>
                    <a:pt x="1723926" y="422185"/>
                  </a:lnTo>
                  <a:lnTo>
                    <a:pt x="1000178" y="849398"/>
                  </a:lnTo>
                  <a:lnTo>
                    <a:pt x="1005204" y="0"/>
                  </a:lnTo>
                  <a:close/>
                </a:path>
              </a:pathLst>
            </a:custGeom>
            <a:grpFill/>
          </p:spPr>
          <p:txBody>
            <a:bodyPr wrap="square" lIns="0" tIns="0" rIns="0" bIns="0" rtlCol="0"/>
            <a:lstStyle/>
            <a:p>
              <a:endParaRPr lang="da-DK" sz="816" dirty="0"/>
            </a:p>
          </p:txBody>
        </p:sp>
        <p:sp>
          <p:nvSpPr>
            <p:cNvPr id="10" name="object 40">
              <a:extLst>
                <a:ext uri="{FF2B5EF4-FFF2-40B4-BE49-F238E27FC236}">
                  <a16:creationId xmlns:a16="http://schemas.microsoft.com/office/drawing/2014/main" id="{EB105B90-9C2A-E001-81E9-CB88B077A266}"/>
                </a:ext>
              </a:extLst>
            </p:cNvPr>
            <p:cNvSpPr/>
            <p:nvPr/>
          </p:nvSpPr>
          <p:spPr>
            <a:xfrm>
              <a:off x="16290024" y="1484470"/>
              <a:ext cx="1106170" cy="3879850"/>
            </a:xfrm>
            <a:custGeom>
              <a:avLst/>
              <a:gdLst/>
              <a:ahLst/>
              <a:cxnLst/>
              <a:rect l="l" t="t" r="r" b="b"/>
              <a:pathLst>
                <a:path w="1106169" h="3879850">
                  <a:moveTo>
                    <a:pt x="1105725" y="0"/>
                  </a:moveTo>
                  <a:lnTo>
                    <a:pt x="0" y="0"/>
                  </a:lnTo>
                  <a:lnTo>
                    <a:pt x="0" y="175260"/>
                  </a:lnTo>
                  <a:lnTo>
                    <a:pt x="0" y="3703320"/>
                  </a:lnTo>
                  <a:lnTo>
                    <a:pt x="0" y="3879850"/>
                  </a:lnTo>
                  <a:lnTo>
                    <a:pt x="1105725" y="3879850"/>
                  </a:lnTo>
                  <a:lnTo>
                    <a:pt x="1105725" y="3703320"/>
                  </a:lnTo>
                  <a:lnTo>
                    <a:pt x="206070" y="3703320"/>
                  </a:lnTo>
                  <a:lnTo>
                    <a:pt x="206070" y="175260"/>
                  </a:lnTo>
                  <a:lnTo>
                    <a:pt x="1105725" y="175260"/>
                  </a:lnTo>
                  <a:lnTo>
                    <a:pt x="1105725" y="0"/>
                  </a:lnTo>
                  <a:close/>
                </a:path>
              </a:pathLst>
            </a:custGeom>
            <a:grpFill/>
          </p:spPr>
          <p:txBody>
            <a:bodyPr wrap="square" lIns="0" tIns="0" rIns="0" bIns="0" rtlCol="0"/>
            <a:lstStyle/>
            <a:p>
              <a:endParaRPr lang="da-DK" sz="816" dirty="0"/>
            </a:p>
          </p:txBody>
        </p:sp>
        <p:sp>
          <p:nvSpPr>
            <p:cNvPr id="11" name="object 41">
              <a:extLst>
                <a:ext uri="{FF2B5EF4-FFF2-40B4-BE49-F238E27FC236}">
                  <a16:creationId xmlns:a16="http://schemas.microsoft.com/office/drawing/2014/main" id="{A8034995-BEAF-5ACC-DB5F-82B335A4970C}"/>
                </a:ext>
              </a:extLst>
            </p:cNvPr>
            <p:cNvSpPr/>
            <p:nvPr/>
          </p:nvSpPr>
          <p:spPr>
            <a:xfrm>
              <a:off x="14414221" y="1458764"/>
              <a:ext cx="1362075" cy="3920490"/>
            </a:xfrm>
            <a:custGeom>
              <a:avLst/>
              <a:gdLst/>
              <a:ahLst/>
              <a:cxnLst/>
              <a:rect l="l" t="t" r="r" b="b"/>
              <a:pathLst>
                <a:path w="1362075" h="3920490">
                  <a:moveTo>
                    <a:pt x="1362052" y="0"/>
                  </a:moveTo>
                  <a:lnTo>
                    <a:pt x="1309311" y="614"/>
                  </a:lnTo>
                  <a:lnTo>
                    <a:pt x="1257861" y="2451"/>
                  </a:lnTo>
                  <a:lnTo>
                    <a:pt x="1207687" y="5503"/>
                  </a:lnTo>
                  <a:lnTo>
                    <a:pt x="1158776" y="9759"/>
                  </a:lnTo>
                  <a:lnTo>
                    <a:pt x="1111113" y="15212"/>
                  </a:lnTo>
                  <a:lnTo>
                    <a:pt x="1064684" y="21852"/>
                  </a:lnTo>
                  <a:lnTo>
                    <a:pt x="1019476" y="29671"/>
                  </a:lnTo>
                  <a:lnTo>
                    <a:pt x="975474" y="38659"/>
                  </a:lnTo>
                  <a:lnTo>
                    <a:pt x="932664" y="48808"/>
                  </a:lnTo>
                  <a:lnTo>
                    <a:pt x="891033" y="60109"/>
                  </a:lnTo>
                  <a:lnTo>
                    <a:pt x="850565" y="72552"/>
                  </a:lnTo>
                  <a:lnTo>
                    <a:pt x="811247" y="86129"/>
                  </a:lnTo>
                  <a:lnTo>
                    <a:pt x="773065" y="100832"/>
                  </a:lnTo>
                  <a:lnTo>
                    <a:pt x="736005" y="116650"/>
                  </a:lnTo>
                  <a:lnTo>
                    <a:pt x="700052" y="133576"/>
                  </a:lnTo>
                  <a:lnTo>
                    <a:pt x="665193" y="151600"/>
                  </a:lnTo>
                  <a:lnTo>
                    <a:pt x="631413" y="170714"/>
                  </a:lnTo>
                  <a:lnTo>
                    <a:pt x="598698" y="190908"/>
                  </a:lnTo>
                  <a:lnTo>
                    <a:pt x="567035" y="212174"/>
                  </a:lnTo>
                  <a:lnTo>
                    <a:pt x="506807" y="257884"/>
                  </a:lnTo>
                  <a:lnTo>
                    <a:pt x="450615" y="307775"/>
                  </a:lnTo>
                  <a:lnTo>
                    <a:pt x="398346" y="361774"/>
                  </a:lnTo>
                  <a:lnTo>
                    <a:pt x="349888" y="419810"/>
                  </a:lnTo>
                  <a:lnTo>
                    <a:pt x="327053" y="450319"/>
                  </a:lnTo>
                  <a:lnTo>
                    <a:pt x="305128" y="481812"/>
                  </a:lnTo>
                  <a:lnTo>
                    <a:pt x="284100" y="514278"/>
                  </a:lnTo>
                  <a:lnTo>
                    <a:pt x="263954" y="547709"/>
                  </a:lnTo>
                  <a:lnTo>
                    <a:pt x="244677" y="582096"/>
                  </a:lnTo>
                  <a:lnTo>
                    <a:pt x="226253" y="617430"/>
                  </a:lnTo>
                  <a:lnTo>
                    <a:pt x="208670" y="653702"/>
                  </a:lnTo>
                  <a:lnTo>
                    <a:pt x="191912" y="690903"/>
                  </a:lnTo>
                  <a:lnTo>
                    <a:pt x="175967" y="729024"/>
                  </a:lnTo>
                  <a:lnTo>
                    <a:pt x="160819" y="768057"/>
                  </a:lnTo>
                  <a:lnTo>
                    <a:pt x="146455" y="807992"/>
                  </a:lnTo>
                  <a:lnTo>
                    <a:pt x="132860" y="848821"/>
                  </a:lnTo>
                  <a:lnTo>
                    <a:pt x="120022" y="890535"/>
                  </a:lnTo>
                  <a:lnTo>
                    <a:pt x="107924" y="933125"/>
                  </a:lnTo>
                  <a:lnTo>
                    <a:pt x="96554" y="976581"/>
                  </a:lnTo>
                  <a:lnTo>
                    <a:pt x="85898" y="1020895"/>
                  </a:lnTo>
                  <a:lnTo>
                    <a:pt x="75940" y="1066059"/>
                  </a:lnTo>
                  <a:lnTo>
                    <a:pt x="66668" y="1112062"/>
                  </a:lnTo>
                  <a:lnTo>
                    <a:pt x="58067" y="1158897"/>
                  </a:lnTo>
                  <a:lnTo>
                    <a:pt x="50122" y="1206555"/>
                  </a:lnTo>
                  <a:lnTo>
                    <a:pt x="42821" y="1255025"/>
                  </a:lnTo>
                  <a:lnTo>
                    <a:pt x="36148" y="1304301"/>
                  </a:lnTo>
                  <a:lnTo>
                    <a:pt x="30091" y="1354372"/>
                  </a:lnTo>
                  <a:lnTo>
                    <a:pt x="24634" y="1405230"/>
                  </a:lnTo>
                  <a:lnTo>
                    <a:pt x="19763" y="1456866"/>
                  </a:lnTo>
                  <a:lnTo>
                    <a:pt x="15465" y="1509270"/>
                  </a:lnTo>
                  <a:lnTo>
                    <a:pt x="11725" y="1562435"/>
                  </a:lnTo>
                  <a:lnTo>
                    <a:pt x="8530" y="1616351"/>
                  </a:lnTo>
                  <a:lnTo>
                    <a:pt x="5865" y="1671009"/>
                  </a:lnTo>
                  <a:lnTo>
                    <a:pt x="3716" y="1726401"/>
                  </a:lnTo>
                  <a:lnTo>
                    <a:pt x="2069" y="1782517"/>
                  </a:lnTo>
                  <a:lnTo>
                    <a:pt x="910" y="1839349"/>
                  </a:lnTo>
                  <a:lnTo>
                    <a:pt x="225" y="1896887"/>
                  </a:lnTo>
                  <a:lnTo>
                    <a:pt x="0" y="1955123"/>
                  </a:lnTo>
                  <a:lnTo>
                    <a:pt x="221" y="2013606"/>
                  </a:lnTo>
                  <a:lnTo>
                    <a:pt x="894" y="2071392"/>
                  </a:lnTo>
                  <a:lnTo>
                    <a:pt x="2034" y="2128470"/>
                  </a:lnTo>
                  <a:lnTo>
                    <a:pt x="3655" y="2184833"/>
                  </a:lnTo>
                  <a:lnTo>
                    <a:pt x="5772" y="2240470"/>
                  </a:lnTo>
                  <a:lnTo>
                    <a:pt x="8398" y="2295374"/>
                  </a:lnTo>
                  <a:lnTo>
                    <a:pt x="11549" y="2349534"/>
                  </a:lnTo>
                  <a:lnTo>
                    <a:pt x="15240" y="2402942"/>
                  </a:lnTo>
                  <a:lnTo>
                    <a:pt x="19483" y="2455589"/>
                  </a:lnTo>
                  <a:lnTo>
                    <a:pt x="24295" y="2507466"/>
                  </a:lnTo>
                  <a:lnTo>
                    <a:pt x="29689" y="2558564"/>
                  </a:lnTo>
                  <a:lnTo>
                    <a:pt x="35680" y="2608873"/>
                  </a:lnTo>
                  <a:lnTo>
                    <a:pt x="42282" y="2658386"/>
                  </a:lnTo>
                  <a:lnTo>
                    <a:pt x="49510" y="2707092"/>
                  </a:lnTo>
                  <a:lnTo>
                    <a:pt x="57379" y="2754982"/>
                  </a:lnTo>
                  <a:lnTo>
                    <a:pt x="65903" y="2802048"/>
                  </a:lnTo>
                  <a:lnTo>
                    <a:pt x="75095" y="2848281"/>
                  </a:lnTo>
                  <a:lnTo>
                    <a:pt x="84972" y="2893671"/>
                  </a:lnTo>
                  <a:lnTo>
                    <a:pt x="95547" y="2938210"/>
                  </a:lnTo>
                  <a:lnTo>
                    <a:pt x="106835" y="2981888"/>
                  </a:lnTo>
                  <a:lnTo>
                    <a:pt x="118850" y="3024697"/>
                  </a:lnTo>
                  <a:lnTo>
                    <a:pt x="131606" y="3066627"/>
                  </a:lnTo>
                  <a:lnTo>
                    <a:pt x="145119" y="3107670"/>
                  </a:lnTo>
                  <a:lnTo>
                    <a:pt x="159403" y="3147816"/>
                  </a:lnTo>
                  <a:lnTo>
                    <a:pt x="174472" y="3187056"/>
                  </a:lnTo>
                  <a:lnTo>
                    <a:pt x="190341" y="3225381"/>
                  </a:lnTo>
                  <a:lnTo>
                    <a:pt x="207023" y="3262783"/>
                  </a:lnTo>
                  <a:lnTo>
                    <a:pt x="224535" y="3299252"/>
                  </a:lnTo>
                  <a:lnTo>
                    <a:pt x="242889" y="3334779"/>
                  </a:lnTo>
                  <a:lnTo>
                    <a:pt x="262101" y="3369355"/>
                  </a:lnTo>
                  <a:lnTo>
                    <a:pt x="282185" y="3402971"/>
                  </a:lnTo>
                  <a:lnTo>
                    <a:pt x="303156" y="3435619"/>
                  </a:lnTo>
                  <a:lnTo>
                    <a:pt x="325027" y="3467288"/>
                  </a:lnTo>
                  <a:lnTo>
                    <a:pt x="347815" y="3497971"/>
                  </a:lnTo>
                  <a:lnTo>
                    <a:pt x="396194" y="3556338"/>
                  </a:lnTo>
                  <a:lnTo>
                    <a:pt x="448408" y="3610650"/>
                  </a:lnTo>
                  <a:lnTo>
                    <a:pt x="504575" y="3660832"/>
                  </a:lnTo>
                  <a:lnTo>
                    <a:pt x="564809" y="3706814"/>
                  </a:lnTo>
                  <a:lnTo>
                    <a:pt x="596488" y="3728207"/>
                  </a:lnTo>
                  <a:lnTo>
                    <a:pt x="629227" y="3748522"/>
                  </a:lnTo>
                  <a:lnTo>
                    <a:pt x="663040" y="3767752"/>
                  </a:lnTo>
                  <a:lnTo>
                    <a:pt x="697943" y="3785885"/>
                  </a:lnTo>
                  <a:lnTo>
                    <a:pt x="733950" y="3802915"/>
                  </a:lnTo>
                  <a:lnTo>
                    <a:pt x="771075" y="3818830"/>
                  </a:lnTo>
                  <a:lnTo>
                    <a:pt x="809333" y="3833624"/>
                  </a:lnTo>
                  <a:lnTo>
                    <a:pt x="848738" y="3847286"/>
                  </a:lnTo>
                  <a:lnTo>
                    <a:pt x="889305" y="3859807"/>
                  </a:lnTo>
                  <a:lnTo>
                    <a:pt x="931048" y="3871178"/>
                  </a:lnTo>
                  <a:lnTo>
                    <a:pt x="973981" y="3881391"/>
                  </a:lnTo>
                  <a:lnTo>
                    <a:pt x="1018120" y="3890436"/>
                  </a:lnTo>
                  <a:lnTo>
                    <a:pt x="1063479" y="3898305"/>
                  </a:lnTo>
                  <a:lnTo>
                    <a:pt x="1110071" y="3904988"/>
                  </a:lnTo>
                  <a:lnTo>
                    <a:pt x="1157912" y="3910476"/>
                  </a:lnTo>
                  <a:lnTo>
                    <a:pt x="1207016" y="3914760"/>
                  </a:lnTo>
                  <a:lnTo>
                    <a:pt x="1257398" y="3917831"/>
                  </a:lnTo>
                  <a:lnTo>
                    <a:pt x="1309072" y="3919681"/>
                  </a:lnTo>
                  <a:lnTo>
                    <a:pt x="1362052" y="3920299"/>
                  </a:lnTo>
                  <a:lnTo>
                    <a:pt x="1362052" y="3744388"/>
                  </a:lnTo>
                  <a:lnTo>
                    <a:pt x="1310968" y="3743717"/>
                  </a:lnTo>
                  <a:lnTo>
                    <a:pt x="1261330" y="3741708"/>
                  </a:lnTo>
                  <a:lnTo>
                    <a:pt x="1213120" y="3738372"/>
                  </a:lnTo>
                  <a:lnTo>
                    <a:pt x="1166318" y="3733716"/>
                  </a:lnTo>
                  <a:lnTo>
                    <a:pt x="1120905" y="3727750"/>
                  </a:lnTo>
                  <a:lnTo>
                    <a:pt x="1076863" y="3720483"/>
                  </a:lnTo>
                  <a:lnTo>
                    <a:pt x="1034171" y="3711923"/>
                  </a:lnTo>
                  <a:lnTo>
                    <a:pt x="992812" y="3702080"/>
                  </a:lnTo>
                  <a:lnTo>
                    <a:pt x="952766" y="3690962"/>
                  </a:lnTo>
                  <a:lnTo>
                    <a:pt x="914015" y="3678578"/>
                  </a:lnTo>
                  <a:lnTo>
                    <a:pt x="876538" y="3664937"/>
                  </a:lnTo>
                  <a:lnTo>
                    <a:pt x="840318" y="3650048"/>
                  </a:lnTo>
                  <a:lnTo>
                    <a:pt x="805334" y="3633919"/>
                  </a:lnTo>
                  <a:lnTo>
                    <a:pt x="739003" y="3597980"/>
                  </a:lnTo>
                  <a:lnTo>
                    <a:pt x="677391" y="3557191"/>
                  </a:lnTo>
                  <a:lnTo>
                    <a:pt x="620346" y="3511622"/>
                  </a:lnTo>
                  <a:lnTo>
                    <a:pt x="567718" y="3461345"/>
                  </a:lnTo>
                  <a:lnTo>
                    <a:pt x="519352" y="3406431"/>
                  </a:lnTo>
                  <a:lnTo>
                    <a:pt x="475097" y="3346951"/>
                  </a:lnTo>
                  <a:lnTo>
                    <a:pt x="434800" y="3282975"/>
                  </a:lnTo>
                  <a:lnTo>
                    <a:pt x="416089" y="3249324"/>
                  </a:lnTo>
                  <a:lnTo>
                    <a:pt x="398310" y="3214576"/>
                  </a:lnTo>
                  <a:lnTo>
                    <a:pt x="381445" y="3178739"/>
                  </a:lnTo>
                  <a:lnTo>
                    <a:pt x="365474" y="3141823"/>
                  </a:lnTo>
                  <a:lnTo>
                    <a:pt x="350379" y="3103837"/>
                  </a:lnTo>
                  <a:lnTo>
                    <a:pt x="336140" y="3064789"/>
                  </a:lnTo>
                  <a:lnTo>
                    <a:pt x="322739" y="3024688"/>
                  </a:lnTo>
                  <a:lnTo>
                    <a:pt x="310155" y="2983544"/>
                  </a:lnTo>
                  <a:lnTo>
                    <a:pt x="298372" y="2941364"/>
                  </a:lnTo>
                  <a:lnTo>
                    <a:pt x="287368" y="2898159"/>
                  </a:lnTo>
                  <a:lnTo>
                    <a:pt x="277126" y="2853936"/>
                  </a:lnTo>
                  <a:lnTo>
                    <a:pt x="267626" y="2808705"/>
                  </a:lnTo>
                  <a:lnTo>
                    <a:pt x="258849" y="2762474"/>
                  </a:lnTo>
                  <a:lnTo>
                    <a:pt x="250777" y="2715253"/>
                  </a:lnTo>
                  <a:lnTo>
                    <a:pt x="243389" y="2667050"/>
                  </a:lnTo>
                  <a:lnTo>
                    <a:pt x="236668" y="2617875"/>
                  </a:lnTo>
                  <a:lnTo>
                    <a:pt x="230594" y="2567735"/>
                  </a:lnTo>
                  <a:lnTo>
                    <a:pt x="225147" y="2516641"/>
                  </a:lnTo>
                  <a:lnTo>
                    <a:pt x="220310" y="2464600"/>
                  </a:lnTo>
                  <a:lnTo>
                    <a:pt x="216063" y="2411622"/>
                  </a:lnTo>
                  <a:lnTo>
                    <a:pt x="212387" y="2357716"/>
                  </a:lnTo>
                  <a:lnTo>
                    <a:pt x="209262" y="2302890"/>
                  </a:lnTo>
                  <a:lnTo>
                    <a:pt x="206671" y="2247154"/>
                  </a:lnTo>
                  <a:lnTo>
                    <a:pt x="204593" y="2190516"/>
                  </a:lnTo>
                  <a:lnTo>
                    <a:pt x="203010" y="2132985"/>
                  </a:lnTo>
                  <a:lnTo>
                    <a:pt x="201903" y="2074570"/>
                  </a:lnTo>
                  <a:lnTo>
                    <a:pt x="201253" y="2015280"/>
                  </a:lnTo>
                  <a:lnTo>
                    <a:pt x="201040" y="1955123"/>
                  </a:lnTo>
                  <a:lnTo>
                    <a:pt x="201271" y="1894678"/>
                  </a:lnTo>
                  <a:lnTo>
                    <a:pt x="201976" y="1835092"/>
                  </a:lnTo>
                  <a:lnTo>
                    <a:pt x="203173" y="1776374"/>
                  </a:lnTo>
                  <a:lnTo>
                    <a:pt x="204883" y="1718535"/>
                  </a:lnTo>
                  <a:lnTo>
                    <a:pt x="207123" y="1661585"/>
                  </a:lnTo>
                  <a:lnTo>
                    <a:pt x="209914" y="1605535"/>
                  </a:lnTo>
                  <a:lnTo>
                    <a:pt x="213273" y="1550395"/>
                  </a:lnTo>
                  <a:lnTo>
                    <a:pt x="217219" y="1496176"/>
                  </a:lnTo>
                  <a:lnTo>
                    <a:pt x="221773" y="1442888"/>
                  </a:lnTo>
                  <a:lnTo>
                    <a:pt x="226952" y="1390540"/>
                  </a:lnTo>
                  <a:lnTo>
                    <a:pt x="232776" y="1339144"/>
                  </a:lnTo>
                  <a:lnTo>
                    <a:pt x="239263" y="1288710"/>
                  </a:lnTo>
                  <a:lnTo>
                    <a:pt x="246433" y="1239247"/>
                  </a:lnTo>
                  <a:lnTo>
                    <a:pt x="254304" y="1190768"/>
                  </a:lnTo>
                  <a:lnTo>
                    <a:pt x="262896" y="1143281"/>
                  </a:lnTo>
                  <a:lnTo>
                    <a:pt x="272228" y="1096797"/>
                  </a:lnTo>
                  <a:lnTo>
                    <a:pt x="282317" y="1051326"/>
                  </a:lnTo>
                  <a:lnTo>
                    <a:pt x="293184" y="1006880"/>
                  </a:lnTo>
                  <a:lnTo>
                    <a:pt x="304848" y="963467"/>
                  </a:lnTo>
                  <a:lnTo>
                    <a:pt x="317326" y="921100"/>
                  </a:lnTo>
                  <a:lnTo>
                    <a:pt x="330639" y="879787"/>
                  </a:lnTo>
                  <a:lnTo>
                    <a:pt x="344805" y="839539"/>
                  </a:lnTo>
                  <a:lnTo>
                    <a:pt x="359843" y="800366"/>
                  </a:lnTo>
                  <a:lnTo>
                    <a:pt x="375772" y="762280"/>
                  </a:lnTo>
                  <a:lnTo>
                    <a:pt x="392612" y="725290"/>
                  </a:lnTo>
                  <a:lnTo>
                    <a:pt x="410380" y="689406"/>
                  </a:lnTo>
                  <a:lnTo>
                    <a:pt x="429096" y="654639"/>
                  </a:lnTo>
                  <a:lnTo>
                    <a:pt x="448780" y="621000"/>
                  </a:lnTo>
                  <a:lnTo>
                    <a:pt x="469449" y="588498"/>
                  </a:lnTo>
                  <a:lnTo>
                    <a:pt x="491123" y="557144"/>
                  </a:lnTo>
                  <a:lnTo>
                    <a:pt x="537561" y="497921"/>
                  </a:lnTo>
                  <a:lnTo>
                    <a:pt x="588247" y="443413"/>
                  </a:lnTo>
                  <a:lnTo>
                    <a:pt x="643331" y="393705"/>
                  </a:lnTo>
                  <a:lnTo>
                    <a:pt x="702965" y="348877"/>
                  </a:lnTo>
                  <a:lnTo>
                    <a:pt x="767301" y="309014"/>
                  </a:lnTo>
                  <a:lnTo>
                    <a:pt x="801280" y="290969"/>
                  </a:lnTo>
                  <a:lnTo>
                    <a:pt x="836491" y="274197"/>
                  </a:lnTo>
                  <a:lnTo>
                    <a:pt x="872954" y="258707"/>
                  </a:lnTo>
                  <a:lnTo>
                    <a:pt x="910687" y="244510"/>
                  </a:lnTo>
                  <a:lnTo>
                    <a:pt x="949709" y="231615"/>
                  </a:lnTo>
                  <a:lnTo>
                    <a:pt x="990039" y="220035"/>
                  </a:lnTo>
                  <a:lnTo>
                    <a:pt x="1031697" y="209777"/>
                  </a:lnTo>
                  <a:lnTo>
                    <a:pt x="1074700" y="200854"/>
                  </a:lnTo>
                  <a:lnTo>
                    <a:pt x="1119069" y="193276"/>
                  </a:lnTo>
                  <a:lnTo>
                    <a:pt x="1164822" y="187052"/>
                  </a:lnTo>
                  <a:lnTo>
                    <a:pt x="1211977" y="182193"/>
                  </a:lnTo>
                  <a:lnTo>
                    <a:pt x="1260555" y="178710"/>
                  </a:lnTo>
                  <a:lnTo>
                    <a:pt x="1310574" y="176612"/>
                  </a:lnTo>
                  <a:lnTo>
                    <a:pt x="1362052" y="175910"/>
                  </a:lnTo>
                  <a:lnTo>
                    <a:pt x="1362052" y="0"/>
                  </a:lnTo>
                  <a:close/>
                </a:path>
              </a:pathLst>
            </a:custGeom>
            <a:grpFill/>
          </p:spPr>
          <p:txBody>
            <a:bodyPr wrap="square" lIns="0" tIns="0" rIns="0" bIns="0" rtlCol="0"/>
            <a:lstStyle/>
            <a:p>
              <a:endParaRPr lang="da-DK" sz="816" dirty="0"/>
            </a:p>
          </p:txBody>
        </p:sp>
      </p:grpSp>
    </p:spTree>
    <p:extLst>
      <p:ext uri="{BB962C8B-B14F-4D97-AF65-F5344CB8AC3E}">
        <p14:creationId xmlns:p14="http://schemas.microsoft.com/office/powerpoint/2010/main" val="1537726840"/>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1201">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D">
    <p:spTree>
      <p:nvGrpSpPr>
        <p:cNvPr id="1" name=""/>
        <p:cNvGrpSpPr/>
        <p:nvPr/>
      </p:nvGrpSpPr>
      <p:grpSpPr>
        <a:xfrm>
          <a:off x="0" y="0"/>
          <a:ext cx="0" cy="0"/>
          <a:chOff x="0" y="0"/>
          <a:chExt cx="0" cy="0"/>
        </a:xfrm>
      </p:grpSpPr>
      <p:sp>
        <p:nvSpPr>
          <p:cNvPr id="2" name="Baggrund">
            <a:extLst>
              <a:ext uri="{FF2B5EF4-FFF2-40B4-BE49-F238E27FC236}">
                <a16:creationId xmlns:a16="http://schemas.microsoft.com/office/drawing/2014/main" id="{A3F99305-DD9A-28F1-23AF-2DF48A2D4923}"/>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3" name="Title 2">
            <a:extLst>
              <a:ext uri="{FF2B5EF4-FFF2-40B4-BE49-F238E27FC236}">
                <a16:creationId xmlns:a16="http://schemas.microsoft.com/office/drawing/2014/main" id="{7F65F358-3D0B-4C30-94C6-9BC8E1B3EA11}"/>
              </a:ext>
            </a:extLst>
          </p:cNvPr>
          <p:cNvSpPr>
            <a:spLocks noGrp="1"/>
          </p:cNvSpPr>
          <p:nvPr>
            <p:ph type="title" hasCustomPrompt="1"/>
          </p:nvPr>
        </p:nvSpPr>
        <p:spPr>
          <a:xfrm>
            <a:off x="405000" y="675000"/>
            <a:ext cx="5510025" cy="621000"/>
          </a:xfrm>
        </p:spPr>
        <p:txBody>
          <a:bodyPr/>
          <a:lstStyle>
            <a:lvl1pPr>
              <a:defRPr>
                <a:solidFill>
                  <a:schemeClr val="bg1"/>
                </a:solidFill>
              </a:defRPr>
            </a:lvl1pPr>
          </a:lstStyle>
          <a:p>
            <a:r>
              <a:rPr lang="da-DK" dirty="0"/>
              <a:t>Klik for at tilføje titel, Dagens Program</a:t>
            </a:r>
          </a:p>
        </p:txBody>
      </p:sp>
      <p:sp>
        <p:nvSpPr>
          <p:cNvPr id="5" name="Text Placeholder 3">
            <a:extLst>
              <a:ext uri="{FF2B5EF4-FFF2-40B4-BE49-F238E27FC236}">
                <a16:creationId xmlns:a16="http://schemas.microsoft.com/office/drawing/2014/main" id="{F88E1ED0-01CC-2DF6-D602-A0914930EA50}"/>
              </a:ext>
            </a:extLst>
          </p:cNvPr>
          <p:cNvSpPr>
            <a:spLocks noGrp="1"/>
          </p:cNvSpPr>
          <p:nvPr>
            <p:ph type="body" sz="quarter" idx="17" hasCustomPrompt="1"/>
          </p:nvPr>
        </p:nvSpPr>
        <p:spPr>
          <a:xfrm>
            <a:off x="405001" y="1431000"/>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6" name="Text Placeholder 2">
            <a:extLst>
              <a:ext uri="{FF2B5EF4-FFF2-40B4-BE49-F238E27FC236}">
                <a16:creationId xmlns:a16="http://schemas.microsoft.com/office/drawing/2014/main" id="{B63AAE3C-A90D-C461-6230-EAC8B7488BE2}"/>
              </a:ext>
            </a:extLst>
          </p:cNvPr>
          <p:cNvSpPr>
            <a:spLocks noGrp="1"/>
          </p:cNvSpPr>
          <p:nvPr>
            <p:ph type="body" sz="quarter" idx="13" hasCustomPrompt="1"/>
          </p:nvPr>
        </p:nvSpPr>
        <p:spPr>
          <a:xfrm>
            <a:off x="1504336" y="1431000"/>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ts val="1440"/>
              </a:lnSpc>
              <a:spcBef>
                <a:spcPts val="0"/>
              </a:spcBef>
              <a:spcAft>
                <a:spcPts val="0"/>
              </a:spcAft>
              <a:buFont typeface="Arial" panose="020B0604020202020204" pitchFamily="34" charset="0"/>
              <a:buChar char="​"/>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p:txBody>
      </p:sp>
      <p:sp>
        <p:nvSpPr>
          <p:cNvPr id="12" name="Text Placeholder 3">
            <a:extLst>
              <a:ext uri="{FF2B5EF4-FFF2-40B4-BE49-F238E27FC236}">
                <a16:creationId xmlns:a16="http://schemas.microsoft.com/office/drawing/2014/main" id="{BBFFFFAA-39D5-C49F-DA18-DAD679814B2B}"/>
              </a:ext>
            </a:extLst>
          </p:cNvPr>
          <p:cNvSpPr>
            <a:spLocks noGrp="1"/>
          </p:cNvSpPr>
          <p:nvPr>
            <p:ph type="body" sz="quarter" idx="23" hasCustomPrompt="1"/>
          </p:nvPr>
        </p:nvSpPr>
        <p:spPr>
          <a:xfrm>
            <a:off x="405001" y="1671271"/>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13" name="Text Placeholder 2">
            <a:extLst>
              <a:ext uri="{FF2B5EF4-FFF2-40B4-BE49-F238E27FC236}">
                <a16:creationId xmlns:a16="http://schemas.microsoft.com/office/drawing/2014/main" id="{97E337A9-30F6-F3A0-58BE-C01D420F915A}"/>
              </a:ext>
            </a:extLst>
          </p:cNvPr>
          <p:cNvSpPr>
            <a:spLocks noGrp="1"/>
          </p:cNvSpPr>
          <p:nvPr>
            <p:ph type="body" sz="quarter" idx="24" hasCustomPrompt="1"/>
          </p:nvPr>
        </p:nvSpPr>
        <p:spPr>
          <a:xfrm>
            <a:off x="1504336" y="1671271"/>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14" name="Text Placeholder 3">
            <a:extLst>
              <a:ext uri="{FF2B5EF4-FFF2-40B4-BE49-F238E27FC236}">
                <a16:creationId xmlns:a16="http://schemas.microsoft.com/office/drawing/2014/main" id="{E38D933A-9FA3-2ADC-9B86-7E5F7026FCF6}"/>
              </a:ext>
            </a:extLst>
          </p:cNvPr>
          <p:cNvSpPr>
            <a:spLocks noGrp="1"/>
          </p:cNvSpPr>
          <p:nvPr>
            <p:ph type="body" sz="quarter" idx="25" hasCustomPrompt="1"/>
          </p:nvPr>
        </p:nvSpPr>
        <p:spPr>
          <a:xfrm>
            <a:off x="405001" y="1911541"/>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15" name="Text Placeholder 2">
            <a:extLst>
              <a:ext uri="{FF2B5EF4-FFF2-40B4-BE49-F238E27FC236}">
                <a16:creationId xmlns:a16="http://schemas.microsoft.com/office/drawing/2014/main" id="{1310DB4C-BC22-D40A-5E2C-94515A9E0793}"/>
              </a:ext>
            </a:extLst>
          </p:cNvPr>
          <p:cNvSpPr>
            <a:spLocks noGrp="1"/>
          </p:cNvSpPr>
          <p:nvPr>
            <p:ph type="body" sz="quarter" idx="26" hasCustomPrompt="1"/>
          </p:nvPr>
        </p:nvSpPr>
        <p:spPr>
          <a:xfrm>
            <a:off x="1504336" y="1911541"/>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16" name="Text Placeholder 3">
            <a:extLst>
              <a:ext uri="{FF2B5EF4-FFF2-40B4-BE49-F238E27FC236}">
                <a16:creationId xmlns:a16="http://schemas.microsoft.com/office/drawing/2014/main" id="{C0E5AD6C-5938-6A0C-E2AB-FF85ED08746E}"/>
              </a:ext>
            </a:extLst>
          </p:cNvPr>
          <p:cNvSpPr>
            <a:spLocks noGrp="1"/>
          </p:cNvSpPr>
          <p:nvPr>
            <p:ph type="body" sz="quarter" idx="27" hasCustomPrompt="1"/>
          </p:nvPr>
        </p:nvSpPr>
        <p:spPr>
          <a:xfrm>
            <a:off x="405001" y="2153655"/>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17" name="Text Placeholder 2">
            <a:extLst>
              <a:ext uri="{FF2B5EF4-FFF2-40B4-BE49-F238E27FC236}">
                <a16:creationId xmlns:a16="http://schemas.microsoft.com/office/drawing/2014/main" id="{6A0002F7-1B0B-BC03-AD0B-945E0ABA541C}"/>
              </a:ext>
            </a:extLst>
          </p:cNvPr>
          <p:cNvSpPr>
            <a:spLocks noGrp="1"/>
          </p:cNvSpPr>
          <p:nvPr>
            <p:ph type="body" sz="quarter" idx="28" hasCustomPrompt="1"/>
          </p:nvPr>
        </p:nvSpPr>
        <p:spPr>
          <a:xfrm>
            <a:off x="1504336" y="2153655"/>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21" name="Text Placeholder 3">
            <a:extLst>
              <a:ext uri="{FF2B5EF4-FFF2-40B4-BE49-F238E27FC236}">
                <a16:creationId xmlns:a16="http://schemas.microsoft.com/office/drawing/2014/main" id="{5D92788C-674F-5223-AB65-3050D176848E}"/>
              </a:ext>
            </a:extLst>
          </p:cNvPr>
          <p:cNvSpPr>
            <a:spLocks noGrp="1"/>
          </p:cNvSpPr>
          <p:nvPr>
            <p:ph type="body" sz="quarter" idx="29" hasCustomPrompt="1"/>
          </p:nvPr>
        </p:nvSpPr>
        <p:spPr>
          <a:xfrm>
            <a:off x="405001" y="2395769"/>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22" name="Text Placeholder 2">
            <a:extLst>
              <a:ext uri="{FF2B5EF4-FFF2-40B4-BE49-F238E27FC236}">
                <a16:creationId xmlns:a16="http://schemas.microsoft.com/office/drawing/2014/main" id="{31B33523-F830-0C86-0C1B-B57F899C4D42}"/>
              </a:ext>
            </a:extLst>
          </p:cNvPr>
          <p:cNvSpPr>
            <a:spLocks noGrp="1"/>
          </p:cNvSpPr>
          <p:nvPr>
            <p:ph type="body" sz="quarter" idx="30" hasCustomPrompt="1"/>
          </p:nvPr>
        </p:nvSpPr>
        <p:spPr>
          <a:xfrm>
            <a:off x="1504336" y="2395769"/>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23" name="Text Placeholder 3">
            <a:extLst>
              <a:ext uri="{FF2B5EF4-FFF2-40B4-BE49-F238E27FC236}">
                <a16:creationId xmlns:a16="http://schemas.microsoft.com/office/drawing/2014/main" id="{4B6FE74C-6D16-0362-E73F-72A41C93F7DA}"/>
              </a:ext>
            </a:extLst>
          </p:cNvPr>
          <p:cNvSpPr>
            <a:spLocks noGrp="1"/>
          </p:cNvSpPr>
          <p:nvPr>
            <p:ph type="body" sz="quarter" idx="31" hasCustomPrompt="1"/>
          </p:nvPr>
        </p:nvSpPr>
        <p:spPr>
          <a:xfrm>
            <a:off x="405001" y="2637884"/>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24" name="Text Placeholder 2">
            <a:extLst>
              <a:ext uri="{FF2B5EF4-FFF2-40B4-BE49-F238E27FC236}">
                <a16:creationId xmlns:a16="http://schemas.microsoft.com/office/drawing/2014/main" id="{B3028FFA-A199-6D97-E1E9-18EF04061284}"/>
              </a:ext>
            </a:extLst>
          </p:cNvPr>
          <p:cNvSpPr>
            <a:spLocks noGrp="1"/>
          </p:cNvSpPr>
          <p:nvPr>
            <p:ph type="body" sz="quarter" idx="32" hasCustomPrompt="1"/>
          </p:nvPr>
        </p:nvSpPr>
        <p:spPr>
          <a:xfrm>
            <a:off x="1504336" y="2637884"/>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25" name="Text Placeholder 3">
            <a:extLst>
              <a:ext uri="{FF2B5EF4-FFF2-40B4-BE49-F238E27FC236}">
                <a16:creationId xmlns:a16="http://schemas.microsoft.com/office/drawing/2014/main" id="{0501CFF9-BA90-37F1-D083-9272B6896483}"/>
              </a:ext>
            </a:extLst>
          </p:cNvPr>
          <p:cNvSpPr>
            <a:spLocks noGrp="1"/>
          </p:cNvSpPr>
          <p:nvPr>
            <p:ph type="body" sz="quarter" idx="33" hasCustomPrompt="1"/>
          </p:nvPr>
        </p:nvSpPr>
        <p:spPr>
          <a:xfrm>
            <a:off x="405001" y="2879998"/>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26" name="Text Placeholder 2">
            <a:extLst>
              <a:ext uri="{FF2B5EF4-FFF2-40B4-BE49-F238E27FC236}">
                <a16:creationId xmlns:a16="http://schemas.microsoft.com/office/drawing/2014/main" id="{9DEEEAD9-800E-11FD-3B8F-7A72E3B7FC75}"/>
              </a:ext>
            </a:extLst>
          </p:cNvPr>
          <p:cNvSpPr>
            <a:spLocks noGrp="1"/>
          </p:cNvSpPr>
          <p:nvPr>
            <p:ph type="body" sz="quarter" idx="34" hasCustomPrompt="1"/>
          </p:nvPr>
        </p:nvSpPr>
        <p:spPr>
          <a:xfrm>
            <a:off x="1504336" y="2879998"/>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27" name="Text Placeholder 3">
            <a:extLst>
              <a:ext uri="{FF2B5EF4-FFF2-40B4-BE49-F238E27FC236}">
                <a16:creationId xmlns:a16="http://schemas.microsoft.com/office/drawing/2014/main" id="{78D0999E-7FD4-1BAC-8767-D88D80D5ED79}"/>
              </a:ext>
            </a:extLst>
          </p:cNvPr>
          <p:cNvSpPr>
            <a:spLocks noGrp="1"/>
          </p:cNvSpPr>
          <p:nvPr>
            <p:ph type="body" sz="quarter" idx="35" hasCustomPrompt="1"/>
          </p:nvPr>
        </p:nvSpPr>
        <p:spPr>
          <a:xfrm>
            <a:off x="405001" y="3122112"/>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28" name="Text Placeholder 2">
            <a:extLst>
              <a:ext uri="{FF2B5EF4-FFF2-40B4-BE49-F238E27FC236}">
                <a16:creationId xmlns:a16="http://schemas.microsoft.com/office/drawing/2014/main" id="{1DCBE047-FC28-09EA-D81A-9826C6BDC8E5}"/>
              </a:ext>
            </a:extLst>
          </p:cNvPr>
          <p:cNvSpPr>
            <a:spLocks noGrp="1"/>
          </p:cNvSpPr>
          <p:nvPr>
            <p:ph type="body" sz="quarter" idx="36" hasCustomPrompt="1"/>
          </p:nvPr>
        </p:nvSpPr>
        <p:spPr>
          <a:xfrm>
            <a:off x="1504336" y="3122112"/>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29" name="Text Placeholder 3">
            <a:extLst>
              <a:ext uri="{FF2B5EF4-FFF2-40B4-BE49-F238E27FC236}">
                <a16:creationId xmlns:a16="http://schemas.microsoft.com/office/drawing/2014/main" id="{4A33A6EC-28A9-B4B7-AE4E-612E4C70F307}"/>
              </a:ext>
            </a:extLst>
          </p:cNvPr>
          <p:cNvSpPr>
            <a:spLocks noGrp="1"/>
          </p:cNvSpPr>
          <p:nvPr>
            <p:ph type="body" sz="quarter" idx="37" hasCustomPrompt="1"/>
          </p:nvPr>
        </p:nvSpPr>
        <p:spPr>
          <a:xfrm>
            <a:off x="405001" y="3364226"/>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30" name="Text Placeholder 2">
            <a:extLst>
              <a:ext uri="{FF2B5EF4-FFF2-40B4-BE49-F238E27FC236}">
                <a16:creationId xmlns:a16="http://schemas.microsoft.com/office/drawing/2014/main" id="{9A82A1DD-E3D1-62FD-2183-4264BBA45EC9}"/>
              </a:ext>
            </a:extLst>
          </p:cNvPr>
          <p:cNvSpPr>
            <a:spLocks noGrp="1"/>
          </p:cNvSpPr>
          <p:nvPr>
            <p:ph type="body" sz="quarter" idx="38" hasCustomPrompt="1"/>
          </p:nvPr>
        </p:nvSpPr>
        <p:spPr>
          <a:xfrm>
            <a:off x="1504336" y="3364226"/>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31" name="Text Placeholder 3">
            <a:extLst>
              <a:ext uri="{FF2B5EF4-FFF2-40B4-BE49-F238E27FC236}">
                <a16:creationId xmlns:a16="http://schemas.microsoft.com/office/drawing/2014/main" id="{FB09D4EE-DC8E-AC04-DB03-04AC01D499F6}"/>
              </a:ext>
            </a:extLst>
          </p:cNvPr>
          <p:cNvSpPr>
            <a:spLocks noGrp="1"/>
          </p:cNvSpPr>
          <p:nvPr>
            <p:ph type="body" sz="quarter" idx="39" hasCustomPrompt="1"/>
          </p:nvPr>
        </p:nvSpPr>
        <p:spPr>
          <a:xfrm>
            <a:off x="404813" y="3606341"/>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32" name="Text Placeholder 2">
            <a:extLst>
              <a:ext uri="{FF2B5EF4-FFF2-40B4-BE49-F238E27FC236}">
                <a16:creationId xmlns:a16="http://schemas.microsoft.com/office/drawing/2014/main" id="{45266105-38B6-559B-F10E-F137448925D9}"/>
              </a:ext>
            </a:extLst>
          </p:cNvPr>
          <p:cNvSpPr>
            <a:spLocks noGrp="1"/>
          </p:cNvSpPr>
          <p:nvPr>
            <p:ph type="body" sz="quarter" idx="40" hasCustomPrompt="1"/>
          </p:nvPr>
        </p:nvSpPr>
        <p:spPr>
          <a:xfrm>
            <a:off x="1504149" y="3606341"/>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33" name="Text Placeholder 3">
            <a:extLst>
              <a:ext uri="{FF2B5EF4-FFF2-40B4-BE49-F238E27FC236}">
                <a16:creationId xmlns:a16="http://schemas.microsoft.com/office/drawing/2014/main" id="{2515CCA3-D812-4F32-053A-B08456ACD3F7}"/>
              </a:ext>
            </a:extLst>
          </p:cNvPr>
          <p:cNvSpPr>
            <a:spLocks noGrp="1"/>
          </p:cNvSpPr>
          <p:nvPr>
            <p:ph type="body" sz="quarter" idx="41" hasCustomPrompt="1"/>
          </p:nvPr>
        </p:nvSpPr>
        <p:spPr>
          <a:xfrm>
            <a:off x="404813" y="3846611"/>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34" name="Text Placeholder 2">
            <a:extLst>
              <a:ext uri="{FF2B5EF4-FFF2-40B4-BE49-F238E27FC236}">
                <a16:creationId xmlns:a16="http://schemas.microsoft.com/office/drawing/2014/main" id="{7D9D8073-0B8C-5932-0C7C-D004CFEBB238}"/>
              </a:ext>
            </a:extLst>
          </p:cNvPr>
          <p:cNvSpPr>
            <a:spLocks noGrp="1"/>
          </p:cNvSpPr>
          <p:nvPr>
            <p:ph type="body" sz="quarter" idx="42" hasCustomPrompt="1"/>
          </p:nvPr>
        </p:nvSpPr>
        <p:spPr>
          <a:xfrm>
            <a:off x="1504149" y="3846611"/>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35" name="Text Placeholder 3">
            <a:extLst>
              <a:ext uri="{FF2B5EF4-FFF2-40B4-BE49-F238E27FC236}">
                <a16:creationId xmlns:a16="http://schemas.microsoft.com/office/drawing/2014/main" id="{77FA5820-EB6D-8F5A-C0B6-2490FC952FEF}"/>
              </a:ext>
            </a:extLst>
          </p:cNvPr>
          <p:cNvSpPr>
            <a:spLocks noGrp="1"/>
          </p:cNvSpPr>
          <p:nvPr>
            <p:ph type="body" sz="quarter" idx="43" hasCustomPrompt="1"/>
          </p:nvPr>
        </p:nvSpPr>
        <p:spPr>
          <a:xfrm>
            <a:off x="405001" y="4086882"/>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36" name="Text Placeholder 2">
            <a:extLst>
              <a:ext uri="{FF2B5EF4-FFF2-40B4-BE49-F238E27FC236}">
                <a16:creationId xmlns:a16="http://schemas.microsoft.com/office/drawing/2014/main" id="{7646BE67-3B64-E336-4366-7B6997887CB8}"/>
              </a:ext>
            </a:extLst>
          </p:cNvPr>
          <p:cNvSpPr>
            <a:spLocks noGrp="1"/>
          </p:cNvSpPr>
          <p:nvPr>
            <p:ph type="body" sz="quarter" idx="44" hasCustomPrompt="1"/>
          </p:nvPr>
        </p:nvSpPr>
        <p:spPr>
          <a:xfrm>
            <a:off x="1504336" y="4086882"/>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37" name="Text Placeholder 3">
            <a:extLst>
              <a:ext uri="{FF2B5EF4-FFF2-40B4-BE49-F238E27FC236}">
                <a16:creationId xmlns:a16="http://schemas.microsoft.com/office/drawing/2014/main" id="{00A3F1D9-1CD2-F25E-5F62-2AC5E05E2AEE}"/>
              </a:ext>
            </a:extLst>
          </p:cNvPr>
          <p:cNvSpPr>
            <a:spLocks noGrp="1"/>
          </p:cNvSpPr>
          <p:nvPr>
            <p:ph type="body" sz="quarter" idx="45" hasCustomPrompt="1"/>
          </p:nvPr>
        </p:nvSpPr>
        <p:spPr>
          <a:xfrm>
            <a:off x="405001" y="4327153"/>
            <a:ext cx="964982" cy="189000"/>
          </a:xfrm>
        </p:spPr>
        <p:txBody>
          <a:bodyPr/>
          <a:lstStyle>
            <a:lvl1pPr marL="0" indent="0">
              <a:lnSpc>
                <a:spcPct val="100000"/>
              </a:lnSpc>
              <a:spcBef>
                <a:spcPts val="0"/>
              </a:spcBef>
              <a:spcAft>
                <a:spcPts val="0"/>
              </a:spcAft>
              <a:buFontTx/>
              <a:buNone/>
              <a:defRPr sz="1200" b="0">
                <a:solidFill>
                  <a:schemeClr val="bg1"/>
                </a:solidFill>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38" name="Text Placeholder 2">
            <a:extLst>
              <a:ext uri="{FF2B5EF4-FFF2-40B4-BE49-F238E27FC236}">
                <a16:creationId xmlns:a16="http://schemas.microsoft.com/office/drawing/2014/main" id="{EB822A8D-1EEC-6DA5-524B-C98A9DFDF78E}"/>
              </a:ext>
            </a:extLst>
          </p:cNvPr>
          <p:cNvSpPr>
            <a:spLocks noGrp="1"/>
          </p:cNvSpPr>
          <p:nvPr>
            <p:ph type="body" sz="quarter" idx="46" hasCustomPrompt="1"/>
          </p:nvPr>
        </p:nvSpPr>
        <p:spPr>
          <a:xfrm>
            <a:off x="1504336" y="4327153"/>
            <a:ext cx="4410689" cy="189000"/>
          </a:xfrm>
        </p:spPr>
        <p:txBody>
          <a:bodyPr/>
          <a:lstStyle>
            <a:lvl1pPr marL="0" indent="0">
              <a:lnSpc>
                <a:spcPct val="100000"/>
              </a:lnSpc>
              <a:spcAft>
                <a:spcPts val="0"/>
              </a:spcAft>
              <a:buFontTx/>
              <a:buNone/>
              <a:defRPr sz="1200" b="0">
                <a:solidFill>
                  <a:schemeClr val="bg1"/>
                </a:solidFill>
                <a:latin typeface="+mn-lt"/>
              </a:defRPr>
            </a:lvl1pPr>
            <a:lvl2pPr marL="0" indent="0">
              <a:lnSpc>
                <a:spcPct val="100000"/>
              </a:lnSpc>
              <a:spcBef>
                <a:spcPts val="0"/>
              </a:spcBef>
              <a:spcAft>
                <a:spcPts val="0"/>
              </a:spcAft>
              <a:buFontTx/>
              <a:buNone/>
              <a:defRPr sz="1200" b="0">
                <a:solidFill>
                  <a:schemeClr val="bg1"/>
                </a:solidFill>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18" name="Pladsholder til dato 17">
            <a:extLst>
              <a:ext uri="{FF2B5EF4-FFF2-40B4-BE49-F238E27FC236}">
                <a16:creationId xmlns:a16="http://schemas.microsoft.com/office/drawing/2014/main" id="{CD90634D-8101-F6C4-83E7-B23E68904390}"/>
              </a:ext>
            </a:extLst>
          </p:cNvPr>
          <p:cNvSpPr>
            <a:spLocks noGrp="1"/>
          </p:cNvSpPr>
          <p:nvPr>
            <p:ph type="dt" sz="half" idx="20"/>
          </p:nvPr>
        </p:nvSpPr>
        <p:spPr/>
        <p:txBody>
          <a:bodyPr/>
          <a:lstStyle>
            <a:lvl1pPr>
              <a:defRPr>
                <a:solidFill>
                  <a:schemeClr val="bg1"/>
                </a:solidFill>
              </a:defRPr>
            </a:lvl1pPr>
          </a:lstStyle>
          <a:p>
            <a:fld id="{2A9E7E65-270D-4F3F-848C-98E95A93B5E1}" type="datetime2">
              <a:rPr lang="da-DK" smtClean="0"/>
              <a:pPr/>
              <a:t>11. december 2025</a:t>
            </a:fld>
            <a:endParaRPr lang="da-DK" dirty="0"/>
          </a:p>
        </p:txBody>
      </p:sp>
      <p:sp>
        <p:nvSpPr>
          <p:cNvPr id="19" name="Pladsholder til sidefod 18">
            <a:extLst>
              <a:ext uri="{FF2B5EF4-FFF2-40B4-BE49-F238E27FC236}">
                <a16:creationId xmlns:a16="http://schemas.microsoft.com/office/drawing/2014/main" id="{FAD3D5B6-58B2-9664-F0BC-1DEF32B0772B}"/>
              </a:ext>
            </a:extLst>
          </p:cNvPr>
          <p:cNvSpPr>
            <a:spLocks noGrp="1"/>
          </p:cNvSpPr>
          <p:nvPr>
            <p:ph type="ftr" sz="quarter" idx="21"/>
          </p:nvPr>
        </p:nvSpPr>
        <p:spPr/>
        <p:txBody>
          <a:bodyPr/>
          <a:lstStyle>
            <a:lvl1pPr>
              <a:defRPr>
                <a:solidFill>
                  <a:schemeClr val="bg1"/>
                </a:solidFill>
              </a:defRPr>
            </a:lvl1pPr>
          </a:lstStyle>
          <a:p>
            <a:r>
              <a:rPr lang="da-DK" dirty="0"/>
              <a:t>Digitaliseringsstyrelsen</a:t>
            </a:r>
          </a:p>
        </p:txBody>
      </p:sp>
      <p:sp>
        <p:nvSpPr>
          <p:cNvPr id="20" name="Pladsholder til slidenummer 19">
            <a:extLst>
              <a:ext uri="{FF2B5EF4-FFF2-40B4-BE49-F238E27FC236}">
                <a16:creationId xmlns:a16="http://schemas.microsoft.com/office/drawing/2014/main" id="{DFAA6004-F3B1-3667-5F85-60651A0B7444}"/>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dirty="0"/>
          </a:p>
        </p:txBody>
      </p:sp>
      <p:grpSp>
        <p:nvGrpSpPr>
          <p:cNvPr id="8" name="Makro grafik 1">
            <a:extLst>
              <a:ext uri="{FF2B5EF4-FFF2-40B4-BE49-F238E27FC236}">
                <a16:creationId xmlns:a16="http://schemas.microsoft.com/office/drawing/2014/main" id="{7CB9B91B-9F42-9A6B-994C-DBFB7D0F9075}"/>
              </a:ext>
            </a:extLst>
          </p:cNvPr>
          <p:cNvGrpSpPr/>
          <p:nvPr userDrawn="1"/>
        </p:nvGrpSpPr>
        <p:grpSpPr>
          <a:xfrm>
            <a:off x="6550364" y="661590"/>
            <a:ext cx="2202731" cy="3163881"/>
            <a:chOff x="14414221" y="1458764"/>
            <a:chExt cx="4856885" cy="6976163"/>
          </a:xfrm>
          <a:solidFill>
            <a:srgbClr val="88C66D"/>
          </a:solidFill>
        </p:grpSpPr>
        <p:sp>
          <p:nvSpPr>
            <p:cNvPr id="9" name="object 39">
              <a:extLst>
                <a:ext uri="{FF2B5EF4-FFF2-40B4-BE49-F238E27FC236}">
                  <a16:creationId xmlns:a16="http://schemas.microsoft.com/office/drawing/2014/main" id="{DBE52B15-4C22-6CD1-3F0A-BB3A69D3053E}"/>
                </a:ext>
              </a:extLst>
            </p:cNvPr>
            <p:cNvSpPr/>
            <p:nvPr/>
          </p:nvSpPr>
          <p:spPr>
            <a:xfrm>
              <a:off x="17451196" y="6499447"/>
              <a:ext cx="1819910" cy="1935480"/>
            </a:xfrm>
            <a:custGeom>
              <a:avLst/>
              <a:gdLst/>
              <a:ahLst/>
              <a:cxnLst/>
              <a:rect l="l" t="t" r="r" b="b"/>
              <a:pathLst>
                <a:path w="1819909" h="1935479">
                  <a:moveTo>
                    <a:pt x="1005204" y="0"/>
                  </a:moveTo>
                  <a:lnTo>
                    <a:pt x="814216" y="0"/>
                  </a:lnTo>
                  <a:lnTo>
                    <a:pt x="824268" y="849398"/>
                  </a:lnTo>
                  <a:lnTo>
                    <a:pt x="100520" y="422185"/>
                  </a:lnTo>
                  <a:lnTo>
                    <a:pt x="0" y="577991"/>
                  </a:lnTo>
                  <a:lnTo>
                    <a:pt x="738825" y="995152"/>
                  </a:lnTo>
                  <a:lnTo>
                    <a:pt x="0" y="1402260"/>
                  </a:lnTo>
                  <a:lnTo>
                    <a:pt x="100520" y="1558067"/>
                  </a:lnTo>
                  <a:lnTo>
                    <a:pt x="824268" y="1130855"/>
                  </a:lnTo>
                  <a:lnTo>
                    <a:pt x="814216" y="1935019"/>
                  </a:lnTo>
                  <a:lnTo>
                    <a:pt x="1005204" y="1935019"/>
                  </a:lnTo>
                  <a:lnTo>
                    <a:pt x="1000178" y="1130855"/>
                  </a:lnTo>
                  <a:lnTo>
                    <a:pt x="1723926" y="1558067"/>
                  </a:lnTo>
                  <a:lnTo>
                    <a:pt x="1819421" y="1402260"/>
                  </a:lnTo>
                  <a:lnTo>
                    <a:pt x="1090647" y="995152"/>
                  </a:lnTo>
                  <a:lnTo>
                    <a:pt x="1819421" y="577991"/>
                  </a:lnTo>
                  <a:lnTo>
                    <a:pt x="1723926" y="422185"/>
                  </a:lnTo>
                  <a:lnTo>
                    <a:pt x="1000178" y="849398"/>
                  </a:lnTo>
                  <a:lnTo>
                    <a:pt x="1005204" y="0"/>
                  </a:lnTo>
                  <a:close/>
                </a:path>
              </a:pathLst>
            </a:custGeom>
            <a:grpFill/>
          </p:spPr>
          <p:txBody>
            <a:bodyPr wrap="square" lIns="0" tIns="0" rIns="0" bIns="0" rtlCol="0"/>
            <a:lstStyle/>
            <a:p>
              <a:endParaRPr lang="da-DK" sz="816" dirty="0"/>
            </a:p>
          </p:txBody>
        </p:sp>
        <p:sp>
          <p:nvSpPr>
            <p:cNvPr id="10" name="object 40">
              <a:extLst>
                <a:ext uri="{FF2B5EF4-FFF2-40B4-BE49-F238E27FC236}">
                  <a16:creationId xmlns:a16="http://schemas.microsoft.com/office/drawing/2014/main" id="{EB105B90-9C2A-E001-81E9-CB88B077A266}"/>
                </a:ext>
              </a:extLst>
            </p:cNvPr>
            <p:cNvSpPr/>
            <p:nvPr/>
          </p:nvSpPr>
          <p:spPr>
            <a:xfrm>
              <a:off x="16290024" y="1484470"/>
              <a:ext cx="1106170" cy="3879850"/>
            </a:xfrm>
            <a:custGeom>
              <a:avLst/>
              <a:gdLst/>
              <a:ahLst/>
              <a:cxnLst/>
              <a:rect l="l" t="t" r="r" b="b"/>
              <a:pathLst>
                <a:path w="1106169" h="3879850">
                  <a:moveTo>
                    <a:pt x="1105725" y="0"/>
                  </a:moveTo>
                  <a:lnTo>
                    <a:pt x="0" y="0"/>
                  </a:lnTo>
                  <a:lnTo>
                    <a:pt x="0" y="175260"/>
                  </a:lnTo>
                  <a:lnTo>
                    <a:pt x="0" y="3703320"/>
                  </a:lnTo>
                  <a:lnTo>
                    <a:pt x="0" y="3879850"/>
                  </a:lnTo>
                  <a:lnTo>
                    <a:pt x="1105725" y="3879850"/>
                  </a:lnTo>
                  <a:lnTo>
                    <a:pt x="1105725" y="3703320"/>
                  </a:lnTo>
                  <a:lnTo>
                    <a:pt x="206070" y="3703320"/>
                  </a:lnTo>
                  <a:lnTo>
                    <a:pt x="206070" y="175260"/>
                  </a:lnTo>
                  <a:lnTo>
                    <a:pt x="1105725" y="175260"/>
                  </a:lnTo>
                  <a:lnTo>
                    <a:pt x="1105725" y="0"/>
                  </a:lnTo>
                  <a:close/>
                </a:path>
              </a:pathLst>
            </a:custGeom>
            <a:grpFill/>
          </p:spPr>
          <p:txBody>
            <a:bodyPr wrap="square" lIns="0" tIns="0" rIns="0" bIns="0" rtlCol="0"/>
            <a:lstStyle/>
            <a:p>
              <a:endParaRPr lang="da-DK" sz="816" dirty="0"/>
            </a:p>
          </p:txBody>
        </p:sp>
        <p:sp>
          <p:nvSpPr>
            <p:cNvPr id="11" name="object 41">
              <a:extLst>
                <a:ext uri="{FF2B5EF4-FFF2-40B4-BE49-F238E27FC236}">
                  <a16:creationId xmlns:a16="http://schemas.microsoft.com/office/drawing/2014/main" id="{A8034995-BEAF-5ACC-DB5F-82B335A4970C}"/>
                </a:ext>
              </a:extLst>
            </p:cNvPr>
            <p:cNvSpPr/>
            <p:nvPr/>
          </p:nvSpPr>
          <p:spPr>
            <a:xfrm>
              <a:off x="14414221" y="1458764"/>
              <a:ext cx="1362075" cy="3920490"/>
            </a:xfrm>
            <a:custGeom>
              <a:avLst/>
              <a:gdLst/>
              <a:ahLst/>
              <a:cxnLst/>
              <a:rect l="l" t="t" r="r" b="b"/>
              <a:pathLst>
                <a:path w="1362075" h="3920490">
                  <a:moveTo>
                    <a:pt x="1362052" y="0"/>
                  </a:moveTo>
                  <a:lnTo>
                    <a:pt x="1309311" y="614"/>
                  </a:lnTo>
                  <a:lnTo>
                    <a:pt x="1257861" y="2451"/>
                  </a:lnTo>
                  <a:lnTo>
                    <a:pt x="1207687" y="5503"/>
                  </a:lnTo>
                  <a:lnTo>
                    <a:pt x="1158776" y="9759"/>
                  </a:lnTo>
                  <a:lnTo>
                    <a:pt x="1111113" y="15212"/>
                  </a:lnTo>
                  <a:lnTo>
                    <a:pt x="1064684" y="21852"/>
                  </a:lnTo>
                  <a:lnTo>
                    <a:pt x="1019476" y="29671"/>
                  </a:lnTo>
                  <a:lnTo>
                    <a:pt x="975474" y="38659"/>
                  </a:lnTo>
                  <a:lnTo>
                    <a:pt x="932664" y="48808"/>
                  </a:lnTo>
                  <a:lnTo>
                    <a:pt x="891033" y="60109"/>
                  </a:lnTo>
                  <a:lnTo>
                    <a:pt x="850565" y="72552"/>
                  </a:lnTo>
                  <a:lnTo>
                    <a:pt x="811247" y="86129"/>
                  </a:lnTo>
                  <a:lnTo>
                    <a:pt x="773065" y="100832"/>
                  </a:lnTo>
                  <a:lnTo>
                    <a:pt x="736005" y="116650"/>
                  </a:lnTo>
                  <a:lnTo>
                    <a:pt x="700052" y="133576"/>
                  </a:lnTo>
                  <a:lnTo>
                    <a:pt x="665193" y="151600"/>
                  </a:lnTo>
                  <a:lnTo>
                    <a:pt x="631413" y="170714"/>
                  </a:lnTo>
                  <a:lnTo>
                    <a:pt x="598698" y="190908"/>
                  </a:lnTo>
                  <a:lnTo>
                    <a:pt x="567035" y="212174"/>
                  </a:lnTo>
                  <a:lnTo>
                    <a:pt x="506807" y="257884"/>
                  </a:lnTo>
                  <a:lnTo>
                    <a:pt x="450615" y="307775"/>
                  </a:lnTo>
                  <a:lnTo>
                    <a:pt x="398346" y="361774"/>
                  </a:lnTo>
                  <a:lnTo>
                    <a:pt x="349888" y="419810"/>
                  </a:lnTo>
                  <a:lnTo>
                    <a:pt x="327053" y="450319"/>
                  </a:lnTo>
                  <a:lnTo>
                    <a:pt x="305128" y="481812"/>
                  </a:lnTo>
                  <a:lnTo>
                    <a:pt x="284100" y="514278"/>
                  </a:lnTo>
                  <a:lnTo>
                    <a:pt x="263954" y="547709"/>
                  </a:lnTo>
                  <a:lnTo>
                    <a:pt x="244677" y="582096"/>
                  </a:lnTo>
                  <a:lnTo>
                    <a:pt x="226253" y="617430"/>
                  </a:lnTo>
                  <a:lnTo>
                    <a:pt x="208670" y="653702"/>
                  </a:lnTo>
                  <a:lnTo>
                    <a:pt x="191912" y="690903"/>
                  </a:lnTo>
                  <a:lnTo>
                    <a:pt x="175967" y="729024"/>
                  </a:lnTo>
                  <a:lnTo>
                    <a:pt x="160819" y="768057"/>
                  </a:lnTo>
                  <a:lnTo>
                    <a:pt x="146455" y="807992"/>
                  </a:lnTo>
                  <a:lnTo>
                    <a:pt x="132860" y="848821"/>
                  </a:lnTo>
                  <a:lnTo>
                    <a:pt x="120022" y="890535"/>
                  </a:lnTo>
                  <a:lnTo>
                    <a:pt x="107924" y="933125"/>
                  </a:lnTo>
                  <a:lnTo>
                    <a:pt x="96554" y="976581"/>
                  </a:lnTo>
                  <a:lnTo>
                    <a:pt x="85898" y="1020895"/>
                  </a:lnTo>
                  <a:lnTo>
                    <a:pt x="75940" y="1066059"/>
                  </a:lnTo>
                  <a:lnTo>
                    <a:pt x="66668" y="1112062"/>
                  </a:lnTo>
                  <a:lnTo>
                    <a:pt x="58067" y="1158897"/>
                  </a:lnTo>
                  <a:lnTo>
                    <a:pt x="50122" y="1206555"/>
                  </a:lnTo>
                  <a:lnTo>
                    <a:pt x="42821" y="1255025"/>
                  </a:lnTo>
                  <a:lnTo>
                    <a:pt x="36148" y="1304301"/>
                  </a:lnTo>
                  <a:lnTo>
                    <a:pt x="30091" y="1354372"/>
                  </a:lnTo>
                  <a:lnTo>
                    <a:pt x="24634" y="1405230"/>
                  </a:lnTo>
                  <a:lnTo>
                    <a:pt x="19763" y="1456866"/>
                  </a:lnTo>
                  <a:lnTo>
                    <a:pt x="15465" y="1509270"/>
                  </a:lnTo>
                  <a:lnTo>
                    <a:pt x="11725" y="1562435"/>
                  </a:lnTo>
                  <a:lnTo>
                    <a:pt x="8530" y="1616351"/>
                  </a:lnTo>
                  <a:lnTo>
                    <a:pt x="5865" y="1671009"/>
                  </a:lnTo>
                  <a:lnTo>
                    <a:pt x="3716" y="1726401"/>
                  </a:lnTo>
                  <a:lnTo>
                    <a:pt x="2069" y="1782517"/>
                  </a:lnTo>
                  <a:lnTo>
                    <a:pt x="910" y="1839349"/>
                  </a:lnTo>
                  <a:lnTo>
                    <a:pt x="225" y="1896887"/>
                  </a:lnTo>
                  <a:lnTo>
                    <a:pt x="0" y="1955123"/>
                  </a:lnTo>
                  <a:lnTo>
                    <a:pt x="221" y="2013606"/>
                  </a:lnTo>
                  <a:lnTo>
                    <a:pt x="894" y="2071392"/>
                  </a:lnTo>
                  <a:lnTo>
                    <a:pt x="2034" y="2128470"/>
                  </a:lnTo>
                  <a:lnTo>
                    <a:pt x="3655" y="2184833"/>
                  </a:lnTo>
                  <a:lnTo>
                    <a:pt x="5772" y="2240470"/>
                  </a:lnTo>
                  <a:lnTo>
                    <a:pt x="8398" y="2295374"/>
                  </a:lnTo>
                  <a:lnTo>
                    <a:pt x="11549" y="2349534"/>
                  </a:lnTo>
                  <a:lnTo>
                    <a:pt x="15240" y="2402942"/>
                  </a:lnTo>
                  <a:lnTo>
                    <a:pt x="19483" y="2455589"/>
                  </a:lnTo>
                  <a:lnTo>
                    <a:pt x="24295" y="2507466"/>
                  </a:lnTo>
                  <a:lnTo>
                    <a:pt x="29689" y="2558564"/>
                  </a:lnTo>
                  <a:lnTo>
                    <a:pt x="35680" y="2608873"/>
                  </a:lnTo>
                  <a:lnTo>
                    <a:pt x="42282" y="2658386"/>
                  </a:lnTo>
                  <a:lnTo>
                    <a:pt x="49510" y="2707092"/>
                  </a:lnTo>
                  <a:lnTo>
                    <a:pt x="57379" y="2754982"/>
                  </a:lnTo>
                  <a:lnTo>
                    <a:pt x="65903" y="2802048"/>
                  </a:lnTo>
                  <a:lnTo>
                    <a:pt x="75095" y="2848281"/>
                  </a:lnTo>
                  <a:lnTo>
                    <a:pt x="84972" y="2893671"/>
                  </a:lnTo>
                  <a:lnTo>
                    <a:pt x="95547" y="2938210"/>
                  </a:lnTo>
                  <a:lnTo>
                    <a:pt x="106835" y="2981888"/>
                  </a:lnTo>
                  <a:lnTo>
                    <a:pt x="118850" y="3024697"/>
                  </a:lnTo>
                  <a:lnTo>
                    <a:pt x="131606" y="3066627"/>
                  </a:lnTo>
                  <a:lnTo>
                    <a:pt x="145119" y="3107670"/>
                  </a:lnTo>
                  <a:lnTo>
                    <a:pt x="159403" y="3147816"/>
                  </a:lnTo>
                  <a:lnTo>
                    <a:pt x="174472" y="3187056"/>
                  </a:lnTo>
                  <a:lnTo>
                    <a:pt x="190341" y="3225381"/>
                  </a:lnTo>
                  <a:lnTo>
                    <a:pt x="207023" y="3262783"/>
                  </a:lnTo>
                  <a:lnTo>
                    <a:pt x="224535" y="3299252"/>
                  </a:lnTo>
                  <a:lnTo>
                    <a:pt x="242889" y="3334779"/>
                  </a:lnTo>
                  <a:lnTo>
                    <a:pt x="262101" y="3369355"/>
                  </a:lnTo>
                  <a:lnTo>
                    <a:pt x="282185" y="3402971"/>
                  </a:lnTo>
                  <a:lnTo>
                    <a:pt x="303156" y="3435619"/>
                  </a:lnTo>
                  <a:lnTo>
                    <a:pt x="325027" y="3467288"/>
                  </a:lnTo>
                  <a:lnTo>
                    <a:pt x="347815" y="3497971"/>
                  </a:lnTo>
                  <a:lnTo>
                    <a:pt x="396194" y="3556338"/>
                  </a:lnTo>
                  <a:lnTo>
                    <a:pt x="448408" y="3610650"/>
                  </a:lnTo>
                  <a:lnTo>
                    <a:pt x="504575" y="3660832"/>
                  </a:lnTo>
                  <a:lnTo>
                    <a:pt x="564809" y="3706814"/>
                  </a:lnTo>
                  <a:lnTo>
                    <a:pt x="596488" y="3728207"/>
                  </a:lnTo>
                  <a:lnTo>
                    <a:pt x="629227" y="3748522"/>
                  </a:lnTo>
                  <a:lnTo>
                    <a:pt x="663040" y="3767752"/>
                  </a:lnTo>
                  <a:lnTo>
                    <a:pt x="697943" y="3785885"/>
                  </a:lnTo>
                  <a:lnTo>
                    <a:pt x="733950" y="3802915"/>
                  </a:lnTo>
                  <a:lnTo>
                    <a:pt x="771075" y="3818830"/>
                  </a:lnTo>
                  <a:lnTo>
                    <a:pt x="809333" y="3833624"/>
                  </a:lnTo>
                  <a:lnTo>
                    <a:pt x="848738" y="3847286"/>
                  </a:lnTo>
                  <a:lnTo>
                    <a:pt x="889305" y="3859807"/>
                  </a:lnTo>
                  <a:lnTo>
                    <a:pt x="931048" y="3871178"/>
                  </a:lnTo>
                  <a:lnTo>
                    <a:pt x="973981" y="3881391"/>
                  </a:lnTo>
                  <a:lnTo>
                    <a:pt x="1018120" y="3890436"/>
                  </a:lnTo>
                  <a:lnTo>
                    <a:pt x="1063479" y="3898305"/>
                  </a:lnTo>
                  <a:lnTo>
                    <a:pt x="1110071" y="3904988"/>
                  </a:lnTo>
                  <a:lnTo>
                    <a:pt x="1157912" y="3910476"/>
                  </a:lnTo>
                  <a:lnTo>
                    <a:pt x="1207016" y="3914760"/>
                  </a:lnTo>
                  <a:lnTo>
                    <a:pt x="1257398" y="3917831"/>
                  </a:lnTo>
                  <a:lnTo>
                    <a:pt x="1309072" y="3919681"/>
                  </a:lnTo>
                  <a:lnTo>
                    <a:pt x="1362052" y="3920299"/>
                  </a:lnTo>
                  <a:lnTo>
                    <a:pt x="1362052" y="3744388"/>
                  </a:lnTo>
                  <a:lnTo>
                    <a:pt x="1310968" y="3743717"/>
                  </a:lnTo>
                  <a:lnTo>
                    <a:pt x="1261330" y="3741708"/>
                  </a:lnTo>
                  <a:lnTo>
                    <a:pt x="1213120" y="3738372"/>
                  </a:lnTo>
                  <a:lnTo>
                    <a:pt x="1166318" y="3733716"/>
                  </a:lnTo>
                  <a:lnTo>
                    <a:pt x="1120905" y="3727750"/>
                  </a:lnTo>
                  <a:lnTo>
                    <a:pt x="1076863" y="3720483"/>
                  </a:lnTo>
                  <a:lnTo>
                    <a:pt x="1034171" y="3711923"/>
                  </a:lnTo>
                  <a:lnTo>
                    <a:pt x="992812" y="3702080"/>
                  </a:lnTo>
                  <a:lnTo>
                    <a:pt x="952766" y="3690962"/>
                  </a:lnTo>
                  <a:lnTo>
                    <a:pt x="914015" y="3678578"/>
                  </a:lnTo>
                  <a:lnTo>
                    <a:pt x="876538" y="3664937"/>
                  </a:lnTo>
                  <a:lnTo>
                    <a:pt x="840318" y="3650048"/>
                  </a:lnTo>
                  <a:lnTo>
                    <a:pt x="805334" y="3633919"/>
                  </a:lnTo>
                  <a:lnTo>
                    <a:pt x="739003" y="3597980"/>
                  </a:lnTo>
                  <a:lnTo>
                    <a:pt x="677391" y="3557191"/>
                  </a:lnTo>
                  <a:lnTo>
                    <a:pt x="620346" y="3511622"/>
                  </a:lnTo>
                  <a:lnTo>
                    <a:pt x="567718" y="3461345"/>
                  </a:lnTo>
                  <a:lnTo>
                    <a:pt x="519352" y="3406431"/>
                  </a:lnTo>
                  <a:lnTo>
                    <a:pt x="475097" y="3346951"/>
                  </a:lnTo>
                  <a:lnTo>
                    <a:pt x="434800" y="3282975"/>
                  </a:lnTo>
                  <a:lnTo>
                    <a:pt x="416089" y="3249324"/>
                  </a:lnTo>
                  <a:lnTo>
                    <a:pt x="398310" y="3214576"/>
                  </a:lnTo>
                  <a:lnTo>
                    <a:pt x="381445" y="3178739"/>
                  </a:lnTo>
                  <a:lnTo>
                    <a:pt x="365474" y="3141823"/>
                  </a:lnTo>
                  <a:lnTo>
                    <a:pt x="350379" y="3103837"/>
                  </a:lnTo>
                  <a:lnTo>
                    <a:pt x="336140" y="3064789"/>
                  </a:lnTo>
                  <a:lnTo>
                    <a:pt x="322739" y="3024688"/>
                  </a:lnTo>
                  <a:lnTo>
                    <a:pt x="310155" y="2983544"/>
                  </a:lnTo>
                  <a:lnTo>
                    <a:pt x="298372" y="2941364"/>
                  </a:lnTo>
                  <a:lnTo>
                    <a:pt x="287368" y="2898159"/>
                  </a:lnTo>
                  <a:lnTo>
                    <a:pt x="277126" y="2853936"/>
                  </a:lnTo>
                  <a:lnTo>
                    <a:pt x="267626" y="2808705"/>
                  </a:lnTo>
                  <a:lnTo>
                    <a:pt x="258849" y="2762474"/>
                  </a:lnTo>
                  <a:lnTo>
                    <a:pt x="250777" y="2715253"/>
                  </a:lnTo>
                  <a:lnTo>
                    <a:pt x="243389" y="2667050"/>
                  </a:lnTo>
                  <a:lnTo>
                    <a:pt x="236668" y="2617875"/>
                  </a:lnTo>
                  <a:lnTo>
                    <a:pt x="230594" y="2567735"/>
                  </a:lnTo>
                  <a:lnTo>
                    <a:pt x="225147" y="2516641"/>
                  </a:lnTo>
                  <a:lnTo>
                    <a:pt x="220310" y="2464600"/>
                  </a:lnTo>
                  <a:lnTo>
                    <a:pt x="216063" y="2411622"/>
                  </a:lnTo>
                  <a:lnTo>
                    <a:pt x="212387" y="2357716"/>
                  </a:lnTo>
                  <a:lnTo>
                    <a:pt x="209262" y="2302890"/>
                  </a:lnTo>
                  <a:lnTo>
                    <a:pt x="206671" y="2247154"/>
                  </a:lnTo>
                  <a:lnTo>
                    <a:pt x="204593" y="2190516"/>
                  </a:lnTo>
                  <a:lnTo>
                    <a:pt x="203010" y="2132985"/>
                  </a:lnTo>
                  <a:lnTo>
                    <a:pt x="201903" y="2074570"/>
                  </a:lnTo>
                  <a:lnTo>
                    <a:pt x="201253" y="2015280"/>
                  </a:lnTo>
                  <a:lnTo>
                    <a:pt x="201040" y="1955123"/>
                  </a:lnTo>
                  <a:lnTo>
                    <a:pt x="201271" y="1894678"/>
                  </a:lnTo>
                  <a:lnTo>
                    <a:pt x="201976" y="1835092"/>
                  </a:lnTo>
                  <a:lnTo>
                    <a:pt x="203173" y="1776374"/>
                  </a:lnTo>
                  <a:lnTo>
                    <a:pt x="204883" y="1718535"/>
                  </a:lnTo>
                  <a:lnTo>
                    <a:pt x="207123" y="1661585"/>
                  </a:lnTo>
                  <a:lnTo>
                    <a:pt x="209914" y="1605535"/>
                  </a:lnTo>
                  <a:lnTo>
                    <a:pt x="213273" y="1550395"/>
                  </a:lnTo>
                  <a:lnTo>
                    <a:pt x="217219" y="1496176"/>
                  </a:lnTo>
                  <a:lnTo>
                    <a:pt x="221773" y="1442888"/>
                  </a:lnTo>
                  <a:lnTo>
                    <a:pt x="226952" y="1390540"/>
                  </a:lnTo>
                  <a:lnTo>
                    <a:pt x="232776" y="1339144"/>
                  </a:lnTo>
                  <a:lnTo>
                    <a:pt x="239263" y="1288710"/>
                  </a:lnTo>
                  <a:lnTo>
                    <a:pt x="246433" y="1239247"/>
                  </a:lnTo>
                  <a:lnTo>
                    <a:pt x="254304" y="1190768"/>
                  </a:lnTo>
                  <a:lnTo>
                    <a:pt x="262896" y="1143281"/>
                  </a:lnTo>
                  <a:lnTo>
                    <a:pt x="272228" y="1096797"/>
                  </a:lnTo>
                  <a:lnTo>
                    <a:pt x="282317" y="1051326"/>
                  </a:lnTo>
                  <a:lnTo>
                    <a:pt x="293184" y="1006880"/>
                  </a:lnTo>
                  <a:lnTo>
                    <a:pt x="304848" y="963467"/>
                  </a:lnTo>
                  <a:lnTo>
                    <a:pt x="317326" y="921100"/>
                  </a:lnTo>
                  <a:lnTo>
                    <a:pt x="330639" y="879787"/>
                  </a:lnTo>
                  <a:lnTo>
                    <a:pt x="344805" y="839539"/>
                  </a:lnTo>
                  <a:lnTo>
                    <a:pt x="359843" y="800366"/>
                  </a:lnTo>
                  <a:lnTo>
                    <a:pt x="375772" y="762280"/>
                  </a:lnTo>
                  <a:lnTo>
                    <a:pt x="392612" y="725290"/>
                  </a:lnTo>
                  <a:lnTo>
                    <a:pt x="410380" y="689406"/>
                  </a:lnTo>
                  <a:lnTo>
                    <a:pt x="429096" y="654639"/>
                  </a:lnTo>
                  <a:lnTo>
                    <a:pt x="448780" y="621000"/>
                  </a:lnTo>
                  <a:lnTo>
                    <a:pt x="469449" y="588498"/>
                  </a:lnTo>
                  <a:lnTo>
                    <a:pt x="491123" y="557144"/>
                  </a:lnTo>
                  <a:lnTo>
                    <a:pt x="537561" y="497921"/>
                  </a:lnTo>
                  <a:lnTo>
                    <a:pt x="588247" y="443413"/>
                  </a:lnTo>
                  <a:lnTo>
                    <a:pt x="643331" y="393705"/>
                  </a:lnTo>
                  <a:lnTo>
                    <a:pt x="702965" y="348877"/>
                  </a:lnTo>
                  <a:lnTo>
                    <a:pt x="767301" y="309014"/>
                  </a:lnTo>
                  <a:lnTo>
                    <a:pt x="801280" y="290969"/>
                  </a:lnTo>
                  <a:lnTo>
                    <a:pt x="836491" y="274197"/>
                  </a:lnTo>
                  <a:lnTo>
                    <a:pt x="872954" y="258707"/>
                  </a:lnTo>
                  <a:lnTo>
                    <a:pt x="910687" y="244510"/>
                  </a:lnTo>
                  <a:lnTo>
                    <a:pt x="949709" y="231615"/>
                  </a:lnTo>
                  <a:lnTo>
                    <a:pt x="990039" y="220035"/>
                  </a:lnTo>
                  <a:lnTo>
                    <a:pt x="1031697" y="209777"/>
                  </a:lnTo>
                  <a:lnTo>
                    <a:pt x="1074700" y="200854"/>
                  </a:lnTo>
                  <a:lnTo>
                    <a:pt x="1119069" y="193276"/>
                  </a:lnTo>
                  <a:lnTo>
                    <a:pt x="1164822" y="187052"/>
                  </a:lnTo>
                  <a:lnTo>
                    <a:pt x="1211977" y="182193"/>
                  </a:lnTo>
                  <a:lnTo>
                    <a:pt x="1260555" y="178710"/>
                  </a:lnTo>
                  <a:lnTo>
                    <a:pt x="1310574" y="176612"/>
                  </a:lnTo>
                  <a:lnTo>
                    <a:pt x="1362052" y="175910"/>
                  </a:lnTo>
                  <a:lnTo>
                    <a:pt x="1362052" y="0"/>
                  </a:lnTo>
                  <a:close/>
                </a:path>
              </a:pathLst>
            </a:custGeom>
            <a:grpFill/>
          </p:spPr>
          <p:txBody>
            <a:bodyPr wrap="square" lIns="0" tIns="0" rIns="0" bIns="0" rtlCol="0"/>
            <a:lstStyle/>
            <a:p>
              <a:endParaRPr lang="da-DK" sz="816" dirty="0"/>
            </a:p>
          </p:txBody>
        </p:sp>
      </p:grpSp>
    </p:spTree>
    <p:extLst>
      <p:ext uri="{BB962C8B-B14F-4D97-AF65-F5344CB8AC3E}">
        <p14:creationId xmlns:p14="http://schemas.microsoft.com/office/powerpoint/2010/main" val="505380275"/>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1201">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 og et indhold">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83349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dirty="0"/>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405000" y="1431000"/>
            <a:ext cx="8334900" cy="31725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 Niveau</a:t>
            </a:r>
          </a:p>
          <a:p>
            <a:pPr lvl="6"/>
            <a:r>
              <a:rPr lang="da-DK" noProof="0" dirty="0"/>
              <a:t>7 Niveau</a:t>
            </a:r>
          </a:p>
          <a:p>
            <a:pPr lvl="7"/>
            <a:r>
              <a:rPr lang="da-DK" noProof="0" dirty="0"/>
              <a:t>8 Niveau</a:t>
            </a:r>
          </a:p>
          <a:p>
            <a:pPr lvl="8"/>
            <a:r>
              <a:rPr lang="da-DK" noProof="0" dirty="0"/>
              <a:t>9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41969349-67F1-41F8-83EC-133BBA9F9E3B}" type="datetime2">
              <a:rPr lang="da-DK" smtClean="0"/>
              <a:t>11. december 2025</a:t>
            </a:fld>
            <a:endParaRPr lang="da-DK" dirty="0"/>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dirty="0"/>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888377671"/>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 og to indhold">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83349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dirty="0"/>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405000" y="1431000"/>
            <a:ext cx="4097306" cy="31725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 Niveau</a:t>
            </a:r>
          </a:p>
          <a:p>
            <a:pPr lvl="6"/>
            <a:r>
              <a:rPr lang="da-DK" noProof="0" dirty="0"/>
              <a:t>7 Niveau</a:t>
            </a:r>
          </a:p>
          <a:p>
            <a:pPr lvl="7"/>
            <a:r>
              <a:rPr lang="da-DK" noProof="0" dirty="0"/>
              <a:t>8 Niveau</a:t>
            </a:r>
          </a:p>
          <a:p>
            <a:pPr lvl="8"/>
            <a:r>
              <a:rPr lang="da-DK" noProof="0" dirty="0"/>
              <a:t>9 Niveau</a:t>
            </a:r>
          </a:p>
        </p:txBody>
      </p:sp>
      <p:sp>
        <p:nvSpPr>
          <p:cNvPr id="2" name="Content Placeholder 3">
            <a:extLst>
              <a:ext uri="{FF2B5EF4-FFF2-40B4-BE49-F238E27FC236}">
                <a16:creationId xmlns:a16="http://schemas.microsoft.com/office/drawing/2014/main" id="{B40077F1-D271-DC8F-912A-2105F80A1015}"/>
              </a:ext>
            </a:extLst>
          </p:cNvPr>
          <p:cNvSpPr>
            <a:spLocks noGrp="1"/>
          </p:cNvSpPr>
          <p:nvPr>
            <p:ph sz="half" idx="2" hasCustomPrompt="1"/>
          </p:nvPr>
        </p:nvSpPr>
        <p:spPr>
          <a:xfrm>
            <a:off x="4639500" y="1431000"/>
            <a:ext cx="4097306" cy="3172500"/>
          </a:xfrm>
        </p:spPr>
        <p:txBody>
          <a:bodyPr/>
          <a:lstStyle>
            <a:lvl1pPr>
              <a:defRPr/>
            </a:lvl1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 Niveau</a:t>
            </a:r>
          </a:p>
          <a:p>
            <a:pPr lvl="6"/>
            <a:r>
              <a:rPr lang="da-DK" noProof="0" dirty="0"/>
              <a:t>7 Niveau</a:t>
            </a:r>
          </a:p>
          <a:p>
            <a:pPr lvl="7"/>
            <a:r>
              <a:rPr lang="da-DK" noProof="0" dirty="0"/>
              <a:t>8 Niveau</a:t>
            </a:r>
          </a:p>
          <a:p>
            <a:pPr lvl="8"/>
            <a:r>
              <a:rPr lang="da-DK" noProof="0" dirty="0"/>
              <a:t>9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49E4CC4B-14E8-420D-9FEA-FB5E3520C699}" type="datetime2">
              <a:rPr lang="da-DK" smtClean="0"/>
              <a:t>11. december 2025</a:t>
            </a:fld>
            <a:endParaRPr lang="da-DK" dirty="0"/>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dirty="0"/>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206355960"/>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 og tre indhold">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83349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dirty="0"/>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405000" y="1431000"/>
            <a:ext cx="2686500" cy="31725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 Niveau</a:t>
            </a:r>
          </a:p>
          <a:p>
            <a:pPr lvl="6"/>
            <a:r>
              <a:rPr lang="da-DK" noProof="0" dirty="0"/>
              <a:t>7 Niveau</a:t>
            </a:r>
          </a:p>
          <a:p>
            <a:pPr lvl="7"/>
            <a:r>
              <a:rPr lang="da-DK" noProof="0" dirty="0"/>
              <a:t>8 Niveau</a:t>
            </a:r>
          </a:p>
          <a:p>
            <a:pPr lvl="8"/>
            <a:r>
              <a:rPr lang="da-DK" noProof="0" dirty="0"/>
              <a:t>9 Niveau</a:t>
            </a:r>
          </a:p>
        </p:txBody>
      </p:sp>
      <p:sp>
        <p:nvSpPr>
          <p:cNvPr id="2" name="Content Placeholder 3">
            <a:extLst>
              <a:ext uri="{FF2B5EF4-FFF2-40B4-BE49-F238E27FC236}">
                <a16:creationId xmlns:a16="http://schemas.microsoft.com/office/drawing/2014/main" id="{B40077F1-D271-DC8F-912A-2105F80A1015}"/>
              </a:ext>
            </a:extLst>
          </p:cNvPr>
          <p:cNvSpPr>
            <a:spLocks noGrp="1"/>
          </p:cNvSpPr>
          <p:nvPr>
            <p:ph sz="half" idx="2" hasCustomPrompt="1"/>
          </p:nvPr>
        </p:nvSpPr>
        <p:spPr>
          <a:xfrm>
            <a:off x="3227785" y="1431000"/>
            <a:ext cx="2686500" cy="3172500"/>
          </a:xfrm>
        </p:spPr>
        <p:txBody>
          <a:bodyPr/>
          <a:lstStyle>
            <a:lvl1pPr>
              <a:defRPr/>
            </a:lvl1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 Niveau</a:t>
            </a:r>
          </a:p>
          <a:p>
            <a:pPr lvl="6"/>
            <a:r>
              <a:rPr lang="da-DK" noProof="0" dirty="0"/>
              <a:t>7 Niveau</a:t>
            </a:r>
          </a:p>
          <a:p>
            <a:pPr lvl="7"/>
            <a:r>
              <a:rPr lang="da-DK" noProof="0" dirty="0"/>
              <a:t>8 Niveau</a:t>
            </a:r>
          </a:p>
          <a:p>
            <a:pPr lvl="8"/>
            <a:r>
              <a:rPr lang="da-DK" noProof="0" dirty="0"/>
              <a:t>9 Niveau</a:t>
            </a:r>
          </a:p>
        </p:txBody>
      </p:sp>
      <p:sp>
        <p:nvSpPr>
          <p:cNvPr id="8" name="Content Placeholder 4">
            <a:extLst>
              <a:ext uri="{FF2B5EF4-FFF2-40B4-BE49-F238E27FC236}">
                <a16:creationId xmlns:a16="http://schemas.microsoft.com/office/drawing/2014/main" id="{413F396F-50A0-F9A2-43DA-C2F0171D12AA}"/>
              </a:ext>
            </a:extLst>
          </p:cNvPr>
          <p:cNvSpPr>
            <a:spLocks noGrp="1"/>
          </p:cNvSpPr>
          <p:nvPr>
            <p:ph sz="half" idx="14" hasCustomPrompt="1"/>
          </p:nvPr>
        </p:nvSpPr>
        <p:spPr>
          <a:xfrm>
            <a:off x="6050756" y="1431000"/>
            <a:ext cx="2686500" cy="3172500"/>
          </a:xfrm>
        </p:spPr>
        <p:txBody>
          <a:bodyPr/>
          <a:lstStyle>
            <a:lvl1pPr>
              <a:defRPr/>
            </a:lvl1pPr>
            <a:lvl5pPr>
              <a:defRPr/>
            </a:lvl5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 Niveau</a:t>
            </a:r>
          </a:p>
          <a:p>
            <a:pPr lvl="6"/>
            <a:r>
              <a:rPr lang="da-DK" noProof="0" dirty="0"/>
              <a:t>7 Niveau</a:t>
            </a:r>
          </a:p>
          <a:p>
            <a:pPr lvl="7"/>
            <a:r>
              <a:rPr lang="da-DK" noProof="0" dirty="0"/>
              <a:t>8 Niveau</a:t>
            </a:r>
          </a:p>
          <a:p>
            <a:pPr lvl="8"/>
            <a:r>
              <a:rPr lang="da-DK" noProof="0" dirty="0"/>
              <a:t>9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1F1698FC-AA98-48BA-82F3-6D983747A4E6}" type="datetime2">
              <a:rPr lang="da-DK" smtClean="0"/>
              <a:t>11. december 2025</a:t>
            </a:fld>
            <a:endParaRPr lang="da-DK" dirty="0"/>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dirty="0"/>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377006383"/>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40986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dirty="0"/>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a:xfrm>
            <a:off x="405000" y="675000"/>
            <a:ext cx="4098600" cy="621000"/>
          </a:xfrm>
        </p:spPr>
        <p:txBody>
          <a:bodyPr/>
          <a:lstStyle/>
          <a:p>
            <a:r>
              <a:rPr lang="da-DK" dirty="0"/>
              <a:t>Klik for at tilføje titel</a:t>
            </a:r>
          </a:p>
        </p:txBody>
      </p:sp>
      <p:sp>
        <p:nvSpPr>
          <p:cNvPr id="3" name="Content Placeholder 2"/>
          <p:cNvSpPr>
            <a:spLocks noGrp="1"/>
          </p:cNvSpPr>
          <p:nvPr>
            <p:ph idx="1" hasCustomPrompt="1"/>
          </p:nvPr>
        </p:nvSpPr>
        <p:spPr>
          <a:xfrm>
            <a:off x="405000" y="1431000"/>
            <a:ext cx="4098600" cy="31725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 Niveau</a:t>
            </a:r>
          </a:p>
          <a:p>
            <a:pPr lvl="6"/>
            <a:r>
              <a:rPr lang="da-DK" noProof="0" dirty="0"/>
              <a:t>7 Niveau</a:t>
            </a:r>
          </a:p>
          <a:p>
            <a:pPr lvl="7"/>
            <a:r>
              <a:rPr lang="da-DK" noProof="0" dirty="0"/>
              <a:t>8 Niveau</a:t>
            </a:r>
          </a:p>
          <a:p>
            <a:pPr lvl="8"/>
            <a:r>
              <a:rPr lang="da-DK" noProof="0" dirty="0"/>
              <a:t>9 Niveau</a:t>
            </a:r>
          </a:p>
        </p:txBody>
      </p:sp>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5076000" y="0"/>
            <a:ext cx="3661997" cy="405765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23" name="Makro grafik 1">
            <a:extLst>
              <a:ext uri="{FF2B5EF4-FFF2-40B4-BE49-F238E27FC236}">
                <a16:creationId xmlns:a16="http://schemas.microsoft.com/office/drawing/2014/main" id="{EBA2552F-EC8F-624C-5264-AC2B088E31EF}"/>
              </a:ext>
            </a:extLst>
          </p:cNvPr>
          <p:cNvSpPr>
            <a:spLocks noGrp="1" noChangeAspect="1"/>
          </p:cNvSpPr>
          <p:nvPr>
            <p:ph type="body" sz="quarter" idx="18" hasCustomPrompt="1"/>
          </p:nvPr>
        </p:nvSpPr>
        <p:spPr>
          <a:xfrm>
            <a:off x="4774500" y="200901"/>
            <a:ext cx="810120" cy="265984"/>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dirty="0"/>
              <a:t>.</a:t>
            </a:r>
          </a:p>
        </p:txBody>
      </p:sp>
      <p:sp>
        <p:nvSpPr>
          <p:cNvPr id="25" name="Makro grafik 2">
            <a:extLst>
              <a:ext uri="{FF2B5EF4-FFF2-40B4-BE49-F238E27FC236}">
                <a16:creationId xmlns:a16="http://schemas.microsoft.com/office/drawing/2014/main" id="{719BADAE-19E7-74F8-5098-F36C7712747B}"/>
              </a:ext>
            </a:extLst>
          </p:cNvPr>
          <p:cNvSpPr>
            <a:spLocks noGrp="1" noChangeAspect="1"/>
          </p:cNvSpPr>
          <p:nvPr>
            <p:ph type="body" sz="quarter" idx="19" hasCustomPrompt="1"/>
          </p:nvPr>
        </p:nvSpPr>
        <p:spPr>
          <a:xfrm>
            <a:off x="7927357" y="3104990"/>
            <a:ext cx="1009898" cy="1313123"/>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dirty="0"/>
              <a:t>.</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B8DC7334-5B00-458F-ACE6-F27E5084DF10}" type="datetime2">
              <a:rPr lang="da-DK" smtClean="0"/>
              <a:t>11. december 2025</a:t>
            </a:fld>
            <a:endParaRPr lang="da-DK" dirty="0"/>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dirty="0"/>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937044772"/>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guide id="5" pos="4263">
          <p15:clr>
            <a:srgbClr val="A4A3A4"/>
          </p15:clr>
        </p15:guide>
        <p15:guide id="6" orient="horz" pos="3408">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2" name="Baggrund">
            <a:extLst>
              <a:ext uri="{FF2B5EF4-FFF2-40B4-BE49-F238E27FC236}">
                <a16:creationId xmlns:a16="http://schemas.microsoft.com/office/drawing/2014/main" id="{275AE316-2331-6809-4E9B-58CFF6AD5B81}"/>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4098600" cy="337548"/>
          </a:xfrm>
        </p:spPr>
        <p:txBody>
          <a:bodyPr anchor="b" anchorCtr="0"/>
          <a:lstStyle>
            <a:lvl1pPr marL="0" indent="0" algn="l">
              <a:spcBef>
                <a:spcPts val="0"/>
              </a:spcBef>
              <a:buFont typeface="Arial" panose="020B0604020202020204" pitchFamily="34" charset="0"/>
              <a:buNone/>
              <a:defRPr sz="1200">
                <a:solidFill>
                  <a:schemeClr val="bg1"/>
                </a:solidFill>
              </a:defRPr>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dirty="0"/>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a:xfrm>
            <a:off x="405000" y="675000"/>
            <a:ext cx="4098600" cy="621000"/>
          </a:xfrm>
        </p:spPr>
        <p:txBody>
          <a:bodyPr/>
          <a:lstStyle>
            <a:lvl1pPr>
              <a:defRPr>
                <a:solidFill>
                  <a:schemeClr val="bg1"/>
                </a:solidFill>
              </a:defRPr>
            </a:lvl1pPr>
          </a:lstStyle>
          <a:p>
            <a:r>
              <a:rPr lang="da-DK" dirty="0"/>
              <a:t>Klik for at tilføje titel</a:t>
            </a:r>
          </a:p>
        </p:txBody>
      </p:sp>
      <p:sp>
        <p:nvSpPr>
          <p:cNvPr id="3" name="Content Placeholder 2"/>
          <p:cNvSpPr>
            <a:spLocks noGrp="1"/>
          </p:cNvSpPr>
          <p:nvPr>
            <p:ph idx="1" hasCustomPrompt="1"/>
          </p:nvPr>
        </p:nvSpPr>
        <p:spPr>
          <a:xfrm>
            <a:off x="405000" y="1431000"/>
            <a:ext cx="4098600" cy="31725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 Niveau</a:t>
            </a:r>
          </a:p>
          <a:p>
            <a:pPr lvl="6"/>
            <a:r>
              <a:rPr lang="da-DK" noProof="0" dirty="0"/>
              <a:t>7 Niveau</a:t>
            </a:r>
          </a:p>
          <a:p>
            <a:pPr lvl="7"/>
            <a:r>
              <a:rPr lang="da-DK" noProof="0" dirty="0"/>
              <a:t>8 Niveau</a:t>
            </a:r>
          </a:p>
          <a:p>
            <a:pPr lvl="8"/>
            <a:r>
              <a:rPr lang="da-DK" noProof="0" dirty="0"/>
              <a:t>9 Niveau</a:t>
            </a:r>
          </a:p>
        </p:txBody>
      </p:sp>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5076000" y="0"/>
            <a:ext cx="3661997" cy="405765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23" name="Makro grafik 1">
            <a:extLst>
              <a:ext uri="{FF2B5EF4-FFF2-40B4-BE49-F238E27FC236}">
                <a16:creationId xmlns:a16="http://schemas.microsoft.com/office/drawing/2014/main" id="{EBA2552F-EC8F-624C-5264-AC2B088E31EF}"/>
              </a:ext>
            </a:extLst>
          </p:cNvPr>
          <p:cNvSpPr>
            <a:spLocks noGrp="1" noChangeAspect="1"/>
          </p:cNvSpPr>
          <p:nvPr>
            <p:ph type="body" sz="quarter" idx="18" hasCustomPrompt="1"/>
          </p:nvPr>
        </p:nvSpPr>
        <p:spPr>
          <a:xfrm>
            <a:off x="4774500" y="200901"/>
            <a:ext cx="810120" cy="265984"/>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dirty="0"/>
              <a:t>.</a:t>
            </a:r>
          </a:p>
        </p:txBody>
      </p:sp>
      <p:sp>
        <p:nvSpPr>
          <p:cNvPr id="25" name="Makro grafik 2">
            <a:extLst>
              <a:ext uri="{FF2B5EF4-FFF2-40B4-BE49-F238E27FC236}">
                <a16:creationId xmlns:a16="http://schemas.microsoft.com/office/drawing/2014/main" id="{719BADAE-19E7-74F8-5098-F36C7712747B}"/>
              </a:ext>
            </a:extLst>
          </p:cNvPr>
          <p:cNvSpPr>
            <a:spLocks noGrp="1" noChangeAspect="1"/>
          </p:cNvSpPr>
          <p:nvPr>
            <p:ph type="body" sz="quarter" idx="19" hasCustomPrompt="1"/>
          </p:nvPr>
        </p:nvSpPr>
        <p:spPr>
          <a:xfrm>
            <a:off x="7927357" y="3104990"/>
            <a:ext cx="1009898" cy="1313123"/>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dirty="0"/>
              <a:t>.</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lvl1pPr>
              <a:defRPr>
                <a:solidFill>
                  <a:schemeClr val="bg1"/>
                </a:solidFill>
              </a:defRPr>
            </a:lvl1pPr>
          </a:lstStyle>
          <a:p>
            <a:fld id="{B8DC7334-5B00-458F-ACE6-F27E5084DF10}" type="datetime2">
              <a:rPr lang="da-DK" smtClean="0"/>
              <a:pPr/>
              <a:t>11. december 2025</a:t>
            </a:fld>
            <a:endParaRPr lang="da-DK" dirty="0"/>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lvl1pPr>
              <a:defRPr>
                <a:solidFill>
                  <a:schemeClr val="bg1"/>
                </a:solidFill>
              </a:defRPr>
            </a:lvl1pPr>
          </a:lstStyle>
          <a:p>
            <a:r>
              <a:rPr lang="da-DK" dirty="0"/>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lvl1pPr>
              <a:defRPr>
                <a:solidFill>
                  <a:schemeClr val="bg1"/>
                </a:solid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75757740"/>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guide id="5" pos="4263">
          <p15:clr>
            <a:srgbClr val="A4A3A4"/>
          </p15:clr>
        </p15:guide>
        <p15:guide id="6" orient="horz" pos="3408">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o billeder og tekst A">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404999" y="0"/>
            <a:ext cx="3393900" cy="31671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31" name="Picture Placeholder 3">
            <a:extLst>
              <a:ext uri="{FF2B5EF4-FFF2-40B4-BE49-F238E27FC236}">
                <a16:creationId xmlns:a16="http://schemas.microsoft.com/office/drawing/2014/main" id="{0C5AC296-1E96-EE8B-9C85-121FADCDAEEA}"/>
              </a:ext>
            </a:extLst>
          </p:cNvPr>
          <p:cNvSpPr>
            <a:spLocks noGrp="1"/>
          </p:cNvSpPr>
          <p:nvPr>
            <p:ph type="pic" sz="quarter" idx="26" hasCustomPrompt="1"/>
          </p:nvPr>
        </p:nvSpPr>
        <p:spPr>
          <a:xfrm>
            <a:off x="3938784" y="0"/>
            <a:ext cx="3393094" cy="31671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18" name="Pladsholder til tekst 17">
            <a:extLst>
              <a:ext uri="{FF2B5EF4-FFF2-40B4-BE49-F238E27FC236}">
                <a16:creationId xmlns:a16="http://schemas.microsoft.com/office/drawing/2014/main" id="{7A036220-52A4-5423-2E3D-CA9465DCF383}"/>
              </a:ext>
            </a:extLst>
          </p:cNvPr>
          <p:cNvSpPr>
            <a:spLocks noGrp="1"/>
          </p:cNvSpPr>
          <p:nvPr>
            <p:ph type="body" sz="quarter" idx="21" hasCustomPrompt="1"/>
          </p:nvPr>
        </p:nvSpPr>
        <p:spPr>
          <a:xfrm>
            <a:off x="404999" y="3302101"/>
            <a:ext cx="3393900" cy="1300856"/>
          </a:xfrm>
        </p:spPr>
        <p:txBody>
          <a:bodyPr/>
          <a:lstStyle>
            <a:lvl1pPr>
              <a:defRPr/>
            </a:lvl1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p:txBody>
      </p:sp>
      <p:sp>
        <p:nvSpPr>
          <p:cNvPr id="20" name="Pladsholder til tekst 19">
            <a:extLst>
              <a:ext uri="{FF2B5EF4-FFF2-40B4-BE49-F238E27FC236}">
                <a16:creationId xmlns:a16="http://schemas.microsoft.com/office/drawing/2014/main" id="{B8BFA8BA-84C0-F72E-A750-BA569C419DF9}"/>
              </a:ext>
            </a:extLst>
          </p:cNvPr>
          <p:cNvSpPr>
            <a:spLocks noGrp="1"/>
          </p:cNvSpPr>
          <p:nvPr>
            <p:ph type="body" sz="quarter" idx="22" hasCustomPrompt="1"/>
          </p:nvPr>
        </p:nvSpPr>
        <p:spPr>
          <a:xfrm>
            <a:off x="3939300" y="3302101"/>
            <a:ext cx="3393900" cy="1300856"/>
          </a:xfrm>
        </p:spPr>
        <p:txBody>
          <a:bodyPr/>
          <a:lstStyle>
            <a:lvl1pPr>
              <a:defRPr/>
            </a:lvl1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p:txBody>
      </p:sp>
      <p:sp>
        <p:nvSpPr>
          <p:cNvPr id="35" name="Makro grafik 1">
            <a:extLst>
              <a:ext uri="{FF2B5EF4-FFF2-40B4-BE49-F238E27FC236}">
                <a16:creationId xmlns:a16="http://schemas.microsoft.com/office/drawing/2014/main" id="{7C623DFE-050D-8EBF-2AB6-73D6BB690D9E}"/>
              </a:ext>
            </a:extLst>
          </p:cNvPr>
          <p:cNvSpPr>
            <a:spLocks noGrp="1" noChangeAspect="1"/>
          </p:cNvSpPr>
          <p:nvPr>
            <p:ph type="body" sz="quarter" idx="24" hasCustomPrompt="1"/>
          </p:nvPr>
        </p:nvSpPr>
        <p:spPr>
          <a:xfrm>
            <a:off x="3059924" y="508903"/>
            <a:ext cx="824373" cy="876750"/>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
        <p:nvSpPr>
          <p:cNvPr id="37" name="Makro grafik 2">
            <a:extLst>
              <a:ext uri="{FF2B5EF4-FFF2-40B4-BE49-F238E27FC236}">
                <a16:creationId xmlns:a16="http://schemas.microsoft.com/office/drawing/2014/main" id="{B01E448D-548C-DEA9-6590-C279C5C3F197}"/>
              </a:ext>
            </a:extLst>
          </p:cNvPr>
          <p:cNvSpPr>
            <a:spLocks noGrp="1" noChangeAspect="1"/>
          </p:cNvSpPr>
          <p:nvPr>
            <p:ph type="body" sz="quarter" idx="25" hasCustomPrompt="1"/>
          </p:nvPr>
        </p:nvSpPr>
        <p:spPr>
          <a:xfrm>
            <a:off x="6627459" y="1161722"/>
            <a:ext cx="1239333" cy="177627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6EE1813C-833F-4B00-8AC7-CD62351492B7}" type="datetime2">
              <a:rPr lang="da-DK" smtClean="0"/>
              <a:t>11. december 2025</a:t>
            </a:fld>
            <a:endParaRPr lang="da-DK" dirty="0"/>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dirty="0"/>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805261597"/>
      </p:ext>
    </p:extLst>
  </p:cSld>
  <p:clrMapOvr>
    <a:masterClrMapping/>
  </p:clrMapOvr>
  <p:extLst>
    <p:ext uri="{DCECCB84-F9BA-43D5-87BE-67443E8EF086}">
      <p15:sldGuideLst xmlns:p15="http://schemas.microsoft.com/office/powerpoint/2012/main">
        <p15:guide id="6" orient="horz" pos="2660">
          <p15:clr>
            <a:srgbClr val="A4A3A4"/>
          </p15:clr>
        </p15:guide>
        <p15:guide id="7" orient="horz" pos="2773">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o billeder og tekst B">
    <p:spTree>
      <p:nvGrpSpPr>
        <p:cNvPr id="1" name=""/>
        <p:cNvGrpSpPr/>
        <p:nvPr/>
      </p:nvGrpSpPr>
      <p:grpSpPr>
        <a:xfrm>
          <a:off x="0" y="0"/>
          <a:ext cx="0" cy="0"/>
          <a:chOff x="0" y="0"/>
          <a:chExt cx="0" cy="0"/>
        </a:xfrm>
      </p:grpSpPr>
      <p:sp>
        <p:nvSpPr>
          <p:cNvPr id="2" name="Baggrund">
            <a:extLst>
              <a:ext uri="{FF2B5EF4-FFF2-40B4-BE49-F238E27FC236}">
                <a16:creationId xmlns:a16="http://schemas.microsoft.com/office/drawing/2014/main" id="{541EA801-8FE7-2F0F-7F59-C28047217BA7}"/>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404999" y="0"/>
            <a:ext cx="3393900" cy="31671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31" name="Picture Placeholder 3">
            <a:extLst>
              <a:ext uri="{FF2B5EF4-FFF2-40B4-BE49-F238E27FC236}">
                <a16:creationId xmlns:a16="http://schemas.microsoft.com/office/drawing/2014/main" id="{0C5AC296-1E96-EE8B-9C85-121FADCDAEEA}"/>
              </a:ext>
            </a:extLst>
          </p:cNvPr>
          <p:cNvSpPr>
            <a:spLocks noGrp="1"/>
          </p:cNvSpPr>
          <p:nvPr>
            <p:ph type="pic" sz="quarter" idx="26" hasCustomPrompt="1"/>
          </p:nvPr>
        </p:nvSpPr>
        <p:spPr>
          <a:xfrm>
            <a:off x="3938784" y="0"/>
            <a:ext cx="3393094" cy="31671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18" name="Pladsholder til tekst 17">
            <a:extLst>
              <a:ext uri="{FF2B5EF4-FFF2-40B4-BE49-F238E27FC236}">
                <a16:creationId xmlns:a16="http://schemas.microsoft.com/office/drawing/2014/main" id="{7A036220-52A4-5423-2E3D-CA9465DCF383}"/>
              </a:ext>
            </a:extLst>
          </p:cNvPr>
          <p:cNvSpPr>
            <a:spLocks noGrp="1"/>
          </p:cNvSpPr>
          <p:nvPr>
            <p:ph type="body" sz="quarter" idx="21" hasCustomPrompt="1"/>
          </p:nvPr>
        </p:nvSpPr>
        <p:spPr>
          <a:xfrm>
            <a:off x="404999" y="3302101"/>
            <a:ext cx="3393900" cy="130085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p:txBody>
      </p:sp>
      <p:sp>
        <p:nvSpPr>
          <p:cNvPr id="20" name="Pladsholder til tekst 19">
            <a:extLst>
              <a:ext uri="{FF2B5EF4-FFF2-40B4-BE49-F238E27FC236}">
                <a16:creationId xmlns:a16="http://schemas.microsoft.com/office/drawing/2014/main" id="{B8BFA8BA-84C0-F72E-A750-BA569C419DF9}"/>
              </a:ext>
            </a:extLst>
          </p:cNvPr>
          <p:cNvSpPr>
            <a:spLocks noGrp="1"/>
          </p:cNvSpPr>
          <p:nvPr>
            <p:ph type="body" sz="quarter" idx="22" hasCustomPrompt="1"/>
          </p:nvPr>
        </p:nvSpPr>
        <p:spPr>
          <a:xfrm>
            <a:off x="3939300" y="3302101"/>
            <a:ext cx="3393900" cy="130085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p:txBody>
      </p:sp>
      <p:sp>
        <p:nvSpPr>
          <p:cNvPr id="35" name="Makro grafik 1">
            <a:extLst>
              <a:ext uri="{FF2B5EF4-FFF2-40B4-BE49-F238E27FC236}">
                <a16:creationId xmlns:a16="http://schemas.microsoft.com/office/drawing/2014/main" id="{7C623DFE-050D-8EBF-2AB6-73D6BB690D9E}"/>
              </a:ext>
            </a:extLst>
          </p:cNvPr>
          <p:cNvSpPr>
            <a:spLocks noGrp="1" noChangeAspect="1"/>
          </p:cNvSpPr>
          <p:nvPr>
            <p:ph type="body" sz="quarter" idx="24" hasCustomPrompt="1"/>
          </p:nvPr>
        </p:nvSpPr>
        <p:spPr>
          <a:xfrm>
            <a:off x="3059924" y="508903"/>
            <a:ext cx="824373" cy="876750"/>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
        <p:nvSpPr>
          <p:cNvPr id="37" name="Makro grafik 2">
            <a:extLst>
              <a:ext uri="{FF2B5EF4-FFF2-40B4-BE49-F238E27FC236}">
                <a16:creationId xmlns:a16="http://schemas.microsoft.com/office/drawing/2014/main" id="{B01E448D-548C-DEA9-6590-C279C5C3F197}"/>
              </a:ext>
            </a:extLst>
          </p:cNvPr>
          <p:cNvSpPr>
            <a:spLocks noGrp="1" noChangeAspect="1"/>
          </p:cNvSpPr>
          <p:nvPr>
            <p:ph type="body" sz="quarter" idx="25" hasCustomPrompt="1"/>
          </p:nvPr>
        </p:nvSpPr>
        <p:spPr>
          <a:xfrm>
            <a:off x="6627459" y="1161722"/>
            <a:ext cx="1239333" cy="177627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lvl1pPr>
              <a:defRPr>
                <a:solidFill>
                  <a:schemeClr val="bg1"/>
                </a:solidFill>
              </a:defRPr>
            </a:lvl1pPr>
          </a:lstStyle>
          <a:p>
            <a:fld id="{6EE1813C-833F-4B00-8AC7-CD62351492B7}" type="datetime2">
              <a:rPr lang="da-DK" smtClean="0"/>
              <a:pPr/>
              <a:t>11. december 2025</a:t>
            </a:fld>
            <a:endParaRPr lang="da-DK" dirty="0"/>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lvl1pPr>
              <a:defRPr>
                <a:solidFill>
                  <a:schemeClr val="bg1"/>
                </a:solidFill>
              </a:defRPr>
            </a:lvl1pPr>
          </a:lstStyle>
          <a:p>
            <a:r>
              <a:rPr lang="da-DK" dirty="0"/>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lvl1pPr>
              <a:defRPr>
                <a:solidFill>
                  <a:schemeClr val="bg1"/>
                </a:solid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680334567"/>
      </p:ext>
    </p:extLst>
  </p:cSld>
  <p:clrMapOvr>
    <a:masterClrMapping/>
  </p:clrMapOvr>
  <p:extLst>
    <p:ext uri="{DCECCB84-F9BA-43D5-87BE-67443E8EF086}">
      <p15:sldGuideLst xmlns:p15="http://schemas.microsoft.com/office/powerpoint/2012/main">
        <p15:guide id="6" orient="horz" pos="2660">
          <p15:clr>
            <a:srgbClr val="A4A3A4"/>
          </p15:clr>
        </p15:guide>
        <p15:guide id="7" orient="horz" pos="2773">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re billeder og tekst A">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405001" y="0"/>
            <a:ext cx="2686500" cy="31671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31" name="Picture Placeholder 3">
            <a:extLst>
              <a:ext uri="{FF2B5EF4-FFF2-40B4-BE49-F238E27FC236}">
                <a16:creationId xmlns:a16="http://schemas.microsoft.com/office/drawing/2014/main" id="{0C5AC296-1E96-EE8B-9C85-121FADCDAEEA}"/>
              </a:ext>
            </a:extLst>
          </p:cNvPr>
          <p:cNvSpPr>
            <a:spLocks noGrp="1"/>
          </p:cNvSpPr>
          <p:nvPr>
            <p:ph type="pic" sz="quarter" idx="26" hasCustomPrompt="1"/>
          </p:nvPr>
        </p:nvSpPr>
        <p:spPr>
          <a:xfrm>
            <a:off x="3229200" y="0"/>
            <a:ext cx="2686500" cy="31671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3" name="Picture Placeholder 3">
            <a:extLst>
              <a:ext uri="{FF2B5EF4-FFF2-40B4-BE49-F238E27FC236}">
                <a16:creationId xmlns:a16="http://schemas.microsoft.com/office/drawing/2014/main" id="{5F2C9F80-9D2C-1AE1-46B6-2D3A7D8A6976}"/>
              </a:ext>
            </a:extLst>
          </p:cNvPr>
          <p:cNvSpPr>
            <a:spLocks noGrp="1"/>
          </p:cNvSpPr>
          <p:nvPr>
            <p:ph type="pic" sz="quarter" idx="27" hasCustomPrompt="1"/>
          </p:nvPr>
        </p:nvSpPr>
        <p:spPr>
          <a:xfrm>
            <a:off x="6050570" y="0"/>
            <a:ext cx="2686500" cy="31671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18" name="Pladsholder til tekst 17">
            <a:extLst>
              <a:ext uri="{FF2B5EF4-FFF2-40B4-BE49-F238E27FC236}">
                <a16:creationId xmlns:a16="http://schemas.microsoft.com/office/drawing/2014/main" id="{7A036220-52A4-5423-2E3D-CA9465DCF383}"/>
              </a:ext>
            </a:extLst>
          </p:cNvPr>
          <p:cNvSpPr>
            <a:spLocks noGrp="1"/>
          </p:cNvSpPr>
          <p:nvPr>
            <p:ph type="body" sz="quarter" idx="21" hasCustomPrompt="1"/>
          </p:nvPr>
        </p:nvSpPr>
        <p:spPr>
          <a:xfrm>
            <a:off x="405001" y="3302100"/>
            <a:ext cx="2686500" cy="1301400"/>
          </a:xfrm>
        </p:spPr>
        <p:txBody>
          <a:bodyPr/>
          <a:lstStyle>
            <a:lvl1pPr>
              <a:defRPr/>
            </a:lvl1pPr>
          </a:lstStyle>
          <a:p>
            <a:pPr lvl="0"/>
            <a:r>
              <a:rPr lang="da-DK" noProof="0" dirty="0"/>
              <a:t>Klik for at tilføje tekst                             Klik ENTER og derefter TAB for at se næste tekstformat                              Klik SHIFT+TAB for at se foregående tekstformat</a:t>
            </a:r>
          </a:p>
          <a:p>
            <a:pPr lvl="1"/>
            <a:r>
              <a:rPr lang="da-DK" noProof="0" dirty="0"/>
              <a:t>Andet Niveau</a:t>
            </a:r>
          </a:p>
        </p:txBody>
      </p:sp>
      <p:sp>
        <p:nvSpPr>
          <p:cNvPr id="20" name="Pladsholder til tekst 19">
            <a:extLst>
              <a:ext uri="{FF2B5EF4-FFF2-40B4-BE49-F238E27FC236}">
                <a16:creationId xmlns:a16="http://schemas.microsoft.com/office/drawing/2014/main" id="{B8BFA8BA-84C0-F72E-A750-BA569C419DF9}"/>
              </a:ext>
            </a:extLst>
          </p:cNvPr>
          <p:cNvSpPr>
            <a:spLocks noGrp="1"/>
          </p:cNvSpPr>
          <p:nvPr>
            <p:ph type="body" sz="quarter" idx="22" hasCustomPrompt="1"/>
          </p:nvPr>
        </p:nvSpPr>
        <p:spPr>
          <a:xfrm>
            <a:off x="3229200" y="3302100"/>
            <a:ext cx="2686500" cy="1301400"/>
          </a:xfrm>
        </p:spPr>
        <p:txBody>
          <a:bodyPr/>
          <a:lstStyle>
            <a:lvl1pPr>
              <a:defRPr/>
            </a:lvl1pPr>
          </a:lstStyle>
          <a:p>
            <a:pPr lvl="0"/>
            <a:r>
              <a:rPr lang="da-DK" noProof="0" dirty="0"/>
              <a:t>Klik for at tilføje tekst                         Klik ENTER og derefter TAB for at se næste tekstformat                                Klik SHIFT+TAB for at se foregående tekstformat</a:t>
            </a:r>
          </a:p>
          <a:p>
            <a:pPr lvl="1"/>
            <a:r>
              <a:rPr lang="da-DK" noProof="0" dirty="0"/>
              <a:t>Andet Niveau</a:t>
            </a:r>
          </a:p>
        </p:txBody>
      </p:sp>
      <p:sp>
        <p:nvSpPr>
          <p:cNvPr id="2" name="Pladsholder til tekst 21">
            <a:extLst>
              <a:ext uri="{FF2B5EF4-FFF2-40B4-BE49-F238E27FC236}">
                <a16:creationId xmlns:a16="http://schemas.microsoft.com/office/drawing/2014/main" id="{B9E2D20B-4753-F312-1E3D-2FCF85F1B474}"/>
              </a:ext>
            </a:extLst>
          </p:cNvPr>
          <p:cNvSpPr>
            <a:spLocks noGrp="1"/>
          </p:cNvSpPr>
          <p:nvPr>
            <p:ph type="body" sz="quarter" idx="23" hasCustomPrompt="1"/>
          </p:nvPr>
        </p:nvSpPr>
        <p:spPr>
          <a:xfrm>
            <a:off x="6050570" y="3302100"/>
            <a:ext cx="2686500" cy="1301400"/>
          </a:xfrm>
        </p:spPr>
        <p:txBody>
          <a:bodyPr/>
          <a:lstStyle/>
          <a:p>
            <a:pPr lvl="0"/>
            <a:r>
              <a:rPr lang="da-DK" noProof="0" dirty="0"/>
              <a:t>Klik for at tilføje tekst                         Klik ENTER og derefter TAB for at se næste tekstformat                                Klik SHIFT+TAB for at se foregående tekstformat</a:t>
            </a:r>
          </a:p>
          <a:p>
            <a:pPr lvl="1"/>
            <a:r>
              <a:rPr lang="da-DK" noProof="0" dirty="0"/>
              <a:t>Andet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97661291-5352-4918-9316-2BC4EAD39735}" type="datetime2">
              <a:rPr lang="da-DK" smtClean="0"/>
              <a:t>11. december 2025</a:t>
            </a:fld>
            <a:endParaRPr lang="da-DK" dirty="0"/>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dirty="0"/>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dirty="0"/>
          </a:p>
        </p:txBody>
      </p:sp>
      <p:sp>
        <p:nvSpPr>
          <p:cNvPr id="11" name="Makro grafik 1">
            <a:extLst>
              <a:ext uri="{FF2B5EF4-FFF2-40B4-BE49-F238E27FC236}">
                <a16:creationId xmlns:a16="http://schemas.microsoft.com/office/drawing/2014/main" id="{5B5C7922-7CE1-04FB-3F00-E2781F5AA6A3}"/>
              </a:ext>
            </a:extLst>
          </p:cNvPr>
          <p:cNvSpPr>
            <a:spLocks noGrp="1" noChangeAspect="1"/>
          </p:cNvSpPr>
          <p:nvPr>
            <p:ph type="body" sz="quarter" idx="28" hasCustomPrompt="1"/>
          </p:nvPr>
        </p:nvSpPr>
        <p:spPr>
          <a:xfrm>
            <a:off x="2395552" y="508903"/>
            <a:ext cx="824373" cy="876750"/>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
        <p:nvSpPr>
          <p:cNvPr id="12" name="Makro grafik 2">
            <a:extLst>
              <a:ext uri="{FF2B5EF4-FFF2-40B4-BE49-F238E27FC236}">
                <a16:creationId xmlns:a16="http://schemas.microsoft.com/office/drawing/2014/main" id="{FC0E9C59-2E77-747D-58BC-6769C9984CA6}"/>
              </a:ext>
            </a:extLst>
          </p:cNvPr>
          <p:cNvSpPr>
            <a:spLocks noGrp="1" noChangeAspect="1"/>
          </p:cNvSpPr>
          <p:nvPr>
            <p:ph type="body" sz="quarter" idx="29" hasCustomPrompt="1"/>
          </p:nvPr>
        </p:nvSpPr>
        <p:spPr>
          <a:xfrm>
            <a:off x="5678484" y="1161722"/>
            <a:ext cx="1239333" cy="177627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Tree>
    <p:extLst>
      <p:ext uri="{BB962C8B-B14F-4D97-AF65-F5344CB8AC3E}">
        <p14:creationId xmlns:p14="http://schemas.microsoft.com/office/powerpoint/2010/main" val="3512425138"/>
      </p:ext>
    </p:extLst>
  </p:cSld>
  <p:clrMapOvr>
    <a:masterClrMapping/>
  </p:clrMapOvr>
  <p:extLst>
    <p:ext uri="{DCECCB84-F9BA-43D5-87BE-67443E8EF086}">
      <p15:sldGuideLst xmlns:p15="http://schemas.microsoft.com/office/powerpoint/2012/main">
        <p15:guide id="6" orient="horz" pos="2660">
          <p15:clr>
            <a:srgbClr val="A4A3A4"/>
          </p15:clr>
        </p15:guide>
        <p15:guide id="7" orient="horz" pos="2773">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aktisk information">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002998-56E0-B41C-4611-6E392593EFA3}"/>
              </a:ext>
            </a:extLst>
          </p:cNvPr>
          <p:cNvSpPr>
            <a:spLocks noGrp="1"/>
          </p:cNvSpPr>
          <p:nvPr>
            <p:ph type="title"/>
          </p:nvPr>
        </p:nvSpPr>
        <p:spPr>
          <a:xfrm>
            <a:off x="468313" y="555625"/>
            <a:ext cx="4103687" cy="647973"/>
          </a:xfrm>
        </p:spPr>
        <p:txBody>
          <a:bodyPr/>
          <a:lstStyle/>
          <a:p>
            <a:r>
              <a:rPr lang="da-DK"/>
              <a:t>Klik for at redigere titeltypografien i masteren</a:t>
            </a:r>
            <a:endParaRPr lang="en-GB"/>
          </a:p>
        </p:txBody>
      </p:sp>
      <p:sp>
        <p:nvSpPr>
          <p:cNvPr id="4" name="Pladsholder til tekst 3">
            <a:extLst>
              <a:ext uri="{FF2B5EF4-FFF2-40B4-BE49-F238E27FC236}">
                <a16:creationId xmlns:a16="http://schemas.microsoft.com/office/drawing/2014/main" id="{E4635518-A0E4-AE02-8A01-B963156D663C}"/>
              </a:ext>
            </a:extLst>
          </p:cNvPr>
          <p:cNvSpPr>
            <a:spLocks noGrp="1"/>
          </p:cNvSpPr>
          <p:nvPr>
            <p:ph type="body" sz="quarter" idx="10"/>
          </p:nvPr>
        </p:nvSpPr>
        <p:spPr>
          <a:xfrm>
            <a:off x="5148263" y="1419225"/>
            <a:ext cx="3527425" cy="216421"/>
          </a:xfrm>
        </p:spPr>
        <p:txBody>
          <a:bodyPr/>
          <a:lstStyle>
            <a:lvl1pPr marL="0" indent="0">
              <a:buNone/>
              <a:defRPr sz="1000" b="1" i="0">
                <a:solidFill>
                  <a:schemeClr val="tx1"/>
                </a:solidFill>
                <a:latin typeface="Neue Haas Grotesk Text Pro" panose="020B0504020202020204" pitchFamily="34" charset="77"/>
              </a:defRPr>
            </a:lvl1pPr>
          </a:lstStyle>
          <a:p>
            <a:pPr lvl="0"/>
            <a:r>
              <a:rPr lang="da-DK"/>
              <a:t>Klik for at redigere teksttypografierne i masteren</a:t>
            </a:r>
          </a:p>
        </p:txBody>
      </p:sp>
      <p:sp>
        <p:nvSpPr>
          <p:cNvPr id="6" name="Pladsholder til tekst 5">
            <a:extLst>
              <a:ext uri="{FF2B5EF4-FFF2-40B4-BE49-F238E27FC236}">
                <a16:creationId xmlns:a16="http://schemas.microsoft.com/office/drawing/2014/main" id="{0E6AF5B2-3A69-1F49-DA1A-FED935DE13C4}"/>
              </a:ext>
            </a:extLst>
          </p:cNvPr>
          <p:cNvSpPr>
            <a:spLocks noGrp="1"/>
          </p:cNvSpPr>
          <p:nvPr>
            <p:ph type="body" sz="quarter" idx="11"/>
          </p:nvPr>
        </p:nvSpPr>
        <p:spPr>
          <a:xfrm>
            <a:off x="468313" y="339998"/>
            <a:ext cx="4103687" cy="144190"/>
          </a:xfrm>
        </p:spPr>
        <p:txBody>
          <a:bodyPr lIns="14400" rIns="0"/>
          <a:lstStyle>
            <a:lvl1pPr marL="0" indent="0">
              <a:buFont typeface="Arial" panose="020B0604020202020204" pitchFamily="34" charset="0"/>
              <a:buNone/>
              <a:defRPr sz="1000" b="0" i="0" cap="all" baseline="0">
                <a:solidFill>
                  <a:srgbClr val="878787"/>
                </a:solidFill>
                <a:latin typeface="Neue Haas Grotesk Text Pro" panose="020B0504020202020204" pitchFamily="34" charset="77"/>
              </a:defRPr>
            </a:lvl1pPr>
            <a:lvl2pPr marL="72000" indent="0">
              <a:buNone/>
              <a:defRPr sz="1000">
                <a:latin typeface="Helvetica" pitchFamily="2" charset="0"/>
              </a:defRPr>
            </a:lvl2pPr>
            <a:lvl3pPr marL="252000" indent="0">
              <a:buNone/>
              <a:defRPr sz="1000">
                <a:latin typeface="Helvetica" pitchFamily="2" charset="0"/>
              </a:defRPr>
            </a:lvl3pPr>
            <a:lvl4pPr marL="378000" indent="0">
              <a:buFont typeface="Arial" panose="020B0604020202020204" pitchFamily="34" charset="0"/>
              <a:buNone/>
              <a:defRPr sz="1000">
                <a:latin typeface="Helvetica" pitchFamily="2" charset="0"/>
              </a:defRPr>
            </a:lvl4pPr>
            <a:lvl5pPr marL="252000" indent="0">
              <a:buNone/>
              <a:defRPr sz="1000">
                <a:latin typeface="Helvetica" pitchFamily="2" charset="0"/>
              </a:defRPr>
            </a:lvl5pPr>
          </a:lstStyle>
          <a:p>
            <a:pPr lvl="0"/>
            <a:r>
              <a:rPr lang="da-DK"/>
              <a:t>Klik for at redigere teksttypografierne i masteren</a:t>
            </a:r>
          </a:p>
        </p:txBody>
      </p:sp>
      <p:sp>
        <p:nvSpPr>
          <p:cNvPr id="5" name="Pladsholder til billede 5">
            <a:extLst>
              <a:ext uri="{FF2B5EF4-FFF2-40B4-BE49-F238E27FC236}">
                <a16:creationId xmlns:a16="http://schemas.microsoft.com/office/drawing/2014/main" id="{21388F4B-459C-62E7-B17F-7FDB3EC404BB}"/>
              </a:ext>
            </a:extLst>
          </p:cNvPr>
          <p:cNvSpPr>
            <a:spLocks noGrp="1"/>
          </p:cNvSpPr>
          <p:nvPr>
            <p:ph type="pic" sz="quarter" idx="12"/>
          </p:nvPr>
        </p:nvSpPr>
        <p:spPr>
          <a:xfrm>
            <a:off x="478024" y="1419225"/>
            <a:ext cx="4093976" cy="2744671"/>
          </a:xfrm>
        </p:spPr>
        <p:txBody>
          <a:bodyPr>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
        <p:nvSpPr>
          <p:cNvPr id="9" name="Pladsholder til tekst 7">
            <a:extLst>
              <a:ext uri="{FF2B5EF4-FFF2-40B4-BE49-F238E27FC236}">
                <a16:creationId xmlns:a16="http://schemas.microsoft.com/office/drawing/2014/main" id="{2812230A-8416-6F63-0D6A-A672DE3A6C7B}"/>
              </a:ext>
            </a:extLst>
          </p:cNvPr>
          <p:cNvSpPr>
            <a:spLocks noGrp="1"/>
          </p:cNvSpPr>
          <p:nvPr>
            <p:ph type="body" sz="quarter" idx="18"/>
          </p:nvPr>
        </p:nvSpPr>
        <p:spPr>
          <a:xfrm>
            <a:off x="6512431" y="1635646"/>
            <a:ext cx="1187999" cy="1188000"/>
          </a:xfrm>
          <a:solidFill>
            <a:schemeClr val="bg2"/>
          </a:solidFill>
        </p:spPr>
        <p:txBody>
          <a:bodyPr lIns="72000" tIns="72000" rIns="72000" bIns="72000"/>
          <a:lstStyle>
            <a:lvl1pPr marL="0" indent="0">
              <a:buNone/>
              <a:defRPr sz="1000"/>
            </a:lvl1pPr>
            <a:lvl2pPr>
              <a:defRPr sz="600"/>
            </a:lvl2pPr>
            <a:lvl3pPr>
              <a:defRPr sz="500"/>
            </a:lvl3pPr>
            <a:lvl4pPr marL="423450" indent="-171450">
              <a:buFont typeface="Arial" panose="020B0604020202020204" pitchFamily="34" charset="0"/>
              <a:buChar char="•"/>
              <a:defRPr sz="500"/>
            </a:lvl4pPr>
            <a:lvl5pPr>
              <a:defRPr sz="500"/>
            </a:lvl5pPr>
          </a:lstStyle>
          <a:p>
            <a:pPr lvl="0"/>
            <a:r>
              <a:rPr lang="da-DK"/>
              <a:t>Klik for at redigere teksttypografierne i masteren</a:t>
            </a:r>
          </a:p>
        </p:txBody>
      </p:sp>
      <p:sp>
        <p:nvSpPr>
          <p:cNvPr id="13" name="Pladsholder til tekst 7">
            <a:extLst>
              <a:ext uri="{FF2B5EF4-FFF2-40B4-BE49-F238E27FC236}">
                <a16:creationId xmlns:a16="http://schemas.microsoft.com/office/drawing/2014/main" id="{8D0AA46E-356E-B065-2562-59E9BE8AFF07}"/>
              </a:ext>
            </a:extLst>
          </p:cNvPr>
          <p:cNvSpPr>
            <a:spLocks noGrp="1"/>
          </p:cNvSpPr>
          <p:nvPr>
            <p:ph type="body" sz="quarter" idx="19"/>
          </p:nvPr>
        </p:nvSpPr>
        <p:spPr>
          <a:xfrm>
            <a:off x="5154978" y="2975896"/>
            <a:ext cx="1187999" cy="1188000"/>
          </a:xfrm>
          <a:solidFill>
            <a:schemeClr val="bg2"/>
          </a:solidFill>
        </p:spPr>
        <p:txBody>
          <a:bodyPr lIns="72000" tIns="72000" rIns="72000" bIns="72000"/>
          <a:lstStyle>
            <a:lvl1pPr marL="0" indent="0">
              <a:buNone/>
              <a:defRPr sz="1000"/>
            </a:lvl1pPr>
            <a:lvl2pPr>
              <a:defRPr sz="600"/>
            </a:lvl2pPr>
            <a:lvl3pPr>
              <a:defRPr sz="500"/>
            </a:lvl3pPr>
            <a:lvl4pPr marL="423450" indent="-171450">
              <a:buFont typeface="Arial" panose="020B0604020202020204" pitchFamily="34" charset="0"/>
              <a:buChar char="•"/>
              <a:defRPr sz="500"/>
            </a:lvl4pPr>
            <a:lvl5pPr>
              <a:defRPr sz="500"/>
            </a:lvl5pPr>
          </a:lstStyle>
          <a:p>
            <a:pPr lvl="0"/>
            <a:r>
              <a:rPr lang="da-DK"/>
              <a:t>Klik for at redigere teksttypografierne i masteren</a:t>
            </a:r>
          </a:p>
        </p:txBody>
      </p:sp>
      <p:sp>
        <p:nvSpPr>
          <p:cNvPr id="14" name="Pladsholder til tekst 7">
            <a:extLst>
              <a:ext uri="{FF2B5EF4-FFF2-40B4-BE49-F238E27FC236}">
                <a16:creationId xmlns:a16="http://schemas.microsoft.com/office/drawing/2014/main" id="{DFAF8689-D3F3-14AB-A7A6-9A7F28D6CEDE}"/>
              </a:ext>
            </a:extLst>
          </p:cNvPr>
          <p:cNvSpPr>
            <a:spLocks noGrp="1"/>
          </p:cNvSpPr>
          <p:nvPr>
            <p:ph type="body" sz="quarter" idx="20"/>
          </p:nvPr>
        </p:nvSpPr>
        <p:spPr>
          <a:xfrm>
            <a:off x="6512431" y="2975896"/>
            <a:ext cx="1187999" cy="1188000"/>
          </a:xfrm>
          <a:solidFill>
            <a:schemeClr val="bg2"/>
          </a:solidFill>
        </p:spPr>
        <p:txBody>
          <a:bodyPr lIns="72000" tIns="72000" rIns="72000" bIns="72000"/>
          <a:lstStyle>
            <a:lvl1pPr marL="0" indent="0">
              <a:buNone/>
              <a:defRPr sz="1000"/>
            </a:lvl1pPr>
            <a:lvl2pPr>
              <a:defRPr sz="600"/>
            </a:lvl2pPr>
            <a:lvl3pPr>
              <a:defRPr sz="500"/>
            </a:lvl3pPr>
            <a:lvl4pPr marL="423450" indent="-171450">
              <a:buFont typeface="Arial" panose="020B0604020202020204" pitchFamily="34" charset="0"/>
              <a:buChar char="•"/>
              <a:defRPr sz="500"/>
            </a:lvl4pPr>
            <a:lvl5pPr>
              <a:defRPr sz="500"/>
            </a:lvl5pPr>
          </a:lstStyle>
          <a:p>
            <a:pPr lvl="0"/>
            <a:r>
              <a:rPr lang="da-DK"/>
              <a:t>Klik for at redigere teksttypografierne i masteren</a:t>
            </a:r>
          </a:p>
        </p:txBody>
      </p:sp>
      <p:sp>
        <p:nvSpPr>
          <p:cNvPr id="17" name="Pladsholder til tekst 7">
            <a:extLst>
              <a:ext uri="{FF2B5EF4-FFF2-40B4-BE49-F238E27FC236}">
                <a16:creationId xmlns:a16="http://schemas.microsoft.com/office/drawing/2014/main" id="{C60F3F8A-9CDD-0BE8-7F8E-2ED8BA8AE7F8}"/>
              </a:ext>
            </a:extLst>
          </p:cNvPr>
          <p:cNvSpPr>
            <a:spLocks noGrp="1"/>
          </p:cNvSpPr>
          <p:nvPr>
            <p:ph type="body" sz="quarter" idx="21"/>
          </p:nvPr>
        </p:nvSpPr>
        <p:spPr>
          <a:xfrm>
            <a:off x="5154977" y="1635646"/>
            <a:ext cx="1187999" cy="1188000"/>
          </a:xfrm>
          <a:solidFill>
            <a:schemeClr val="bg2"/>
          </a:solidFill>
        </p:spPr>
        <p:txBody>
          <a:bodyPr lIns="72000" tIns="72000" rIns="72000" bIns="72000"/>
          <a:lstStyle>
            <a:lvl1pPr marL="0" indent="0">
              <a:buNone/>
              <a:defRPr sz="1000"/>
            </a:lvl1pPr>
            <a:lvl2pPr>
              <a:defRPr sz="600"/>
            </a:lvl2pPr>
            <a:lvl3pPr>
              <a:defRPr sz="500"/>
            </a:lvl3pPr>
            <a:lvl4pPr marL="423450" indent="-171450">
              <a:buFont typeface="Arial" panose="020B0604020202020204" pitchFamily="34" charset="0"/>
              <a:buChar char="•"/>
              <a:defRPr sz="500"/>
            </a:lvl4pPr>
            <a:lvl5pPr>
              <a:defRPr sz="500"/>
            </a:lvl5pPr>
          </a:lstStyle>
          <a:p>
            <a:pPr lvl="0"/>
            <a:r>
              <a:rPr lang="da-DK"/>
              <a:t>Klik for at redigere teksttypografierne i masteren</a:t>
            </a:r>
          </a:p>
        </p:txBody>
      </p:sp>
    </p:spTree>
    <p:extLst>
      <p:ext uri="{BB962C8B-B14F-4D97-AF65-F5344CB8AC3E}">
        <p14:creationId xmlns:p14="http://schemas.microsoft.com/office/powerpoint/2010/main" val="9449027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re billeder og tekst B">
    <p:spTree>
      <p:nvGrpSpPr>
        <p:cNvPr id="1" name=""/>
        <p:cNvGrpSpPr/>
        <p:nvPr/>
      </p:nvGrpSpPr>
      <p:grpSpPr>
        <a:xfrm>
          <a:off x="0" y="0"/>
          <a:ext cx="0" cy="0"/>
          <a:chOff x="0" y="0"/>
          <a:chExt cx="0" cy="0"/>
        </a:xfrm>
      </p:grpSpPr>
      <p:sp>
        <p:nvSpPr>
          <p:cNvPr id="9" name="Baggrund">
            <a:extLst>
              <a:ext uri="{FF2B5EF4-FFF2-40B4-BE49-F238E27FC236}">
                <a16:creationId xmlns:a16="http://schemas.microsoft.com/office/drawing/2014/main" id="{19CC1437-361E-D512-8F65-9DF166DE9E2C}"/>
              </a:ext>
            </a:extLst>
          </p:cNvPr>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405001" y="0"/>
            <a:ext cx="2686500" cy="31671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31" name="Picture Placeholder 3">
            <a:extLst>
              <a:ext uri="{FF2B5EF4-FFF2-40B4-BE49-F238E27FC236}">
                <a16:creationId xmlns:a16="http://schemas.microsoft.com/office/drawing/2014/main" id="{0C5AC296-1E96-EE8B-9C85-121FADCDAEEA}"/>
              </a:ext>
            </a:extLst>
          </p:cNvPr>
          <p:cNvSpPr>
            <a:spLocks noGrp="1"/>
          </p:cNvSpPr>
          <p:nvPr>
            <p:ph type="pic" sz="quarter" idx="26" hasCustomPrompt="1"/>
          </p:nvPr>
        </p:nvSpPr>
        <p:spPr>
          <a:xfrm>
            <a:off x="3229200" y="0"/>
            <a:ext cx="2686500" cy="31671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3" name="Picture Placeholder 3">
            <a:extLst>
              <a:ext uri="{FF2B5EF4-FFF2-40B4-BE49-F238E27FC236}">
                <a16:creationId xmlns:a16="http://schemas.microsoft.com/office/drawing/2014/main" id="{5F2C9F80-9D2C-1AE1-46B6-2D3A7D8A6976}"/>
              </a:ext>
            </a:extLst>
          </p:cNvPr>
          <p:cNvSpPr>
            <a:spLocks noGrp="1"/>
          </p:cNvSpPr>
          <p:nvPr>
            <p:ph type="pic" sz="quarter" idx="27" hasCustomPrompt="1"/>
          </p:nvPr>
        </p:nvSpPr>
        <p:spPr>
          <a:xfrm>
            <a:off x="6050570" y="0"/>
            <a:ext cx="2686500" cy="31671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18" name="Pladsholder til tekst 17">
            <a:extLst>
              <a:ext uri="{FF2B5EF4-FFF2-40B4-BE49-F238E27FC236}">
                <a16:creationId xmlns:a16="http://schemas.microsoft.com/office/drawing/2014/main" id="{7A036220-52A4-5423-2E3D-CA9465DCF383}"/>
              </a:ext>
            </a:extLst>
          </p:cNvPr>
          <p:cNvSpPr>
            <a:spLocks noGrp="1"/>
          </p:cNvSpPr>
          <p:nvPr>
            <p:ph type="body" sz="quarter" idx="21" hasCustomPrompt="1"/>
          </p:nvPr>
        </p:nvSpPr>
        <p:spPr>
          <a:xfrm>
            <a:off x="405001" y="3302100"/>
            <a:ext cx="2686500" cy="1301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dirty="0"/>
              <a:t>Klik for at tilføje tekst                             Klik ENTER og derefter TAB for at se næste tekstformat                              Klik SHIFT+TAB for at se foregående tekstformat</a:t>
            </a:r>
          </a:p>
          <a:p>
            <a:pPr lvl="1"/>
            <a:r>
              <a:rPr lang="da-DK" noProof="0" dirty="0"/>
              <a:t>Andet Niveau</a:t>
            </a:r>
          </a:p>
        </p:txBody>
      </p:sp>
      <p:sp>
        <p:nvSpPr>
          <p:cNvPr id="20" name="Pladsholder til tekst 19">
            <a:extLst>
              <a:ext uri="{FF2B5EF4-FFF2-40B4-BE49-F238E27FC236}">
                <a16:creationId xmlns:a16="http://schemas.microsoft.com/office/drawing/2014/main" id="{B8BFA8BA-84C0-F72E-A750-BA569C419DF9}"/>
              </a:ext>
            </a:extLst>
          </p:cNvPr>
          <p:cNvSpPr>
            <a:spLocks noGrp="1"/>
          </p:cNvSpPr>
          <p:nvPr>
            <p:ph type="body" sz="quarter" idx="22" hasCustomPrompt="1"/>
          </p:nvPr>
        </p:nvSpPr>
        <p:spPr>
          <a:xfrm>
            <a:off x="3229200" y="3302100"/>
            <a:ext cx="2686500" cy="1301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dirty="0"/>
              <a:t>Klik for at tilføje tekst                         Klik ENTER og derefter TAB for at se næste tekstformat                                Klik SHIFT+TAB for at se foregående tekstformat</a:t>
            </a:r>
          </a:p>
          <a:p>
            <a:pPr lvl="1"/>
            <a:r>
              <a:rPr lang="da-DK" noProof="0" dirty="0"/>
              <a:t>Andet Niveau</a:t>
            </a:r>
          </a:p>
        </p:txBody>
      </p:sp>
      <p:sp>
        <p:nvSpPr>
          <p:cNvPr id="2" name="Pladsholder til tekst 21">
            <a:extLst>
              <a:ext uri="{FF2B5EF4-FFF2-40B4-BE49-F238E27FC236}">
                <a16:creationId xmlns:a16="http://schemas.microsoft.com/office/drawing/2014/main" id="{B9E2D20B-4753-F312-1E3D-2FCF85F1B474}"/>
              </a:ext>
            </a:extLst>
          </p:cNvPr>
          <p:cNvSpPr>
            <a:spLocks noGrp="1"/>
          </p:cNvSpPr>
          <p:nvPr>
            <p:ph type="body" sz="quarter" idx="23" hasCustomPrompt="1"/>
          </p:nvPr>
        </p:nvSpPr>
        <p:spPr>
          <a:xfrm>
            <a:off x="6050570" y="3302100"/>
            <a:ext cx="2686500" cy="1301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dirty="0"/>
              <a:t>Klik for at tilføje tekst                         Klik ENTER og derefter TAB for at se næste tekstformat                                Klik SHIFT+TAB for at se foregående tekstformat</a:t>
            </a:r>
          </a:p>
          <a:p>
            <a:pPr lvl="1"/>
            <a:r>
              <a:rPr lang="da-DK" noProof="0" dirty="0"/>
              <a:t>Andet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lvl1pPr>
              <a:defRPr>
                <a:solidFill>
                  <a:schemeClr val="bg1"/>
                </a:solidFill>
              </a:defRPr>
            </a:lvl1pPr>
          </a:lstStyle>
          <a:p>
            <a:fld id="{97661291-5352-4918-9316-2BC4EAD39735}" type="datetime2">
              <a:rPr lang="da-DK" smtClean="0"/>
              <a:pPr/>
              <a:t>11. december 2025</a:t>
            </a:fld>
            <a:endParaRPr lang="da-DK" dirty="0"/>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lvl1pPr>
              <a:defRPr>
                <a:solidFill>
                  <a:schemeClr val="bg1"/>
                </a:solidFill>
              </a:defRPr>
            </a:lvl1pPr>
          </a:lstStyle>
          <a:p>
            <a:r>
              <a:rPr lang="da-DK" dirty="0"/>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lvl1pPr>
              <a:defRPr>
                <a:solidFill>
                  <a:schemeClr val="bg1"/>
                </a:solidFill>
              </a:defRPr>
            </a:lvl1pPr>
          </a:lstStyle>
          <a:p>
            <a:fld id="{24C8C45C-947F-4981-8B3F-4F32E973C901}" type="slidenum">
              <a:rPr lang="da-DK" smtClean="0"/>
              <a:pPr/>
              <a:t>‹nr.›</a:t>
            </a:fld>
            <a:endParaRPr lang="da-DK" dirty="0"/>
          </a:p>
        </p:txBody>
      </p:sp>
      <p:sp>
        <p:nvSpPr>
          <p:cNvPr id="11" name="Makro grafik 1">
            <a:extLst>
              <a:ext uri="{FF2B5EF4-FFF2-40B4-BE49-F238E27FC236}">
                <a16:creationId xmlns:a16="http://schemas.microsoft.com/office/drawing/2014/main" id="{5B5C7922-7CE1-04FB-3F00-E2781F5AA6A3}"/>
              </a:ext>
            </a:extLst>
          </p:cNvPr>
          <p:cNvSpPr>
            <a:spLocks noGrp="1" noChangeAspect="1"/>
          </p:cNvSpPr>
          <p:nvPr>
            <p:ph type="body" sz="quarter" idx="28" hasCustomPrompt="1"/>
          </p:nvPr>
        </p:nvSpPr>
        <p:spPr>
          <a:xfrm>
            <a:off x="2395552" y="508903"/>
            <a:ext cx="824373" cy="876750"/>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
        <p:nvSpPr>
          <p:cNvPr id="12" name="Makro grafik 2">
            <a:extLst>
              <a:ext uri="{FF2B5EF4-FFF2-40B4-BE49-F238E27FC236}">
                <a16:creationId xmlns:a16="http://schemas.microsoft.com/office/drawing/2014/main" id="{FC0E9C59-2E77-747D-58BC-6769C9984CA6}"/>
              </a:ext>
            </a:extLst>
          </p:cNvPr>
          <p:cNvSpPr>
            <a:spLocks noGrp="1" noChangeAspect="1"/>
          </p:cNvSpPr>
          <p:nvPr>
            <p:ph type="body" sz="quarter" idx="29" hasCustomPrompt="1"/>
          </p:nvPr>
        </p:nvSpPr>
        <p:spPr>
          <a:xfrm>
            <a:off x="5678484" y="1161722"/>
            <a:ext cx="1239333" cy="1776272"/>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Tree>
    <p:extLst>
      <p:ext uri="{BB962C8B-B14F-4D97-AF65-F5344CB8AC3E}">
        <p14:creationId xmlns:p14="http://schemas.microsoft.com/office/powerpoint/2010/main" val="3922580766"/>
      </p:ext>
    </p:extLst>
  </p:cSld>
  <p:clrMapOvr>
    <a:masterClrMapping/>
  </p:clrMapOvr>
  <p:extLst>
    <p:ext uri="{DCECCB84-F9BA-43D5-87BE-67443E8EF086}">
      <p15:sldGuideLst xmlns:p15="http://schemas.microsoft.com/office/powerpoint/2012/main">
        <p15:guide id="6" orient="horz" pos="2660">
          <p15:clr>
            <a:srgbClr val="A4A3A4"/>
          </p15:clr>
        </p15:guide>
        <p15:guide id="7" orient="horz" pos="2773">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reaker A">
    <p:bg>
      <p:bgRef idx="1001">
        <a:schemeClr val="bg1"/>
      </p:bgRef>
    </p:bg>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ADCF4DF5-C986-E697-27B9-49E982F3621E}"/>
              </a:ext>
            </a:extLst>
          </p:cNvPr>
          <p:cNvSpPr>
            <a:spLocks noGrp="1"/>
          </p:cNvSpPr>
          <p:nvPr>
            <p:ph type="pic" sz="quarter" idx="14" hasCustomPrompt="1"/>
          </p:nvPr>
        </p:nvSpPr>
        <p:spPr>
          <a:xfrm>
            <a:off x="0" y="0"/>
            <a:ext cx="4504135" cy="51435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accent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dirty="0"/>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accent1"/>
                </a:solidFill>
              </a:defRPr>
            </a:lvl1pPr>
          </a:lstStyle>
          <a:p>
            <a:r>
              <a:rPr lang="da-DK" dirty="0"/>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25EE03DE-7CB9-4829-AA4A-B448C54E8591}" type="datetime2">
              <a:rPr lang="da-DK" smtClean="0"/>
              <a:t>11. december 2025</a:t>
            </a:fld>
            <a:endParaRPr lang="da-DK" dirty="0"/>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accent1"/>
                </a:solidFill>
              </a:defRPr>
            </a:lvl1pPr>
          </a:lstStyle>
          <a:p>
            <a:r>
              <a:rPr lang="da-DK" dirty="0"/>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dirty="0"/>
          </a:p>
        </p:txBody>
      </p:sp>
      <p:sp>
        <p:nvSpPr>
          <p:cNvPr id="27" name="Makro grafik 1">
            <a:extLst>
              <a:ext uri="{FF2B5EF4-FFF2-40B4-BE49-F238E27FC236}">
                <a16:creationId xmlns:a16="http://schemas.microsoft.com/office/drawing/2014/main" id="{BCB3F802-0640-FE07-D164-6E14C9C290DB}"/>
              </a:ext>
            </a:extLst>
          </p:cNvPr>
          <p:cNvSpPr>
            <a:spLocks noGrp="1" noChangeAspect="1"/>
          </p:cNvSpPr>
          <p:nvPr>
            <p:ph type="body" sz="quarter" idx="25" hasCustomPrompt="1"/>
          </p:nvPr>
        </p:nvSpPr>
        <p:spPr>
          <a:xfrm>
            <a:off x="347623" y="3904622"/>
            <a:ext cx="1207553" cy="569472"/>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
        <p:nvSpPr>
          <p:cNvPr id="22" name="Makro grafik 2">
            <a:extLst>
              <a:ext uri="{FF2B5EF4-FFF2-40B4-BE49-F238E27FC236}">
                <a16:creationId xmlns:a16="http://schemas.microsoft.com/office/drawing/2014/main" id="{6989E875-2685-8530-428A-CEC55B52321F}"/>
              </a:ext>
            </a:extLst>
          </p:cNvPr>
          <p:cNvSpPr>
            <a:spLocks noGrp="1" noChangeAspect="1"/>
          </p:cNvSpPr>
          <p:nvPr>
            <p:ph type="body" sz="quarter" idx="24" hasCustomPrompt="1"/>
          </p:nvPr>
        </p:nvSpPr>
        <p:spPr>
          <a:xfrm>
            <a:off x="3294273" y="299690"/>
            <a:ext cx="1463740" cy="1463700"/>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Tree>
    <p:extLst>
      <p:ext uri="{BB962C8B-B14F-4D97-AF65-F5344CB8AC3E}">
        <p14:creationId xmlns:p14="http://schemas.microsoft.com/office/powerpoint/2010/main" val="16872824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reaker B">
    <p:bg>
      <p:bgRef idx="1001">
        <a:schemeClr val="bg1"/>
      </p:bgRef>
    </p:bg>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6" name="Picture Placeholder 3">
            <a:extLst>
              <a:ext uri="{FF2B5EF4-FFF2-40B4-BE49-F238E27FC236}">
                <a16:creationId xmlns:a16="http://schemas.microsoft.com/office/drawing/2014/main" id="{ADCF4DF5-C986-E697-27B9-49E982F3621E}"/>
              </a:ext>
            </a:extLst>
          </p:cNvPr>
          <p:cNvSpPr>
            <a:spLocks noGrp="1"/>
          </p:cNvSpPr>
          <p:nvPr>
            <p:ph type="pic" sz="quarter" idx="14" hasCustomPrompt="1"/>
          </p:nvPr>
        </p:nvSpPr>
        <p:spPr>
          <a:xfrm>
            <a:off x="0" y="0"/>
            <a:ext cx="4504135" cy="51435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dirty="0"/>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dirty="0"/>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25EE03DE-7CB9-4829-AA4A-B448C54E8591}" type="datetime2">
              <a:rPr lang="da-DK" smtClean="0"/>
              <a:t>11. december 2025</a:t>
            </a:fld>
            <a:endParaRPr lang="da-DK" dirty="0"/>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dirty="0"/>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dirty="0"/>
          </a:p>
        </p:txBody>
      </p:sp>
      <p:sp>
        <p:nvSpPr>
          <p:cNvPr id="27" name="Makro grafik 1">
            <a:extLst>
              <a:ext uri="{FF2B5EF4-FFF2-40B4-BE49-F238E27FC236}">
                <a16:creationId xmlns:a16="http://schemas.microsoft.com/office/drawing/2014/main" id="{BCB3F802-0640-FE07-D164-6E14C9C290DB}"/>
              </a:ext>
            </a:extLst>
          </p:cNvPr>
          <p:cNvSpPr>
            <a:spLocks noGrp="1" noChangeAspect="1"/>
          </p:cNvSpPr>
          <p:nvPr>
            <p:ph type="body" sz="quarter" idx="25" hasCustomPrompt="1"/>
          </p:nvPr>
        </p:nvSpPr>
        <p:spPr>
          <a:xfrm>
            <a:off x="347623" y="3904622"/>
            <a:ext cx="1207553" cy="569472"/>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
        <p:nvSpPr>
          <p:cNvPr id="22" name="Makro grafik 2">
            <a:extLst>
              <a:ext uri="{FF2B5EF4-FFF2-40B4-BE49-F238E27FC236}">
                <a16:creationId xmlns:a16="http://schemas.microsoft.com/office/drawing/2014/main" id="{6989E875-2685-8530-428A-CEC55B52321F}"/>
              </a:ext>
            </a:extLst>
          </p:cNvPr>
          <p:cNvSpPr>
            <a:spLocks noGrp="1" noChangeAspect="1"/>
          </p:cNvSpPr>
          <p:nvPr>
            <p:ph type="body" sz="quarter" idx="24" hasCustomPrompt="1"/>
          </p:nvPr>
        </p:nvSpPr>
        <p:spPr>
          <a:xfrm>
            <a:off x="3294273" y="299690"/>
            <a:ext cx="1463740" cy="1463700"/>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Tree>
    <p:extLst>
      <p:ext uri="{BB962C8B-B14F-4D97-AF65-F5344CB8AC3E}">
        <p14:creationId xmlns:p14="http://schemas.microsoft.com/office/powerpoint/2010/main" val="3316828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reaker C">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accent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dirty="0"/>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accent1"/>
                </a:solidFill>
              </a:defRPr>
            </a:lvl1pPr>
          </a:lstStyle>
          <a:p>
            <a:r>
              <a:rPr lang="da-DK" dirty="0"/>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accent1"/>
                </a:solidFill>
              </a:defRPr>
            </a:lvl1pPr>
          </a:lstStyle>
          <a:p>
            <a:fld id="{3BB9AE99-772C-4228-AF46-BF964994F324}" type="datetime2">
              <a:rPr lang="da-DK" smtClean="0"/>
              <a:pPr/>
              <a:t>11. december 2025</a:t>
            </a:fld>
            <a:endParaRPr lang="da-DK" dirty="0"/>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accent1"/>
                </a:solidFill>
              </a:defRPr>
            </a:lvl1pPr>
          </a:lstStyle>
          <a:p>
            <a:r>
              <a:rPr lang="da-DK" dirty="0"/>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accent1"/>
                </a:solidFill>
              </a:defRPr>
            </a:lvl1pPr>
          </a:lstStyle>
          <a:p>
            <a:fld id="{24C8C45C-947F-4981-8B3F-4F32E973C901}" type="slidenum">
              <a:rPr lang="da-DK" smtClean="0"/>
              <a:pPr/>
              <a:t>‹nr.›</a:t>
            </a:fld>
            <a:endParaRPr lang="da-DK" dirty="0"/>
          </a:p>
        </p:txBody>
      </p:sp>
      <p:sp>
        <p:nvSpPr>
          <p:cNvPr id="6" name="Mikro grafik 1">
            <a:extLst>
              <a:ext uri="{FF2B5EF4-FFF2-40B4-BE49-F238E27FC236}">
                <a16:creationId xmlns:a16="http://schemas.microsoft.com/office/drawing/2014/main" id="{CF298011-2AEF-EC84-54F2-B43A8661A425}"/>
              </a:ext>
            </a:extLst>
          </p:cNvPr>
          <p:cNvSpPr/>
          <p:nvPr userDrawn="1"/>
        </p:nvSpPr>
        <p:spPr>
          <a:xfrm>
            <a:off x="257176" y="930323"/>
            <a:ext cx="4065815" cy="3297127"/>
          </a:xfrm>
          <a:custGeom>
            <a:avLst/>
            <a:gdLst>
              <a:gd name="connsiteX0" fmla="*/ 6351898 w 9012328"/>
              <a:gd name="connsiteY0" fmla="*/ 7031333 h 7308446"/>
              <a:gd name="connsiteX1" fmla="*/ 6558899 w 9012328"/>
              <a:gd name="connsiteY1" fmla="*/ 7031333 h 7308446"/>
              <a:gd name="connsiteX2" fmla="*/ 6558899 w 9012328"/>
              <a:gd name="connsiteY2" fmla="*/ 7204946 h 7308446"/>
              <a:gd name="connsiteX3" fmla="*/ 6351898 w 9012328"/>
              <a:gd name="connsiteY3" fmla="*/ 7204946 h 7308446"/>
              <a:gd name="connsiteX4" fmla="*/ 3333905 w 9012328"/>
              <a:gd name="connsiteY4" fmla="*/ 6881094 h 7308446"/>
              <a:gd name="connsiteX5" fmla="*/ 4238693 w 9012328"/>
              <a:gd name="connsiteY5" fmla="*/ 6881094 h 7308446"/>
              <a:gd name="connsiteX6" fmla="*/ 4238693 w 9012328"/>
              <a:gd name="connsiteY6" fmla="*/ 6987931 h 7308446"/>
              <a:gd name="connsiteX7" fmla="*/ 3333905 w 9012328"/>
              <a:gd name="connsiteY7" fmla="*/ 6987931 h 7308446"/>
              <a:gd name="connsiteX8" fmla="*/ 3333905 w 9012328"/>
              <a:gd name="connsiteY8" fmla="*/ 6532197 h 7308446"/>
              <a:gd name="connsiteX9" fmla="*/ 4238693 w 9012328"/>
              <a:gd name="connsiteY9" fmla="*/ 6532197 h 7308446"/>
              <a:gd name="connsiteX10" fmla="*/ 4238693 w 9012328"/>
              <a:gd name="connsiteY10" fmla="*/ 6639034 h 7308446"/>
              <a:gd name="connsiteX11" fmla="*/ 3333905 w 9012328"/>
              <a:gd name="connsiteY11" fmla="*/ 6639034 h 7308446"/>
              <a:gd name="connsiteX12" fmla="*/ 5357969 w 9012328"/>
              <a:gd name="connsiteY12" fmla="*/ 6016022 h 7308446"/>
              <a:gd name="connsiteX13" fmla="*/ 5731908 w 9012328"/>
              <a:gd name="connsiteY13" fmla="*/ 6016022 h 7308446"/>
              <a:gd name="connsiteX14" fmla="*/ 5731908 w 9012328"/>
              <a:gd name="connsiteY14" fmla="*/ 6111272 h 7308446"/>
              <a:gd name="connsiteX15" fmla="*/ 5731908 w 9012328"/>
              <a:gd name="connsiteY15" fmla="*/ 7209822 h 7308446"/>
              <a:gd name="connsiteX16" fmla="*/ 5731908 w 9012328"/>
              <a:gd name="connsiteY16" fmla="*/ 7305072 h 7308446"/>
              <a:gd name="connsiteX17" fmla="*/ 5357969 w 9012328"/>
              <a:gd name="connsiteY17" fmla="*/ 7305072 h 7308446"/>
              <a:gd name="connsiteX18" fmla="*/ 5357969 w 9012328"/>
              <a:gd name="connsiteY18" fmla="*/ 7209822 h 7308446"/>
              <a:gd name="connsiteX19" fmla="*/ 5616719 w 9012328"/>
              <a:gd name="connsiteY19" fmla="*/ 7209822 h 7308446"/>
              <a:gd name="connsiteX20" fmla="*/ 5616719 w 9012328"/>
              <a:gd name="connsiteY20" fmla="*/ 6111272 h 7308446"/>
              <a:gd name="connsiteX21" fmla="*/ 5357969 w 9012328"/>
              <a:gd name="connsiteY21" fmla="*/ 6111272 h 7308446"/>
              <a:gd name="connsiteX22" fmla="*/ 4884222 w 9012328"/>
              <a:gd name="connsiteY22" fmla="*/ 6016022 h 7308446"/>
              <a:gd name="connsiteX23" fmla="*/ 5258161 w 9012328"/>
              <a:gd name="connsiteY23" fmla="*/ 6016022 h 7308446"/>
              <a:gd name="connsiteX24" fmla="*/ 5258161 w 9012328"/>
              <a:gd name="connsiteY24" fmla="*/ 6111272 h 7308446"/>
              <a:gd name="connsiteX25" fmla="*/ 4999412 w 9012328"/>
              <a:gd name="connsiteY25" fmla="*/ 6111272 h 7308446"/>
              <a:gd name="connsiteX26" fmla="*/ 4999412 w 9012328"/>
              <a:gd name="connsiteY26" fmla="*/ 7209822 h 7308446"/>
              <a:gd name="connsiteX27" fmla="*/ 5258161 w 9012328"/>
              <a:gd name="connsiteY27" fmla="*/ 7209822 h 7308446"/>
              <a:gd name="connsiteX28" fmla="*/ 5258161 w 9012328"/>
              <a:gd name="connsiteY28" fmla="*/ 7305072 h 7308446"/>
              <a:gd name="connsiteX29" fmla="*/ 4884222 w 9012328"/>
              <a:gd name="connsiteY29" fmla="*/ 7305072 h 7308446"/>
              <a:gd name="connsiteX30" fmla="*/ 4884222 w 9012328"/>
              <a:gd name="connsiteY30" fmla="*/ 7209822 h 7308446"/>
              <a:gd name="connsiteX31" fmla="*/ 4884222 w 9012328"/>
              <a:gd name="connsiteY31" fmla="*/ 6111272 h 7308446"/>
              <a:gd name="connsiteX32" fmla="*/ 8549915 w 9012328"/>
              <a:gd name="connsiteY32" fmla="*/ 6009685 h 7308446"/>
              <a:gd name="connsiteX33" fmla="*/ 8602985 w 9012328"/>
              <a:gd name="connsiteY33" fmla="*/ 6011561 h 7308446"/>
              <a:gd name="connsiteX34" fmla="*/ 8652106 w 9012328"/>
              <a:gd name="connsiteY34" fmla="*/ 6017138 h 7308446"/>
              <a:gd name="connsiteX35" fmla="*/ 8697411 w 9012328"/>
              <a:gd name="connsiteY35" fmla="*/ 6026333 h 7308446"/>
              <a:gd name="connsiteX36" fmla="*/ 8739033 w 9012328"/>
              <a:gd name="connsiteY36" fmla="*/ 6039065 h 7308446"/>
              <a:gd name="connsiteX37" fmla="*/ 8777104 w 9012328"/>
              <a:gd name="connsiteY37" fmla="*/ 6055253 h 7308446"/>
              <a:gd name="connsiteX38" fmla="*/ 8811757 w 9012328"/>
              <a:gd name="connsiteY38" fmla="*/ 6074814 h 7308446"/>
              <a:gd name="connsiteX39" fmla="*/ 8843125 w 9012328"/>
              <a:gd name="connsiteY39" fmla="*/ 6097669 h 7308446"/>
              <a:gd name="connsiteX40" fmla="*/ 8871340 w 9012328"/>
              <a:gd name="connsiteY40" fmla="*/ 6123735 h 7308446"/>
              <a:gd name="connsiteX41" fmla="*/ 8896535 w 9012328"/>
              <a:gd name="connsiteY41" fmla="*/ 6152931 h 7308446"/>
              <a:gd name="connsiteX42" fmla="*/ 8918843 w 9012328"/>
              <a:gd name="connsiteY42" fmla="*/ 6185176 h 7308446"/>
              <a:gd name="connsiteX43" fmla="*/ 8938397 w 9012328"/>
              <a:gd name="connsiteY43" fmla="*/ 6220388 h 7308446"/>
              <a:gd name="connsiteX44" fmla="*/ 8955329 w 9012328"/>
              <a:gd name="connsiteY44" fmla="*/ 6258486 h 7308446"/>
              <a:gd name="connsiteX45" fmla="*/ 8969772 w 9012328"/>
              <a:gd name="connsiteY45" fmla="*/ 6299388 h 7308446"/>
              <a:gd name="connsiteX46" fmla="*/ 8981858 w 9012328"/>
              <a:gd name="connsiteY46" fmla="*/ 6343014 h 7308446"/>
              <a:gd name="connsiteX47" fmla="*/ 8991721 w 9012328"/>
              <a:gd name="connsiteY47" fmla="*/ 6389281 h 7308446"/>
              <a:gd name="connsiteX48" fmla="*/ 8999494 w 9012328"/>
              <a:gd name="connsiteY48" fmla="*/ 6438109 h 7308446"/>
              <a:gd name="connsiteX49" fmla="*/ 9005308 w 9012328"/>
              <a:gd name="connsiteY49" fmla="*/ 6489415 h 7308446"/>
              <a:gd name="connsiteX50" fmla="*/ 9009296 w 9012328"/>
              <a:gd name="connsiteY50" fmla="*/ 6543120 h 7308446"/>
              <a:gd name="connsiteX51" fmla="*/ 9011592 w 9012328"/>
              <a:gd name="connsiteY51" fmla="*/ 6599140 h 7308446"/>
              <a:gd name="connsiteX52" fmla="*/ 9012328 w 9012328"/>
              <a:gd name="connsiteY52" fmla="*/ 6657396 h 7308446"/>
              <a:gd name="connsiteX53" fmla="*/ 9011628 w 9012328"/>
              <a:gd name="connsiteY53" fmla="*/ 6715902 h 7308446"/>
              <a:gd name="connsiteX54" fmla="*/ 9009431 w 9012328"/>
              <a:gd name="connsiteY54" fmla="*/ 6772172 h 7308446"/>
              <a:gd name="connsiteX55" fmla="*/ 9005595 w 9012328"/>
              <a:gd name="connsiteY55" fmla="*/ 6826122 h 7308446"/>
              <a:gd name="connsiteX56" fmla="*/ 8999974 w 9012328"/>
              <a:gd name="connsiteY56" fmla="*/ 6877672 h 7308446"/>
              <a:gd name="connsiteX57" fmla="*/ 8992426 w 9012328"/>
              <a:gd name="connsiteY57" fmla="*/ 6926737 h 7308446"/>
              <a:gd name="connsiteX58" fmla="*/ 8982805 w 9012328"/>
              <a:gd name="connsiteY58" fmla="*/ 6973236 h 7308446"/>
              <a:gd name="connsiteX59" fmla="*/ 8970968 w 9012328"/>
              <a:gd name="connsiteY59" fmla="*/ 7017085 h 7308446"/>
              <a:gd name="connsiteX60" fmla="*/ 8956771 w 9012328"/>
              <a:gd name="connsiteY60" fmla="*/ 7058203 h 7308446"/>
              <a:gd name="connsiteX61" fmla="*/ 8940070 w 9012328"/>
              <a:gd name="connsiteY61" fmla="*/ 7096506 h 7308446"/>
              <a:gd name="connsiteX62" fmla="*/ 8920721 w 9012328"/>
              <a:gd name="connsiteY62" fmla="*/ 7131912 h 7308446"/>
              <a:gd name="connsiteX63" fmla="*/ 8898580 w 9012328"/>
              <a:gd name="connsiteY63" fmla="*/ 7164338 h 7308446"/>
              <a:gd name="connsiteX64" fmla="*/ 8873503 w 9012328"/>
              <a:gd name="connsiteY64" fmla="*/ 7193701 h 7308446"/>
              <a:gd name="connsiteX65" fmla="*/ 8845346 w 9012328"/>
              <a:gd name="connsiteY65" fmla="*/ 7219920 h 7308446"/>
              <a:gd name="connsiteX66" fmla="*/ 8813966 w 9012328"/>
              <a:gd name="connsiteY66" fmla="*/ 7242910 h 7308446"/>
              <a:gd name="connsiteX67" fmla="*/ 8779217 w 9012328"/>
              <a:gd name="connsiteY67" fmla="*/ 7262591 h 7308446"/>
              <a:gd name="connsiteX68" fmla="*/ 8740956 w 9012328"/>
              <a:gd name="connsiteY68" fmla="*/ 7278878 h 7308446"/>
              <a:gd name="connsiteX69" fmla="*/ 8699039 w 9012328"/>
              <a:gd name="connsiteY69" fmla="*/ 7291690 h 7308446"/>
              <a:gd name="connsiteX70" fmla="*/ 8653323 w 9012328"/>
              <a:gd name="connsiteY70" fmla="*/ 7300944 h 7308446"/>
              <a:gd name="connsiteX71" fmla="*/ 8603663 w 9012328"/>
              <a:gd name="connsiteY71" fmla="*/ 7306557 h 7308446"/>
              <a:gd name="connsiteX72" fmla="*/ 8549915 w 9012328"/>
              <a:gd name="connsiteY72" fmla="*/ 7308446 h 7308446"/>
              <a:gd name="connsiteX73" fmla="*/ 8549915 w 9012328"/>
              <a:gd name="connsiteY73" fmla="*/ 7211624 h 7308446"/>
              <a:gd name="connsiteX74" fmla="*/ 8599600 w 9012328"/>
              <a:gd name="connsiteY74" fmla="*/ 7209391 h 7308446"/>
              <a:gd name="connsiteX75" fmla="*/ 8644521 w 9012328"/>
              <a:gd name="connsiteY75" fmla="*/ 7202770 h 7308446"/>
              <a:gd name="connsiteX76" fmla="*/ 8684903 w 9012328"/>
              <a:gd name="connsiteY76" fmla="*/ 7191881 h 7308446"/>
              <a:gd name="connsiteX77" fmla="*/ 8720974 w 9012328"/>
              <a:gd name="connsiteY77" fmla="*/ 7176841 h 7308446"/>
              <a:gd name="connsiteX78" fmla="*/ 8781085 w 9012328"/>
              <a:gd name="connsiteY78" fmla="*/ 7134781 h 7308446"/>
              <a:gd name="connsiteX79" fmla="*/ 8826665 w 9012328"/>
              <a:gd name="connsiteY79" fmla="*/ 7077537 h 7308446"/>
              <a:gd name="connsiteX80" fmla="*/ 8844570 w 9012328"/>
              <a:gd name="connsiteY80" fmla="*/ 7043516 h 7308446"/>
              <a:gd name="connsiteX81" fmla="*/ 8859522 w 9012328"/>
              <a:gd name="connsiteY81" fmla="*/ 7006054 h 7308446"/>
              <a:gd name="connsiteX82" fmla="*/ 8871746 w 9012328"/>
              <a:gd name="connsiteY82" fmla="*/ 6965269 h 7308446"/>
              <a:gd name="connsiteX83" fmla="*/ 8881469 w 9012328"/>
              <a:gd name="connsiteY83" fmla="*/ 6921279 h 7308446"/>
              <a:gd name="connsiteX84" fmla="*/ 8888916 w 9012328"/>
              <a:gd name="connsiteY84" fmla="*/ 6874203 h 7308446"/>
              <a:gd name="connsiteX85" fmla="*/ 8894315 w 9012328"/>
              <a:gd name="connsiteY85" fmla="*/ 6824158 h 7308446"/>
              <a:gd name="connsiteX86" fmla="*/ 8897891 w 9012328"/>
              <a:gd name="connsiteY86" fmla="*/ 6771263 h 7308446"/>
              <a:gd name="connsiteX87" fmla="*/ 8899870 w 9012328"/>
              <a:gd name="connsiteY87" fmla="*/ 6715637 h 7308446"/>
              <a:gd name="connsiteX88" fmla="*/ 8900480 w 9012328"/>
              <a:gd name="connsiteY88" fmla="*/ 6657396 h 7308446"/>
              <a:gd name="connsiteX89" fmla="*/ 8899838 w 9012328"/>
              <a:gd name="connsiteY89" fmla="*/ 6599727 h 7308446"/>
              <a:gd name="connsiteX90" fmla="*/ 8897768 w 9012328"/>
              <a:gd name="connsiteY90" fmla="*/ 6544638 h 7308446"/>
              <a:gd name="connsiteX91" fmla="*/ 8894058 w 9012328"/>
              <a:gd name="connsiteY91" fmla="*/ 6492245 h 7308446"/>
              <a:gd name="connsiteX92" fmla="*/ 8888492 w 9012328"/>
              <a:gd name="connsiteY92" fmla="*/ 6442669 h 7308446"/>
              <a:gd name="connsiteX93" fmla="*/ 8880857 w 9012328"/>
              <a:gd name="connsiteY93" fmla="*/ 6396025 h 7308446"/>
              <a:gd name="connsiteX94" fmla="*/ 8870939 w 9012328"/>
              <a:gd name="connsiteY94" fmla="*/ 6352434 h 7308446"/>
              <a:gd name="connsiteX95" fmla="*/ 8858523 w 9012328"/>
              <a:gd name="connsiteY95" fmla="*/ 6312013 h 7308446"/>
              <a:gd name="connsiteX96" fmla="*/ 8843396 w 9012328"/>
              <a:gd name="connsiteY96" fmla="*/ 6274881 h 7308446"/>
              <a:gd name="connsiteX97" fmla="*/ 8825343 w 9012328"/>
              <a:gd name="connsiteY97" fmla="*/ 6241155 h 7308446"/>
              <a:gd name="connsiteX98" fmla="*/ 8779605 w 9012328"/>
              <a:gd name="connsiteY98" fmla="*/ 6184396 h 7308446"/>
              <a:gd name="connsiteX99" fmla="*/ 8719596 w 9012328"/>
              <a:gd name="connsiteY99" fmla="*/ 6142683 h 7308446"/>
              <a:gd name="connsiteX100" fmla="*/ 8683704 w 9012328"/>
              <a:gd name="connsiteY100" fmla="*/ 6127764 h 7308446"/>
              <a:gd name="connsiteX101" fmla="*/ 8643603 w 9012328"/>
              <a:gd name="connsiteY101" fmla="*/ 6116961 h 7308446"/>
              <a:gd name="connsiteX102" fmla="*/ 8599078 w 9012328"/>
              <a:gd name="connsiteY102" fmla="*/ 6110393 h 7308446"/>
              <a:gd name="connsiteX103" fmla="*/ 8549915 w 9012328"/>
              <a:gd name="connsiteY103" fmla="*/ 6108177 h 7308446"/>
              <a:gd name="connsiteX104" fmla="*/ 8458035 w 9012328"/>
              <a:gd name="connsiteY104" fmla="*/ 6009685 h 7308446"/>
              <a:gd name="connsiteX105" fmla="*/ 8458035 w 9012328"/>
              <a:gd name="connsiteY105" fmla="*/ 6108177 h 7308446"/>
              <a:gd name="connsiteX106" fmla="*/ 8409149 w 9012328"/>
              <a:gd name="connsiteY106" fmla="*/ 6110393 h 7308446"/>
              <a:gd name="connsiteX107" fmla="*/ 8364868 w 9012328"/>
              <a:gd name="connsiteY107" fmla="*/ 6116961 h 7308446"/>
              <a:gd name="connsiteX108" fmla="*/ 8324982 w 9012328"/>
              <a:gd name="connsiteY108" fmla="*/ 6127764 h 7308446"/>
              <a:gd name="connsiteX109" fmla="*/ 8289276 w 9012328"/>
              <a:gd name="connsiteY109" fmla="*/ 6142683 h 7308446"/>
              <a:gd name="connsiteX110" fmla="*/ 8229561 w 9012328"/>
              <a:gd name="connsiteY110" fmla="*/ 6184396 h 7308446"/>
              <a:gd name="connsiteX111" fmla="*/ 8184027 w 9012328"/>
              <a:gd name="connsiteY111" fmla="*/ 6241155 h 7308446"/>
              <a:gd name="connsiteX112" fmla="*/ 8166048 w 9012328"/>
              <a:gd name="connsiteY112" fmla="*/ 6274881 h 7308446"/>
              <a:gd name="connsiteX113" fmla="*/ 8150978 w 9012328"/>
              <a:gd name="connsiteY113" fmla="*/ 6312013 h 7308446"/>
              <a:gd name="connsiteX114" fmla="*/ 8138606 w 9012328"/>
              <a:gd name="connsiteY114" fmla="*/ 6352434 h 7308446"/>
              <a:gd name="connsiteX115" fmla="*/ 8128718 w 9012328"/>
              <a:gd name="connsiteY115" fmla="*/ 6396025 h 7308446"/>
              <a:gd name="connsiteX116" fmla="*/ 8121104 w 9012328"/>
              <a:gd name="connsiteY116" fmla="*/ 6442669 h 7308446"/>
              <a:gd name="connsiteX117" fmla="*/ 8115551 w 9012328"/>
              <a:gd name="connsiteY117" fmla="*/ 6492245 h 7308446"/>
              <a:gd name="connsiteX118" fmla="*/ 8111847 w 9012328"/>
              <a:gd name="connsiteY118" fmla="*/ 6544638 h 7308446"/>
              <a:gd name="connsiteX119" fmla="*/ 8109780 w 9012328"/>
              <a:gd name="connsiteY119" fmla="*/ 6599727 h 7308446"/>
              <a:gd name="connsiteX120" fmla="*/ 8109138 w 9012328"/>
              <a:gd name="connsiteY120" fmla="*/ 6657396 h 7308446"/>
              <a:gd name="connsiteX121" fmla="*/ 8109764 w 9012328"/>
              <a:gd name="connsiteY121" fmla="*/ 6715637 h 7308446"/>
              <a:gd name="connsiteX122" fmla="*/ 8111786 w 9012328"/>
              <a:gd name="connsiteY122" fmla="*/ 6771263 h 7308446"/>
              <a:gd name="connsiteX123" fmla="*/ 8115423 w 9012328"/>
              <a:gd name="connsiteY123" fmla="*/ 6824158 h 7308446"/>
              <a:gd name="connsiteX124" fmla="*/ 8120892 w 9012328"/>
              <a:gd name="connsiteY124" fmla="*/ 6874203 h 7308446"/>
              <a:gd name="connsiteX125" fmla="*/ 8128413 w 9012328"/>
              <a:gd name="connsiteY125" fmla="*/ 6921279 h 7308446"/>
              <a:gd name="connsiteX126" fmla="*/ 8138202 w 9012328"/>
              <a:gd name="connsiteY126" fmla="*/ 6965269 h 7308446"/>
              <a:gd name="connsiteX127" fmla="*/ 8150479 w 9012328"/>
              <a:gd name="connsiteY127" fmla="*/ 7006054 h 7308446"/>
              <a:gd name="connsiteX128" fmla="*/ 8165461 w 9012328"/>
              <a:gd name="connsiteY128" fmla="*/ 7043516 h 7308446"/>
              <a:gd name="connsiteX129" fmla="*/ 8183367 w 9012328"/>
              <a:gd name="connsiteY129" fmla="*/ 7077537 h 7308446"/>
              <a:gd name="connsiteX130" fmla="*/ 8228821 w 9012328"/>
              <a:gd name="connsiteY130" fmla="*/ 7134781 h 7308446"/>
              <a:gd name="connsiteX131" fmla="*/ 8288587 w 9012328"/>
              <a:gd name="connsiteY131" fmla="*/ 7176841 h 7308446"/>
              <a:gd name="connsiteX132" fmla="*/ 8324382 w 9012328"/>
              <a:gd name="connsiteY132" fmla="*/ 7191881 h 7308446"/>
              <a:gd name="connsiteX133" fmla="*/ 8364410 w 9012328"/>
              <a:gd name="connsiteY133" fmla="*/ 7202770 h 7308446"/>
              <a:gd name="connsiteX134" fmla="*/ 8408888 w 9012328"/>
              <a:gd name="connsiteY134" fmla="*/ 7209391 h 7308446"/>
              <a:gd name="connsiteX135" fmla="*/ 8458035 w 9012328"/>
              <a:gd name="connsiteY135" fmla="*/ 7211624 h 7308446"/>
              <a:gd name="connsiteX136" fmla="*/ 8458035 w 9012328"/>
              <a:gd name="connsiteY136" fmla="*/ 7308446 h 7308446"/>
              <a:gd name="connsiteX137" fmla="*/ 8404513 w 9012328"/>
              <a:gd name="connsiteY137" fmla="*/ 7306557 h 7308446"/>
              <a:gd name="connsiteX138" fmla="*/ 8355032 w 9012328"/>
              <a:gd name="connsiteY138" fmla="*/ 7300944 h 7308446"/>
              <a:gd name="connsiteX139" fmla="*/ 8309453 w 9012328"/>
              <a:gd name="connsiteY139" fmla="*/ 7291690 h 7308446"/>
              <a:gd name="connsiteX140" fmla="*/ 8267634 w 9012328"/>
              <a:gd name="connsiteY140" fmla="*/ 7278878 h 7308446"/>
              <a:gd name="connsiteX141" fmla="*/ 8229437 w 9012328"/>
              <a:gd name="connsiteY141" fmla="*/ 7262591 h 7308446"/>
              <a:gd name="connsiteX142" fmla="*/ 8194720 w 9012328"/>
              <a:gd name="connsiteY142" fmla="*/ 7242910 h 7308446"/>
              <a:gd name="connsiteX143" fmla="*/ 8163344 w 9012328"/>
              <a:gd name="connsiteY143" fmla="*/ 7219920 h 7308446"/>
              <a:gd name="connsiteX144" fmla="*/ 8135168 w 9012328"/>
              <a:gd name="connsiteY144" fmla="*/ 7193701 h 7308446"/>
              <a:gd name="connsiteX145" fmla="*/ 8110051 w 9012328"/>
              <a:gd name="connsiteY145" fmla="*/ 7164338 h 7308446"/>
              <a:gd name="connsiteX146" fmla="*/ 8087855 w 9012328"/>
              <a:gd name="connsiteY146" fmla="*/ 7131912 h 7308446"/>
              <a:gd name="connsiteX147" fmla="*/ 8068437 w 9012328"/>
              <a:gd name="connsiteY147" fmla="*/ 7096506 h 7308446"/>
              <a:gd name="connsiteX148" fmla="*/ 8051660 w 9012328"/>
              <a:gd name="connsiteY148" fmla="*/ 7058203 h 7308446"/>
              <a:gd name="connsiteX149" fmla="*/ 8037381 w 9012328"/>
              <a:gd name="connsiteY149" fmla="*/ 7017085 h 7308446"/>
              <a:gd name="connsiteX150" fmla="*/ 8025461 w 9012328"/>
              <a:gd name="connsiteY150" fmla="*/ 6973236 h 7308446"/>
              <a:gd name="connsiteX151" fmla="*/ 8015759 w 9012328"/>
              <a:gd name="connsiteY151" fmla="*/ 6926737 h 7308446"/>
              <a:gd name="connsiteX152" fmla="*/ 8008136 w 9012328"/>
              <a:gd name="connsiteY152" fmla="*/ 6877672 h 7308446"/>
              <a:gd name="connsiteX153" fmla="*/ 8002451 w 9012328"/>
              <a:gd name="connsiteY153" fmla="*/ 6826122 h 7308446"/>
              <a:gd name="connsiteX154" fmla="*/ 7998564 w 9012328"/>
              <a:gd name="connsiteY154" fmla="*/ 6772172 h 7308446"/>
              <a:gd name="connsiteX155" fmla="*/ 7996334 w 9012328"/>
              <a:gd name="connsiteY155" fmla="*/ 6715902 h 7308446"/>
              <a:gd name="connsiteX156" fmla="*/ 7995623 w 9012328"/>
              <a:gd name="connsiteY156" fmla="*/ 6657396 h 7308446"/>
              <a:gd name="connsiteX157" fmla="*/ 7996358 w 9012328"/>
              <a:gd name="connsiteY157" fmla="*/ 6599140 h 7308446"/>
              <a:gd name="connsiteX158" fmla="*/ 7998654 w 9012328"/>
              <a:gd name="connsiteY158" fmla="*/ 6543120 h 7308446"/>
              <a:gd name="connsiteX159" fmla="*/ 8002643 w 9012328"/>
              <a:gd name="connsiteY159" fmla="*/ 6489415 h 7308446"/>
              <a:gd name="connsiteX160" fmla="*/ 8008456 w 9012328"/>
              <a:gd name="connsiteY160" fmla="*/ 6438109 h 7308446"/>
              <a:gd name="connsiteX161" fmla="*/ 8016229 w 9012328"/>
              <a:gd name="connsiteY161" fmla="*/ 6389281 h 7308446"/>
              <a:gd name="connsiteX162" fmla="*/ 8026092 w 9012328"/>
              <a:gd name="connsiteY162" fmla="*/ 6343014 h 7308446"/>
              <a:gd name="connsiteX163" fmla="*/ 8038178 w 9012328"/>
              <a:gd name="connsiteY163" fmla="*/ 6299388 h 7308446"/>
              <a:gd name="connsiteX164" fmla="*/ 8052621 w 9012328"/>
              <a:gd name="connsiteY164" fmla="*/ 6258486 h 7308446"/>
              <a:gd name="connsiteX165" fmla="*/ 8069553 w 9012328"/>
              <a:gd name="connsiteY165" fmla="*/ 6220388 h 7308446"/>
              <a:gd name="connsiteX166" fmla="*/ 8089106 w 9012328"/>
              <a:gd name="connsiteY166" fmla="*/ 6185176 h 7308446"/>
              <a:gd name="connsiteX167" fmla="*/ 8111414 w 9012328"/>
              <a:gd name="connsiteY167" fmla="*/ 6152931 h 7308446"/>
              <a:gd name="connsiteX168" fmla="*/ 8136610 w 9012328"/>
              <a:gd name="connsiteY168" fmla="*/ 6123735 h 7308446"/>
              <a:gd name="connsiteX169" fmla="*/ 8164825 w 9012328"/>
              <a:gd name="connsiteY169" fmla="*/ 6097669 h 7308446"/>
              <a:gd name="connsiteX170" fmla="*/ 8196192 w 9012328"/>
              <a:gd name="connsiteY170" fmla="*/ 6074814 h 7308446"/>
              <a:gd name="connsiteX171" fmla="*/ 8230845 w 9012328"/>
              <a:gd name="connsiteY171" fmla="*/ 6055253 h 7308446"/>
              <a:gd name="connsiteX172" fmla="*/ 8268916 w 9012328"/>
              <a:gd name="connsiteY172" fmla="*/ 6039065 h 7308446"/>
              <a:gd name="connsiteX173" fmla="*/ 8310538 w 9012328"/>
              <a:gd name="connsiteY173" fmla="*/ 6026333 h 7308446"/>
              <a:gd name="connsiteX174" fmla="*/ 8355843 w 9012328"/>
              <a:gd name="connsiteY174" fmla="*/ 6017138 h 7308446"/>
              <a:gd name="connsiteX175" fmla="*/ 8404964 w 9012328"/>
              <a:gd name="connsiteY175" fmla="*/ 6011561 h 7308446"/>
              <a:gd name="connsiteX176" fmla="*/ 1409388 w 9012328"/>
              <a:gd name="connsiteY176" fmla="*/ 6009685 h 7308446"/>
              <a:gd name="connsiteX177" fmla="*/ 1462459 w 9012328"/>
              <a:gd name="connsiteY177" fmla="*/ 6011561 h 7308446"/>
              <a:gd name="connsiteX178" fmla="*/ 1511579 w 9012328"/>
              <a:gd name="connsiteY178" fmla="*/ 6017138 h 7308446"/>
              <a:gd name="connsiteX179" fmla="*/ 1556884 w 9012328"/>
              <a:gd name="connsiteY179" fmla="*/ 6026333 h 7308446"/>
              <a:gd name="connsiteX180" fmla="*/ 1598508 w 9012328"/>
              <a:gd name="connsiteY180" fmla="*/ 6039065 h 7308446"/>
              <a:gd name="connsiteX181" fmla="*/ 1636578 w 9012328"/>
              <a:gd name="connsiteY181" fmla="*/ 6055253 h 7308446"/>
              <a:gd name="connsiteX182" fmla="*/ 1671231 w 9012328"/>
              <a:gd name="connsiteY182" fmla="*/ 6074814 h 7308446"/>
              <a:gd name="connsiteX183" fmla="*/ 1702600 w 9012328"/>
              <a:gd name="connsiteY183" fmla="*/ 6097669 h 7308446"/>
              <a:gd name="connsiteX184" fmla="*/ 1730815 w 9012328"/>
              <a:gd name="connsiteY184" fmla="*/ 6123735 h 7308446"/>
              <a:gd name="connsiteX185" fmla="*/ 1756009 w 9012328"/>
              <a:gd name="connsiteY185" fmla="*/ 6152931 h 7308446"/>
              <a:gd name="connsiteX186" fmla="*/ 1778317 w 9012328"/>
              <a:gd name="connsiteY186" fmla="*/ 6185176 h 7308446"/>
              <a:gd name="connsiteX187" fmla="*/ 1797871 w 9012328"/>
              <a:gd name="connsiteY187" fmla="*/ 6220388 h 7308446"/>
              <a:gd name="connsiteX188" fmla="*/ 1814804 w 9012328"/>
              <a:gd name="connsiteY188" fmla="*/ 6258486 h 7308446"/>
              <a:gd name="connsiteX189" fmla="*/ 1829247 w 9012328"/>
              <a:gd name="connsiteY189" fmla="*/ 6299388 h 7308446"/>
              <a:gd name="connsiteX190" fmla="*/ 1841333 w 9012328"/>
              <a:gd name="connsiteY190" fmla="*/ 6343014 h 7308446"/>
              <a:gd name="connsiteX191" fmla="*/ 1851196 w 9012328"/>
              <a:gd name="connsiteY191" fmla="*/ 6389281 h 7308446"/>
              <a:gd name="connsiteX192" fmla="*/ 1858969 w 9012328"/>
              <a:gd name="connsiteY192" fmla="*/ 6438109 h 7308446"/>
              <a:gd name="connsiteX193" fmla="*/ 1864782 w 9012328"/>
              <a:gd name="connsiteY193" fmla="*/ 6489415 h 7308446"/>
              <a:gd name="connsiteX194" fmla="*/ 1868770 w 9012328"/>
              <a:gd name="connsiteY194" fmla="*/ 6543120 h 7308446"/>
              <a:gd name="connsiteX195" fmla="*/ 1871067 w 9012328"/>
              <a:gd name="connsiteY195" fmla="*/ 6599140 h 7308446"/>
              <a:gd name="connsiteX196" fmla="*/ 1871802 w 9012328"/>
              <a:gd name="connsiteY196" fmla="*/ 6657396 h 7308446"/>
              <a:gd name="connsiteX197" fmla="*/ 1871103 w 9012328"/>
              <a:gd name="connsiteY197" fmla="*/ 6715902 h 7308446"/>
              <a:gd name="connsiteX198" fmla="*/ 1868906 w 9012328"/>
              <a:gd name="connsiteY198" fmla="*/ 6772172 h 7308446"/>
              <a:gd name="connsiteX199" fmla="*/ 1865069 w 9012328"/>
              <a:gd name="connsiteY199" fmla="*/ 6826122 h 7308446"/>
              <a:gd name="connsiteX200" fmla="*/ 1859448 w 9012328"/>
              <a:gd name="connsiteY200" fmla="*/ 6877672 h 7308446"/>
              <a:gd name="connsiteX201" fmla="*/ 1851900 w 9012328"/>
              <a:gd name="connsiteY201" fmla="*/ 6926737 h 7308446"/>
              <a:gd name="connsiteX202" fmla="*/ 1842280 w 9012328"/>
              <a:gd name="connsiteY202" fmla="*/ 6973236 h 7308446"/>
              <a:gd name="connsiteX203" fmla="*/ 1830443 w 9012328"/>
              <a:gd name="connsiteY203" fmla="*/ 7017085 h 7308446"/>
              <a:gd name="connsiteX204" fmla="*/ 1816246 w 9012328"/>
              <a:gd name="connsiteY204" fmla="*/ 7058203 h 7308446"/>
              <a:gd name="connsiteX205" fmla="*/ 1799544 w 9012328"/>
              <a:gd name="connsiteY205" fmla="*/ 7096506 h 7308446"/>
              <a:gd name="connsiteX206" fmla="*/ 1780195 w 9012328"/>
              <a:gd name="connsiteY206" fmla="*/ 7131912 h 7308446"/>
              <a:gd name="connsiteX207" fmla="*/ 1758055 w 9012328"/>
              <a:gd name="connsiteY207" fmla="*/ 7164338 h 7308446"/>
              <a:gd name="connsiteX208" fmla="*/ 1732977 w 9012328"/>
              <a:gd name="connsiteY208" fmla="*/ 7193701 h 7308446"/>
              <a:gd name="connsiteX209" fmla="*/ 1704820 w 9012328"/>
              <a:gd name="connsiteY209" fmla="*/ 7219920 h 7308446"/>
              <a:gd name="connsiteX210" fmla="*/ 1673440 w 9012328"/>
              <a:gd name="connsiteY210" fmla="*/ 7242910 h 7308446"/>
              <a:gd name="connsiteX211" fmla="*/ 1638691 w 9012328"/>
              <a:gd name="connsiteY211" fmla="*/ 7262591 h 7308446"/>
              <a:gd name="connsiteX212" fmla="*/ 1600431 w 9012328"/>
              <a:gd name="connsiteY212" fmla="*/ 7278878 h 7308446"/>
              <a:gd name="connsiteX213" fmla="*/ 1558512 w 9012328"/>
              <a:gd name="connsiteY213" fmla="*/ 7291690 h 7308446"/>
              <a:gd name="connsiteX214" fmla="*/ 1512797 w 9012328"/>
              <a:gd name="connsiteY214" fmla="*/ 7300944 h 7308446"/>
              <a:gd name="connsiteX215" fmla="*/ 1463136 w 9012328"/>
              <a:gd name="connsiteY215" fmla="*/ 7306557 h 7308446"/>
              <a:gd name="connsiteX216" fmla="*/ 1409388 w 9012328"/>
              <a:gd name="connsiteY216" fmla="*/ 7308446 h 7308446"/>
              <a:gd name="connsiteX217" fmla="*/ 1409388 w 9012328"/>
              <a:gd name="connsiteY217" fmla="*/ 7211624 h 7308446"/>
              <a:gd name="connsiteX218" fmla="*/ 1459074 w 9012328"/>
              <a:gd name="connsiteY218" fmla="*/ 7209391 h 7308446"/>
              <a:gd name="connsiteX219" fmla="*/ 1503995 w 9012328"/>
              <a:gd name="connsiteY219" fmla="*/ 7202770 h 7308446"/>
              <a:gd name="connsiteX220" fmla="*/ 1544377 w 9012328"/>
              <a:gd name="connsiteY220" fmla="*/ 7191881 h 7308446"/>
              <a:gd name="connsiteX221" fmla="*/ 1580448 w 9012328"/>
              <a:gd name="connsiteY221" fmla="*/ 7176841 h 7308446"/>
              <a:gd name="connsiteX222" fmla="*/ 1640559 w 9012328"/>
              <a:gd name="connsiteY222" fmla="*/ 7134781 h 7308446"/>
              <a:gd name="connsiteX223" fmla="*/ 1686139 w 9012328"/>
              <a:gd name="connsiteY223" fmla="*/ 7077537 h 7308446"/>
              <a:gd name="connsiteX224" fmla="*/ 1704044 w 9012328"/>
              <a:gd name="connsiteY224" fmla="*/ 7043516 h 7308446"/>
              <a:gd name="connsiteX225" fmla="*/ 1718997 w 9012328"/>
              <a:gd name="connsiteY225" fmla="*/ 7006054 h 7308446"/>
              <a:gd name="connsiteX226" fmla="*/ 1731220 w 9012328"/>
              <a:gd name="connsiteY226" fmla="*/ 6965269 h 7308446"/>
              <a:gd name="connsiteX227" fmla="*/ 1740944 w 9012328"/>
              <a:gd name="connsiteY227" fmla="*/ 6921279 h 7308446"/>
              <a:gd name="connsiteX228" fmla="*/ 1748390 w 9012328"/>
              <a:gd name="connsiteY228" fmla="*/ 6874203 h 7308446"/>
              <a:gd name="connsiteX229" fmla="*/ 1753790 w 9012328"/>
              <a:gd name="connsiteY229" fmla="*/ 6824158 h 7308446"/>
              <a:gd name="connsiteX230" fmla="*/ 1757366 w 9012328"/>
              <a:gd name="connsiteY230" fmla="*/ 6771263 h 7308446"/>
              <a:gd name="connsiteX231" fmla="*/ 1759345 w 9012328"/>
              <a:gd name="connsiteY231" fmla="*/ 6715637 h 7308446"/>
              <a:gd name="connsiteX232" fmla="*/ 1759955 w 9012328"/>
              <a:gd name="connsiteY232" fmla="*/ 6657396 h 7308446"/>
              <a:gd name="connsiteX233" fmla="*/ 1759313 w 9012328"/>
              <a:gd name="connsiteY233" fmla="*/ 6599727 h 7308446"/>
              <a:gd name="connsiteX234" fmla="*/ 1757242 w 9012328"/>
              <a:gd name="connsiteY234" fmla="*/ 6544638 h 7308446"/>
              <a:gd name="connsiteX235" fmla="*/ 1753533 w 9012328"/>
              <a:gd name="connsiteY235" fmla="*/ 6492245 h 7308446"/>
              <a:gd name="connsiteX236" fmla="*/ 1747967 w 9012328"/>
              <a:gd name="connsiteY236" fmla="*/ 6442669 h 7308446"/>
              <a:gd name="connsiteX237" fmla="*/ 1740332 w 9012328"/>
              <a:gd name="connsiteY237" fmla="*/ 6396025 h 7308446"/>
              <a:gd name="connsiteX238" fmla="*/ 1730413 w 9012328"/>
              <a:gd name="connsiteY238" fmla="*/ 6352434 h 7308446"/>
              <a:gd name="connsiteX239" fmla="*/ 1717998 w 9012328"/>
              <a:gd name="connsiteY239" fmla="*/ 6312013 h 7308446"/>
              <a:gd name="connsiteX240" fmla="*/ 1702871 w 9012328"/>
              <a:gd name="connsiteY240" fmla="*/ 6274881 h 7308446"/>
              <a:gd name="connsiteX241" fmla="*/ 1684817 w 9012328"/>
              <a:gd name="connsiteY241" fmla="*/ 6241155 h 7308446"/>
              <a:gd name="connsiteX242" fmla="*/ 1639079 w 9012328"/>
              <a:gd name="connsiteY242" fmla="*/ 6184396 h 7308446"/>
              <a:gd name="connsiteX243" fmla="*/ 1579070 w 9012328"/>
              <a:gd name="connsiteY243" fmla="*/ 6142683 h 7308446"/>
              <a:gd name="connsiteX244" fmla="*/ 1543178 w 9012328"/>
              <a:gd name="connsiteY244" fmla="*/ 6127764 h 7308446"/>
              <a:gd name="connsiteX245" fmla="*/ 1503076 w 9012328"/>
              <a:gd name="connsiteY245" fmla="*/ 6116961 h 7308446"/>
              <a:gd name="connsiteX246" fmla="*/ 1458551 w 9012328"/>
              <a:gd name="connsiteY246" fmla="*/ 6110393 h 7308446"/>
              <a:gd name="connsiteX247" fmla="*/ 1409388 w 9012328"/>
              <a:gd name="connsiteY247" fmla="*/ 6108177 h 7308446"/>
              <a:gd name="connsiteX248" fmla="*/ 1317509 w 9012328"/>
              <a:gd name="connsiteY248" fmla="*/ 6009685 h 7308446"/>
              <a:gd name="connsiteX249" fmla="*/ 1317509 w 9012328"/>
              <a:gd name="connsiteY249" fmla="*/ 6108177 h 7308446"/>
              <a:gd name="connsiteX250" fmla="*/ 1268623 w 9012328"/>
              <a:gd name="connsiteY250" fmla="*/ 6110393 h 7308446"/>
              <a:gd name="connsiteX251" fmla="*/ 1224343 w 9012328"/>
              <a:gd name="connsiteY251" fmla="*/ 6116961 h 7308446"/>
              <a:gd name="connsiteX252" fmla="*/ 1184456 w 9012328"/>
              <a:gd name="connsiteY252" fmla="*/ 6127764 h 7308446"/>
              <a:gd name="connsiteX253" fmla="*/ 1148750 w 9012328"/>
              <a:gd name="connsiteY253" fmla="*/ 6142683 h 7308446"/>
              <a:gd name="connsiteX254" fmla="*/ 1089035 w 9012328"/>
              <a:gd name="connsiteY254" fmla="*/ 6184396 h 7308446"/>
              <a:gd name="connsiteX255" fmla="*/ 1043502 w 9012328"/>
              <a:gd name="connsiteY255" fmla="*/ 6241155 h 7308446"/>
              <a:gd name="connsiteX256" fmla="*/ 1025523 w 9012328"/>
              <a:gd name="connsiteY256" fmla="*/ 6274881 h 7308446"/>
              <a:gd name="connsiteX257" fmla="*/ 1010453 w 9012328"/>
              <a:gd name="connsiteY257" fmla="*/ 6312013 h 7308446"/>
              <a:gd name="connsiteX258" fmla="*/ 998080 w 9012328"/>
              <a:gd name="connsiteY258" fmla="*/ 6352434 h 7308446"/>
              <a:gd name="connsiteX259" fmla="*/ 988193 w 9012328"/>
              <a:gd name="connsiteY259" fmla="*/ 6396025 h 7308446"/>
              <a:gd name="connsiteX260" fmla="*/ 980578 w 9012328"/>
              <a:gd name="connsiteY260" fmla="*/ 6442669 h 7308446"/>
              <a:gd name="connsiteX261" fmla="*/ 975024 w 9012328"/>
              <a:gd name="connsiteY261" fmla="*/ 6492245 h 7308446"/>
              <a:gd name="connsiteX262" fmla="*/ 971321 w 9012328"/>
              <a:gd name="connsiteY262" fmla="*/ 6544638 h 7308446"/>
              <a:gd name="connsiteX263" fmla="*/ 969254 w 9012328"/>
              <a:gd name="connsiteY263" fmla="*/ 6599727 h 7308446"/>
              <a:gd name="connsiteX264" fmla="*/ 968612 w 9012328"/>
              <a:gd name="connsiteY264" fmla="*/ 6657396 h 7308446"/>
              <a:gd name="connsiteX265" fmla="*/ 969237 w 9012328"/>
              <a:gd name="connsiteY265" fmla="*/ 6715637 h 7308446"/>
              <a:gd name="connsiteX266" fmla="*/ 971260 w 9012328"/>
              <a:gd name="connsiteY266" fmla="*/ 6771263 h 7308446"/>
              <a:gd name="connsiteX267" fmla="*/ 974897 w 9012328"/>
              <a:gd name="connsiteY267" fmla="*/ 6824158 h 7308446"/>
              <a:gd name="connsiteX268" fmla="*/ 980366 w 9012328"/>
              <a:gd name="connsiteY268" fmla="*/ 6874203 h 7308446"/>
              <a:gd name="connsiteX269" fmla="*/ 987887 w 9012328"/>
              <a:gd name="connsiteY269" fmla="*/ 6921279 h 7308446"/>
              <a:gd name="connsiteX270" fmla="*/ 997676 w 9012328"/>
              <a:gd name="connsiteY270" fmla="*/ 6965269 h 7308446"/>
              <a:gd name="connsiteX271" fmla="*/ 1009953 w 9012328"/>
              <a:gd name="connsiteY271" fmla="*/ 7006054 h 7308446"/>
              <a:gd name="connsiteX272" fmla="*/ 1024935 w 9012328"/>
              <a:gd name="connsiteY272" fmla="*/ 7043516 h 7308446"/>
              <a:gd name="connsiteX273" fmla="*/ 1042841 w 9012328"/>
              <a:gd name="connsiteY273" fmla="*/ 7077537 h 7308446"/>
              <a:gd name="connsiteX274" fmla="*/ 1088295 w 9012328"/>
              <a:gd name="connsiteY274" fmla="*/ 7134781 h 7308446"/>
              <a:gd name="connsiteX275" fmla="*/ 1148061 w 9012328"/>
              <a:gd name="connsiteY275" fmla="*/ 7176841 h 7308446"/>
              <a:gd name="connsiteX276" fmla="*/ 1183856 w 9012328"/>
              <a:gd name="connsiteY276" fmla="*/ 7191881 h 7308446"/>
              <a:gd name="connsiteX277" fmla="*/ 1223884 w 9012328"/>
              <a:gd name="connsiteY277" fmla="*/ 7202770 h 7308446"/>
              <a:gd name="connsiteX278" fmla="*/ 1268362 w 9012328"/>
              <a:gd name="connsiteY278" fmla="*/ 7209391 h 7308446"/>
              <a:gd name="connsiteX279" fmla="*/ 1317509 w 9012328"/>
              <a:gd name="connsiteY279" fmla="*/ 7211624 h 7308446"/>
              <a:gd name="connsiteX280" fmla="*/ 1317509 w 9012328"/>
              <a:gd name="connsiteY280" fmla="*/ 7308446 h 7308446"/>
              <a:gd name="connsiteX281" fmla="*/ 1263987 w 9012328"/>
              <a:gd name="connsiteY281" fmla="*/ 7306557 h 7308446"/>
              <a:gd name="connsiteX282" fmla="*/ 1214506 w 9012328"/>
              <a:gd name="connsiteY282" fmla="*/ 7300944 h 7308446"/>
              <a:gd name="connsiteX283" fmla="*/ 1168927 w 9012328"/>
              <a:gd name="connsiteY283" fmla="*/ 7291690 h 7308446"/>
              <a:gd name="connsiteX284" fmla="*/ 1127108 w 9012328"/>
              <a:gd name="connsiteY284" fmla="*/ 7278878 h 7308446"/>
              <a:gd name="connsiteX285" fmla="*/ 1088911 w 9012328"/>
              <a:gd name="connsiteY285" fmla="*/ 7262591 h 7308446"/>
              <a:gd name="connsiteX286" fmla="*/ 1054194 w 9012328"/>
              <a:gd name="connsiteY286" fmla="*/ 7242910 h 7308446"/>
              <a:gd name="connsiteX287" fmla="*/ 1022818 w 9012328"/>
              <a:gd name="connsiteY287" fmla="*/ 7219920 h 7308446"/>
              <a:gd name="connsiteX288" fmla="*/ 994641 w 9012328"/>
              <a:gd name="connsiteY288" fmla="*/ 7193701 h 7308446"/>
              <a:gd name="connsiteX289" fmla="*/ 969525 w 9012328"/>
              <a:gd name="connsiteY289" fmla="*/ 7164338 h 7308446"/>
              <a:gd name="connsiteX290" fmla="*/ 947329 w 9012328"/>
              <a:gd name="connsiteY290" fmla="*/ 7131912 h 7308446"/>
              <a:gd name="connsiteX291" fmla="*/ 927911 w 9012328"/>
              <a:gd name="connsiteY291" fmla="*/ 7096506 h 7308446"/>
              <a:gd name="connsiteX292" fmla="*/ 911133 w 9012328"/>
              <a:gd name="connsiteY292" fmla="*/ 7058203 h 7308446"/>
              <a:gd name="connsiteX293" fmla="*/ 896855 w 9012328"/>
              <a:gd name="connsiteY293" fmla="*/ 7017085 h 7308446"/>
              <a:gd name="connsiteX294" fmla="*/ 884935 w 9012328"/>
              <a:gd name="connsiteY294" fmla="*/ 6973236 h 7308446"/>
              <a:gd name="connsiteX295" fmla="*/ 875233 w 9012328"/>
              <a:gd name="connsiteY295" fmla="*/ 6926737 h 7308446"/>
              <a:gd name="connsiteX296" fmla="*/ 867610 w 9012328"/>
              <a:gd name="connsiteY296" fmla="*/ 6877672 h 7308446"/>
              <a:gd name="connsiteX297" fmla="*/ 861924 w 9012328"/>
              <a:gd name="connsiteY297" fmla="*/ 6826122 h 7308446"/>
              <a:gd name="connsiteX298" fmla="*/ 858037 w 9012328"/>
              <a:gd name="connsiteY298" fmla="*/ 6772172 h 7308446"/>
              <a:gd name="connsiteX299" fmla="*/ 855809 w 9012328"/>
              <a:gd name="connsiteY299" fmla="*/ 6715902 h 7308446"/>
              <a:gd name="connsiteX300" fmla="*/ 855097 w 9012328"/>
              <a:gd name="connsiteY300" fmla="*/ 6657396 h 7308446"/>
              <a:gd name="connsiteX301" fmla="*/ 855832 w 9012328"/>
              <a:gd name="connsiteY301" fmla="*/ 6599140 h 7308446"/>
              <a:gd name="connsiteX302" fmla="*/ 858128 w 9012328"/>
              <a:gd name="connsiteY302" fmla="*/ 6543120 h 7308446"/>
              <a:gd name="connsiteX303" fmla="*/ 862117 w 9012328"/>
              <a:gd name="connsiteY303" fmla="*/ 6489415 h 7308446"/>
              <a:gd name="connsiteX304" fmla="*/ 867930 w 9012328"/>
              <a:gd name="connsiteY304" fmla="*/ 6438109 h 7308446"/>
              <a:gd name="connsiteX305" fmla="*/ 875703 w 9012328"/>
              <a:gd name="connsiteY305" fmla="*/ 6389281 h 7308446"/>
              <a:gd name="connsiteX306" fmla="*/ 885565 w 9012328"/>
              <a:gd name="connsiteY306" fmla="*/ 6343014 h 7308446"/>
              <a:gd name="connsiteX307" fmla="*/ 897652 w 9012328"/>
              <a:gd name="connsiteY307" fmla="*/ 6299388 h 7308446"/>
              <a:gd name="connsiteX308" fmla="*/ 912095 w 9012328"/>
              <a:gd name="connsiteY308" fmla="*/ 6258486 h 7308446"/>
              <a:gd name="connsiteX309" fmla="*/ 929026 w 9012328"/>
              <a:gd name="connsiteY309" fmla="*/ 6220388 h 7308446"/>
              <a:gd name="connsiteX310" fmla="*/ 948580 w 9012328"/>
              <a:gd name="connsiteY310" fmla="*/ 6185176 h 7308446"/>
              <a:gd name="connsiteX311" fmla="*/ 970888 w 9012328"/>
              <a:gd name="connsiteY311" fmla="*/ 6152931 h 7308446"/>
              <a:gd name="connsiteX312" fmla="*/ 996084 w 9012328"/>
              <a:gd name="connsiteY312" fmla="*/ 6123735 h 7308446"/>
              <a:gd name="connsiteX313" fmla="*/ 1024299 w 9012328"/>
              <a:gd name="connsiteY313" fmla="*/ 6097669 h 7308446"/>
              <a:gd name="connsiteX314" fmla="*/ 1055666 w 9012328"/>
              <a:gd name="connsiteY314" fmla="*/ 6074814 h 7308446"/>
              <a:gd name="connsiteX315" fmla="*/ 1090319 w 9012328"/>
              <a:gd name="connsiteY315" fmla="*/ 6055253 h 7308446"/>
              <a:gd name="connsiteX316" fmla="*/ 1128390 w 9012328"/>
              <a:gd name="connsiteY316" fmla="*/ 6039065 h 7308446"/>
              <a:gd name="connsiteX317" fmla="*/ 1170012 w 9012328"/>
              <a:gd name="connsiteY317" fmla="*/ 6026333 h 7308446"/>
              <a:gd name="connsiteX318" fmla="*/ 1215317 w 9012328"/>
              <a:gd name="connsiteY318" fmla="*/ 6017138 h 7308446"/>
              <a:gd name="connsiteX319" fmla="*/ 1264438 w 9012328"/>
              <a:gd name="connsiteY319" fmla="*/ 6011561 h 7308446"/>
              <a:gd name="connsiteX320" fmla="*/ 505166 w 9012328"/>
              <a:gd name="connsiteY320" fmla="*/ 5528915 h 7308446"/>
              <a:gd name="connsiteX321" fmla="*/ 547395 w 9012328"/>
              <a:gd name="connsiteY321" fmla="*/ 5532593 h 7308446"/>
              <a:gd name="connsiteX322" fmla="*/ 580078 w 9012328"/>
              <a:gd name="connsiteY322" fmla="*/ 5545817 h 7308446"/>
              <a:gd name="connsiteX323" fmla="*/ 601179 w 9012328"/>
              <a:gd name="connsiteY323" fmla="*/ 5571874 h 7308446"/>
              <a:gd name="connsiteX324" fmla="*/ 608666 w 9012328"/>
              <a:gd name="connsiteY324" fmla="*/ 5614052 h 7308446"/>
              <a:gd name="connsiteX325" fmla="*/ 601179 w 9012328"/>
              <a:gd name="connsiteY325" fmla="*/ 5658159 h 7308446"/>
              <a:gd name="connsiteX326" fmla="*/ 580078 w 9012328"/>
              <a:gd name="connsiteY326" fmla="*/ 5685208 h 7308446"/>
              <a:gd name="connsiteX327" fmla="*/ 547395 w 9012328"/>
              <a:gd name="connsiteY327" fmla="*/ 5698798 h 7308446"/>
              <a:gd name="connsiteX328" fmla="*/ 505166 w 9012328"/>
              <a:gd name="connsiteY328" fmla="*/ 5702529 h 7308446"/>
              <a:gd name="connsiteX329" fmla="*/ 462936 w 9012328"/>
              <a:gd name="connsiteY329" fmla="*/ 5698798 h 7308446"/>
              <a:gd name="connsiteX330" fmla="*/ 430252 w 9012328"/>
              <a:gd name="connsiteY330" fmla="*/ 5685208 h 7308446"/>
              <a:gd name="connsiteX331" fmla="*/ 409151 w 9012328"/>
              <a:gd name="connsiteY331" fmla="*/ 5658159 h 7308446"/>
              <a:gd name="connsiteX332" fmla="*/ 401665 w 9012328"/>
              <a:gd name="connsiteY332" fmla="*/ 5614052 h 7308446"/>
              <a:gd name="connsiteX333" fmla="*/ 409385 w 9012328"/>
              <a:gd name="connsiteY333" fmla="*/ 5571874 h 7308446"/>
              <a:gd name="connsiteX334" fmla="*/ 430878 w 9012328"/>
              <a:gd name="connsiteY334" fmla="*/ 5545817 h 7308446"/>
              <a:gd name="connsiteX335" fmla="*/ 463640 w 9012328"/>
              <a:gd name="connsiteY335" fmla="*/ 5532593 h 7308446"/>
              <a:gd name="connsiteX336" fmla="*/ 2465444 w 9012328"/>
              <a:gd name="connsiteY336" fmla="*/ 5378664 h 7308446"/>
              <a:gd name="connsiteX337" fmla="*/ 3370236 w 9012328"/>
              <a:gd name="connsiteY337" fmla="*/ 5378664 h 7308446"/>
              <a:gd name="connsiteX338" fmla="*/ 3370236 w 9012328"/>
              <a:gd name="connsiteY338" fmla="*/ 5485502 h 7308446"/>
              <a:gd name="connsiteX339" fmla="*/ 2465444 w 9012328"/>
              <a:gd name="connsiteY339" fmla="*/ 5485502 h 7308446"/>
              <a:gd name="connsiteX340" fmla="*/ 2465444 w 9012328"/>
              <a:gd name="connsiteY340" fmla="*/ 5029768 h 7308446"/>
              <a:gd name="connsiteX341" fmla="*/ 3370236 w 9012328"/>
              <a:gd name="connsiteY341" fmla="*/ 5029768 h 7308446"/>
              <a:gd name="connsiteX342" fmla="*/ 3370236 w 9012328"/>
              <a:gd name="connsiteY342" fmla="*/ 5136606 h 7308446"/>
              <a:gd name="connsiteX343" fmla="*/ 2465444 w 9012328"/>
              <a:gd name="connsiteY343" fmla="*/ 5136606 h 7308446"/>
              <a:gd name="connsiteX344" fmla="*/ 505166 w 9012328"/>
              <a:gd name="connsiteY344" fmla="*/ 4827784 h 7308446"/>
              <a:gd name="connsiteX345" fmla="*/ 547395 w 9012328"/>
              <a:gd name="connsiteY345" fmla="*/ 4831253 h 7308446"/>
              <a:gd name="connsiteX346" fmla="*/ 580078 w 9012328"/>
              <a:gd name="connsiteY346" fmla="*/ 4844268 h 7308446"/>
              <a:gd name="connsiteX347" fmla="*/ 601179 w 9012328"/>
              <a:gd name="connsiteY347" fmla="*/ 4870743 h 7308446"/>
              <a:gd name="connsiteX348" fmla="*/ 608666 w 9012328"/>
              <a:gd name="connsiteY348" fmla="*/ 4914590 h 7308446"/>
              <a:gd name="connsiteX349" fmla="*/ 601179 w 9012328"/>
              <a:gd name="connsiteY349" fmla="*/ 4957028 h 7308446"/>
              <a:gd name="connsiteX350" fmla="*/ 580078 w 9012328"/>
              <a:gd name="connsiteY350" fmla="*/ 4983660 h 7308446"/>
              <a:gd name="connsiteX351" fmla="*/ 547395 w 9012328"/>
              <a:gd name="connsiteY351" fmla="*/ 4997458 h 7308446"/>
              <a:gd name="connsiteX352" fmla="*/ 505166 w 9012328"/>
              <a:gd name="connsiteY352" fmla="*/ 5001397 h 7308446"/>
              <a:gd name="connsiteX353" fmla="*/ 463901 w 9012328"/>
              <a:gd name="connsiteY353" fmla="*/ 4997458 h 7308446"/>
              <a:gd name="connsiteX354" fmla="*/ 431713 w 9012328"/>
              <a:gd name="connsiteY354" fmla="*/ 4983660 h 7308446"/>
              <a:gd name="connsiteX355" fmla="*/ 410794 w 9012328"/>
              <a:gd name="connsiteY355" fmla="*/ 4957028 h 7308446"/>
              <a:gd name="connsiteX356" fmla="*/ 403334 w 9012328"/>
              <a:gd name="connsiteY356" fmla="*/ 4914590 h 7308446"/>
              <a:gd name="connsiteX357" fmla="*/ 410794 w 9012328"/>
              <a:gd name="connsiteY357" fmla="*/ 4870743 h 7308446"/>
              <a:gd name="connsiteX358" fmla="*/ 431713 w 9012328"/>
              <a:gd name="connsiteY358" fmla="*/ 4844268 h 7308446"/>
              <a:gd name="connsiteX359" fmla="*/ 463901 w 9012328"/>
              <a:gd name="connsiteY359" fmla="*/ 4831253 h 7308446"/>
              <a:gd name="connsiteX360" fmla="*/ 4111651 w 9012328"/>
              <a:gd name="connsiteY360" fmla="*/ 4507266 h 7308446"/>
              <a:gd name="connsiteX361" fmla="*/ 4164721 w 9012328"/>
              <a:gd name="connsiteY361" fmla="*/ 4509142 h 7308446"/>
              <a:gd name="connsiteX362" fmla="*/ 4213842 w 9012328"/>
              <a:gd name="connsiteY362" fmla="*/ 4514719 h 7308446"/>
              <a:gd name="connsiteX363" fmla="*/ 4259148 w 9012328"/>
              <a:gd name="connsiteY363" fmla="*/ 4523914 h 7308446"/>
              <a:gd name="connsiteX364" fmla="*/ 4300769 w 9012328"/>
              <a:gd name="connsiteY364" fmla="*/ 4536646 h 7308446"/>
              <a:gd name="connsiteX365" fmla="*/ 4338840 w 9012328"/>
              <a:gd name="connsiteY365" fmla="*/ 4552834 h 7308446"/>
              <a:gd name="connsiteX366" fmla="*/ 4373493 w 9012328"/>
              <a:gd name="connsiteY366" fmla="*/ 4572395 h 7308446"/>
              <a:gd name="connsiteX367" fmla="*/ 4404861 w 9012328"/>
              <a:gd name="connsiteY367" fmla="*/ 4595250 h 7308446"/>
              <a:gd name="connsiteX368" fmla="*/ 4433076 w 9012328"/>
              <a:gd name="connsiteY368" fmla="*/ 4621316 h 7308446"/>
              <a:gd name="connsiteX369" fmla="*/ 4458271 w 9012328"/>
              <a:gd name="connsiteY369" fmla="*/ 4650512 h 7308446"/>
              <a:gd name="connsiteX370" fmla="*/ 4480579 w 9012328"/>
              <a:gd name="connsiteY370" fmla="*/ 4682757 h 7308446"/>
              <a:gd name="connsiteX371" fmla="*/ 4500133 w 9012328"/>
              <a:gd name="connsiteY371" fmla="*/ 4717969 h 7308446"/>
              <a:gd name="connsiteX372" fmla="*/ 4517065 w 9012328"/>
              <a:gd name="connsiteY372" fmla="*/ 4756067 h 7308446"/>
              <a:gd name="connsiteX373" fmla="*/ 4531508 w 9012328"/>
              <a:gd name="connsiteY373" fmla="*/ 4796969 h 7308446"/>
              <a:gd name="connsiteX374" fmla="*/ 4543594 w 9012328"/>
              <a:gd name="connsiteY374" fmla="*/ 4840595 h 7308446"/>
              <a:gd name="connsiteX375" fmla="*/ 4553457 w 9012328"/>
              <a:gd name="connsiteY375" fmla="*/ 4886863 h 7308446"/>
              <a:gd name="connsiteX376" fmla="*/ 4561230 w 9012328"/>
              <a:gd name="connsiteY376" fmla="*/ 4935691 h 7308446"/>
              <a:gd name="connsiteX377" fmla="*/ 4567043 w 9012328"/>
              <a:gd name="connsiteY377" fmla="*/ 4986997 h 7308446"/>
              <a:gd name="connsiteX378" fmla="*/ 4571032 w 9012328"/>
              <a:gd name="connsiteY378" fmla="*/ 5040702 h 7308446"/>
              <a:gd name="connsiteX379" fmla="*/ 4573328 w 9012328"/>
              <a:gd name="connsiteY379" fmla="*/ 5096722 h 7308446"/>
              <a:gd name="connsiteX380" fmla="*/ 4574064 w 9012328"/>
              <a:gd name="connsiteY380" fmla="*/ 5154978 h 7308446"/>
              <a:gd name="connsiteX381" fmla="*/ 4573364 w 9012328"/>
              <a:gd name="connsiteY381" fmla="*/ 5213483 h 7308446"/>
              <a:gd name="connsiteX382" fmla="*/ 4571167 w 9012328"/>
              <a:gd name="connsiteY382" fmla="*/ 5269753 h 7308446"/>
              <a:gd name="connsiteX383" fmla="*/ 4567331 w 9012328"/>
              <a:gd name="connsiteY383" fmla="*/ 5323704 h 7308446"/>
              <a:gd name="connsiteX384" fmla="*/ 4561710 w 9012328"/>
              <a:gd name="connsiteY384" fmla="*/ 5375253 h 7308446"/>
              <a:gd name="connsiteX385" fmla="*/ 4554162 w 9012328"/>
              <a:gd name="connsiteY385" fmla="*/ 5424318 h 7308446"/>
              <a:gd name="connsiteX386" fmla="*/ 4544541 w 9012328"/>
              <a:gd name="connsiteY386" fmla="*/ 5470817 h 7308446"/>
              <a:gd name="connsiteX387" fmla="*/ 4532704 w 9012328"/>
              <a:gd name="connsiteY387" fmla="*/ 5514667 h 7308446"/>
              <a:gd name="connsiteX388" fmla="*/ 4518507 w 9012328"/>
              <a:gd name="connsiteY388" fmla="*/ 5555784 h 7308446"/>
              <a:gd name="connsiteX389" fmla="*/ 4501806 w 9012328"/>
              <a:gd name="connsiteY389" fmla="*/ 5594087 h 7308446"/>
              <a:gd name="connsiteX390" fmla="*/ 4482457 w 9012328"/>
              <a:gd name="connsiteY390" fmla="*/ 5629493 h 7308446"/>
              <a:gd name="connsiteX391" fmla="*/ 4460316 w 9012328"/>
              <a:gd name="connsiteY391" fmla="*/ 5661919 h 7308446"/>
              <a:gd name="connsiteX392" fmla="*/ 4435240 w 9012328"/>
              <a:gd name="connsiteY392" fmla="*/ 5691283 h 7308446"/>
              <a:gd name="connsiteX393" fmla="*/ 4407083 w 9012328"/>
              <a:gd name="connsiteY393" fmla="*/ 5717501 h 7308446"/>
              <a:gd name="connsiteX394" fmla="*/ 4375702 w 9012328"/>
              <a:gd name="connsiteY394" fmla="*/ 5740492 h 7308446"/>
              <a:gd name="connsiteX395" fmla="*/ 4340953 w 9012328"/>
              <a:gd name="connsiteY395" fmla="*/ 5760173 h 7308446"/>
              <a:gd name="connsiteX396" fmla="*/ 4302693 w 9012328"/>
              <a:gd name="connsiteY396" fmla="*/ 5776460 h 7308446"/>
              <a:gd name="connsiteX397" fmla="*/ 4260776 w 9012328"/>
              <a:gd name="connsiteY397" fmla="*/ 5789272 h 7308446"/>
              <a:gd name="connsiteX398" fmla="*/ 4215059 w 9012328"/>
              <a:gd name="connsiteY398" fmla="*/ 5798526 h 7308446"/>
              <a:gd name="connsiteX399" fmla="*/ 4165399 w 9012328"/>
              <a:gd name="connsiteY399" fmla="*/ 5804139 h 7308446"/>
              <a:gd name="connsiteX400" fmla="*/ 4111651 w 9012328"/>
              <a:gd name="connsiteY400" fmla="*/ 5806028 h 7308446"/>
              <a:gd name="connsiteX401" fmla="*/ 4111651 w 9012328"/>
              <a:gd name="connsiteY401" fmla="*/ 5709205 h 7308446"/>
              <a:gd name="connsiteX402" fmla="*/ 4161336 w 9012328"/>
              <a:gd name="connsiteY402" fmla="*/ 5706972 h 7308446"/>
              <a:gd name="connsiteX403" fmla="*/ 4206256 w 9012328"/>
              <a:gd name="connsiteY403" fmla="*/ 5700351 h 7308446"/>
              <a:gd name="connsiteX404" fmla="*/ 4246640 w 9012328"/>
              <a:gd name="connsiteY404" fmla="*/ 5689462 h 7308446"/>
              <a:gd name="connsiteX405" fmla="*/ 4282711 w 9012328"/>
              <a:gd name="connsiteY405" fmla="*/ 5674422 h 7308446"/>
              <a:gd name="connsiteX406" fmla="*/ 4342822 w 9012328"/>
              <a:gd name="connsiteY406" fmla="*/ 5632362 h 7308446"/>
              <a:gd name="connsiteX407" fmla="*/ 4388401 w 9012328"/>
              <a:gd name="connsiteY407" fmla="*/ 5575118 h 7308446"/>
              <a:gd name="connsiteX408" fmla="*/ 4406307 w 9012328"/>
              <a:gd name="connsiteY408" fmla="*/ 5541097 h 7308446"/>
              <a:gd name="connsiteX409" fmla="*/ 4421259 w 9012328"/>
              <a:gd name="connsiteY409" fmla="*/ 5503636 h 7308446"/>
              <a:gd name="connsiteX410" fmla="*/ 4433483 w 9012328"/>
              <a:gd name="connsiteY410" fmla="*/ 5462851 h 7308446"/>
              <a:gd name="connsiteX411" fmla="*/ 4443206 w 9012328"/>
              <a:gd name="connsiteY411" fmla="*/ 5418861 h 7308446"/>
              <a:gd name="connsiteX412" fmla="*/ 4450653 w 9012328"/>
              <a:gd name="connsiteY412" fmla="*/ 5371784 h 7308446"/>
              <a:gd name="connsiteX413" fmla="*/ 4456052 w 9012328"/>
              <a:gd name="connsiteY413" fmla="*/ 5321740 h 7308446"/>
              <a:gd name="connsiteX414" fmla="*/ 4459628 w 9012328"/>
              <a:gd name="connsiteY414" fmla="*/ 5268845 h 7308446"/>
              <a:gd name="connsiteX415" fmla="*/ 4461607 w 9012328"/>
              <a:gd name="connsiteY415" fmla="*/ 5213218 h 7308446"/>
              <a:gd name="connsiteX416" fmla="*/ 4462217 w 9012328"/>
              <a:gd name="connsiteY416" fmla="*/ 5154978 h 7308446"/>
              <a:gd name="connsiteX417" fmla="*/ 4461575 w 9012328"/>
              <a:gd name="connsiteY417" fmla="*/ 5097309 h 7308446"/>
              <a:gd name="connsiteX418" fmla="*/ 4459505 w 9012328"/>
              <a:gd name="connsiteY418" fmla="*/ 5042220 h 7308446"/>
              <a:gd name="connsiteX419" fmla="*/ 4455795 w 9012328"/>
              <a:gd name="connsiteY419" fmla="*/ 4989827 h 7308446"/>
              <a:gd name="connsiteX420" fmla="*/ 4450229 w 9012328"/>
              <a:gd name="connsiteY420" fmla="*/ 4940251 h 7308446"/>
              <a:gd name="connsiteX421" fmla="*/ 4442594 w 9012328"/>
              <a:gd name="connsiteY421" fmla="*/ 4893607 h 7308446"/>
              <a:gd name="connsiteX422" fmla="*/ 4432676 w 9012328"/>
              <a:gd name="connsiteY422" fmla="*/ 4850015 h 7308446"/>
              <a:gd name="connsiteX423" fmla="*/ 4420260 w 9012328"/>
              <a:gd name="connsiteY423" fmla="*/ 4809594 h 7308446"/>
              <a:gd name="connsiteX424" fmla="*/ 4405133 w 9012328"/>
              <a:gd name="connsiteY424" fmla="*/ 4772462 h 7308446"/>
              <a:gd name="connsiteX425" fmla="*/ 4387080 w 9012328"/>
              <a:gd name="connsiteY425" fmla="*/ 4738736 h 7308446"/>
              <a:gd name="connsiteX426" fmla="*/ 4341342 w 9012328"/>
              <a:gd name="connsiteY426" fmla="*/ 4681977 h 7308446"/>
              <a:gd name="connsiteX427" fmla="*/ 4281333 w 9012328"/>
              <a:gd name="connsiteY427" fmla="*/ 4640264 h 7308446"/>
              <a:gd name="connsiteX428" fmla="*/ 4245441 w 9012328"/>
              <a:gd name="connsiteY428" fmla="*/ 4625345 h 7308446"/>
              <a:gd name="connsiteX429" fmla="*/ 4205339 w 9012328"/>
              <a:gd name="connsiteY429" fmla="*/ 4614542 h 7308446"/>
              <a:gd name="connsiteX430" fmla="*/ 4160814 w 9012328"/>
              <a:gd name="connsiteY430" fmla="*/ 4607974 h 7308446"/>
              <a:gd name="connsiteX431" fmla="*/ 4111651 w 9012328"/>
              <a:gd name="connsiteY431" fmla="*/ 4605758 h 7308446"/>
              <a:gd name="connsiteX432" fmla="*/ 4019781 w 9012328"/>
              <a:gd name="connsiteY432" fmla="*/ 4507266 h 7308446"/>
              <a:gd name="connsiteX433" fmla="*/ 4019781 w 9012328"/>
              <a:gd name="connsiteY433" fmla="*/ 4605758 h 7308446"/>
              <a:gd name="connsiteX434" fmla="*/ 3970895 w 9012328"/>
              <a:gd name="connsiteY434" fmla="*/ 4607974 h 7308446"/>
              <a:gd name="connsiteX435" fmla="*/ 3926615 w 9012328"/>
              <a:gd name="connsiteY435" fmla="*/ 4614542 h 7308446"/>
              <a:gd name="connsiteX436" fmla="*/ 3886728 w 9012328"/>
              <a:gd name="connsiteY436" fmla="*/ 4625345 h 7308446"/>
              <a:gd name="connsiteX437" fmla="*/ 3851022 w 9012328"/>
              <a:gd name="connsiteY437" fmla="*/ 4640264 h 7308446"/>
              <a:gd name="connsiteX438" fmla="*/ 3791307 w 9012328"/>
              <a:gd name="connsiteY438" fmla="*/ 4681977 h 7308446"/>
              <a:gd name="connsiteX439" fmla="*/ 3745774 w 9012328"/>
              <a:gd name="connsiteY439" fmla="*/ 4738736 h 7308446"/>
              <a:gd name="connsiteX440" fmla="*/ 3727795 w 9012328"/>
              <a:gd name="connsiteY440" fmla="*/ 4772462 h 7308446"/>
              <a:gd name="connsiteX441" fmla="*/ 3712725 w 9012328"/>
              <a:gd name="connsiteY441" fmla="*/ 4809594 h 7308446"/>
              <a:gd name="connsiteX442" fmla="*/ 3700353 w 9012328"/>
              <a:gd name="connsiteY442" fmla="*/ 4850015 h 7308446"/>
              <a:gd name="connsiteX443" fmla="*/ 3690465 w 9012328"/>
              <a:gd name="connsiteY443" fmla="*/ 4893607 h 7308446"/>
              <a:gd name="connsiteX444" fmla="*/ 3682853 w 9012328"/>
              <a:gd name="connsiteY444" fmla="*/ 4940251 h 7308446"/>
              <a:gd name="connsiteX445" fmla="*/ 3677301 w 9012328"/>
              <a:gd name="connsiteY445" fmla="*/ 4989827 h 7308446"/>
              <a:gd name="connsiteX446" fmla="*/ 3673597 w 9012328"/>
              <a:gd name="connsiteY446" fmla="*/ 5042220 h 7308446"/>
              <a:gd name="connsiteX447" fmla="*/ 3671530 w 9012328"/>
              <a:gd name="connsiteY447" fmla="*/ 5097309 h 7308446"/>
              <a:gd name="connsiteX448" fmla="*/ 3670887 w 9012328"/>
              <a:gd name="connsiteY448" fmla="*/ 5154978 h 7308446"/>
              <a:gd name="connsiteX449" fmla="*/ 3671513 w 9012328"/>
              <a:gd name="connsiteY449" fmla="*/ 5213218 h 7308446"/>
              <a:gd name="connsiteX450" fmla="*/ 3673535 w 9012328"/>
              <a:gd name="connsiteY450" fmla="*/ 5268845 h 7308446"/>
              <a:gd name="connsiteX451" fmla="*/ 3677173 w 9012328"/>
              <a:gd name="connsiteY451" fmla="*/ 5321740 h 7308446"/>
              <a:gd name="connsiteX452" fmla="*/ 3682642 w 9012328"/>
              <a:gd name="connsiteY452" fmla="*/ 5371784 h 7308446"/>
              <a:gd name="connsiteX453" fmla="*/ 3690160 w 9012328"/>
              <a:gd name="connsiteY453" fmla="*/ 5418861 h 7308446"/>
              <a:gd name="connsiteX454" fmla="*/ 3699949 w 9012328"/>
              <a:gd name="connsiteY454" fmla="*/ 5462851 h 7308446"/>
              <a:gd name="connsiteX455" fmla="*/ 3712226 w 9012328"/>
              <a:gd name="connsiteY455" fmla="*/ 5503636 h 7308446"/>
              <a:gd name="connsiteX456" fmla="*/ 3727208 w 9012328"/>
              <a:gd name="connsiteY456" fmla="*/ 5541097 h 7308446"/>
              <a:gd name="connsiteX457" fmla="*/ 3745113 w 9012328"/>
              <a:gd name="connsiteY457" fmla="*/ 5575118 h 7308446"/>
              <a:gd name="connsiteX458" fmla="*/ 3790567 w 9012328"/>
              <a:gd name="connsiteY458" fmla="*/ 5632362 h 7308446"/>
              <a:gd name="connsiteX459" fmla="*/ 3850333 w 9012328"/>
              <a:gd name="connsiteY459" fmla="*/ 5674422 h 7308446"/>
              <a:gd name="connsiteX460" fmla="*/ 3886128 w 9012328"/>
              <a:gd name="connsiteY460" fmla="*/ 5689462 h 7308446"/>
              <a:gd name="connsiteX461" fmla="*/ 3926156 w 9012328"/>
              <a:gd name="connsiteY461" fmla="*/ 5700351 h 7308446"/>
              <a:gd name="connsiteX462" fmla="*/ 3970634 w 9012328"/>
              <a:gd name="connsiteY462" fmla="*/ 5706972 h 7308446"/>
              <a:gd name="connsiteX463" fmla="*/ 4019781 w 9012328"/>
              <a:gd name="connsiteY463" fmla="*/ 5709205 h 7308446"/>
              <a:gd name="connsiteX464" fmla="*/ 4019781 w 9012328"/>
              <a:gd name="connsiteY464" fmla="*/ 5806028 h 7308446"/>
              <a:gd name="connsiteX465" fmla="*/ 3966259 w 9012328"/>
              <a:gd name="connsiteY465" fmla="*/ 5804139 h 7308446"/>
              <a:gd name="connsiteX466" fmla="*/ 3916778 w 9012328"/>
              <a:gd name="connsiteY466" fmla="*/ 5798526 h 7308446"/>
              <a:gd name="connsiteX467" fmla="*/ 3871199 w 9012328"/>
              <a:gd name="connsiteY467" fmla="*/ 5789272 h 7308446"/>
              <a:gd name="connsiteX468" fmla="*/ 3829380 w 9012328"/>
              <a:gd name="connsiteY468" fmla="*/ 5776460 h 7308446"/>
              <a:gd name="connsiteX469" fmla="*/ 3791183 w 9012328"/>
              <a:gd name="connsiteY469" fmla="*/ 5760173 h 7308446"/>
              <a:gd name="connsiteX470" fmla="*/ 3756466 w 9012328"/>
              <a:gd name="connsiteY470" fmla="*/ 5740492 h 7308446"/>
              <a:gd name="connsiteX471" fmla="*/ 3725090 w 9012328"/>
              <a:gd name="connsiteY471" fmla="*/ 5717501 h 7308446"/>
              <a:gd name="connsiteX472" fmla="*/ 3696914 w 9012328"/>
              <a:gd name="connsiteY472" fmla="*/ 5691283 h 7308446"/>
              <a:gd name="connsiteX473" fmla="*/ 3671799 w 9012328"/>
              <a:gd name="connsiteY473" fmla="*/ 5661919 h 7308446"/>
              <a:gd name="connsiteX474" fmla="*/ 3649604 w 9012328"/>
              <a:gd name="connsiteY474" fmla="*/ 5629493 h 7308446"/>
              <a:gd name="connsiteX475" fmla="*/ 3630186 w 9012328"/>
              <a:gd name="connsiteY475" fmla="*/ 5594087 h 7308446"/>
              <a:gd name="connsiteX476" fmla="*/ 3613408 w 9012328"/>
              <a:gd name="connsiteY476" fmla="*/ 5555784 h 7308446"/>
              <a:gd name="connsiteX477" fmla="*/ 3599129 w 9012328"/>
              <a:gd name="connsiteY477" fmla="*/ 5514667 h 7308446"/>
              <a:gd name="connsiteX478" fmla="*/ 3587210 w 9012328"/>
              <a:gd name="connsiteY478" fmla="*/ 5470817 h 7308446"/>
              <a:gd name="connsiteX479" fmla="*/ 3577507 w 9012328"/>
              <a:gd name="connsiteY479" fmla="*/ 5424318 h 7308446"/>
              <a:gd name="connsiteX480" fmla="*/ 3569884 w 9012328"/>
              <a:gd name="connsiteY480" fmla="*/ 5375253 h 7308446"/>
              <a:gd name="connsiteX481" fmla="*/ 3564199 w 9012328"/>
              <a:gd name="connsiteY481" fmla="*/ 5323704 h 7308446"/>
              <a:gd name="connsiteX482" fmla="*/ 3560312 w 9012328"/>
              <a:gd name="connsiteY482" fmla="*/ 5269753 h 7308446"/>
              <a:gd name="connsiteX483" fmla="*/ 3558082 w 9012328"/>
              <a:gd name="connsiteY483" fmla="*/ 5213483 h 7308446"/>
              <a:gd name="connsiteX484" fmla="*/ 3557372 w 9012328"/>
              <a:gd name="connsiteY484" fmla="*/ 5154978 h 7308446"/>
              <a:gd name="connsiteX485" fmla="*/ 3558107 w 9012328"/>
              <a:gd name="connsiteY485" fmla="*/ 5096722 h 7308446"/>
              <a:gd name="connsiteX486" fmla="*/ 3560402 w 9012328"/>
              <a:gd name="connsiteY486" fmla="*/ 5040702 h 7308446"/>
              <a:gd name="connsiteX487" fmla="*/ 3564391 w 9012328"/>
              <a:gd name="connsiteY487" fmla="*/ 4986997 h 7308446"/>
              <a:gd name="connsiteX488" fmla="*/ 3570205 w 9012328"/>
              <a:gd name="connsiteY488" fmla="*/ 4935691 h 7308446"/>
              <a:gd name="connsiteX489" fmla="*/ 3577977 w 9012328"/>
              <a:gd name="connsiteY489" fmla="*/ 4886863 h 7308446"/>
              <a:gd name="connsiteX490" fmla="*/ 3587840 w 9012328"/>
              <a:gd name="connsiteY490" fmla="*/ 4840595 h 7308446"/>
              <a:gd name="connsiteX491" fmla="*/ 3599926 w 9012328"/>
              <a:gd name="connsiteY491" fmla="*/ 4796969 h 7308446"/>
              <a:gd name="connsiteX492" fmla="*/ 3614369 w 9012328"/>
              <a:gd name="connsiteY492" fmla="*/ 4756067 h 7308446"/>
              <a:gd name="connsiteX493" fmla="*/ 3631302 w 9012328"/>
              <a:gd name="connsiteY493" fmla="*/ 4717969 h 7308446"/>
              <a:gd name="connsiteX494" fmla="*/ 3650855 w 9012328"/>
              <a:gd name="connsiteY494" fmla="*/ 4682757 h 7308446"/>
              <a:gd name="connsiteX495" fmla="*/ 3673163 w 9012328"/>
              <a:gd name="connsiteY495" fmla="*/ 4650512 h 7308446"/>
              <a:gd name="connsiteX496" fmla="*/ 3698356 w 9012328"/>
              <a:gd name="connsiteY496" fmla="*/ 4621316 h 7308446"/>
              <a:gd name="connsiteX497" fmla="*/ 3726571 w 9012328"/>
              <a:gd name="connsiteY497" fmla="*/ 4595250 h 7308446"/>
              <a:gd name="connsiteX498" fmla="*/ 3757938 w 9012328"/>
              <a:gd name="connsiteY498" fmla="*/ 4572395 h 7308446"/>
              <a:gd name="connsiteX499" fmla="*/ 3792591 w 9012328"/>
              <a:gd name="connsiteY499" fmla="*/ 4552834 h 7308446"/>
              <a:gd name="connsiteX500" fmla="*/ 3830662 w 9012328"/>
              <a:gd name="connsiteY500" fmla="*/ 4536646 h 7308446"/>
              <a:gd name="connsiteX501" fmla="*/ 3872284 w 9012328"/>
              <a:gd name="connsiteY501" fmla="*/ 4523914 h 7308446"/>
              <a:gd name="connsiteX502" fmla="*/ 3917589 w 9012328"/>
              <a:gd name="connsiteY502" fmla="*/ 4514719 h 7308446"/>
              <a:gd name="connsiteX503" fmla="*/ 3966710 w 9012328"/>
              <a:gd name="connsiteY503" fmla="*/ 4509142 h 7308446"/>
              <a:gd name="connsiteX504" fmla="*/ 0 w 9012328"/>
              <a:gd name="connsiteY504" fmla="*/ 3876244 h 7308446"/>
              <a:gd name="connsiteX505" fmla="*/ 904792 w 9012328"/>
              <a:gd name="connsiteY505" fmla="*/ 3876244 h 7308446"/>
              <a:gd name="connsiteX506" fmla="*/ 904792 w 9012328"/>
              <a:gd name="connsiteY506" fmla="*/ 3983083 h 7308446"/>
              <a:gd name="connsiteX507" fmla="*/ 0 w 9012328"/>
              <a:gd name="connsiteY507" fmla="*/ 3983083 h 7308446"/>
              <a:gd name="connsiteX508" fmla="*/ 0 w 9012328"/>
              <a:gd name="connsiteY508" fmla="*/ 3527349 h 7308446"/>
              <a:gd name="connsiteX509" fmla="*/ 904792 w 9012328"/>
              <a:gd name="connsiteY509" fmla="*/ 3527349 h 7308446"/>
              <a:gd name="connsiteX510" fmla="*/ 904792 w 9012328"/>
              <a:gd name="connsiteY510" fmla="*/ 3634187 h 7308446"/>
              <a:gd name="connsiteX511" fmla="*/ 0 w 9012328"/>
              <a:gd name="connsiteY511" fmla="*/ 3634187 h 7308446"/>
              <a:gd name="connsiteX512" fmla="*/ 1599039 w 9012328"/>
              <a:gd name="connsiteY512" fmla="*/ 3011203 h 7308446"/>
              <a:gd name="connsiteX513" fmla="*/ 1972978 w 9012328"/>
              <a:gd name="connsiteY513" fmla="*/ 3011203 h 7308446"/>
              <a:gd name="connsiteX514" fmla="*/ 1972978 w 9012328"/>
              <a:gd name="connsiteY514" fmla="*/ 3106453 h 7308446"/>
              <a:gd name="connsiteX515" fmla="*/ 1972978 w 9012328"/>
              <a:gd name="connsiteY515" fmla="*/ 4205003 h 7308446"/>
              <a:gd name="connsiteX516" fmla="*/ 1972978 w 9012328"/>
              <a:gd name="connsiteY516" fmla="*/ 4300253 h 7308446"/>
              <a:gd name="connsiteX517" fmla="*/ 1599039 w 9012328"/>
              <a:gd name="connsiteY517" fmla="*/ 4300253 h 7308446"/>
              <a:gd name="connsiteX518" fmla="*/ 1599039 w 9012328"/>
              <a:gd name="connsiteY518" fmla="*/ 4205003 h 7308446"/>
              <a:gd name="connsiteX519" fmla="*/ 1857788 w 9012328"/>
              <a:gd name="connsiteY519" fmla="*/ 4205003 h 7308446"/>
              <a:gd name="connsiteX520" fmla="*/ 1857788 w 9012328"/>
              <a:gd name="connsiteY520" fmla="*/ 3106453 h 7308446"/>
              <a:gd name="connsiteX521" fmla="*/ 1599039 w 9012328"/>
              <a:gd name="connsiteY521" fmla="*/ 3106453 h 7308446"/>
              <a:gd name="connsiteX522" fmla="*/ 1125303 w 9012328"/>
              <a:gd name="connsiteY522" fmla="*/ 3011203 h 7308446"/>
              <a:gd name="connsiteX523" fmla="*/ 1499242 w 9012328"/>
              <a:gd name="connsiteY523" fmla="*/ 3011203 h 7308446"/>
              <a:gd name="connsiteX524" fmla="*/ 1499242 w 9012328"/>
              <a:gd name="connsiteY524" fmla="*/ 3106453 h 7308446"/>
              <a:gd name="connsiteX525" fmla="*/ 1240492 w 9012328"/>
              <a:gd name="connsiteY525" fmla="*/ 3106453 h 7308446"/>
              <a:gd name="connsiteX526" fmla="*/ 1240492 w 9012328"/>
              <a:gd name="connsiteY526" fmla="*/ 4205003 h 7308446"/>
              <a:gd name="connsiteX527" fmla="*/ 1499242 w 9012328"/>
              <a:gd name="connsiteY527" fmla="*/ 4205003 h 7308446"/>
              <a:gd name="connsiteX528" fmla="*/ 1499242 w 9012328"/>
              <a:gd name="connsiteY528" fmla="*/ 4300253 h 7308446"/>
              <a:gd name="connsiteX529" fmla="*/ 1125303 w 9012328"/>
              <a:gd name="connsiteY529" fmla="*/ 4300253 h 7308446"/>
              <a:gd name="connsiteX530" fmla="*/ 1125303 w 9012328"/>
              <a:gd name="connsiteY530" fmla="*/ 4205003 h 7308446"/>
              <a:gd name="connsiteX531" fmla="*/ 1125303 w 9012328"/>
              <a:gd name="connsiteY531" fmla="*/ 3106453 h 7308446"/>
              <a:gd name="connsiteX532" fmla="*/ 3600665 w 9012328"/>
              <a:gd name="connsiteY532" fmla="*/ 3004837 h 7308446"/>
              <a:gd name="connsiteX533" fmla="*/ 3653736 w 9012328"/>
              <a:gd name="connsiteY533" fmla="*/ 3006713 h 7308446"/>
              <a:gd name="connsiteX534" fmla="*/ 3702854 w 9012328"/>
              <a:gd name="connsiteY534" fmla="*/ 3012290 h 7308446"/>
              <a:gd name="connsiteX535" fmla="*/ 3748160 w 9012328"/>
              <a:gd name="connsiteY535" fmla="*/ 3021485 h 7308446"/>
              <a:gd name="connsiteX536" fmla="*/ 3789782 w 9012328"/>
              <a:gd name="connsiteY536" fmla="*/ 3034217 h 7308446"/>
              <a:gd name="connsiteX537" fmla="*/ 3827853 w 9012328"/>
              <a:gd name="connsiteY537" fmla="*/ 3050405 h 7308446"/>
              <a:gd name="connsiteX538" fmla="*/ 3862506 w 9012328"/>
              <a:gd name="connsiteY538" fmla="*/ 3069966 h 7308446"/>
              <a:gd name="connsiteX539" fmla="*/ 3893873 w 9012328"/>
              <a:gd name="connsiteY539" fmla="*/ 3092821 h 7308446"/>
              <a:gd name="connsiteX540" fmla="*/ 3922088 w 9012328"/>
              <a:gd name="connsiteY540" fmla="*/ 3118887 h 7308446"/>
              <a:gd name="connsiteX541" fmla="*/ 3947284 w 9012328"/>
              <a:gd name="connsiteY541" fmla="*/ 3148083 h 7308446"/>
              <a:gd name="connsiteX542" fmla="*/ 3969592 w 9012328"/>
              <a:gd name="connsiteY542" fmla="*/ 3180328 h 7308446"/>
              <a:gd name="connsiteX543" fmla="*/ 3989145 w 9012328"/>
              <a:gd name="connsiteY543" fmla="*/ 3215540 h 7308446"/>
              <a:gd name="connsiteX544" fmla="*/ 4006077 w 9012328"/>
              <a:gd name="connsiteY544" fmla="*/ 3253638 h 7308446"/>
              <a:gd name="connsiteX545" fmla="*/ 4020520 w 9012328"/>
              <a:gd name="connsiteY545" fmla="*/ 3294540 h 7308446"/>
              <a:gd name="connsiteX546" fmla="*/ 4032607 w 9012328"/>
              <a:gd name="connsiteY546" fmla="*/ 3338166 h 7308446"/>
              <a:gd name="connsiteX547" fmla="*/ 4042470 w 9012328"/>
              <a:gd name="connsiteY547" fmla="*/ 3384433 h 7308446"/>
              <a:gd name="connsiteX548" fmla="*/ 4050242 w 9012328"/>
              <a:gd name="connsiteY548" fmla="*/ 3433261 h 7308446"/>
              <a:gd name="connsiteX549" fmla="*/ 4056056 w 9012328"/>
              <a:gd name="connsiteY549" fmla="*/ 3484567 h 7308446"/>
              <a:gd name="connsiteX550" fmla="*/ 4060044 w 9012328"/>
              <a:gd name="connsiteY550" fmla="*/ 3538272 h 7308446"/>
              <a:gd name="connsiteX551" fmla="*/ 4062340 w 9012328"/>
              <a:gd name="connsiteY551" fmla="*/ 3594292 h 7308446"/>
              <a:gd name="connsiteX552" fmla="*/ 4063076 w 9012328"/>
              <a:gd name="connsiteY552" fmla="*/ 3652548 h 7308446"/>
              <a:gd name="connsiteX553" fmla="*/ 4062376 w 9012328"/>
              <a:gd name="connsiteY553" fmla="*/ 3711053 h 7308446"/>
              <a:gd name="connsiteX554" fmla="*/ 4060179 w 9012328"/>
              <a:gd name="connsiteY554" fmla="*/ 3767323 h 7308446"/>
              <a:gd name="connsiteX555" fmla="*/ 4056343 w 9012328"/>
              <a:gd name="connsiteY555" fmla="*/ 3821273 h 7308446"/>
              <a:gd name="connsiteX556" fmla="*/ 4050722 w 9012328"/>
              <a:gd name="connsiteY556" fmla="*/ 3872823 h 7308446"/>
              <a:gd name="connsiteX557" fmla="*/ 4043174 w 9012328"/>
              <a:gd name="connsiteY557" fmla="*/ 3921888 h 7308446"/>
              <a:gd name="connsiteX558" fmla="*/ 4033553 w 9012328"/>
              <a:gd name="connsiteY558" fmla="*/ 3968387 h 7308446"/>
              <a:gd name="connsiteX559" fmla="*/ 4021716 w 9012328"/>
              <a:gd name="connsiteY559" fmla="*/ 4012236 h 7308446"/>
              <a:gd name="connsiteX560" fmla="*/ 4007519 w 9012328"/>
              <a:gd name="connsiteY560" fmla="*/ 4053354 h 7308446"/>
              <a:gd name="connsiteX561" fmla="*/ 3990818 w 9012328"/>
              <a:gd name="connsiteY561" fmla="*/ 4091657 h 7308446"/>
              <a:gd name="connsiteX562" fmla="*/ 3971469 w 9012328"/>
              <a:gd name="connsiteY562" fmla="*/ 4127063 h 7308446"/>
              <a:gd name="connsiteX563" fmla="*/ 3949328 w 9012328"/>
              <a:gd name="connsiteY563" fmla="*/ 4159489 h 7308446"/>
              <a:gd name="connsiteX564" fmla="*/ 3924252 w 9012328"/>
              <a:gd name="connsiteY564" fmla="*/ 4188852 h 7308446"/>
              <a:gd name="connsiteX565" fmla="*/ 3896095 w 9012328"/>
              <a:gd name="connsiteY565" fmla="*/ 4215071 h 7308446"/>
              <a:gd name="connsiteX566" fmla="*/ 3864714 w 9012328"/>
              <a:gd name="connsiteY566" fmla="*/ 4238061 h 7308446"/>
              <a:gd name="connsiteX567" fmla="*/ 3829965 w 9012328"/>
              <a:gd name="connsiteY567" fmla="*/ 4257742 h 7308446"/>
              <a:gd name="connsiteX568" fmla="*/ 3791705 w 9012328"/>
              <a:gd name="connsiteY568" fmla="*/ 4274029 h 7308446"/>
              <a:gd name="connsiteX569" fmla="*/ 3749788 w 9012328"/>
              <a:gd name="connsiteY569" fmla="*/ 4286841 h 7308446"/>
              <a:gd name="connsiteX570" fmla="*/ 3704071 w 9012328"/>
              <a:gd name="connsiteY570" fmla="*/ 4296095 h 7308446"/>
              <a:gd name="connsiteX571" fmla="*/ 3654414 w 9012328"/>
              <a:gd name="connsiteY571" fmla="*/ 4301708 h 7308446"/>
              <a:gd name="connsiteX572" fmla="*/ 3600665 w 9012328"/>
              <a:gd name="connsiteY572" fmla="*/ 4303597 h 7308446"/>
              <a:gd name="connsiteX573" fmla="*/ 3600665 w 9012328"/>
              <a:gd name="connsiteY573" fmla="*/ 4206775 h 7308446"/>
              <a:gd name="connsiteX574" fmla="*/ 3650351 w 9012328"/>
              <a:gd name="connsiteY574" fmla="*/ 4204542 h 7308446"/>
              <a:gd name="connsiteX575" fmla="*/ 3695268 w 9012328"/>
              <a:gd name="connsiteY575" fmla="*/ 4197921 h 7308446"/>
              <a:gd name="connsiteX576" fmla="*/ 3735652 w 9012328"/>
              <a:gd name="connsiteY576" fmla="*/ 4187032 h 7308446"/>
              <a:gd name="connsiteX577" fmla="*/ 3771723 w 9012328"/>
              <a:gd name="connsiteY577" fmla="*/ 4171992 h 7308446"/>
              <a:gd name="connsiteX578" fmla="*/ 3831834 w 9012328"/>
              <a:gd name="connsiteY578" fmla="*/ 4129932 h 7308446"/>
              <a:gd name="connsiteX579" fmla="*/ 3877413 w 9012328"/>
              <a:gd name="connsiteY579" fmla="*/ 4072688 h 7308446"/>
              <a:gd name="connsiteX580" fmla="*/ 3895319 w 9012328"/>
              <a:gd name="connsiteY580" fmla="*/ 4038667 h 7308446"/>
              <a:gd name="connsiteX581" fmla="*/ 3910271 w 9012328"/>
              <a:gd name="connsiteY581" fmla="*/ 4001206 h 7308446"/>
              <a:gd name="connsiteX582" fmla="*/ 3922495 w 9012328"/>
              <a:gd name="connsiteY582" fmla="*/ 3960421 h 7308446"/>
              <a:gd name="connsiteX583" fmla="*/ 3932218 w 9012328"/>
              <a:gd name="connsiteY583" fmla="*/ 3916431 h 7308446"/>
              <a:gd name="connsiteX584" fmla="*/ 3939665 w 9012328"/>
              <a:gd name="connsiteY584" fmla="*/ 3869354 h 7308446"/>
              <a:gd name="connsiteX585" fmla="*/ 3945064 w 9012328"/>
              <a:gd name="connsiteY585" fmla="*/ 3819310 h 7308446"/>
              <a:gd name="connsiteX586" fmla="*/ 3948640 w 9012328"/>
              <a:gd name="connsiteY586" fmla="*/ 3766415 h 7308446"/>
              <a:gd name="connsiteX587" fmla="*/ 3950619 w 9012328"/>
              <a:gd name="connsiteY587" fmla="*/ 3710788 h 7308446"/>
              <a:gd name="connsiteX588" fmla="*/ 3951229 w 9012328"/>
              <a:gd name="connsiteY588" fmla="*/ 3652548 h 7308446"/>
              <a:gd name="connsiteX589" fmla="*/ 3950587 w 9012328"/>
              <a:gd name="connsiteY589" fmla="*/ 3594879 h 7308446"/>
              <a:gd name="connsiteX590" fmla="*/ 3948517 w 9012328"/>
              <a:gd name="connsiteY590" fmla="*/ 3539790 h 7308446"/>
              <a:gd name="connsiteX591" fmla="*/ 3944807 w 9012328"/>
              <a:gd name="connsiteY591" fmla="*/ 3487397 h 7308446"/>
              <a:gd name="connsiteX592" fmla="*/ 3939241 w 9012328"/>
              <a:gd name="connsiteY592" fmla="*/ 3437821 h 7308446"/>
              <a:gd name="connsiteX593" fmla="*/ 3931606 w 9012328"/>
              <a:gd name="connsiteY593" fmla="*/ 3391177 h 7308446"/>
              <a:gd name="connsiteX594" fmla="*/ 3921688 w 9012328"/>
              <a:gd name="connsiteY594" fmla="*/ 3347586 h 7308446"/>
              <a:gd name="connsiteX595" fmla="*/ 3909272 w 9012328"/>
              <a:gd name="connsiteY595" fmla="*/ 3307165 h 7308446"/>
              <a:gd name="connsiteX596" fmla="*/ 3894145 w 9012328"/>
              <a:gd name="connsiteY596" fmla="*/ 3270033 h 7308446"/>
              <a:gd name="connsiteX597" fmla="*/ 3876092 w 9012328"/>
              <a:gd name="connsiteY597" fmla="*/ 3236307 h 7308446"/>
              <a:gd name="connsiteX598" fmla="*/ 3830354 w 9012328"/>
              <a:gd name="connsiteY598" fmla="*/ 3179548 h 7308446"/>
              <a:gd name="connsiteX599" fmla="*/ 3770345 w 9012328"/>
              <a:gd name="connsiteY599" fmla="*/ 3137835 h 7308446"/>
              <a:gd name="connsiteX600" fmla="*/ 3734453 w 9012328"/>
              <a:gd name="connsiteY600" fmla="*/ 3122916 h 7308446"/>
              <a:gd name="connsiteX601" fmla="*/ 3694351 w 9012328"/>
              <a:gd name="connsiteY601" fmla="*/ 3112113 h 7308446"/>
              <a:gd name="connsiteX602" fmla="*/ 3649829 w 9012328"/>
              <a:gd name="connsiteY602" fmla="*/ 3105545 h 7308446"/>
              <a:gd name="connsiteX603" fmla="*/ 3600665 w 9012328"/>
              <a:gd name="connsiteY603" fmla="*/ 3103329 h 7308446"/>
              <a:gd name="connsiteX604" fmla="*/ 3508797 w 9012328"/>
              <a:gd name="connsiteY604" fmla="*/ 3004837 h 7308446"/>
              <a:gd name="connsiteX605" fmla="*/ 3508797 w 9012328"/>
              <a:gd name="connsiteY605" fmla="*/ 3103329 h 7308446"/>
              <a:gd name="connsiteX606" fmla="*/ 3459910 w 9012328"/>
              <a:gd name="connsiteY606" fmla="*/ 3105545 h 7308446"/>
              <a:gd name="connsiteX607" fmla="*/ 3415630 w 9012328"/>
              <a:gd name="connsiteY607" fmla="*/ 3112113 h 7308446"/>
              <a:gd name="connsiteX608" fmla="*/ 3375743 w 9012328"/>
              <a:gd name="connsiteY608" fmla="*/ 3122916 h 7308446"/>
              <a:gd name="connsiteX609" fmla="*/ 3340039 w 9012328"/>
              <a:gd name="connsiteY609" fmla="*/ 3137835 h 7308446"/>
              <a:gd name="connsiteX610" fmla="*/ 3280323 w 9012328"/>
              <a:gd name="connsiteY610" fmla="*/ 3179548 h 7308446"/>
              <a:gd name="connsiteX611" fmla="*/ 3234789 w 9012328"/>
              <a:gd name="connsiteY611" fmla="*/ 3236307 h 7308446"/>
              <a:gd name="connsiteX612" fmla="*/ 3216810 w 9012328"/>
              <a:gd name="connsiteY612" fmla="*/ 3270033 h 7308446"/>
              <a:gd name="connsiteX613" fmla="*/ 3201740 w 9012328"/>
              <a:gd name="connsiteY613" fmla="*/ 3307165 h 7308446"/>
              <a:gd name="connsiteX614" fmla="*/ 3189368 w 9012328"/>
              <a:gd name="connsiteY614" fmla="*/ 3347586 h 7308446"/>
              <a:gd name="connsiteX615" fmla="*/ 3179480 w 9012328"/>
              <a:gd name="connsiteY615" fmla="*/ 3391177 h 7308446"/>
              <a:gd name="connsiteX616" fmla="*/ 3171865 w 9012328"/>
              <a:gd name="connsiteY616" fmla="*/ 3437821 h 7308446"/>
              <a:gd name="connsiteX617" fmla="*/ 3166313 w 9012328"/>
              <a:gd name="connsiteY617" fmla="*/ 3487397 h 7308446"/>
              <a:gd name="connsiteX618" fmla="*/ 3162609 w 9012328"/>
              <a:gd name="connsiteY618" fmla="*/ 3539790 h 7308446"/>
              <a:gd name="connsiteX619" fmla="*/ 3160541 w 9012328"/>
              <a:gd name="connsiteY619" fmla="*/ 3594879 h 7308446"/>
              <a:gd name="connsiteX620" fmla="*/ 3159899 w 9012328"/>
              <a:gd name="connsiteY620" fmla="*/ 3652548 h 7308446"/>
              <a:gd name="connsiteX621" fmla="*/ 3160527 w 9012328"/>
              <a:gd name="connsiteY621" fmla="*/ 3710788 h 7308446"/>
              <a:gd name="connsiteX622" fmla="*/ 3162547 w 9012328"/>
              <a:gd name="connsiteY622" fmla="*/ 3766415 h 7308446"/>
              <a:gd name="connsiteX623" fmla="*/ 3166185 w 9012328"/>
              <a:gd name="connsiteY623" fmla="*/ 3819310 h 7308446"/>
              <a:gd name="connsiteX624" fmla="*/ 3171653 w 9012328"/>
              <a:gd name="connsiteY624" fmla="*/ 3869354 h 7308446"/>
              <a:gd name="connsiteX625" fmla="*/ 3179175 w 9012328"/>
              <a:gd name="connsiteY625" fmla="*/ 3916431 h 7308446"/>
              <a:gd name="connsiteX626" fmla="*/ 3188965 w 9012328"/>
              <a:gd name="connsiteY626" fmla="*/ 3960421 h 7308446"/>
              <a:gd name="connsiteX627" fmla="*/ 3201241 w 9012328"/>
              <a:gd name="connsiteY627" fmla="*/ 4001206 h 7308446"/>
              <a:gd name="connsiteX628" fmla="*/ 3216223 w 9012328"/>
              <a:gd name="connsiteY628" fmla="*/ 4038667 h 7308446"/>
              <a:gd name="connsiteX629" fmla="*/ 3234129 w 9012328"/>
              <a:gd name="connsiteY629" fmla="*/ 4072688 h 7308446"/>
              <a:gd name="connsiteX630" fmla="*/ 3279582 w 9012328"/>
              <a:gd name="connsiteY630" fmla="*/ 4129932 h 7308446"/>
              <a:gd name="connsiteX631" fmla="*/ 3339348 w 9012328"/>
              <a:gd name="connsiteY631" fmla="*/ 4171992 h 7308446"/>
              <a:gd name="connsiteX632" fmla="*/ 3375143 w 9012328"/>
              <a:gd name="connsiteY632" fmla="*/ 4187032 h 7308446"/>
              <a:gd name="connsiteX633" fmla="*/ 3415171 w 9012328"/>
              <a:gd name="connsiteY633" fmla="*/ 4197921 h 7308446"/>
              <a:gd name="connsiteX634" fmla="*/ 3459650 w 9012328"/>
              <a:gd name="connsiteY634" fmla="*/ 4204542 h 7308446"/>
              <a:gd name="connsiteX635" fmla="*/ 3508797 w 9012328"/>
              <a:gd name="connsiteY635" fmla="*/ 4206775 h 7308446"/>
              <a:gd name="connsiteX636" fmla="*/ 3508797 w 9012328"/>
              <a:gd name="connsiteY636" fmla="*/ 4303597 h 7308446"/>
              <a:gd name="connsiteX637" fmla="*/ 3455275 w 9012328"/>
              <a:gd name="connsiteY637" fmla="*/ 4301708 h 7308446"/>
              <a:gd name="connsiteX638" fmla="*/ 3405793 w 9012328"/>
              <a:gd name="connsiteY638" fmla="*/ 4296095 h 7308446"/>
              <a:gd name="connsiteX639" fmla="*/ 3360214 w 9012328"/>
              <a:gd name="connsiteY639" fmla="*/ 4286841 h 7308446"/>
              <a:gd name="connsiteX640" fmla="*/ 3318395 w 9012328"/>
              <a:gd name="connsiteY640" fmla="*/ 4274029 h 7308446"/>
              <a:gd name="connsiteX641" fmla="*/ 3280198 w 9012328"/>
              <a:gd name="connsiteY641" fmla="*/ 4257742 h 7308446"/>
              <a:gd name="connsiteX642" fmla="*/ 3245481 w 9012328"/>
              <a:gd name="connsiteY642" fmla="*/ 4238061 h 7308446"/>
              <a:gd name="connsiteX643" fmla="*/ 3214105 w 9012328"/>
              <a:gd name="connsiteY643" fmla="*/ 4215071 h 7308446"/>
              <a:gd name="connsiteX644" fmla="*/ 3185929 w 9012328"/>
              <a:gd name="connsiteY644" fmla="*/ 4188852 h 7308446"/>
              <a:gd name="connsiteX645" fmla="*/ 3160812 w 9012328"/>
              <a:gd name="connsiteY645" fmla="*/ 4159489 h 7308446"/>
              <a:gd name="connsiteX646" fmla="*/ 3138616 w 9012328"/>
              <a:gd name="connsiteY646" fmla="*/ 4127063 h 7308446"/>
              <a:gd name="connsiteX647" fmla="*/ 3119198 w 9012328"/>
              <a:gd name="connsiteY647" fmla="*/ 4091657 h 7308446"/>
              <a:gd name="connsiteX648" fmla="*/ 3102421 w 9012328"/>
              <a:gd name="connsiteY648" fmla="*/ 4053354 h 7308446"/>
              <a:gd name="connsiteX649" fmla="*/ 3088141 w 9012328"/>
              <a:gd name="connsiteY649" fmla="*/ 4012236 h 7308446"/>
              <a:gd name="connsiteX650" fmla="*/ 3076222 w 9012328"/>
              <a:gd name="connsiteY650" fmla="*/ 3968387 h 7308446"/>
              <a:gd name="connsiteX651" fmla="*/ 3066519 w 9012328"/>
              <a:gd name="connsiteY651" fmla="*/ 3921888 h 7308446"/>
              <a:gd name="connsiteX652" fmla="*/ 3058896 w 9012328"/>
              <a:gd name="connsiteY652" fmla="*/ 3872823 h 7308446"/>
              <a:gd name="connsiteX653" fmla="*/ 3053212 w 9012328"/>
              <a:gd name="connsiteY653" fmla="*/ 3821273 h 7308446"/>
              <a:gd name="connsiteX654" fmla="*/ 3049324 w 9012328"/>
              <a:gd name="connsiteY654" fmla="*/ 3767323 h 7308446"/>
              <a:gd name="connsiteX655" fmla="*/ 3047094 w 9012328"/>
              <a:gd name="connsiteY655" fmla="*/ 3711053 h 7308446"/>
              <a:gd name="connsiteX656" fmla="*/ 3046384 w 9012328"/>
              <a:gd name="connsiteY656" fmla="*/ 3652548 h 7308446"/>
              <a:gd name="connsiteX657" fmla="*/ 3047118 w 9012328"/>
              <a:gd name="connsiteY657" fmla="*/ 3594292 h 7308446"/>
              <a:gd name="connsiteX658" fmla="*/ 3049414 w 9012328"/>
              <a:gd name="connsiteY658" fmla="*/ 3538272 h 7308446"/>
              <a:gd name="connsiteX659" fmla="*/ 3053403 w 9012328"/>
              <a:gd name="connsiteY659" fmla="*/ 3484567 h 7308446"/>
              <a:gd name="connsiteX660" fmla="*/ 3059217 w 9012328"/>
              <a:gd name="connsiteY660" fmla="*/ 3433261 h 7308446"/>
              <a:gd name="connsiteX661" fmla="*/ 3066990 w 9012328"/>
              <a:gd name="connsiteY661" fmla="*/ 3384433 h 7308446"/>
              <a:gd name="connsiteX662" fmla="*/ 3076852 w 9012328"/>
              <a:gd name="connsiteY662" fmla="*/ 3338166 h 7308446"/>
              <a:gd name="connsiteX663" fmla="*/ 3088939 w 9012328"/>
              <a:gd name="connsiteY663" fmla="*/ 3294540 h 7308446"/>
              <a:gd name="connsiteX664" fmla="*/ 3103381 w 9012328"/>
              <a:gd name="connsiteY664" fmla="*/ 3253638 h 7308446"/>
              <a:gd name="connsiteX665" fmla="*/ 3120314 w 9012328"/>
              <a:gd name="connsiteY665" fmla="*/ 3215540 h 7308446"/>
              <a:gd name="connsiteX666" fmla="*/ 3139867 w 9012328"/>
              <a:gd name="connsiteY666" fmla="*/ 3180328 h 7308446"/>
              <a:gd name="connsiteX667" fmla="*/ 3162174 w 9012328"/>
              <a:gd name="connsiteY667" fmla="*/ 3148083 h 7308446"/>
              <a:gd name="connsiteX668" fmla="*/ 3187372 w 9012328"/>
              <a:gd name="connsiteY668" fmla="*/ 3118887 h 7308446"/>
              <a:gd name="connsiteX669" fmla="*/ 3215586 w 9012328"/>
              <a:gd name="connsiteY669" fmla="*/ 3092821 h 7308446"/>
              <a:gd name="connsiteX670" fmla="*/ 3246953 w 9012328"/>
              <a:gd name="connsiteY670" fmla="*/ 3069966 h 7308446"/>
              <a:gd name="connsiteX671" fmla="*/ 3281606 w 9012328"/>
              <a:gd name="connsiteY671" fmla="*/ 3050405 h 7308446"/>
              <a:gd name="connsiteX672" fmla="*/ 3319678 w 9012328"/>
              <a:gd name="connsiteY672" fmla="*/ 3034217 h 7308446"/>
              <a:gd name="connsiteX673" fmla="*/ 3361299 w 9012328"/>
              <a:gd name="connsiteY673" fmla="*/ 3021485 h 7308446"/>
              <a:gd name="connsiteX674" fmla="*/ 3406605 w 9012328"/>
              <a:gd name="connsiteY674" fmla="*/ 3012290 h 7308446"/>
              <a:gd name="connsiteX675" fmla="*/ 3455726 w 9012328"/>
              <a:gd name="connsiteY675" fmla="*/ 3006713 h 7308446"/>
              <a:gd name="connsiteX676" fmla="*/ 3637118 w 9012328"/>
              <a:gd name="connsiteY676" fmla="*/ 2373826 h 7308446"/>
              <a:gd name="connsiteX677" fmla="*/ 4541909 w 9012328"/>
              <a:gd name="connsiteY677" fmla="*/ 2373826 h 7308446"/>
              <a:gd name="connsiteX678" fmla="*/ 4541909 w 9012328"/>
              <a:gd name="connsiteY678" fmla="*/ 2480664 h 7308446"/>
              <a:gd name="connsiteX679" fmla="*/ 3637118 w 9012328"/>
              <a:gd name="connsiteY679" fmla="*/ 2480664 h 7308446"/>
              <a:gd name="connsiteX680" fmla="*/ 2550201 w 9012328"/>
              <a:gd name="connsiteY680" fmla="*/ 2373826 h 7308446"/>
              <a:gd name="connsiteX681" fmla="*/ 3454993 w 9012328"/>
              <a:gd name="connsiteY681" fmla="*/ 2373826 h 7308446"/>
              <a:gd name="connsiteX682" fmla="*/ 3454993 w 9012328"/>
              <a:gd name="connsiteY682" fmla="*/ 2480664 h 7308446"/>
              <a:gd name="connsiteX683" fmla="*/ 2550201 w 9012328"/>
              <a:gd name="connsiteY683" fmla="*/ 2480664 h 7308446"/>
              <a:gd name="connsiteX684" fmla="*/ 3637119 w 9012328"/>
              <a:gd name="connsiteY684" fmla="*/ 2024930 h 7308446"/>
              <a:gd name="connsiteX685" fmla="*/ 4541909 w 9012328"/>
              <a:gd name="connsiteY685" fmla="*/ 2024930 h 7308446"/>
              <a:gd name="connsiteX686" fmla="*/ 4541909 w 9012328"/>
              <a:gd name="connsiteY686" fmla="*/ 2131769 h 7308446"/>
              <a:gd name="connsiteX687" fmla="*/ 3637119 w 9012328"/>
              <a:gd name="connsiteY687" fmla="*/ 2131769 h 7308446"/>
              <a:gd name="connsiteX688" fmla="*/ 2550201 w 9012328"/>
              <a:gd name="connsiteY688" fmla="*/ 2024930 h 7308446"/>
              <a:gd name="connsiteX689" fmla="*/ 3454993 w 9012328"/>
              <a:gd name="connsiteY689" fmla="*/ 2024930 h 7308446"/>
              <a:gd name="connsiteX690" fmla="*/ 3454993 w 9012328"/>
              <a:gd name="connsiteY690" fmla="*/ 2131769 h 7308446"/>
              <a:gd name="connsiteX691" fmla="*/ 2550201 w 9012328"/>
              <a:gd name="connsiteY691" fmla="*/ 2131769 h 7308446"/>
              <a:gd name="connsiteX692" fmla="*/ 6133380 w 9012328"/>
              <a:gd name="connsiteY692" fmla="*/ 1502419 h 7308446"/>
              <a:gd name="connsiteX693" fmla="*/ 6186450 w 9012328"/>
              <a:gd name="connsiteY693" fmla="*/ 1504296 h 7308446"/>
              <a:gd name="connsiteX694" fmla="*/ 6235571 w 9012328"/>
              <a:gd name="connsiteY694" fmla="*/ 1509872 h 7308446"/>
              <a:gd name="connsiteX695" fmla="*/ 6280876 w 9012328"/>
              <a:gd name="connsiteY695" fmla="*/ 1519068 h 7308446"/>
              <a:gd name="connsiteX696" fmla="*/ 6322498 w 9012328"/>
              <a:gd name="connsiteY696" fmla="*/ 1531799 h 7308446"/>
              <a:gd name="connsiteX697" fmla="*/ 6360569 w 9012328"/>
              <a:gd name="connsiteY697" fmla="*/ 1547987 h 7308446"/>
              <a:gd name="connsiteX698" fmla="*/ 6395222 w 9012328"/>
              <a:gd name="connsiteY698" fmla="*/ 1567548 h 7308446"/>
              <a:gd name="connsiteX699" fmla="*/ 6426589 w 9012328"/>
              <a:gd name="connsiteY699" fmla="*/ 1590403 h 7308446"/>
              <a:gd name="connsiteX700" fmla="*/ 6454804 w 9012328"/>
              <a:gd name="connsiteY700" fmla="*/ 1616469 h 7308446"/>
              <a:gd name="connsiteX701" fmla="*/ 6480000 w 9012328"/>
              <a:gd name="connsiteY701" fmla="*/ 1645665 h 7308446"/>
              <a:gd name="connsiteX702" fmla="*/ 6502308 w 9012328"/>
              <a:gd name="connsiteY702" fmla="*/ 1677910 h 7308446"/>
              <a:gd name="connsiteX703" fmla="*/ 6521861 w 9012328"/>
              <a:gd name="connsiteY703" fmla="*/ 1713122 h 7308446"/>
              <a:gd name="connsiteX704" fmla="*/ 6538793 w 9012328"/>
              <a:gd name="connsiteY704" fmla="*/ 1751221 h 7308446"/>
              <a:gd name="connsiteX705" fmla="*/ 6553236 w 9012328"/>
              <a:gd name="connsiteY705" fmla="*/ 1792122 h 7308446"/>
              <a:gd name="connsiteX706" fmla="*/ 6565323 w 9012328"/>
              <a:gd name="connsiteY706" fmla="*/ 1835748 h 7308446"/>
              <a:gd name="connsiteX707" fmla="*/ 6575186 w 9012328"/>
              <a:gd name="connsiteY707" fmla="*/ 1882015 h 7308446"/>
              <a:gd name="connsiteX708" fmla="*/ 6582958 w 9012328"/>
              <a:gd name="connsiteY708" fmla="*/ 1930843 h 7308446"/>
              <a:gd name="connsiteX709" fmla="*/ 6588772 w 9012328"/>
              <a:gd name="connsiteY709" fmla="*/ 1982149 h 7308446"/>
              <a:gd name="connsiteX710" fmla="*/ 6592760 w 9012328"/>
              <a:gd name="connsiteY710" fmla="*/ 2035854 h 7308446"/>
              <a:gd name="connsiteX711" fmla="*/ 6595056 w 9012328"/>
              <a:gd name="connsiteY711" fmla="*/ 2091874 h 7308446"/>
              <a:gd name="connsiteX712" fmla="*/ 6595792 w 9012328"/>
              <a:gd name="connsiteY712" fmla="*/ 2150130 h 7308446"/>
              <a:gd name="connsiteX713" fmla="*/ 6595092 w 9012328"/>
              <a:gd name="connsiteY713" fmla="*/ 2208635 h 7308446"/>
              <a:gd name="connsiteX714" fmla="*/ 6592895 w 9012328"/>
              <a:gd name="connsiteY714" fmla="*/ 2264905 h 7308446"/>
              <a:gd name="connsiteX715" fmla="*/ 6589059 w 9012328"/>
              <a:gd name="connsiteY715" fmla="*/ 2318855 h 7308446"/>
              <a:gd name="connsiteX716" fmla="*/ 6583438 w 9012328"/>
              <a:gd name="connsiteY716" fmla="*/ 2370405 h 7308446"/>
              <a:gd name="connsiteX717" fmla="*/ 6575890 w 9012328"/>
              <a:gd name="connsiteY717" fmla="*/ 2419470 h 7308446"/>
              <a:gd name="connsiteX718" fmla="*/ 6566269 w 9012328"/>
              <a:gd name="connsiteY718" fmla="*/ 2465969 h 7308446"/>
              <a:gd name="connsiteX719" fmla="*/ 6554432 w 9012328"/>
              <a:gd name="connsiteY719" fmla="*/ 2509818 h 7308446"/>
              <a:gd name="connsiteX720" fmla="*/ 6540235 w 9012328"/>
              <a:gd name="connsiteY720" fmla="*/ 2550936 h 7308446"/>
              <a:gd name="connsiteX721" fmla="*/ 6523535 w 9012328"/>
              <a:gd name="connsiteY721" fmla="*/ 2589239 h 7308446"/>
              <a:gd name="connsiteX722" fmla="*/ 6504186 w 9012328"/>
              <a:gd name="connsiteY722" fmla="*/ 2624645 h 7308446"/>
              <a:gd name="connsiteX723" fmla="*/ 6482045 w 9012328"/>
              <a:gd name="connsiteY723" fmla="*/ 2657071 h 7308446"/>
              <a:gd name="connsiteX724" fmla="*/ 6456968 w 9012328"/>
              <a:gd name="connsiteY724" fmla="*/ 2686434 h 7308446"/>
              <a:gd name="connsiteX725" fmla="*/ 6428811 w 9012328"/>
              <a:gd name="connsiteY725" fmla="*/ 2712653 h 7308446"/>
              <a:gd name="connsiteX726" fmla="*/ 6397430 w 9012328"/>
              <a:gd name="connsiteY726" fmla="*/ 2735643 h 7308446"/>
              <a:gd name="connsiteX727" fmla="*/ 6362682 w 9012328"/>
              <a:gd name="connsiteY727" fmla="*/ 2755324 h 7308446"/>
              <a:gd name="connsiteX728" fmla="*/ 6324421 w 9012328"/>
              <a:gd name="connsiteY728" fmla="*/ 2771611 h 7308446"/>
              <a:gd name="connsiteX729" fmla="*/ 6282504 w 9012328"/>
              <a:gd name="connsiteY729" fmla="*/ 2784423 h 7308446"/>
              <a:gd name="connsiteX730" fmla="*/ 6236788 w 9012328"/>
              <a:gd name="connsiteY730" fmla="*/ 2793677 h 7308446"/>
              <a:gd name="connsiteX731" fmla="*/ 6187128 w 9012328"/>
              <a:gd name="connsiteY731" fmla="*/ 2799290 h 7308446"/>
              <a:gd name="connsiteX732" fmla="*/ 6133380 w 9012328"/>
              <a:gd name="connsiteY732" fmla="*/ 2801179 h 7308446"/>
              <a:gd name="connsiteX733" fmla="*/ 6133380 w 9012328"/>
              <a:gd name="connsiteY733" fmla="*/ 2704356 h 7308446"/>
              <a:gd name="connsiteX734" fmla="*/ 6183065 w 9012328"/>
              <a:gd name="connsiteY734" fmla="*/ 2702123 h 7308446"/>
              <a:gd name="connsiteX735" fmla="*/ 6227986 w 9012328"/>
              <a:gd name="connsiteY735" fmla="*/ 2695502 h 7308446"/>
              <a:gd name="connsiteX736" fmla="*/ 6268368 w 9012328"/>
              <a:gd name="connsiteY736" fmla="*/ 2684613 h 7308446"/>
              <a:gd name="connsiteX737" fmla="*/ 6304439 w 9012328"/>
              <a:gd name="connsiteY737" fmla="*/ 2669573 h 7308446"/>
              <a:gd name="connsiteX738" fmla="*/ 6364550 w 9012328"/>
              <a:gd name="connsiteY738" fmla="*/ 2627513 h 7308446"/>
              <a:gd name="connsiteX739" fmla="*/ 6410130 w 9012328"/>
              <a:gd name="connsiteY739" fmla="*/ 2570269 h 7308446"/>
              <a:gd name="connsiteX740" fmla="*/ 6428035 w 9012328"/>
              <a:gd name="connsiteY740" fmla="*/ 2536249 h 7308446"/>
              <a:gd name="connsiteX741" fmla="*/ 6442987 w 9012328"/>
              <a:gd name="connsiteY741" fmla="*/ 2498787 h 7308446"/>
              <a:gd name="connsiteX742" fmla="*/ 6455211 w 9012328"/>
              <a:gd name="connsiteY742" fmla="*/ 2458002 h 7308446"/>
              <a:gd name="connsiteX743" fmla="*/ 6464934 w 9012328"/>
              <a:gd name="connsiteY743" fmla="*/ 2414012 h 7308446"/>
              <a:gd name="connsiteX744" fmla="*/ 6472381 w 9012328"/>
              <a:gd name="connsiteY744" fmla="*/ 2366936 h 7308446"/>
              <a:gd name="connsiteX745" fmla="*/ 6477780 w 9012328"/>
              <a:gd name="connsiteY745" fmla="*/ 2316891 h 7308446"/>
              <a:gd name="connsiteX746" fmla="*/ 6481356 w 9012328"/>
              <a:gd name="connsiteY746" fmla="*/ 2263996 h 7308446"/>
              <a:gd name="connsiteX747" fmla="*/ 6483335 w 9012328"/>
              <a:gd name="connsiteY747" fmla="*/ 2208370 h 7308446"/>
              <a:gd name="connsiteX748" fmla="*/ 6483945 w 9012328"/>
              <a:gd name="connsiteY748" fmla="*/ 2150130 h 7308446"/>
              <a:gd name="connsiteX749" fmla="*/ 6483303 w 9012328"/>
              <a:gd name="connsiteY749" fmla="*/ 2092461 h 7308446"/>
              <a:gd name="connsiteX750" fmla="*/ 6481233 w 9012328"/>
              <a:gd name="connsiteY750" fmla="*/ 2037371 h 7308446"/>
              <a:gd name="connsiteX751" fmla="*/ 6477523 w 9012328"/>
              <a:gd name="connsiteY751" fmla="*/ 1984979 h 7308446"/>
              <a:gd name="connsiteX752" fmla="*/ 6471957 w 9012328"/>
              <a:gd name="connsiteY752" fmla="*/ 1935402 h 7308446"/>
              <a:gd name="connsiteX753" fmla="*/ 6464322 w 9012328"/>
              <a:gd name="connsiteY753" fmla="*/ 1888759 h 7308446"/>
              <a:gd name="connsiteX754" fmla="*/ 6454404 w 9012328"/>
              <a:gd name="connsiteY754" fmla="*/ 1845167 h 7308446"/>
              <a:gd name="connsiteX755" fmla="*/ 6441988 w 9012328"/>
              <a:gd name="connsiteY755" fmla="*/ 1804746 h 7308446"/>
              <a:gd name="connsiteX756" fmla="*/ 6426861 w 9012328"/>
              <a:gd name="connsiteY756" fmla="*/ 1767614 h 7308446"/>
              <a:gd name="connsiteX757" fmla="*/ 6408808 w 9012328"/>
              <a:gd name="connsiteY757" fmla="*/ 1733888 h 7308446"/>
              <a:gd name="connsiteX758" fmla="*/ 6363070 w 9012328"/>
              <a:gd name="connsiteY758" fmla="*/ 1677129 h 7308446"/>
              <a:gd name="connsiteX759" fmla="*/ 6303061 w 9012328"/>
              <a:gd name="connsiteY759" fmla="*/ 1635416 h 7308446"/>
              <a:gd name="connsiteX760" fmla="*/ 6267169 w 9012328"/>
              <a:gd name="connsiteY760" fmla="*/ 1620497 h 7308446"/>
              <a:gd name="connsiteX761" fmla="*/ 6227068 w 9012328"/>
              <a:gd name="connsiteY761" fmla="*/ 1609694 h 7308446"/>
              <a:gd name="connsiteX762" fmla="*/ 6182543 w 9012328"/>
              <a:gd name="connsiteY762" fmla="*/ 1603125 h 7308446"/>
              <a:gd name="connsiteX763" fmla="*/ 6133380 w 9012328"/>
              <a:gd name="connsiteY763" fmla="*/ 1600910 h 7308446"/>
              <a:gd name="connsiteX764" fmla="*/ 6041530 w 9012328"/>
              <a:gd name="connsiteY764" fmla="*/ 1502419 h 7308446"/>
              <a:gd name="connsiteX765" fmla="*/ 6041530 w 9012328"/>
              <a:gd name="connsiteY765" fmla="*/ 1600910 h 7308446"/>
              <a:gd name="connsiteX766" fmla="*/ 5992644 w 9012328"/>
              <a:gd name="connsiteY766" fmla="*/ 1603125 h 7308446"/>
              <a:gd name="connsiteX767" fmla="*/ 5948363 w 9012328"/>
              <a:gd name="connsiteY767" fmla="*/ 1609694 h 7308446"/>
              <a:gd name="connsiteX768" fmla="*/ 5908477 w 9012328"/>
              <a:gd name="connsiteY768" fmla="*/ 1620497 h 7308446"/>
              <a:gd name="connsiteX769" fmla="*/ 5872771 w 9012328"/>
              <a:gd name="connsiteY769" fmla="*/ 1635416 h 7308446"/>
              <a:gd name="connsiteX770" fmla="*/ 5813056 w 9012328"/>
              <a:gd name="connsiteY770" fmla="*/ 1677129 h 7308446"/>
              <a:gd name="connsiteX771" fmla="*/ 5767522 w 9012328"/>
              <a:gd name="connsiteY771" fmla="*/ 1733888 h 7308446"/>
              <a:gd name="connsiteX772" fmla="*/ 5749543 w 9012328"/>
              <a:gd name="connsiteY772" fmla="*/ 1767614 h 7308446"/>
              <a:gd name="connsiteX773" fmla="*/ 5734473 w 9012328"/>
              <a:gd name="connsiteY773" fmla="*/ 1804746 h 7308446"/>
              <a:gd name="connsiteX774" fmla="*/ 5722101 w 9012328"/>
              <a:gd name="connsiteY774" fmla="*/ 1845167 h 7308446"/>
              <a:gd name="connsiteX775" fmla="*/ 5712213 w 9012328"/>
              <a:gd name="connsiteY775" fmla="*/ 1888759 h 7308446"/>
              <a:gd name="connsiteX776" fmla="*/ 5704599 w 9012328"/>
              <a:gd name="connsiteY776" fmla="*/ 1935402 h 7308446"/>
              <a:gd name="connsiteX777" fmla="*/ 5699046 w 9012328"/>
              <a:gd name="connsiteY777" fmla="*/ 1984979 h 7308446"/>
              <a:gd name="connsiteX778" fmla="*/ 5695342 w 9012328"/>
              <a:gd name="connsiteY778" fmla="*/ 2037371 h 7308446"/>
              <a:gd name="connsiteX779" fmla="*/ 5693275 w 9012328"/>
              <a:gd name="connsiteY779" fmla="*/ 2092461 h 7308446"/>
              <a:gd name="connsiteX780" fmla="*/ 5692633 w 9012328"/>
              <a:gd name="connsiteY780" fmla="*/ 2150130 h 7308446"/>
              <a:gd name="connsiteX781" fmla="*/ 5693259 w 9012328"/>
              <a:gd name="connsiteY781" fmla="*/ 2208370 h 7308446"/>
              <a:gd name="connsiteX782" fmla="*/ 5695281 w 9012328"/>
              <a:gd name="connsiteY782" fmla="*/ 2263996 h 7308446"/>
              <a:gd name="connsiteX783" fmla="*/ 5698918 w 9012328"/>
              <a:gd name="connsiteY783" fmla="*/ 2316891 h 7308446"/>
              <a:gd name="connsiteX784" fmla="*/ 5704387 w 9012328"/>
              <a:gd name="connsiteY784" fmla="*/ 2366936 h 7308446"/>
              <a:gd name="connsiteX785" fmla="*/ 5711908 w 9012328"/>
              <a:gd name="connsiteY785" fmla="*/ 2414012 h 7308446"/>
              <a:gd name="connsiteX786" fmla="*/ 5721697 w 9012328"/>
              <a:gd name="connsiteY786" fmla="*/ 2458002 h 7308446"/>
              <a:gd name="connsiteX787" fmla="*/ 5733974 w 9012328"/>
              <a:gd name="connsiteY787" fmla="*/ 2498787 h 7308446"/>
              <a:gd name="connsiteX788" fmla="*/ 5748956 w 9012328"/>
              <a:gd name="connsiteY788" fmla="*/ 2536249 h 7308446"/>
              <a:gd name="connsiteX789" fmla="*/ 5766862 w 9012328"/>
              <a:gd name="connsiteY789" fmla="*/ 2570269 h 7308446"/>
              <a:gd name="connsiteX790" fmla="*/ 5812316 w 9012328"/>
              <a:gd name="connsiteY790" fmla="*/ 2627513 h 7308446"/>
              <a:gd name="connsiteX791" fmla="*/ 5872082 w 9012328"/>
              <a:gd name="connsiteY791" fmla="*/ 2669573 h 7308446"/>
              <a:gd name="connsiteX792" fmla="*/ 5907877 w 9012328"/>
              <a:gd name="connsiteY792" fmla="*/ 2684613 h 7308446"/>
              <a:gd name="connsiteX793" fmla="*/ 5947905 w 9012328"/>
              <a:gd name="connsiteY793" fmla="*/ 2695502 h 7308446"/>
              <a:gd name="connsiteX794" fmla="*/ 5992383 w 9012328"/>
              <a:gd name="connsiteY794" fmla="*/ 2702123 h 7308446"/>
              <a:gd name="connsiteX795" fmla="*/ 6041530 w 9012328"/>
              <a:gd name="connsiteY795" fmla="*/ 2704356 h 7308446"/>
              <a:gd name="connsiteX796" fmla="*/ 6041530 w 9012328"/>
              <a:gd name="connsiteY796" fmla="*/ 2801179 h 7308446"/>
              <a:gd name="connsiteX797" fmla="*/ 5988008 w 9012328"/>
              <a:gd name="connsiteY797" fmla="*/ 2799290 h 7308446"/>
              <a:gd name="connsiteX798" fmla="*/ 5938527 w 9012328"/>
              <a:gd name="connsiteY798" fmla="*/ 2793677 h 7308446"/>
              <a:gd name="connsiteX799" fmla="*/ 5892948 w 9012328"/>
              <a:gd name="connsiteY799" fmla="*/ 2784423 h 7308446"/>
              <a:gd name="connsiteX800" fmla="*/ 5851129 w 9012328"/>
              <a:gd name="connsiteY800" fmla="*/ 2771611 h 7308446"/>
              <a:gd name="connsiteX801" fmla="*/ 5812932 w 9012328"/>
              <a:gd name="connsiteY801" fmla="*/ 2755324 h 7308446"/>
              <a:gd name="connsiteX802" fmla="*/ 5778215 w 9012328"/>
              <a:gd name="connsiteY802" fmla="*/ 2735643 h 7308446"/>
              <a:gd name="connsiteX803" fmla="*/ 5746839 w 9012328"/>
              <a:gd name="connsiteY803" fmla="*/ 2712653 h 7308446"/>
              <a:gd name="connsiteX804" fmla="*/ 5718663 w 9012328"/>
              <a:gd name="connsiteY804" fmla="*/ 2686434 h 7308446"/>
              <a:gd name="connsiteX805" fmla="*/ 5693546 w 9012328"/>
              <a:gd name="connsiteY805" fmla="*/ 2657071 h 7308446"/>
              <a:gd name="connsiteX806" fmla="*/ 5671350 w 9012328"/>
              <a:gd name="connsiteY806" fmla="*/ 2624645 h 7308446"/>
              <a:gd name="connsiteX807" fmla="*/ 5651932 w 9012328"/>
              <a:gd name="connsiteY807" fmla="*/ 2589239 h 7308446"/>
              <a:gd name="connsiteX808" fmla="*/ 5635155 w 9012328"/>
              <a:gd name="connsiteY808" fmla="*/ 2550936 h 7308446"/>
              <a:gd name="connsiteX809" fmla="*/ 5620876 w 9012328"/>
              <a:gd name="connsiteY809" fmla="*/ 2509818 h 7308446"/>
              <a:gd name="connsiteX810" fmla="*/ 5608956 w 9012328"/>
              <a:gd name="connsiteY810" fmla="*/ 2465969 h 7308446"/>
              <a:gd name="connsiteX811" fmla="*/ 5599254 w 9012328"/>
              <a:gd name="connsiteY811" fmla="*/ 2419470 h 7308446"/>
              <a:gd name="connsiteX812" fmla="*/ 5591631 w 9012328"/>
              <a:gd name="connsiteY812" fmla="*/ 2370405 h 7308446"/>
              <a:gd name="connsiteX813" fmla="*/ 5585946 w 9012328"/>
              <a:gd name="connsiteY813" fmla="*/ 2318855 h 7308446"/>
              <a:gd name="connsiteX814" fmla="*/ 5582059 w 9012328"/>
              <a:gd name="connsiteY814" fmla="*/ 2264905 h 7308446"/>
              <a:gd name="connsiteX815" fmla="*/ 5579829 w 9012328"/>
              <a:gd name="connsiteY815" fmla="*/ 2208635 h 7308446"/>
              <a:gd name="connsiteX816" fmla="*/ 5579118 w 9012328"/>
              <a:gd name="connsiteY816" fmla="*/ 2150130 h 7308446"/>
              <a:gd name="connsiteX817" fmla="*/ 5579853 w 9012328"/>
              <a:gd name="connsiteY817" fmla="*/ 2091874 h 7308446"/>
              <a:gd name="connsiteX818" fmla="*/ 5582149 w 9012328"/>
              <a:gd name="connsiteY818" fmla="*/ 2035854 h 7308446"/>
              <a:gd name="connsiteX819" fmla="*/ 5586138 w 9012328"/>
              <a:gd name="connsiteY819" fmla="*/ 1982149 h 7308446"/>
              <a:gd name="connsiteX820" fmla="*/ 5591951 w 9012328"/>
              <a:gd name="connsiteY820" fmla="*/ 1930843 h 7308446"/>
              <a:gd name="connsiteX821" fmla="*/ 5599724 w 9012328"/>
              <a:gd name="connsiteY821" fmla="*/ 1882015 h 7308446"/>
              <a:gd name="connsiteX822" fmla="*/ 5609587 w 9012328"/>
              <a:gd name="connsiteY822" fmla="*/ 1835748 h 7308446"/>
              <a:gd name="connsiteX823" fmla="*/ 5621673 w 9012328"/>
              <a:gd name="connsiteY823" fmla="*/ 1792122 h 7308446"/>
              <a:gd name="connsiteX824" fmla="*/ 5636116 w 9012328"/>
              <a:gd name="connsiteY824" fmla="*/ 1751221 h 7308446"/>
              <a:gd name="connsiteX825" fmla="*/ 5653048 w 9012328"/>
              <a:gd name="connsiteY825" fmla="*/ 1713122 h 7308446"/>
              <a:gd name="connsiteX826" fmla="*/ 5672601 w 9012328"/>
              <a:gd name="connsiteY826" fmla="*/ 1677910 h 7308446"/>
              <a:gd name="connsiteX827" fmla="*/ 5694909 w 9012328"/>
              <a:gd name="connsiteY827" fmla="*/ 1645665 h 7308446"/>
              <a:gd name="connsiteX828" fmla="*/ 5720105 w 9012328"/>
              <a:gd name="connsiteY828" fmla="*/ 1616469 h 7308446"/>
              <a:gd name="connsiteX829" fmla="*/ 5748320 w 9012328"/>
              <a:gd name="connsiteY829" fmla="*/ 1590403 h 7308446"/>
              <a:gd name="connsiteX830" fmla="*/ 5779687 w 9012328"/>
              <a:gd name="connsiteY830" fmla="*/ 1567548 h 7308446"/>
              <a:gd name="connsiteX831" fmla="*/ 5814340 w 9012328"/>
              <a:gd name="connsiteY831" fmla="*/ 1547987 h 7308446"/>
              <a:gd name="connsiteX832" fmla="*/ 5852411 w 9012328"/>
              <a:gd name="connsiteY832" fmla="*/ 1531799 h 7308446"/>
              <a:gd name="connsiteX833" fmla="*/ 5894033 w 9012328"/>
              <a:gd name="connsiteY833" fmla="*/ 1519068 h 7308446"/>
              <a:gd name="connsiteX834" fmla="*/ 5939338 w 9012328"/>
              <a:gd name="connsiteY834" fmla="*/ 1509872 h 7308446"/>
              <a:gd name="connsiteX835" fmla="*/ 5988459 w 9012328"/>
              <a:gd name="connsiteY835" fmla="*/ 1504296 h 7308446"/>
              <a:gd name="connsiteX836" fmla="*/ 4160590 w 9012328"/>
              <a:gd name="connsiteY836" fmla="*/ 1021648 h 7308446"/>
              <a:gd name="connsiteX837" fmla="*/ 4367589 w 9012328"/>
              <a:gd name="connsiteY837" fmla="*/ 1021648 h 7308446"/>
              <a:gd name="connsiteX838" fmla="*/ 4367589 w 9012328"/>
              <a:gd name="connsiteY838" fmla="*/ 1195261 h 7308446"/>
              <a:gd name="connsiteX839" fmla="*/ 4160590 w 9012328"/>
              <a:gd name="connsiteY839" fmla="*/ 1195261 h 7308446"/>
              <a:gd name="connsiteX840" fmla="*/ 5799344 w 9012328"/>
              <a:gd name="connsiteY840" fmla="*/ 871408 h 7308446"/>
              <a:gd name="connsiteX841" fmla="*/ 6704136 w 9012328"/>
              <a:gd name="connsiteY841" fmla="*/ 871408 h 7308446"/>
              <a:gd name="connsiteX842" fmla="*/ 6704136 w 9012328"/>
              <a:gd name="connsiteY842" fmla="*/ 978246 h 7308446"/>
              <a:gd name="connsiteX843" fmla="*/ 5799344 w 9012328"/>
              <a:gd name="connsiteY843" fmla="*/ 978246 h 7308446"/>
              <a:gd name="connsiteX844" fmla="*/ 5799344 w 9012328"/>
              <a:gd name="connsiteY844" fmla="*/ 522512 h 7308446"/>
              <a:gd name="connsiteX845" fmla="*/ 6704136 w 9012328"/>
              <a:gd name="connsiteY845" fmla="*/ 522512 h 7308446"/>
              <a:gd name="connsiteX846" fmla="*/ 6704136 w 9012328"/>
              <a:gd name="connsiteY846" fmla="*/ 629350 h 7308446"/>
              <a:gd name="connsiteX847" fmla="*/ 5799344 w 9012328"/>
              <a:gd name="connsiteY847" fmla="*/ 629350 h 7308446"/>
              <a:gd name="connsiteX848" fmla="*/ 7774691 w 9012328"/>
              <a:gd name="connsiteY848" fmla="*/ 6383 h 7308446"/>
              <a:gd name="connsiteX849" fmla="*/ 8148629 w 9012328"/>
              <a:gd name="connsiteY849" fmla="*/ 6383 h 7308446"/>
              <a:gd name="connsiteX850" fmla="*/ 8148629 w 9012328"/>
              <a:gd name="connsiteY850" fmla="*/ 101632 h 7308446"/>
              <a:gd name="connsiteX851" fmla="*/ 7889880 w 9012328"/>
              <a:gd name="connsiteY851" fmla="*/ 101632 h 7308446"/>
              <a:gd name="connsiteX852" fmla="*/ 7889880 w 9012328"/>
              <a:gd name="connsiteY852" fmla="*/ 1200182 h 7308446"/>
              <a:gd name="connsiteX853" fmla="*/ 8148629 w 9012328"/>
              <a:gd name="connsiteY853" fmla="*/ 1200182 h 7308446"/>
              <a:gd name="connsiteX854" fmla="*/ 8148629 w 9012328"/>
              <a:gd name="connsiteY854" fmla="*/ 1295432 h 7308446"/>
              <a:gd name="connsiteX855" fmla="*/ 7774691 w 9012328"/>
              <a:gd name="connsiteY855" fmla="*/ 1295432 h 7308446"/>
              <a:gd name="connsiteX856" fmla="*/ 7774691 w 9012328"/>
              <a:gd name="connsiteY856" fmla="*/ 1200182 h 7308446"/>
              <a:gd name="connsiteX857" fmla="*/ 7774691 w 9012328"/>
              <a:gd name="connsiteY857" fmla="*/ 101632 h 7308446"/>
              <a:gd name="connsiteX858" fmla="*/ 8243417 w 9012328"/>
              <a:gd name="connsiteY858" fmla="*/ 0 h 7308446"/>
              <a:gd name="connsiteX859" fmla="*/ 8296487 w 9012328"/>
              <a:gd name="connsiteY859" fmla="*/ 1877 h 7308446"/>
              <a:gd name="connsiteX860" fmla="*/ 8345608 w 9012328"/>
              <a:gd name="connsiteY860" fmla="*/ 7454 h 7308446"/>
              <a:gd name="connsiteX861" fmla="*/ 8390913 w 9012328"/>
              <a:gd name="connsiteY861" fmla="*/ 16649 h 7308446"/>
              <a:gd name="connsiteX862" fmla="*/ 8432534 w 9012328"/>
              <a:gd name="connsiteY862" fmla="*/ 29381 h 7308446"/>
              <a:gd name="connsiteX863" fmla="*/ 8470605 w 9012328"/>
              <a:gd name="connsiteY863" fmla="*/ 45569 h 7308446"/>
              <a:gd name="connsiteX864" fmla="*/ 8505258 w 9012328"/>
              <a:gd name="connsiteY864" fmla="*/ 65130 h 7308446"/>
              <a:gd name="connsiteX865" fmla="*/ 8536626 w 9012328"/>
              <a:gd name="connsiteY865" fmla="*/ 87984 h 7308446"/>
              <a:gd name="connsiteX866" fmla="*/ 8564841 w 9012328"/>
              <a:gd name="connsiteY866" fmla="*/ 114050 h 7308446"/>
              <a:gd name="connsiteX867" fmla="*/ 8590036 w 9012328"/>
              <a:gd name="connsiteY867" fmla="*/ 143246 h 7308446"/>
              <a:gd name="connsiteX868" fmla="*/ 8612344 w 9012328"/>
              <a:gd name="connsiteY868" fmla="*/ 175491 h 7308446"/>
              <a:gd name="connsiteX869" fmla="*/ 8631898 w 9012328"/>
              <a:gd name="connsiteY869" fmla="*/ 210703 h 7308446"/>
              <a:gd name="connsiteX870" fmla="*/ 8648830 w 9012328"/>
              <a:gd name="connsiteY870" fmla="*/ 248801 h 7308446"/>
              <a:gd name="connsiteX871" fmla="*/ 8663273 w 9012328"/>
              <a:gd name="connsiteY871" fmla="*/ 289703 h 7308446"/>
              <a:gd name="connsiteX872" fmla="*/ 8675359 w 9012328"/>
              <a:gd name="connsiteY872" fmla="*/ 333329 h 7308446"/>
              <a:gd name="connsiteX873" fmla="*/ 8685222 w 9012328"/>
              <a:gd name="connsiteY873" fmla="*/ 379596 h 7308446"/>
              <a:gd name="connsiteX874" fmla="*/ 8692995 w 9012328"/>
              <a:gd name="connsiteY874" fmla="*/ 428424 h 7308446"/>
              <a:gd name="connsiteX875" fmla="*/ 8698808 w 9012328"/>
              <a:gd name="connsiteY875" fmla="*/ 479730 h 7308446"/>
              <a:gd name="connsiteX876" fmla="*/ 8702797 w 9012328"/>
              <a:gd name="connsiteY876" fmla="*/ 533435 h 7308446"/>
              <a:gd name="connsiteX877" fmla="*/ 8705093 w 9012328"/>
              <a:gd name="connsiteY877" fmla="*/ 589455 h 7308446"/>
              <a:gd name="connsiteX878" fmla="*/ 8705829 w 9012328"/>
              <a:gd name="connsiteY878" fmla="*/ 647711 h 7308446"/>
              <a:gd name="connsiteX879" fmla="*/ 8705129 w 9012328"/>
              <a:gd name="connsiteY879" fmla="*/ 706216 h 7308446"/>
              <a:gd name="connsiteX880" fmla="*/ 8702932 w 9012328"/>
              <a:gd name="connsiteY880" fmla="*/ 762486 h 7308446"/>
              <a:gd name="connsiteX881" fmla="*/ 8699096 w 9012328"/>
              <a:gd name="connsiteY881" fmla="*/ 816436 h 7308446"/>
              <a:gd name="connsiteX882" fmla="*/ 8693475 w 9012328"/>
              <a:gd name="connsiteY882" fmla="*/ 867986 h 7308446"/>
              <a:gd name="connsiteX883" fmla="*/ 8685927 w 9012328"/>
              <a:gd name="connsiteY883" fmla="*/ 917051 h 7308446"/>
              <a:gd name="connsiteX884" fmla="*/ 8676306 w 9012328"/>
              <a:gd name="connsiteY884" fmla="*/ 963550 h 7308446"/>
              <a:gd name="connsiteX885" fmla="*/ 8664469 w 9012328"/>
              <a:gd name="connsiteY885" fmla="*/ 1007399 h 7308446"/>
              <a:gd name="connsiteX886" fmla="*/ 8650272 w 9012328"/>
              <a:gd name="connsiteY886" fmla="*/ 1048517 h 7308446"/>
              <a:gd name="connsiteX887" fmla="*/ 8633571 w 9012328"/>
              <a:gd name="connsiteY887" fmla="*/ 1086820 h 7308446"/>
              <a:gd name="connsiteX888" fmla="*/ 8614222 w 9012328"/>
              <a:gd name="connsiteY888" fmla="*/ 1122226 h 7308446"/>
              <a:gd name="connsiteX889" fmla="*/ 8592081 w 9012328"/>
              <a:gd name="connsiteY889" fmla="*/ 1154652 h 7308446"/>
              <a:gd name="connsiteX890" fmla="*/ 8567005 w 9012328"/>
              <a:gd name="connsiteY890" fmla="*/ 1184015 h 7308446"/>
              <a:gd name="connsiteX891" fmla="*/ 8538848 w 9012328"/>
              <a:gd name="connsiteY891" fmla="*/ 1210234 h 7308446"/>
              <a:gd name="connsiteX892" fmla="*/ 8507467 w 9012328"/>
              <a:gd name="connsiteY892" fmla="*/ 1233224 h 7308446"/>
              <a:gd name="connsiteX893" fmla="*/ 8472718 w 9012328"/>
              <a:gd name="connsiteY893" fmla="*/ 1252905 h 7308446"/>
              <a:gd name="connsiteX894" fmla="*/ 8434458 w 9012328"/>
              <a:gd name="connsiteY894" fmla="*/ 1269193 h 7308446"/>
              <a:gd name="connsiteX895" fmla="*/ 8392541 w 9012328"/>
              <a:gd name="connsiteY895" fmla="*/ 1282004 h 7308446"/>
              <a:gd name="connsiteX896" fmla="*/ 8346825 w 9012328"/>
              <a:gd name="connsiteY896" fmla="*/ 1291258 h 7308446"/>
              <a:gd name="connsiteX897" fmla="*/ 8297165 w 9012328"/>
              <a:gd name="connsiteY897" fmla="*/ 1296871 h 7308446"/>
              <a:gd name="connsiteX898" fmla="*/ 8243417 w 9012328"/>
              <a:gd name="connsiteY898" fmla="*/ 1298760 h 7308446"/>
              <a:gd name="connsiteX899" fmla="*/ 8243417 w 9012328"/>
              <a:gd name="connsiteY899" fmla="*/ 1201938 h 7308446"/>
              <a:gd name="connsiteX900" fmla="*/ 8293102 w 9012328"/>
              <a:gd name="connsiteY900" fmla="*/ 1199705 h 7308446"/>
              <a:gd name="connsiteX901" fmla="*/ 8338022 w 9012328"/>
              <a:gd name="connsiteY901" fmla="*/ 1193084 h 7308446"/>
              <a:gd name="connsiteX902" fmla="*/ 8378405 w 9012328"/>
              <a:gd name="connsiteY902" fmla="*/ 1182195 h 7308446"/>
              <a:gd name="connsiteX903" fmla="*/ 8414476 w 9012328"/>
              <a:gd name="connsiteY903" fmla="*/ 1167155 h 7308446"/>
              <a:gd name="connsiteX904" fmla="*/ 8474587 w 9012328"/>
              <a:gd name="connsiteY904" fmla="*/ 1125095 h 7308446"/>
              <a:gd name="connsiteX905" fmla="*/ 8520166 w 9012328"/>
              <a:gd name="connsiteY905" fmla="*/ 1067851 h 7308446"/>
              <a:gd name="connsiteX906" fmla="*/ 8538072 w 9012328"/>
              <a:gd name="connsiteY906" fmla="*/ 1033830 h 7308446"/>
              <a:gd name="connsiteX907" fmla="*/ 8553024 w 9012328"/>
              <a:gd name="connsiteY907" fmla="*/ 996369 h 7308446"/>
              <a:gd name="connsiteX908" fmla="*/ 8565248 w 9012328"/>
              <a:gd name="connsiteY908" fmla="*/ 955584 h 7308446"/>
              <a:gd name="connsiteX909" fmla="*/ 8574971 w 9012328"/>
              <a:gd name="connsiteY909" fmla="*/ 911594 h 7308446"/>
              <a:gd name="connsiteX910" fmla="*/ 8582418 w 9012328"/>
              <a:gd name="connsiteY910" fmla="*/ 864517 h 7308446"/>
              <a:gd name="connsiteX911" fmla="*/ 8587817 w 9012328"/>
              <a:gd name="connsiteY911" fmla="*/ 814473 h 7308446"/>
              <a:gd name="connsiteX912" fmla="*/ 8591393 w 9012328"/>
              <a:gd name="connsiteY912" fmla="*/ 761578 h 7308446"/>
              <a:gd name="connsiteX913" fmla="*/ 8593372 w 9012328"/>
              <a:gd name="connsiteY913" fmla="*/ 705951 h 7308446"/>
              <a:gd name="connsiteX914" fmla="*/ 8593982 w 9012328"/>
              <a:gd name="connsiteY914" fmla="*/ 647711 h 7308446"/>
              <a:gd name="connsiteX915" fmla="*/ 8593340 w 9012328"/>
              <a:gd name="connsiteY915" fmla="*/ 590042 h 7308446"/>
              <a:gd name="connsiteX916" fmla="*/ 8591270 w 9012328"/>
              <a:gd name="connsiteY916" fmla="*/ 534953 h 7308446"/>
              <a:gd name="connsiteX917" fmla="*/ 8587560 w 9012328"/>
              <a:gd name="connsiteY917" fmla="*/ 482561 h 7308446"/>
              <a:gd name="connsiteX918" fmla="*/ 8581994 w 9012328"/>
              <a:gd name="connsiteY918" fmla="*/ 432984 h 7308446"/>
              <a:gd name="connsiteX919" fmla="*/ 8574359 w 9012328"/>
              <a:gd name="connsiteY919" fmla="*/ 386340 h 7308446"/>
              <a:gd name="connsiteX920" fmla="*/ 8564441 w 9012328"/>
              <a:gd name="connsiteY920" fmla="*/ 342749 h 7308446"/>
              <a:gd name="connsiteX921" fmla="*/ 8552025 w 9012328"/>
              <a:gd name="connsiteY921" fmla="*/ 302328 h 7308446"/>
              <a:gd name="connsiteX922" fmla="*/ 8536898 w 9012328"/>
              <a:gd name="connsiteY922" fmla="*/ 265196 h 7308446"/>
              <a:gd name="connsiteX923" fmla="*/ 8518845 w 9012328"/>
              <a:gd name="connsiteY923" fmla="*/ 231470 h 7308446"/>
              <a:gd name="connsiteX924" fmla="*/ 8473107 w 9012328"/>
              <a:gd name="connsiteY924" fmla="*/ 174711 h 7308446"/>
              <a:gd name="connsiteX925" fmla="*/ 8413098 w 9012328"/>
              <a:gd name="connsiteY925" fmla="*/ 132998 h 7308446"/>
              <a:gd name="connsiteX926" fmla="*/ 8377206 w 9012328"/>
              <a:gd name="connsiteY926" fmla="*/ 118079 h 7308446"/>
              <a:gd name="connsiteX927" fmla="*/ 8337105 w 9012328"/>
              <a:gd name="connsiteY927" fmla="*/ 107277 h 7308446"/>
              <a:gd name="connsiteX928" fmla="*/ 8292580 w 9012328"/>
              <a:gd name="connsiteY928" fmla="*/ 100708 h 7308446"/>
              <a:gd name="connsiteX929" fmla="*/ 8243417 w 9012328"/>
              <a:gd name="connsiteY929" fmla="*/ 98492 h 7308446"/>
              <a:gd name="connsiteX930" fmla="*/ 3109502 w 9012328"/>
              <a:gd name="connsiteY930" fmla="*/ 0 h 7308446"/>
              <a:gd name="connsiteX931" fmla="*/ 3162572 w 9012328"/>
              <a:gd name="connsiteY931" fmla="*/ 1876 h 7308446"/>
              <a:gd name="connsiteX932" fmla="*/ 3211694 w 9012328"/>
              <a:gd name="connsiteY932" fmla="*/ 7453 h 7308446"/>
              <a:gd name="connsiteX933" fmla="*/ 3256998 w 9012328"/>
              <a:gd name="connsiteY933" fmla="*/ 16648 h 7308446"/>
              <a:gd name="connsiteX934" fmla="*/ 3298621 w 9012328"/>
              <a:gd name="connsiteY934" fmla="*/ 29380 h 7308446"/>
              <a:gd name="connsiteX935" fmla="*/ 3336692 w 9012328"/>
              <a:gd name="connsiteY935" fmla="*/ 45568 h 7308446"/>
              <a:gd name="connsiteX936" fmla="*/ 3371345 w 9012328"/>
              <a:gd name="connsiteY936" fmla="*/ 65129 h 7308446"/>
              <a:gd name="connsiteX937" fmla="*/ 3402713 w 9012328"/>
              <a:gd name="connsiteY937" fmla="*/ 87984 h 7308446"/>
              <a:gd name="connsiteX938" fmla="*/ 3430928 w 9012328"/>
              <a:gd name="connsiteY938" fmla="*/ 114050 h 7308446"/>
              <a:gd name="connsiteX939" fmla="*/ 3456123 w 9012328"/>
              <a:gd name="connsiteY939" fmla="*/ 143246 h 7308446"/>
              <a:gd name="connsiteX940" fmla="*/ 3478431 w 9012328"/>
              <a:gd name="connsiteY940" fmla="*/ 175491 h 7308446"/>
              <a:gd name="connsiteX941" fmla="*/ 3497985 w 9012328"/>
              <a:gd name="connsiteY941" fmla="*/ 210703 h 7308446"/>
              <a:gd name="connsiteX942" fmla="*/ 3514917 w 9012328"/>
              <a:gd name="connsiteY942" fmla="*/ 248801 h 7308446"/>
              <a:gd name="connsiteX943" fmla="*/ 3529360 w 9012328"/>
              <a:gd name="connsiteY943" fmla="*/ 289703 h 7308446"/>
              <a:gd name="connsiteX944" fmla="*/ 3541446 w 9012328"/>
              <a:gd name="connsiteY944" fmla="*/ 333329 h 7308446"/>
              <a:gd name="connsiteX945" fmla="*/ 3551309 w 9012328"/>
              <a:gd name="connsiteY945" fmla="*/ 379596 h 7308446"/>
              <a:gd name="connsiteX946" fmla="*/ 3559082 w 9012328"/>
              <a:gd name="connsiteY946" fmla="*/ 428424 h 7308446"/>
              <a:gd name="connsiteX947" fmla="*/ 3564896 w 9012328"/>
              <a:gd name="connsiteY947" fmla="*/ 479730 h 7308446"/>
              <a:gd name="connsiteX948" fmla="*/ 3568884 w 9012328"/>
              <a:gd name="connsiteY948" fmla="*/ 533435 h 7308446"/>
              <a:gd name="connsiteX949" fmla="*/ 3571180 w 9012328"/>
              <a:gd name="connsiteY949" fmla="*/ 589455 h 7308446"/>
              <a:gd name="connsiteX950" fmla="*/ 3571916 w 9012328"/>
              <a:gd name="connsiteY950" fmla="*/ 647711 h 7308446"/>
              <a:gd name="connsiteX951" fmla="*/ 3571216 w 9012328"/>
              <a:gd name="connsiteY951" fmla="*/ 706216 h 7308446"/>
              <a:gd name="connsiteX952" fmla="*/ 3569019 w 9012328"/>
              <a:gd name="connsiteY952" fmla="*/ 762486 h 7308446"/>
              <a:gd name="connsiteX953" fmla="*/ 3565183 w 9012328"/>
              <a:gd name="connsiteY953" fmla="*/ 816436 h 7308446"/>
              <a:gd name="connsiteX954" fmla="*/ 3559562 w 9012328"/>
              <a:gd name="connsiteY954" fmla="*/ 867986 h 7308446"/>
              <a:gd name="connsiteX955" fmla="*/ 3552014 w 9012328"/>
              <a:gd name="connsiteY955" fmla="*/ 917051 h 7308446"/>
              <a:gd name="connsiteX956" fmla="*/ 3542393 w 9012328"/>
              <a:gd name="connsiteY956" fmla="*/ 963550 h 7308446"/>
              <a:gd name="connsiteX957" fmla="*/ 3530556 w 9012328"/>
              <a:gd name="connsiteY957" fmla="*/ 1007399 h 7308446"/>
              <a:gd name="connsiteX958" fmla="*/ 3516359 w 9012328"/>
              <a:gd name="connsiteY958" fmla="*/ 1048517 h 7308446"/>
              <a:gd name="connsiteX959" fmla="*/ 3499658 w 9012328"/>
              <a:gd name="connsiteY959" fmla="*/ 1086820 h 7308446"/>
              <a:gd name="connsiteX960" fmla="*/ 3480309 w 9012328"/>
              <a:gd name="connsiteY960" fmla="*/ 1122226 h 7308446"/>
              <a:gd name="connsiteX961" fmla="*/ 3458168 w 9012328"/>
              <a:gd name="connsiteY961" fmla="*/ 1154652 h 7308446"/>
              <a:gd name="connsiteX962" fmla="*/ 3433091 w 9012328"/>
              <a:gd name="connsiteY962" fmla="*/ 1184015 h 7308446"/>
              <a:gd name="connsiteX963" fmla="*/ 3404934 w 9012328"/>
              <a:gd name="connsiteY963" fmla="*/ 1210234 h 7308446"/>
              <a:gd name="connsiteX964" fmla="*/ 3373554 w 9012328"/>
              <a:gd name="connsiteY964" fmla="*/ 1233224 h 7308446"/>
              <a:gd name="connsiteX965" fmla="*/ 3338805 w 9012328"/>
              <a:gd name="connsiteY965" fmla="*/ 1252905 h 7308446"/>
              <a:gd name="connsiteX966" fmla="*/ 3300544 w 9012328"/>
              <a:gd name="connsiteY966" fmla="*/ 1269192 h 7308446"/>
              <a:gd name="connsiteX967" fmla="*/ 3258627 w 9012328"/>
              <a:gd name="connsiteY967" fmla="*/ 1282004 h 7308446"/>
              <a:gd name="connsiteX968" fmla="*/ 3212910 w 9012328"/>
              <a:gd name="connsiteY968" fmla="*/ 1291258 h 7308446"/>
              <a:gd name="connsiteX969" fmla="*/ 3163250 w 9012328"/>
              <a:gd name="connsiteY969" fmla="*/ 1296871 h 7308446"/>
              <a:gd name="connsiteX970" fmla="*/ 3109502 w 9012328"/>
              <a:gd name="connsiteY970" fmla="*/ 1298760 h 7308446"/>
              <a:gd name="connsiteX971" fmla="*/ 3109502 w 9012328"/>
              <a:gd name="connsiteY971" fmla="*/ 1201938 h 7308446"/>
              <a:gd name="connsiteX972" fmla="*/ 3159187 w 9012328"/>
              <a:gd name="connsiteY972" fmla="*/ 1199705 h 7308446"/>
              <a:gd name="connsiteX973" fmla="*/ 3204108 w 9012328"/>
              <a:gd name="connsiteY973" fmla="*/ 1193084 h 7308446"/>
              <a:gd name="connsiteX974" fmla="*/ 3244491 w 9012328"/>
              <a:gd name="connsiteY974" fmla="*/ 1182195 h 7308446"/>
              <a:gd name="connsiteX975" fmla="*/ 3280562 w 9012328"/>
              <a:gd name="connsiteY975" fmla="*/ 1167155 h 7308446"/>
              <a:gd name="connsiteX976" fmla="*/ 3340673 w 9012328"/>
              <a:gd name="connsiteY976" fmla="*/ 1125095 h 7308446"/>
              <a:gd name="connsiteX977" fmla="*/ 3386253 w 9012328"/>
              <a:gd name="connsiteY977" fmla="*/ 1067851 h 7308446"/>
              <a:gd name="connsiteX978" fmla="*/ 3404158 w 9012328"/>
              <a:gd name="connsiteY978" fmla="*/ 1033830 h 7308446"/>
              <a:gd name="connsiteX979" fmla="*/ 3419110 w 9012328"/>
              <a:gd name="connsiteY979" fmla="*/ 996369 h 7308446"/>
              <a:gd name="connsiteX980" fmla="*/ 3431334 w 9012328"/>
              <a:gd name="connsiteY980" fmla="*/ 955584 h 7308446"/>
              <a:gd name="connsiteX981" fmla="*/ 3441057 w 9012328"/>
              <a:gd name="connsiteY981" fmla="*/ 911594 h 7308446"/>
              <a:gd name="connsiteX982" fmla="*/ 3448504 w 9012328"/>
              <a:gd name="connsiteY982" fmla="*/ 864517 h 7308446"/>
              <a:gd name="connsiteX983" fmla="*/ 3453903 w 9012328"/>
              <a:gd name="connsiteY983" fmla="*/ 814473 h 7308446"/>
              <a:gd name="connsiteX984" fmla="*/ 3457479 w 9012328"/>
              <a:gd name="connsiteY984" fmla="*/ 761578 h 7308446"/>
              <a:gd name="connsiteX985" fmla="*/ 3459458 w 9012328"/>
              <a:gd name="connsiteY985" fmla="*/ 705951 h 7308446"/>
              <a:gd name="connsiteX986" fmla="*/ 3460068 w 9012328"/>
              <a:gd name="connsiteY986" fmla="*/ 647711 h 7308446"/>
              <a:gd name="connsiteX987" fmla="*/ 3459426 w 9012328"/>
              <a:gd name="connsiteY987" fmla="*/ 590042 h 7308446"/>
              <a:gd name="connsiteX988" fmla="*/ 3457356 w 9012328"/>
              <a:gd name="connsiteY988" fmla="*/ 534953 h 7308446"/>
              <a:gd name="connsiteX989" fmla="*/ 3453646 w 9012328"/>
              <a:gd name="connsiteY989" fmla="*/ 482560 h 7308446"/>
              <a:gd name="connsiteX990" fmla="*/ 3448080 w 9012328"/>
              <a:gd name="connsiteY990" fmla="*/ 432984 h 7308446"/>
              <a:gd name="connsiteX991" fmla="*/ 3440445 w 9012328"/>
              <a:gd name="connsiteY991" fmla="*/ 386340 h 7308446"/>
              <a:gd name="connsiteX992" fmla="*/ 3430527 w 9012328"/>
              <a:gd name="connsiteY992" fmla="*/ 342749 h 7308446"/>
              <a:gd name="connsiteX993" fmla="*/ 3418111 w 9012328"/>
              <a:gd name="connsiteY993" fmla="*/ 302328 h 7308446"/>
              <a:gd name="connsiteX994" fmla="*/ 3402984 w 9012328"/>
              <a:gd name="connsiteY994" fmla="*/ 265196 h 7308446"/>
              <a:gd name="connsiteX995" fmla="*/ 3384931 w 9012328"/>
              <a:gd name="connsiteY995" fmla="*/ 231470 h 7308446"/>
              <a:gd name="connsiteX996" fmla="*/ 3339193 w 9012328"/>
              <a:gd name="connsiteY996" fmla="*/ 174711 h 7308446"/>
              <a:gd name="connsiteX997" fmla="*/ 3279183 w 9012328"/>
              <a:gd name="connsiteY997" fmla="*/ 132998 h 7308446"/>
              <a:gd name="connsiteX998" fmla="*/ 3243291 w 9012328"/>
              <a:gd name="connsiteY998" fmla="*/ 118079 h 7308446"/>
              <a:gd name="connsiteX999" fmla="*/ 3203191 w 9012328"/>
              <a:gd name="connsiteY999" fmla="*/ 107276 h 7308446"/>
              <a:gd name="connsiteX1000" fmla="*/ 3158665 w 9012328"/>
              <a:gd name="connsiteY1000" fmla="*/ 100708 h 7308446"/>
              <a:gd name="connsiteX1001" fmla="*/ 3109502 w 9012328"/>
              <a:gd name="connsiteY1001" fmla="*/ 98492 h 7308446"/>
              <a:gd name="connsiteX1002" fmla="*/ 3017637 w 9012328"/>
              <a:gd name="connsiteY1002" fmla="*/ 0 h 7308446"/>
              <a:gd name="connsiteX1003" fmla="*/ 3017637 w 9012328"/>
              <a:gd name="connsiteY1003" fmla="*/ 98492 h 7308446"/>
              <a:gd name="connsiteX1004" fmla="*/ 2968752 w 9012328"/>
              <a:gd name="connsiteY1004" fmla="*/ 100708 h 7308446"/>
              <a:gd name="connsiteX1005" fmla="*/ 2924471 w 9012328"/>
              <a:gd name="connsiteY1005" fmla="*/ 107277 h 7308446"/>
              <a:gd name="connsiteX1006" fmla="*/ 2884585 w 9012328"/>
              <a:gd name="connsiteY1006" fmla="*/ 118079 h 7308446"/>
              <a:gd name="connsiteX1007" fmla="*/ 2848878 w 9012328"/>
              <a:gd name="connsiteY1007" fmla="*/ 132998 h 7308446"/>
              <a:gd name="connsiteX1008" fmla="*/ 2789164 w 9012328"/>
              <a:gd name="connsiteY1008" fmla="*/ 174711 h 7308446"/>
              <a:gd name="connsiteX1009" fmla="*/ 2743630 w 9012328"/>
              <a:gd name="connsiteY1009" fmla="*/ 231470 h 7308446"/>
              <a:gd name="connsiteX1010" fmla="*/ 2725650 w 9012328"/>
              <a:gd name="connsiteY1010" fmla="*/ 265196 h 7308446"/>
              <a:gd name="connsiteX1011" fmla="*/ 2710579 w 9012328"/>
              <a:gd name="connsiteY1011" fmla="*/ 302328 h 7308446"/>
              <a:gd name="connsiteX1012" fmla="*/ 2698207 w 9012328"/>
              <a:gd name="connsiteY1012" fmla="*/ 342749 h 7308446"/>
              <a:gd name="connsiteX1013" fmla="*/ 2688320 w 9012328"/>
              <a:gd name="connsiteY1013" fmla="*/ 386340 h 7308446"/>
              <a:gd name="connsiteX1014" fmla="*/ 2680706 w 9012328"/>
              <a:gd name="connsiteY1014" fmla="*/ 432984 h 7308446"/>
              <a:gd name="connsiteX1015" fmla="*/ 2675153 w 9012328"/>
              <a:gd name="connsiteY1015" fmla="*/ 482561 h 7308446"/>
              <a:gd name="connsiteX1016" fmla="*/ 2671448 w 9012328"/>
              <a:gd name="connsiteY1016" fmla="*/ 534953 h 7308446"/>
              <a:gd name="connsiteX1017" fmla="*/ 2669382 w 9012328"/>
              <a:gd name="connsiteY1017" fmla="*/ 590042 h 7308446"/>
              <a:gd name="connsiteX1018" fmla="*/ 2668740 w 9012328"/>
              <a:gd name="connsiteY1018" fmla="*/ 647711 h 7308446"/>
              <a:gd name="connsiteX1019" fmla="*/ 2669365 w 9012328"/>
              <a:gd name="connsiteY1019" fmla="*/ 705951 h 7308446"/>
              <a:gd name="connsiteX1020" fmla="*/ 2671388 w 9012328"/>
              <a:gd name="connsiteY1020" fmla="*/ 761578 h 7308446"/>
              <a:gd name="connsiteX1021" fmla="*/ 2675025 w 9012328"/>
              <a:gd name="connsiteY1021" fmla="*/ 814473 h 7308446"/>
              <a:gd name="connsiteX1022" fmla="*/ 2680494 w 9012328"/>
              <a:gd name="connsiteY1022" fmla="*/ 864517 h 7308446"/>
              <a:gd name="connsiteX1023" fmla="*/ 2688015 w 9012328"/>
              <a:gd name="connsiteY1023" fmla="*/ 911594 h 7308446"/>
              <a:gd name="connsiteX1024" fmla="*/ 2697803 w 9012328"/>
              <a:gd name="connsiteY1024" fmla="*/ 955584 h 7308446"/>
              <a:gd name="connsiteX1025" fmla="*/ 2710081 w 9012328"/>
              <a:gd name="connsiteY1025" fmla="*/ 996369 h 7308446"/>
              <a:gd name="connsiteX1026" fmla="*/ 2725063 w 9012328"/>
              <a:gd name="connsiteY1026" fmla="*/ 1033830 h 7308446"/>
              <a:gd name="connsiteX1027" fmla="*/ 2742969 w 9012328"/>
              <a:gd name="connsiteY1027" fmla="*/ 1067851 h 7308446"/>
              <a:gd name="connsiteX1028" fmla="*/ 2788423 w 9012328"/>
              <a:gd name="connsiteY1028" fmla="*/ 1125095 h 7308446"/>
              <a:gd name="connsiteX1029" fmla="*/ 2848189 w 9012328"/>
              <a:gd name="connsiteY1029" fmla="*/ 1167155 h 7308446"/>
              <a:gd name="connsiteX1030" fmla="*/ 2883984 w 9012328"/>
              <a:gd name="connsiteY1030" fmla="*/ 1182195 h 7308446"/>
              <a:gd name="connsiteX1031" fmla="*/ 2924012 w 9012328"/>
              <a:gd name="connsiteY1031" fmla="*/ 1193084 h 7308446"/>
              <a:gd name="connsiteX1032" fmla="*/ 2968491 w 9012328"/>
              <a:gd name="connsiteY1032" fmla="*/ 1199705 h 7308446"/>
              <a:gd name="connsiteX1033" fmla="*/ 3017637 w 9012328"/>
              <a:gd name="connsiteY1033" fmla="*/ 1201938 h 7308446"/>
              <a:gd name="connsiteX1034" fmla="*/ 3017637 w 9012328"/>
              <a:gd name="connsiteY1034" fmla="*/ 1298760 h 7308446"/>
              <a:gd name="connsiteX1035" fmla="*/ 2964115 w 9012328"/>
              <a:gd name="connsiteY1035" fmla="*/ 1296871 h 7308446"/>
              <a:gd name="connsiteX1036" fmla="*/ 2914634 w 9012328"/>
              <a:gd name="connsiteY1036" fmla="*/ 1291258 h 7308446"/>
              <a:gd name="connsiteX1037" fmla="*/ 2869056 w 9012328"/>
              <a:gd name="connsiteY1037" fmla="*/ 1282004 h 7308446"/>
              <a:gd name="connsiteX1038" fmla="*/ 2827236 w 9012328"/>
              <a:gd name="connsiteY1038" fmla="*/ 1269193 h 7308446"/>
              <a:gd name="connsiteX1039" fmla="*/ 2789039 w 9012328"/>
              <a:gd name="connsiteY1039" fmla="*/ 1252905 h 7308446"/>
              <a:gd name="connsiteX1040" fmla="*/ 2754322 w 9012328"/>
              <a:gd name="connsiteY1040" fmla="*/ 1233224 h 7308446"/>
              <a:gd name="connsiteX1041" fmla="*/ 2722946 w 9012328"/>
              <a:gd name="connsiteY1041" fmla="*/ 1210234 h 7308446"/>
              <a:gd name="connsiteX1042" fmla="*/ 2694770 w 9012328"/>
              <a:gd name="connsiteY1042" fmla="*/ 1184015 h 7308446"/>
              <a:gd name="connsiteX1043" fmla="*/ 2669653 w 9012328"/>
              <a:gd name="connsiteY1043" fmla="*/ 1154652 h 7308446"/>
              <a:gd name="connsiteX1044" fmla="*/ 2647457 w 9012328"/>
              <a:gd name="connsiteY1044" fmla="*/ 1122226 h 7308446"/>
              <a:gd name="connsiteX1045" fmla="*/ 2628039 w 9012328"/>
              <a:gd name="connsiteY1045" fmla="*/ 1086820 h 7308446"/>
              <a:gd name="connsiteX1046" fmla="*/ 2611262 w 9012328"/>
              <a:gd name="connsiteY1046" fmla="*/ 1048517 h 7308446"/>
              <a:gd name="connsiteX1047" fmla="*/ 2596982 w 9012328"/>
              <a:gd name="connsiteY1047" fmla="*/ 1007399 h 7308446"/>
              <a:gd name="connsiteX1048" fmla="*/ 2585062 w 9012328"/>
              <a:gd name="connsiteY1048" fmla="*/ 963550 h 7308446"/>
              <a:gd name="connsiteX1049" fmla="*/ 2575361 w 9012328"/>
              <a:gd name="connsiteY1049" fmla="*/ 917051 h 7308446"/>
              <a:gd name="connsiteX1050" fmla="*/ 2567737 w 9012328"/>
              <a:gd name="connsiteY1050" fmla="*/ 867986 h 7308446"/>
              <a:gd name="connsiteX1051" fmla="*/ 2562052 w 9012328"/>
              <a:gd name="connsiteY1051" fmla="*/ 816436 h 7308446"/>
              <a:gd name="connsiteX1052" fmla="*/ 2558166 w 9012328"/>
              <a:gd name="connsiteY1052" fmla="*/ 762486 h 7308446"/>
              <a:gd name="connsiteX1053" fmla="*/ 2555936 w 9012328"/>
              <a:gd name="connsiteY1053" fmla="*/ 706216 h 7308446"/>
              <a:gd name="connsiteX1054" fmla="*/ 2555225 w 9012328"/>
              <a:gd name="connsiteY1054" fmla="*/ 647711 h 7308446"/>
              <a:gd name="connsiteX1055" fmla="*/ 2555961 w 9012328"/>
              <a:gd name="connsiteY1055" fmla="*/ 589455 h 7308446"/>
              <a:gd name="connsiteX1056" fmla="*/ 2558256 w 9012328"/>
              <a:gd name="connsiteY1056" fmla="*/ 533435 h 7308446"/>
              <a:gd name="connsiteX1057" fmla="*/ 2562245 w 9012328"/>
              <a:gd name="connsiteY1057" fmla="*/ 479730 h 7308446"/>
              <a:gd name="connsiteX1058" fmla="*/ 2568057 w 9012328"/>
              <a:gd name="connsiteY1058" fmla="*/ 428424 h 7308446"/>
              <a:gd name="connsiteX1059" fmla="*/ 2575830 w 9012328"/>
              <a:gd name="connsiteY1059" fmla="*/ 379596 h 7308446"/>
              <a:gd name="connsiteX1060" fmla="*/ 2585694 w 9012328"/>
              <a:gd name="connsiteY1060" fmla="*/ 333329 h 7308446"/>
              <a:gd name="connsiteX1061" fmla="*/ 2597780 w 9012328"/>
              <a:gd name="connsiteY1061" fmla="*/ 289703 h 7308446"/>
              <a:gd name="connsiteX1062" fmla="*/ 2612222 w 9012328"/>
              <a:gd name="connsiteY1062" fmla="*/ 248801 h 7308446"/>
              <a:gd name="connsiteX1063" fmla="*/ 2629156 w 9012328"/>
              <a:gd name="connsiteY1063" fmla="*/ 210703 h 7308446"/>
              <a:gd name="connsiteX1064" fmla="*/ 2648708 w 9012328"/>
              <a:gd name="connsiteY1064" fmla="*/ 175491 h 7308446"/>
              <a:gd name="connsiteX1065" fmla="*/ 2671016 w 9012328"/>
              <a:gd name="connsiteY1065" fmla="*/ 143246 h 7308446"/>
              <a:gd name="connsiteX1066" fmla="*/ 2696212 w 9012328"/>
              <a:gd name="connsiteY1066" fmla="*/ 114050 h 7308446"/>
              <a:gd name="connsiteX1067" fmla="*/ 2724427 w 9012328"/>
              <a:gd name="connsiteY1067" fmla="*/ 87984 h 7308446"/>
              <a:gd name="connsiteX1068" fmla="*/ 2755794 w 9012328"/>
              <a:gd name="connsiteY1068" fmla="*/ 65130 h 7308446"/>
              <a:gd name="connsiteX1069" fmla="*/ 2790448 w 9012328"/>
              <a:gd name="connsiteY1069" fmla="*/ 45569 h 7308446"/>
              <a:gd name="connsiteX1070" fmla="*/ 2828518 w 9012328"/>
              <a:gd name="connsiteY1070" fmla="*/ 29382 h 7308446"/>
              <a:gd name="connsiteX1071" fmla="*/ 2870141 w 9012328"/>
              <a:gd name="connsiteY1071" fmla="*/ 16649 h 7308446"/>
              <a:gd name="connsiteX1072" fmla="*/ 2915445 w 9012328"/>
              <a:gd name="connsiteY1072" fmla="*/ 7455 h 7308446"/>
              <a:gd name="connsiteX1073" fmla="*/ 2964567 w 9012328"/>
              <a:gd name="connsiteY1073" fmla="*/ 1877 h 730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Lst>
            <a:rect l="l" t="t" r="r" b="b"/>
            <a:pathLst>
              <a:path w="9012328" h="7308446">
                <a:moveTo>
                  <a:pt x="6351898" y="7031333"/>
                </a:moveTo>
                <a:lnTo>
                  <a:pt x="6558899" y="7031333"/>
                </a:lnTo>
                <a:lnTo>
                  <a:pt x="6558899" y="7204946"/>
                </a:lnTo>
                <a:lnTo>
                  <a:pt x="6351898" y="7204946"/>
                </a:lnTo>
                <a:close/>
                <a:moveTo>
                  <a:pt x="3333905" y="6881094"/>
                </a:moveTo>
                <a:lnTo>
                  <a:pt x="4238693" y="6881094"/>
                </a:lnTo>
                <a:lnTo>
                  <a:pt x="4238693" y="6987931"/>
                </a:lnTo>
                <a:lnTo>
                  <a:pt x="3333905" y="6987931"/>
                </a:lnTo>
                <a:close/>
                <a:moveTo>
                  <a:pt x="3333905" y="6532197"/>
                </a:moveTo>
                <a:lnTo>
                  <a:pt x="4238693" y="6532197"/>
                </a:lnTo>
                <a:lnTo>
                  <a:pt x="4238693" y="6639034"/>
                </a:lnTo>
                <a:lnTo>
                  <a:pt x="3333905" y="6639034"/>
                </a:lnTo>
                <a:close/>
                <a:moveTo>
                  <a:pt x="5357969" y="6016022"/>
                </a:moveTo>
                <a:lnTo>
                  <a:pt x="5731908" y="6016022"/>
                </a:lnTo>
                <a:lnTo>
                  <a:pt x="5731908" y="6111272"/>
                </a:lnTo>
                <a:lnTo>
                  <a:pt x="5731908" y="7209822"/>
                </a:lnTo>
                <a:lnTo>
                  <a:pt x="5731908" y="7305072"/>
                </a:lnTo>
                <a:lnTo>
                  <a:pt x="5357969" y="7305072"/>
                </a:lnTo>
                <a:lnTo>
                  <a:pt x="5357969" y="7209822"/>
                </a:lnTo>
                <a:lnTo>
                  <a:pt x="5616719" y="7209822"/>
                </a:lnTo>
                <a:lnTo>
                  <a:pt x="5616719" y="6111272"/>
                </a:lnTo>
                <a:lnTo>
                  <a:pt x="5357969" y="6111272"/>
                </a:lnTo>
                <a:close/>
                <a:moveTo>
                  <a:pt x="4884222" y="6016022"/>
                </a:moveTo>
                <a:lnTo>
                  <a:pt x="5258161" y="6016022"/>
                </a:lnTo>
                <a:lnTo>
                  <a:pt x="5258161" y="6111272"/>
                </a:lnTo>
                <a:lnTo>
                  <a:pt x="4999412" y="6111272"/>
                </a:lnTo>
                <a:lnTo>
                  <a:pt x="4999412" y="7209822"/>
                </a:lnTo>
                <a:lnTo>
                  <a:pt x="5258161" y="7209822"/>
                </a:lnTo>
                <a:lnTo>
                  <a:pt x="5258161" y="7305072"/>
                </a:lnTo>
                <a:lnTo>
                  <a:pt x="4884222" y="7305072"/>
                </a:lnTo>
                <a:lnTo>
                  <a:pt x="4884222" y="7209822"/>
                </a:lnTo>
                <a:lnTo>
                  <a:pt x="4884222" y="6111272"/>
                </a:lnTo>
                <a:close/>
                <a:moveTo>
                  <a:pt x="8549915" y="6009685"/>
                </a:moveTo>
                <a:lnTo>
                  <a:pt x="8602985" y="6011561"/>
                </a:lnTo>
                <a:lnTo>
                  <a:pt x="8652106" y="6017138"/>
                </a:lnTo>
                <a:lnTo>
                  <a:pt x="8697411" y="6026333"/>
                </a:lnTo>
                <a:lnTo>
                  <a:pt x="8739033" y="6039065"/>
                </a:lnTo>
                <a:lnTo>
                  <a:pt x="8777104" y="6055253"/>
                </a:lnTo>
                <a:lnTo>
                  <a:pt x="8811757" y="6074814"/>
                </a:lnTo>
                <a:lnTo>
                  <a:pt x="8843125" y="6097669"/>
                </a:lnTo>
                <a:lnTo>
                  <a:pt x="8871340" y="6123735"/>
                </a:lnTo>
                <a:lnTo>
                  <a:pt x="8896535" y="6152931"/>
                </a:lnTo>
                <a:lnTo>
                  <a:pt x="8918843" y="6185176"/>
                </a:lnTo>
                <a:lnTo>
                  <a:pt x="8938397" y="6220388"/>
                </a:lnTo>
                <a:lnTo>
                  <a:pt x="8955329" y="6258486"/>
                </a:lnTo>
                <a:lnTo>
                  <a:pt x="8969772" y="6299388"/>
                </a:lnTo>
                <a:lnTo>
                  <a:pt x="8981858" y="6343014"/>
                </a:lnTo>
                <a:lnTo>
                  <a:pt x="8991721" y="6389281"/>
                </a:lnTo>
                <a:lnTo>
                  <a:pt x="8999494" y="6438109"/>
                </a:lnTo>
                <a:lnTo>
                  <a:pt x="9005308" y="6489415"/>
                </a:lnTo>
                <a:lnTo>
                  <a:pt x="9009296" y="6543120"/>
                </a:lnTo>
                <a:lnTo>
                  <a:pt x="9011592" y="6599140"/>
                </a:lnTo>
                <a:lnTo>
                  <a:pt x="9012328" y="6657396"/>
                </a:lnTo>
                <a:lnTo>
                  <a:pt x="9011628" y="6715902"/>
                </a:lnTo>
                <a:lnTo>
                  <a:pt x="9009431" y="6772172"/>
                </a:lnTo>
                <a:lnTo>
                  <a:pt x="9005595" y="6826122"/>
                </a:lnTo>
                <a:lnTo>
                  <a:pt x="8999974" y="6877672"/>
                </a:lnTo>
                <a:lnTo>
                  <a:pt x="8992426" y="6926737"/>
                </a:lnTo>
                <a:lnTo>
                  <a:pt x="8982805" y="6973236"/>
                </a:lnTo>
                <a:lnTo>
                  <a:pt x="8970968" y="7017085"/>
                </a:lnTo>
                <a:lnTo>
                  <a:pt x="8956771" y="7058203"/>
                </a:lnTo>
                <a:lnTo>
                  <a:pt x="8940070" y="7096506"/>
                </a:lnTo>
                <a:lnTo>
                  <a:pt x="8920721" y="7131912"/>
                </a:lnTo>
                <a:lnTo>
                  <a:pt x="8898580" y="7164338"/>
                </a:lnTo>
                <a:lnTo>
                  <a:pt x="8873503" y="7193701"/>
                </a:lnTo>
                <a:lnTo>
                  <a:pt x="8845346" y="7219920"/>
                </a:lnTo>
                <a:lnTo>
                  <a:pt x="8813966" y="7242910"/>
                </a:lnTo>
                <a:lnTo>
                  <a:pt x="8779217" y="7262591"/>
                </a:lnTo>
                <a:lnTo>
                  <a:pt x="8740956" y="7278878"/>
                </a:lnTo>
                <a:lnTo>
                  <a:pt x="8699039" y="7291690"/>
                </a:lnTo>
                <a:lnTo>
                  <a:pt x="8653323" y="7300944"/>
                </a:lnTo>
                <a:lnTo>
                  <a:pt x="8603663" y="7306557"/>
                </a:lnTo>
                <a:lnTo>
                  <a:pt x="8549915" y="7308446"/>
                </a:lnTo>
                <a:lnTo>
                  <a:pt x="8549915" y="7211624"/>
                </a:lnTo>
                <a:lnTo>
                  <a:pt x="8599600" y="7209391"/>
                </a:lnTo>
                <a:lnTo>
                  <a:pt x="8644521" y="7202770"/>
                </a:lnTo>
                <a:lnTo>
                  <a:pt x="8684903" y="7191881"/>
                </a:lnTo>
                <a:lnTo>
                  <a:pt x="8720974" y="7176841"/>
                </a:lnTo>
                <a:lnTo>
                  <a:pt x="8781085" y="7134781"/>
                </a:lnTo>
                <a:lnTo>
                  <a:pt x="8826665" y="7077537"/>
                </a:lnTo>
                <a:lnTo>
                  <a:pt x="8844570" y="7043516"/>
                </a:lnTo>
                <a:lnTo>
                  <a:pt x="8859522" y="7006054"/>
                </a:lnTo>
                <a:lnTo>
                  <a:pt x="8871746" y="6965269"/>
                </a:lnTo>
                <a:lnTo>
                  <a:pt x="8881469" y="6921279"/>
                </a:lnTo>
                <a:lnTo>
                  <a:pt x="8888916" y="6874203"/>
                </a:lnTo>
                <a:lnTo>
                  <a:pt x="8894315" y="6824158"/>
                </a:lnTo>
                <a:lnTo>
                  <a:pt x="8897891" y="6771263"/>
                </a:lnTo>
                <a:lnTo>
                  <a:pt x="8899870" y="6715637"/>
                </a:lnTo>
                <a:lnTo>
                  <a:pt x="8900480" y="6657396"/>
                </a:lnTo>
                <a:lnTo>
                  <a:pt x="8899838" y="6599727"/>
                </a:lnTo>
                <a:lnTo>
                  <a:pt x="8897768" y="6544638"/>
                </a:lnTo>
                <a:lnTo>
                  <a:pt x="8894058" y="6492245"/>
                </a:lnTo>
                <a:lnTo>
                  <a:pt x="8888492" y="6442669"/>
                </a:lnTo>
                <a:lnTo>
                  <a:pt x="8880857" y="6396025"/>
                </a:lnTo>
                <a:lnTo>
                  <a:pt x="8870939" y="6352434"/>
                </a:lnTo>
                <a:lnTo>
                  <a:pt x="8858523" y="6312013"/>
                </a:lnTo>
                <a:lnTo>
                  <a:pt x="8843396" y="6274881"/>
                </a:lnTo>
                <a:lnTo>
                  <a:pt x="8825343" y="6241155"/>
                </a:lnTo>
                <a:lnTo>
                  <a:pt x="8779605" y="6184396"/>
                </a:lnTo>
                <a:lnTo>
                  <a:pt x="8719596" y="6142683"/>
                </a:lnTo>
                <a:lnTo>
                  <a:pt x="8683704" y="6127764"/>
                </a:lnTo>
                <a:lnTo>
                  <a:pt x="8643603" y="6116961"/>
                </a:lnTo>
                <a:lnTo>
                  <a:pt x="8599078" y="6110393"/>
                </a:lnTo>
                <a:lnTo>
                  <a:pt x="8549915" y="6108177"/>
                </a:lnTo>
                <a:close/>
                <a:moveTo>
                  <a:pt x="8458035" y="6009685"/>
                </a:moveTo>
                <a:lnTo>
                  <a:pt x="8458035" y="6108177"/>
                </a:lnTo>
                <a:lnTo>
                  <a:pt x="8409149" y="6110393"/>
                </a:lnTo>
                <a:lnTo>
                  <a:pt x="8364868" y="6116961"/>
                </a:lnTo>
                <a:lnTo>
                  <a:pt x="8324982" y="6127764"/>
                </a:lnTo>
                <a:lnTo>
                  <a:pt x="8289276" y="6142683"/>
                </a:lnTo>
                <a:lnTo>
                  <a:pt x="8229561" y="6184396"/>
                </a:lnTo>
                <a:lnTo>
                  <a:pt x="8184027" y="6241155"/>
                </a:lnTo>
                <a:lnTo>
                  <a:pt x="8166048" y="6274881"/>
                </a:lnTo>
                <a:lnTo>
                  <a:pt x="8150978" y="6312013"/>
                </a:lnTo>
                <a:lnTo>
                  <a:pt x="8138606" y="6352434"/>
                </a:lnTo>
                <a:lnTo>
                  <a:pt x="8128718" y="6396025"/>
                </a:lnTo>
                <a:lnTo>
                  <a:pt x="8121104" y="6442669"/>
                </a:lnTo>
                <a:lnTo>
                  <a:pt x="8115551" y="6492245"/>
                </a:lnTo>
                <a:lnTo>
                  <a:pt x="8111847" y="6544638"/>
                </a:lnTo>
                <a:lnTo>
                  <a:pt x="8109780" y="6599727"/>
                </a:lnTo>
                <a:lnTo>
                  <a:pt x="8109138" y="6657396"/>
                </a:lnTo>
                <a:lnTo>
                  <a:pt x="8109764" y="6715637"/>
                </a:lnTo>
                <a:lnTo>
                  <a:pt x="8111786" y="6771263"/>
                </a:lnTo>
                <a:lnTo>
                  <a:pt x="8115423" y="6824158"/>
                </a:lnTo>
                <a:lnTo>
                  <a:pt x="8120892" y="6874203"/>
                </a:lnTo>
                <a:lnTo>
                  <a:pt x="8128413" y="6921279"/>
                </a:lnTo>
                <a:lnTo>
                  <a:pt x="8138202" y="6965269"/>
                </a:lnTo>
                <a:lnTo>
                  <a:pt x="8150479" y="7006054"/>
                </a:lnTo>
                <a:lnTo>
                  <a:pt x="8165461" y="7043516"/>
                </a:lnTo>
                <a:lnTo>
                  <a:pt x="8183367" y="7077537"/>
                </a:lnTo>
                <a:lnTo>
                  <a:pt x="8228821" y="7134781"/>
                </a:lnTo>
                <a:lnTo>
                  <a:pt x="8288587" y="7176841"/>
                </a:lnTo>
                <a:lnTo>
                  <a:pt x="8324382" y="7191881"/>
                </a:lnTo>
                <a:lnTo>
                  <a:pt x="8364410" y="7202770"/>
                </a:lnTo>
                <a:lnTo>
                  <a:pt x="8408888" y="7209391"/>
                </a:lnTo>
                <a:lnTo>
                  <a:pt x="8458035" y="7211624"/>
                </a:lnTo>
                <a:lnTo>
                  <a:pt x="8458035" y="7308446"/>
                </a:lnTo>
                <a:lnTo>
                  <a:pt x="8404513" y="7306557"/>
                </a:lnTo>
                <a:lnTo>
                  <a:pt x="8355032" y="7300944"/>
                </a:lnTo>
                <a:lnTo>
                  <a:pt x="8309453" y="7291690"/>
                </a:lnTo>
                <a:lnTo>
                  <a:pt x="8267634" y="7278878"/>
                </a:lnTo>
                <a:lnTo>
                  <a:pt x="8229437" y="7262591"/>
                </a:lnTo>
                <a:lnTo>
                  <a:pt x="8194720" y="7242910"/>
                </a:lnTo>
                <a:lnTo>
                  <a:pt x="8163344" y="7219920"/>
                </a:lnTo>
                <a:lnTo>
                  <a:pt x="8135168" y="7193701"/>
                </a:lnTo>
                <a:lnTo>
                  <a:pt x="8110051" y="7164338"/>
                </a:lnTo>
                <a:lnTo>
                  <a:pt x="8087855" y="7131912"/>
                </a:lnTo>
                <a:lnTo>
                  <a:pt x="8068437" y="7096506"/>
                </a:lnTo>
                <a:lnTo>
                  <a:pt x="8051660" y="7058203"/>
                </a:lnTo>
                <a:lnTo>
                  <a:pt x="8037381" y="7017085"/>
                </a:lnTo>
                <a:lnTo>
                  <a:pt x="8025461" y="6973236"/>
                </a:lnTo>
                <a:lnTo>
                  <a:pt x="8015759" y="6926737"/>
                </a:lnTo>
                <a:lnTo>
                  <a:pt x="8008136" y="6877672"/>
                </a:lnTo>
                <a:lnTo>
                  <a:pt x="8002451" y="6826122"/>
                </a:lnTo>
                <a:lnTo>
                  <a:pt x="7998564" y="6772172"/>
                </a:lnTo>
                <a:lnTo>
                  <a:pt x="7996334" y="6715902"/>
                </a:lnTo>
                <a:lnTo>
                  <a:pt x="7995623" y="6657396"/>
                </a:lnTo>
                <a:lnTo>
                  <a:pt x="7996358" y="6599140"/>
                </a:lnTo>
                <a:lnTo>
                  <a:pt x="7998654" y="6543120"/>
                </a:lnTo>
                <a:lnTo>
                  <a:pt x="8002643" y="6489415"/>
                </a:lnTo>
                <a:lnTo>
                  <a:pt x="8008456" y="6438109"/>
                </a:lnTo>
                <a:lnTo>
                  <a:pt x="8016229" y="6389281"/>
                </a:lnTo>
                <a:lnTo>
                  <a:pt x="8026092" y="6343014"/>
                </a:lnTo>
                <a:lnTo>
                  <a:pt x="8038178" y="6299388"/>
                </a:lnTo>
                <a:lnTo>
                  <a:pt x="8052621" y="6258486"/>
                </a:lnTo>
                <a:lnTo>
                  <a:pt x="8069553" y="6220388"/>
                </a:lnTo>
                <a:lnTo>
                  <a:pt x="8089106" y="6185176"/>
                </a:lnTo>
                <a:lnTo>
                  <a:pt x="8111414" y="6152931"/>
                </a:lnTo>
                <a:lnTo>
                  <a:pt x="8136610" y="6123735"/>
                </a:lnTo>
                <a:lnTo>
                  <a:pt x="8164825" y="6097669"/>
                </a:lnTo>
                <a:lnTo>
                  <a:pt x="8196192" y="6074814"/>
                </a:lnTo>
                <a:lnTo>
                  <a:pt x="8230845" y="6055253"/>
                </a:lnTo>
                <a:lnTo>
                  <a:pt x="8268916" y="6039065"/>
                </a:lnTo>
                <a:lnTo>
                  <a:pt x="8310538" y="6026333"/>
                </a:lnTo>
                <a:lnTo>
                  <a:pt x="8355843" y="6017138"/>
                </a:lnTo>
                <a:lnTo>
                  <a:pt x="8404964" y="6011561"/>
                </a:lnTo>
                <a:close/>
                <a:moveTo>
                  <a:pt x="1409388" y="6009685"/>
                </a:moveTo>
                <a:lnTo>
                  <a:pt x="1462459" y="6011561"/>
                </a:lnTo>
                <a:lnTo>
                  <a:pt x="1511579" y="6017138"/>
                </a:lnTo>
                <a:lnTo>
                  <a:pt x="1556884" y="6026333"/>
                </a:lnTo>
                <a:lnTo>
                  <a:pt x="1598508" y="6039065"/>
                </a:lnTo>
                <a:lnTo>
                  <a:pt x="1636578" y="6055253"/>
                </a:lnTo>
                <a:lnTo>
                  <a:pt x="1671231" y="6074814"/>
                </a:lnTo>
                <a:lnTo>
                  <a:pt x="1702600" y="6097669"/>
                </a:lnTo>
                <a:lnTo>
                  <a:pt x="1730815" y="6123735"/>
                </a:lnTo>
                <a:lnTo>
                  <a:pt x="1756009" y="6152931"/>
                </a:lnTo>
                <a:lnTo>
                  <a:pt x="1778317" y="6185176"/>
                </a:lnTo>
                <a:lnTo>
                  <a:pt x="1797871" y="6220388"/>
                </a:lnTo>
                <a:lnTo>
                  <a:pt x="1814804" y="6258486"/>
                </a:lnTo>
                <a:lnTo>
                  <a:pt x="1829247" y="6299388"/>
                </a:lnTo>
                <a:lnTo>
                  <a:pt x="1841333" y="6343014"/>
                </a:lnTo>
                <a:lnTo>
                  <a:pt x="1851196" y="6389281"/>
                </a:lnTo>
                <a:lnTo>
                  <a:pt x="1858969" y="6438109"/>
                </a:lnTo>
                <a:lnTo>
                  <a:pt x="1864782" y="6489415"/>
                </a:lnTo>
                <a:lnTo>
                  <a:pt x="1868770" y="6543120"/>
                </a:lnTo>
                <a:lnTo>
                  <a:pt x="1871067" y="6599140"/>
                </a:lnTo>
                <a:lnTo>
                  <a:pt x="1871802" y="6657396"/>
                </a:lnTo>
                <a:lnTo>
                  <a:pt x="1871103" y="6715902"/>
                </a:lnTo>
                <a:lnTo>
                  <a:pt x="1868906" y="6772172"/>
                </a:lnTo>
                <a:lnTo>
                  <a:pt x="1865069" y="6826122"/>
                </a:lnTo>
                <a:lnTo>
                  <a:pt x="1859448" y="6877672"/>
                </a:lnTo>
                <a:lnTo>
                  <a:pt x="1851900" y="6926737"/>
                </a:lnTo>
                <a:lnTo>
                  <a:pt x="1842280" y="6973236"/>
                </a:lnTo>
                <a:lnTo>
                  <a:pt x="1830443" y="7017085"/>
                </a:lnTo>
                <a:lnTo>
                  <a:pt x="1816246" y="7058203"/>
                </a:lnTo>
                <a:lnTo>
                  <a:pt x="1799544" y="7096506"/>
                </a:lnTo>
                <a:lnTo>
                  <a:pt x="1780195" y="7131912"/>
                </a:lnTo>
                <a:lnTo>
                  <a:pt x="1758055" y="7164338"/>
                </a:lnTo>
                <a:lnTo>
                  <a:pt x="1732977" y="7193701"/>
                </a:lnTo>
                <a:lnTo>
                  <a:pt x="1704820" y="7219920"/>
                </a:lnTo>
                <a:lnTo>
                  <a:pt x="1673440" y="7242910"/>
                </a:lnTo>
                <a:lnTo>
                  <a:pt x="1638691" y="7262591"/>
                </a:lnTo>
                <a:lnTo>
                  <a:pt x="1600431" y="7278878"/>
                </a:lnTo>
                <a:lnTo>
                  <a:pt x="1558512" y="7291690"/>
                </a:lnTo>
                <a:lnTo>
                  <a:pt x="1512797" y="7300944"/>
                </a:lnTo>
                <a:lnTo>
                  <a:pt x="1463136" y="7306557"/>
                </a:lnTo>
                <a:lnTo>
                  <a:pt x="1409388" y="7308446"/>
                </a:lnTo>
                <a:lnTo>
                  <a:pt x="1409388" y="7211624"/>
                </a:lnTo>
                <a:lnTo>
                  <a:pt x="1459074" y="7209391"/>
                </a:lnTo>
                <a:lnTo>
                  <a:pt x="1503995" y="7202770"/>
                </a:lnTo>
                <a:lnTo>
                  <a:pt x="1544377" y="7191881"/>
                </a:lnTo>
                <a:lnTo>
                  <a:pt x="1580448" y="7176841"/>
                </a:lnTo>
                <a:lnTo>
                  <a:pt x="1640559" y="7134781"/>
                </a:lnTo>
                <a:lnTo>
                  <a:pt x="1686139" y="7077537"/>
                </a:lnTo>
                <a:lnTo>
                  <a:pt x="1704044" y="7043516"/>
                </a:lnTo>
                <a:lnTo>
                  <a:pt x="1718997" y="7006054"/>
                </a:lnTo>
                <a:lnTo>
                  <a:pt x="1731220" y="6965269"/>
                </a:lnTo>
                <a:lnTo>
                  <a:pt x="1740944" y="6921279"/>
                </a:lnTo>
                <a:lnTo>
                  <a:pt x="1748390" y="6874203"/>
                </a:lnTo>
                <a:lnTo>
                  <a:pt x="1753790" y="6824158"/>
                </a:lnTo>
                <a:lnTo>
                  <a:pt x="1757366" y="6771263"/>
                </a:lnTo>
                <a:lnTo>
                  <a:pt x="1759345" y="6715637"/>
                </a:lnTo>
                <a:lnTo>
                  <a:pt x="1759955" y="6657396"/>
                </a:lnTo>
                <a:lnTo>
                  <a:pt x="1759313" y="6599727"/>
                </a:lnTo>
                <a:lnTo>
                  <a:pt x="1757242" y="6544638"/>
                </a:lnTo>
                <a:lnTo>
                  <a:pt x="1753533" y="6492245"/>
                </a:lnTo>
                <a:lnTo>
                  <a:pt x="1747967" y="6442669"/>
                </a:lnTo>
                <a:lnTo>
                  <a:pt x="1740332" y="6396025"/>
                </a:lnTo>
                <a:lnTo>
                  <a:pt x="1730413" y="6352434"/>
                </a:lnTo>
                <a:lnTo>
                  <a:pt x="1717998" y="6312013"/>
                </a:lnTo>
                <a:lnTo>
                  <a:pt x="1702871" y="6274881"/>
                </a:lnTo>
                <a:lnTo>
                  <a:pt x="1684817" y="6241155"/>
                </a:lnTo>
                <a:lnTo>
                  <a:pt x="1639079" y="6184396"/>
                </a:lnTo>
                <a:lnTo>
                  <a:pt x="1579070" y="6142683"/>
                </a:lnTo>
                <a:lnTo>
                  <a:pt x="1543178" y="6127764"/>
                </a:lnTo>
                <a:lnTo>
                  <a:pt x="1503076" y="6116961"/>
                </a:lnTo>
                <a:lnTo>
                  <a:pt x="1458551" y="6110393"/>
                </a:lnTo>
                <a:lnTo>
                  <a:pt x="1409388" y="6108177"/>
                </a:lnTo>
                <a:close/>
                <a:moveTo>
                  <a:pt x="1317509" y="6009685"/>
                </a:moveTo>
                <a:lnTo>
                  <a:pt x="1317509" y="6108177"/>
                </a:lnTo>
                <a:lnTo>
                  <a:pt x="1268623" y="6110393"/>
                </a:lnTo>
                <a:lnTo>
                  <a:pt x="1224343" y="6116961"/>
                </a:lnTo>
                <a:lnTo>
                  <a:pt x="1184456" y="6127764"/>
                </a:lnTo>
                <a:lnTo>
                  <a:pt x="1148750" y="6142683"/>
                </a:lnTo>
                <a:lnTo>
                  <a:pt x="1089035" y="6184396"/>
                </a:lnTo>
                <a:lnTo>
                  <a:pt x="1043502" y="6241155"/>
                </a:lnTo>
                <a:lnTo>
                  <a:pt x="1025523" y="6274881"/>
                </a:lnTo>
                <a:lnTo>
                  <a:pt x="1010453" y="6312013"/>
                </a:lnTo>
                <a:lnTo>
                  <a:pt x="998080" y="6352434"/>
                </a:lnTo>
                <a:lnTo>
                  <a:pt x="988193" y="6396025"/>
                </a:lnTo>
                <a:lnTo>
                  <a:pt x="980578" y="6442669"/>
                </a:lnTo>
                <a:lnTo>
                  <a:pt x="975024" y="6492245"/>
                </a:lnTo>
                <a:lnTo>
                  <a:pt x="971321" y="6544638"/>
                </a:lnTo>
                <a:lnTo>
                  <a:pt x="969254" y="6599727"/>
                </a:lnTo>
                <a:lnTo>
                  <a:pt x="968612" y="6657396"/>
                </a:lnTo>
                <a:lnTo>
                  <a:pt x="969237" y="6715637"/>
                </a:lnTo>
                <a:lnTo>
                  <a:pt x="971260" y="6771263"/>
                </a:lnTo>
                <a:lnTo>
                  <a:pt x="974897" y="6824158"/>
                </a:lnTo>
                <a:lnTo>
                  <a:pt x="980366" y="6874203"/>
                </a:lnTo>
                <a:lnTo>
                  <a:pt x="987887" y="6921279"/>
                </a:lnTo>
                <a:lnTo>
                  <a:pt x="997676" y="6965269"/>
                </a:lnTo>
                <a:lnTo>
                  <a:pt x="1009953" y="7006054"/>
                </a:lnTo>
                <a:lnTo>
                  <a:pt x="1024935" y="7043516"/>
                </a:lnTo>
                <a:lnTo>
                  <a:pt x="1042841" y="7077537"/>
                </a:lnTo>
                <a:lnTo>
                  <a:pt x="1088295" y="7134781"/>
                </a:lnTo>
                <a:lnTo>
                  <a:pt x="1148061" y="7176841"/>
                </a:lnTo>
                <a:lnTo>
                  <a:pt x="1183856" y="7191881"/>
                </a:lnTo>
                <a:lnTo>
                  <a:pt x="1223884" y="7202770"/>
                </a:lnTo>
                <a:lnTo>
                  <a:pt x="1268362" y="7209391"/>
                </a:lnTo>
                <a:lnTo>
                  <a:pt x="1317509" y="7211624"/>
                </a:lnTo>
                <a:lnTo>
                  <a:pt x="1317509" y="7308446"/>
                </a:lnTo>
                <a:lnTo>
                  <a:pt x="1263987" y="7306557"/>
                </a:lnTo>
                <a:lnTo>
                  <a:pt x="1214506" y="7300944"/>
                </a:lnTo>
                <a:lnTo>
                  <a:pt x="1168927" y="7291690"/>
                </a:lnTo>
                <a:lnTo>
                  <a:pt x="1127108" y="7278878"/>
                </a:lnTo>
                <a:lnTo>
                  <a:pt x="1088911" y="7262591"/>
                </a:lnTo>
                <a:lnTo>
                  <a:pt x="1054194" y="7242910"/>
                </a:lnTo>
                <a:lnTo>
                  <a:pt x="1022818" y="7219920"/>
                </a:lnTo>
                <a:lnTo>
                  <a:pt x="994641" y="7193701"/>
                </a:lnTo>
                <a:lnTo>
                  <a:pt x="969525" y="7164338"/>
                </a:lnTo>
                <a:lnTo>
                  <a:pt x="947329" y="7131912"/>
                </a:lnTo>
                <a:lnTo>
                  <a:pt x="927911" y="7096506"/>
                </a:lnTo>
                <a:lnTo>
                  <a:pt x="911133" y="7058203"/>
                </a:lnTo>
                <a:lnTo>
                  <a:pt x="896855" y="7017085"/>
                </a:lnTo>
                <a:lnTo>
                  <a:pt x="884935" y="6973236"/>
                </a:lnTo>
                <a:lnTo>
                  <a:pt x="875233" y="6926737"/>
                </a:lnTo>
                <a:lnTo>
                  <a:pt x="867610" y="6877672"/>
                </a:lnTo>
                <a:lnTo>
                  <a:pt x="861924" y="6826122"/>
                </a:lnTo>
                <a:lnTo>
                  <a:pt x="858037" y="6772172"/>
                </a:lnTo>
                <a:lnTo>
                  <a:pt x="855809" y="6715902"/>
                </a:lnTo>
                <a:lnTo>
                  <a:pt x="855097" y="6657396"/>
                </a:lnTo>
                <a:lnTo>
                  <a:pt x="855832" y="6599140"/>
                </a:lnTo>
                <a:lnTo>
                  <a:pt x="858128" y="6543120"/>
                </a:lnTo>
                <a:lnTo>
                  <a:pt x="862117" y="6489415"/>
                </a:lnTo>
                <a:lnTo>
                  <a:pt x="867930" y="6438109"/>
                </a:lnTo>
                <a:lnTo>
                  <a:pt x="875703" y="6389281"/>
                </a:lnTo>
                <a:lnTo>
                  <a:pt x="885565" y="6343014"/>
                </a:lnTo>
                <a:lnTo>
                  <a:pt x="897652" y="6299388"/>
                </a:lnTo>
                <a:lnTo>
                  <a:pt x="912095" y="6258486"/>
                </a:lnTo>
                <a:lnTo>
                  <a:pt x="929026" y="6220388"/>
                </a:lnTo>
                <a:lnTo>
                  <a:pt x="948580" y="6185176"/>
                </a:lnTo>
                <a:lnTo>
                  <a:pt x="970888" y="6152931"/>
                </a:lnTo>
                <a:lnTo>
                  <a:pt x="996084" y="6123735"/>
                </a:lnTo>
                <a:lnTo>
                  <a:pt x="1024299" y="6097669"/>
                </a:lnTo>
                <a:lnTo>
                  <a:pt x="1055666" y="6074814"/>
                </a:lnTo>
                <a:lnTo>
                  <a:pt x="1090319" y="6055253"/>
                </a:lnTo>
                <a:lnTo>
                  <a:pt x="1128390" y="6039065"/>
                </a:lnTo>
                <a:lnTo>
                  <a:pt x="1170012" y="6026333"/>
                </a:lnTo>
                <a:lnTo>
                  <a:pt x="1215317" y="6017138"/>
                </a:lnTo>
                <a:lnTo>
                  <a:pt x="1264438" y="6011561"/>
                </a:lnTo>
                <a:close/>
                <a:moveTo>
                  <a:pt x="505166" y="5528915"/>
                </a:moveTo>
                <a:lnTo>
                  <a:pt x="547395" y="5532593"/>
                </a:lnTo>
                <a:lnTo>
                  <a:pt x="580078" y="5545817"/>
                </a:lnTo>
                <a:lnTo>
                  <a:pt x="601179" y="5571874"/>
                </a:lnTo>
                <a:lnTo>
                  <a:pt x="608666" y="5614052"/>
                </a:lnTo>
                <a:lnTo>
                  <a:pt x="601179" y="5658159"/>
                </a:lnTo>
                <a:lnTo>
                  <a:pt x="580078" y="5685208"/>
                </a:lnTo>
                <a:lnTo>
                  <a:pt x="547395" y="5698798"/>
                </a:lnTo>
                <a:lnTo>
                  <a:pt x="505166" y="5702529"/>
                </a:lnTo>
                <a:lnTo>
                  <a:pt x="462936" y="5698798"/>
                </a:lnTo>
                <a:lnTo>
                  <a:pt x="430252" y="5685208"/>
                </a:lnTo>
                <a:lnTo>
                  <a:pt x="409151" y="5658159"/>
                </a:lnTo>
                <a:lnTo>
                  <a:pt x="401665" y="5614052"/>
                </a:lnTo>
                <a:lnTo>
                  <a:pt x="409385" y="5571874"/>
                </a:lnTo>
                <a:lnTo>
                  <a:pt x="430878" y="5545817"/>
                </a:lnTo>
                <a:lnTo>
                  <a:pt x="463640" y="5532593"/>
                </a:lnTo>
                <a:close/>
                <a:moveTo>
                  <a:pt x="2465444" y="5378664"/>
                </a:moveTo>
                <a:lnTo>
                  <a:pt x="3370236" y="5378664"/>
                </a:lnTo>
                <a:lnTo>
                  <a:pt x="3370236" y="5485502"/>
                </a:lnTo>
                <a:lnTo>
                  <a:pt x="2465444" y="5485502"/>
                </a:lnTo>
                <a:close/>
                <a:moveTo>
                  <a:pt x="2465444" y="5029768"/>
                </a:moveTo>
                <a:lnTo>
                  <a:pt x="3370236" y="5029768"/>
                </a:lnTo>
                <a:lnTo>
                  <a:pt x="3370236" y="5136606"/>
                </a:lnTo>
                <a:lnTo>
                  <a:pt x="2465444" y="5136606"/>
                </a:lnTo>
                <a:close/>
                <a:moveTo>
                  <a:pt x="505166" y="4827784"/>
                </a:moveTo>
                <a:lnTo>
                  <a:pt x="547395" y="4831253"/>
                </a:lnTo>
                <a:lnTo>
                  <a:pt x="580078" y="4844268"/>
                </a:lnTo>
                <a:lnTo>
                  <a:pt x="601179" y="4870743"/>
                </a:lnTo>
                <a:lnTo>
                  <a:pt x="608666" y="4914590"/>
                </a:lnTo>
                <a:lnTo>
                  <a:pt x="601179" y="4957028"/>
                </a:lnTo>
                <a:lnTo>
                  <a:pt x="580078" y="4983660"/>
                </a:lnTo>
                <a:lnTo>
                  <a:pt x="547395" y="4997458"/>
                </a:lnTo>
                <a:lnTo>
                  <a:pt x="505166" y="5001397"/>
                </a:lnTo>
                <a:lnTo>
                  <a:pt x="463901" y="4997458"/>
                </a:lnTo>
                <a:lnTo>
                  <a:pt x="431713" y="4983660"/>
                </a:lnTo>
                <a:lnTo>
                  <a:pt x="410794" y="4957028"/>
                </a:lnTo>
                <a:lnTo>
                  <a:pt x="403334" y="4914590"/>
                </a:lnTo>
                <a:lnTo>
                  <a:pt x="410794" y="4870743"/>
                </a:lnTo>
                <a:lnTo>
                  <a:pt x="431713" y="4844268"/>
                </a:lnTo>
                <a:lnTo>
                  <a:pt x="463901" y="4831253"/>
                </a:lnTo>
                <a:close/>
                <a:moveTo>
                  <a:pt x="4111651" y="4507266"/>
                </a:moveTo>
                <a:lnTo>
                  <a:pt x="4164721" y="4509142"/>
                </a:lnTo>
                <a:lnTo>
                  <a:pt x="4213842" y="4514719"/>
                </a:lnTo>
                <a:lnTo>
                  <a:pt x="4259148" y="4523914"/>
                </a:lnTo>
                <a:lnTo>
                  <a:pt x="4300769" y="4536646"/>
                </a:lnTo>
                <a:lnTo>
                  <a:pt x="4338840" y="4552834"/>
                </a:lnTo>
                <a:lnTo>
                  <a:pt x="4373493" y="4572395"/>
                </a:lnTo>
                <a:lnTo>
                  <a:pt x="4404861" y="4595250"/>
                </a:lnTo>
                <a:lnTo>
                  <a:pt x="4433076" y="4621316"/>
                </a:lnTo>
                <a:lnTo>
                  <a:pt x="4458271" y="4650512"/>
                </a:lnTo>
                <a:lnTo>
                  <a:pt x="4480579" y="4682757"/>
                </a:lnTo>
                <a:lnTo>
                  <a:pt x="4500133" y="4717969"/>
                </a:lnTo>
                <a:lnTo>
                  <a:pt x="4517065" y="4756067"/>
                </a:lnTo>
                <a:lnTo>
                  <a:pt x="4531508" y="4796969"/>
                </a:lnTo>
                <a:lnTo>
                  <a:pt x="4543594" y="4840595"/>
                </a:lnTo>
                <a:lnTo>
                  <a:pt x="4553457" y="4886863"/>
                </a:lnTo>
                <a:lnTo>
                  <a:pt x="4561230" y="4935691"/>
                </a:lnTo>
                <a:lnTo>
                  <a:pt x="4567043" y="4986997"/>
                </a:lnTo>
                <a:lnTo>
                  <a:pt x="4571032" y="5040702"/>
                </a:lnTo>
                <a:lnTo>
                  <a:pt x="4573328" y="5096722"/>
                </a:lnTo>
                <a:lnTo>
                  <a:pt x="4574064" y="5154978"/>
                </a:lnTo>
                <a:lnTo>
                  <a:pt x="4573364" y="5213483"/>
                </a:lnTo>
                <a:lnTo>
                  <a:pt x="4571167" y="5269753"/>
                </a:lnTo>
                <a:lnTo>
                  <a:pt x="4567331" y="5323704"/>
                </a:lnTo>
                <a:lnTo>
                  <a:pt x="4561710" y="5375253"/>
                </a:lnTo>
                <a:lnTo>
                  <a:pt x="4554162" y="5424318"/>
                </a:lnTo>
                <a:lnTo>
                  <a:pt x="4544541" y="5470817"/>
                </a:lnTo>
                <a:lnTo>
                  <a:pt x="4532704" y="5514667"/>
                </a:lnTo>
                <a:lnTo>
                  <a:pt x="4518507" y="5555784"/>
                </a:lnTo>
                <a:lnTo>
                  <a:pt x="4501806" y="5594087"/>
                </a:lnTo>
                <a:lnTo>
                  <a:pt x="4482457" y="5629493"/>
                </a:lnTo>
                <a:lnTo>
                  <a:pt x="4460316" y="5661919"/>
                </a:lnTo>
                <a:lnTo>
                  <a:pt x="4435240" y="5691283"/>
                </a:lnTo>
                <a:lnTo>
                  <a:pt x="4407083" y="5717501"/>
                </a:lnTo>
                <a:lnTo>
                  <a:pt x="4375702" y="5740492"/>
                </a:lnTo>
                <a:lnTo>
                  <a:pt x="4340953" y="5760173"/>
                </a:lnTo>
                <a:lnTo>
                  <a:pt x="4302693" y="5776460"/>
                </a:lnTo>
                <a:lnTo>
                  <a:pt x="4260776" y="5789272"/>
                </a:lnTo>
                <a:lnTo>
                  <a:pt x="4215059" y="5798526"/>
                </a:lnTo>
                <a:lnTo>
                  <a:pt x="4165399" y="5804139"/>
                </a:lnTo>
                <a:lnTo>
                  <a:pt x="4111651" y="5806028"/>
                </a:lnTo>
                <a:lnTo>
                  <a:pt x="4111651" y="5709205"/>
                </a:lnTo>
                <a:lnTo>
                  <a:pt x="4161336" y="5706972"/>
                </a:lnTo>
                <a:lnTo>
                  <a:pt x="4206256" y="5700351"/>
                </a:lnTo>
                <a:lnTo>
                  <a:pt x="4246640" y="5689462"/>
                </a:lnTo>
                <a:lnTo>
                  <a:pt x="4282711" y="5674422"/>
                </a:lnTo>
                <a:lnTo>
                  <a:pt x="4342822" y="5632362"/>
                </a:lnTo>
                <a:lnTo>
                  <a:pt x="4388401" y="5575118"/>
                </a:lnTo>
                <a:lnTo>
                  <a:pt x="4406307" y="5541097"/>
                </a:lnTo>
                <a:lnTo>
                  <a:pt x="4421259" y="5503636"/>
                </a:lnTo>
                <a:lnTo>
                  <a:pt x="4433483" y="5462851"/>
                </a:lnTo>
                <a:lnTo>
                  <a:pt x="4443206" y="5418861"/>
                </a:lnTo>
                <a:lnTo>
                  <a:pt x="4450653" y="5371784"/>
                </a:lnTo>
                <a:lnTo>
                  <a:pt x="4456052" y="5321740"/>
                </a:lnTo>
                <a:lnTo>
                  <a:pt x="4459628" y="5268845"/>
                </a:lnTo>
                <a:lnTo>
                  <a:pt x="4461607" y="5213218"/>
                </a:lnTo>
                <a:lnTo>
                  <a:pt x="4462217" y="5154978"/>
                </a:lnTo>
                <a:lnTo>
                  <a:pt x="4461575" y="5097309"/>
                </a:lnTo>
                <a:lnTo>
                  <a:pt x="4459505" y="5042220"/>
                </a:lnTo>
                <a:lnTo>
                  <a:pt x="4455795" y="4989827"/>
                </a:lnTo>
                <a:lnTo>
                  <a:pt x="4450229" y="4940251"/>
                </a:lnTo>
                <a:lnTo>
                  <a:pt x="4442594" y="4893607"/>
                </a:lnTo>
                <a:lnTo>
                  <a:pt x="4432676" y="4850015"/>
                </a:lnTo>
                <a:lnTo>
                  <a:pt x="4420260" y="4809594"/>
                </a:lnTo>
                <a:lnTo>
                  <a:pt x="4405133" y="4772462"/>
                </a:lnTo>
                <a:lnTo>
                  <a:pt x="4387080" y="4738736"/>
                </a:lnTo>
                <a:lnTo>
                  <a:pt x="4341342" y="4681977"/>
                </a:lnTo>
                <a:lnTo>
                  <a:pt x="4281333" y="4640264"/>
                </a:lnTo>
                <a:lnTo>
                  <a:pt x="4245441" y="4625345"/>
                </a:lnTo>
                <a:lnTo>
                  <a:pt x="4205339" y="4614542"/>
                </a:lnTo>
                <a:lnTo>
                  <a:pt x="4160814" y="4607974"/>
                </a:lnTo>
                <a:lnTo>
                  <a:pt x="4111651" y="4605758"/>
                </a:lnTo>
                <a:close/>
                <a:moveTo>
                  <a:pt x="4019781" y="4507266"/>
                </a:moveTo>
                <a:lnTo>
                  <a:pt x="4019781" y="4605758"/>
                </a:lnTo>
                <a:lnTo>
                  <a:pt x="3970895" y="4607974"/>
                </a:lnTo>
                <a:lnTo>
                  <a:pt x="3926615" y="4614542"/>
                </a:lnTo>
                <a:lnTo>
                  <a:pt x="3886728" y="4625345"/>
                </a:lnTo>
                <a:lnTo>
                  <a:pt x="3851022" y="4640264"/>
                </a:lnTo>
                <a:lnTo>
                  <a:pt x="3791307" y="4681977"/>
                </a:lnTo>
                <a:lnTo>
                  <a:pt x="3745774" y="4738736"/>
                </a:lnTo>
                <a:lnTo>
                  <a:pt x="3727795" y="4772462"/>
                </a:lnTo>
                <a:lnTo>
                  <a:pt x="3712725" y="4809594"/>
                </a:lnTo>
                <a:lnTo>
                  <a:pt x="3700353" y="4850015"/>
                </a:lnTo>
                <a:lnTo>
                  <a:pt x="3690465" y="4893607"/>
                </a:lnTo>
                <a:lnTo>
                  <a:pt x="3682853" y="4940251"/>
                </a:lnTo>
                <a:lnTo>
                  <a:pt x="3677301" y="4989827"/>
                </a:lnTo>
                <a:lnTo>
                  <a:pt x="3673597" y="5042220"/>
                </a:lnTo>
                <a:lnTo>
                  <a:pt x="3671530" y="5097309"/>
                </a:lnTo>
                <a:lnTo>
                  <a:pt x="3670887" y="5154978"/>
                </a:lnTo>
                <a:lnTo>
                  <a:pt x="3671513" y="5213218"/>
                </a:lnTo>
                <a:lnTo>
                  <a:pt x="3673535" y="5268845"/>
                </a:lnTo>
                <a:lnTo>
                  <a:pt x="3677173" y="5321740"/>
                </a:lnTo>
                <a:lnTo>
                  <a:pt x="3682642" y="5371784"/>
                </a:lnTo>
                <a:lnTo>
                  <a:pt x="3690160" y="5418861"/>
                </a:lnTo>
                <a:lnTo>
                  <a:pt x="3699949" y="5462851"/>
                </a:lnTo>
                <a:lnTo>
                  <a:pt x="3712226" y="5503636"/>
                </a:lnTo>
                <a:lnTo>
                  <a:pt x="3727208" y="5541097"/>
                </a:lnTo>
                <a:lnTo>
                  <a:pt x="3745113" y="5575118"/>
                </a:lnTo>
                <a:lnTo>
                  <a:pt x="3790567" y="5632362"/>
                </a:lnTo>
                <a:lnTo>
                  <a:pt x="3850333" y="5674422"/>
                </a:lnTo>
                <a:lnTo>
                  <a:pt x="3886128" y="5689462"/>
                </a:lnTo>
                <a:lnTo>
                  <a:pt x="3926156" y="5700351"/>
                </a:lnTo>
                <a:lnTo>
                  <a:pt x="3970634" y="5706972"/>
                </a:lnTo>
                <a:lnTo>
                  <a:pt x="4019781" y="5709205"/>
                </a:lnTo>
                <a:lnTo>
                  <a:pt x="4019781" y="5806028"/>
                </a:lnTo>
                <a:lnTo>
                  <a:pt x="3966259" y="5804139"/>
                </a:lnTo>
                <a:lnTo>
                  <a:pt x="3916778" y="5798526"/>
                </a:lnTo>
                <a:lnTo>
                  <a:pt x="3871199" y="5789272"/>
                </a:lnTo>
                <a:lnTo>
                  <a:pt x="3829380" y="5776460"/>
                </a:lnTo>
                <a:lnTo>
                  <a:pt x="3791183" y="5760173"/>
                </a:lnTo>
                <a:lnTo>
                  <a:pt x="3756466" y="5740492"/>
                </a:lnTo>
                <a:lnTo>
                  <a:pt x="3725090" y="5717501"/>
                </a:lnTo>
                <a:lnTo>
                  <a:pt x="3696914" y="5691283"/>
                </a:lnTo>
                <a:lnTo>
                  <a:pt x="3671799" y="5661919"/>
                </a:lnTo>
                <a:lnTo>
                  <a:pt x="3649604" y="5629493"/>
                </a:lnTo>
                <a:lnTo>
                  <a:pt x="3630186" y="5594087"/>
                </a:lnTo>
                <a:lnTo>
                  <a:pt x="3613408" y="5555784"/>
                </a:lnTo>
                <a:lnTo>
                  <a:pt x="3599129" y="5514667"/>
                </a:lnTo>
                <a:lnTo>
                  <a:pt x="3587210" y="5470817"/>
                </a:lnTo>
                <a:lnTo>
                  <a:pt x="3577507" y="5424318"/>
                </a:lnTo>
                <a:lnTo>
                  <a:pt x="3569884" y="5375253"/>
                </a:lnTo>
                <a:lnTo>
                  <a:pt x="3564199" y="5323704"/>
                </a:lnTo>
                <a:lnTo>
                  <a:pt x="3560312" y="5269753"/>
                </a:lnTo>
                <a:lnTo>
                  <a:pt x="3558082" y="5213483"/>
                </a:lnTo>
                <a:lnTo>
                  <a:pt x="3557372" y="5154978"/>
                </a:lnTo>
                <a:lnTo>
                  <a:pt x="3558107" y="5096722"/>
                </a:lnTo>
                <a:lnTo>
                  <a:pt x="3560402" y="5040702"/>
                </a:lnTo>
                <a:lnTo>
                  <a:pt x="3564391" y="4986997"/>
                </a:lnTo>
                <a:lnTo>
                  <a:pt x="3570205" y="4935691"/>
                </a:lnTo>
                <a:lnTo>
                  <a:pt x="3577977" y="4886863"/>
                </a:lnTo>
                <a:lnTo>
                  <a:pt x="3587840" y="4840595"/>
                </a:lnTo>
                <a:lnTo>
                  <a:pt x="3599926" y="4796969"/>
                </a:lnTo>
                <a:lnTo>
                  <a:pt x="3614369" y="4756067"/>
                </a:lnTo>
                <a:lnTo>
                  <a:pt x="3631302" y="4717969"/>
                </a:lnTo>
                <a:lnTo>
                  <a:pt x="3650855" y="4682757"/>
                </a:lnTo>
                <a:lnTo>
                  <a:pt x="3673163" y="4650512"/>
                </a:lnTo>
                <a:lnTo>
                  <a:pt x="3698356" y="4621316"/>
                </a:lnTo>
                <a:lnTo>
                  <a:pt x="3726571" y="4595250"/>
                </a:lnTo>
                <a:lnTo>
                  <a:pt x="3757938" y="4572395"/>
                </a:lnTo>
                <a:lnTo>
                  <a:pt x="3792591" y="4552834"/>
                </a:lnTo>
                <a:lnTo>
                  <a:pt x="3830662" y="4536646"/>
                </a:lnTo>
                <a:lnTo>
                  <a:pt x="3872284" y="4523914"/>
                </a:lnTo>
                <a:lnTo>
                  <a:pt x="3917589" y="4514719"/>
                </a:lnTo>
                <a:lnTo>
                  <a:pt x="3966710" y="4509142"/>
                </a:lnTo>
                <a:close/>
                <a:moveTo>
                  <a:pt x="0" y="3876244"/>
                </a:moveTo>
                <a:lnTo>
                  <a:pt x="904792" y="3876244"/>
                </a:lnTo>
                <a:lnTo>
                  <a:pt x="904792" y="3983083"/>
                </a:lnTo>
                <a:lnTo>
                  <a:pt x="0" y="3983083"/>
                </a:lnTo>
                <a:close/>
                <a:moveTo>
                  <a:pt x="0" y="3527349"/>
                </a:moveTo>
                <a:lnTo>
                  <a:pt x="904792" y="3527349"/>
                </a:lnTo>
                <a:lnTo>
                  <a:pt x="904792" y="3634187"/>
                </a:lnTo>
                <a:lnTo>
                  <a:pt x="0" y="3634187"/>
                </a:lnTo>
                <a:close/>
                <a:moveTo>
                  <a:pt x="1599039" y="3011203"/>
                </a:moveTo>
                <a:lnTo>
                  <a:pt x="1972978" y="3011203"/>
                </a:lnTo>
                <a:lnTo>
                  <a:pt x="1972978" y="3106453"/>
                </a:lnTo>
                <a:lnTo>
                  <a:pt x="1972978" y="4205003"/>
                </a:lnTo>
                <a:lnTo>
                  <a:pt x="1972978" y="4300253"/>
                </a:lnTo>
                <a:lnTo>
                  <a:pt x="1599039" y="4300253"/>
                </a:lnTo>
                <a:lnTo>
                  <a:pt x="1599039" y="4205003"/>
                </a:lnTo>
                <a:lnTo>
                  <a:pt x="1857788" y="4205003"/>
                </a:lnTo>
                <a:lnTo>
                  <a:pt x="1857788" y="3106453"/>
                </a:lnTo>
                <a:lnTo>
                  <a:pt x="1599039" y="3106453"/>
                </a:lnTo>
                <a:close/>
                <a:moveTo>
                  <a:pt x="1125303" y="3011203"/>
                </a:moveTo>
                <a:lnTo>
                  <a:pt x="1499242" y="3011203"/>
                </a:lnTo>
                <a:lnTo>
                  <a:pt x="1499242" y="3106453"/>
                </a:lnTo>
                <a:lnTo>
                  <a:pt x="1240492" y="3106453"/>
                </a:lnTo>
                <a:lnTo>
                  <a:pt x="1240492" y="4205003"/>
                </a:lnTo>
                <a:lnTo>
                  <a:pt x="1499242" y="4205003"/>
                </a:lnTo>
                <a:lnTo>
                  <a:pt x="1499242" y="4300253"/>
                </a:lnTo>
                <a:lnTo>
                  <a:pt x="1125303" y="4300253"/>
                </a:lnTo>
                <a:lnTo>
                  <a:pt x="1125303" y="4205003"/>
                </a:lnTo>
                <a:lnTo>
                  <a:pt x="1125303" y="3106453"/>
                </a:lnTo>
                <a:close/>
                <a:moveTo>
                  <a:pt x="3600665" y="3004837"/>
                </a:moveTo>
                <a:lnTo>
                  <a:pt x="3653736" y="3006713"/>
                </a:lnTo>
                <a:lnTo>
                  <a:pt x="3702854" y="3012290"/>
                </a:lnTo>
                <a:lnTo>
                  <a:pt x="3748160" y="3021485"/>
                </a:lnTo>
                <a:lnTo>
                  <a:pt x="3789782" y="3034217"/>
                </a:lnTo>
                <a:lnTo>
                  <a:pt x="3827853" y="3050405"/>
                </a:lnTo>
                <a:lnTo>
                  <a:pt x="3862506" y="3069966"/>
                </a:lnTo>
                <a:lnTo>
                  <a:pt x="3893873" y="3092821"/>
                </a:lnTo>
                <a:lnTo>
                  <a:pt x="3922088" y="3118887"/>
                </a:lnTo>
                <a:lnTo>
                  <a:pt x="3947284" y="3148083"/>
                </a:lnTo>
                <a:lnTo>
                  <a:pt x="3969592" y="3180328"/>
                </a:lnTo>
                <a:lnTo>
                  <a:pt x="3989145" y="3215540"/>
                </a:lnTo>
                <a:lnTo>
                  <a:pt x="4006077" y="3253638"/>
                </a:lnTo>
                <a:lnTo>
                  <a:pt x="4020520" y="3294540"/>
                </a:lnTo>
                <a:lnTo>
                  <a:pt x="4032607" y="3338166"/>
                </a:lnTo>
                <a:lnTo>
                  <a:pt x="4042470" y="3384433"/>
                </a:lnTo>
                <a:lnTo>
                  <a:pt x="4050242" y="3433261"/>
                </a:lnTo>
                <a:lnTo>
                  <a:pt x="4056056" y="3484567"/>
                </a:lnTo>
                <a:lnTo>
                  <a:pt x="4060044" y="3538272"/>
                </a:lnTo>
                <a:lnTo>
                  <a:pt x="4062340" y="3594292"/>
                </a:lnTo>
                <a:lnTo>
                  <a:pt x="4063076" y="3652548"/>
                </a:lnTo>
                <a:lnTo>
                  <a:pt x="4062376" y="3711053"/>
                </a:lnTo>
                <a:lnTo>
                  <a:pt x="4060179" y="3767323"/>
                </a:lnTo>
                <a:lnTo>
                  <a:pt x="4056343" y="3821273"/>
                </a:lnTo>
                <a:lnTo>
                  <a:pt x="4050722" y="3872823"/>
                </a:lnTo>
                <a:lnTo>
                  <a:pt x="4043174" y="3921888"/>
                </a:lnTo>
                <a:lnTo>
                  <a:pt x="4033553" y="3968387"/>
                </a:lnTo>
                <a:lnTo>
                  <a:pt x="4021716" y="4012236"/>
                </a:lnTo>
                <a:lnTo>
                  <a:pt x="4007519" y="4053354"/>
                </a:lnTo>
                <a:lnTo>
                  <a:pt x="3990818" y="4091657"/>
                </a:lnTo>
                <a:lnTo>
                  <a:pt x="3971469" y="4127063"/>
                </a:lnTo>
                <a:lnTo>
                  <a:pt x="3949328" y="4159489"/>
                </a:lnTo>
                <a:lnTo>
                  <a:pt x="3924252" y="4188852"/>
                </a:lnTo>
                <a:lnTo>
                  <a:pt x="3896095" y="4215071"/>
                </a:lnTo>
                <a:lnTo>
                  <a:pt x="3864714" y="4238061"/>
                </a:lnTo>
                <a:lnTo>
                  <a:pt x="3829965" y="4257742"/>
                </a:lnTo>
                <a:lnTo>
                  <a:pt x="3791705" y="4274029"/>
                </a:lnTo>
                <a:lnTo>
                  <a:pt x="3749788" y="4286841"/>
                </a:lnTo>
                <a:lnTo>
                  <a:pt x="3704071" y="4296095"/>
                </a:lnTo>
                <a:lnTo>
                  <a:pt x="3654414" y="4301708"/>
                </a:lnTo>
                <a:lnTo>
                  <a:pt x="3600665" y="4303597"/>
                </a:lnTo>
                <a:lnTo>
                  <a:pt x="3600665" y="4206775"/>
                </a:lnTo>
                <a:lnTo>
                  <a:pt x="3650351" y="4204542"/>
                </a:lnTo>
                <a:lnTo>
                  <a:pt x="3695268" y="4197921"/>
                </a:lnTo>
                <a:lnTo>
                  <a:pt x="3735652" y="4187032"/>
                </a:lnTo>
                <a:lnTo>
                  <a:pt x="3771723" y="4171992"/>
                </a:lnTo>
                <a:lnTo>
                  <a:pt x="3831834" y="4129932"/>
                </a:lnTo>
                <a:lnTo>
                  <a:pt x="3877413" y="4072688"/>
                </a:lnTo>
                <a:lnTo>
                  <a:pt x="3895319" y="4038667"/>
                </a:lnTo>
                <a:lnTo>
                  <a:pt x="3910271" y="4001206"/>
                </a:lnTo>
                <a:lnTo>
                  <a:pt x="3922495" y="3960421"/>
                </a:lnTo>
                <a:lnTo>
                  <a:pt x="3932218" y="3916431"/>
                </a:lnTo>
                <a:lnTo>
                  <a:pt x="3939665" y="3869354"/>
                </a:lnTo>
                <a:lnTo>
                  <a:pt x="3945064" y="3819310"/>
                </a:lnTo>
                <a:lnTo>
                  <a:pt x="3948640" y="3766415"/>
                </a:lnTo>
                <a:lnTo>
                  <a:pt x="3950619" y="3710788"/>
                </a:lnTo>
                <a:lnTo>
                  <a:pt x="3951229" y="3652548"/>
                </a:lnTo>
                <a:lnTo>
                  <a:pt x="3950587" y="3594879"/>
                </a:lnTo>
                <a:lnTo>
                  <a:pt x="3948517" y="3539790"/>
                </a:lnTo>
                <a:lnTo>
                  <a:pt x="3944807" y="3487397"/>
                </a:lnTo>
                <a:lnTo>
                  <a:pt x="3939241" y="3437821"/>
                </a:lnTo>
                <a:lnTo>
                  <a:pt x="3931606" y="3391177"/>
                </a:lnTo>
                <a:lnTo>
                  <a:pt x="3921688" y="3347586"/>
                </a:lnTo>
                <a:lnTo>
                  <a:pt x="3909272" y="3307165"/>
                </a:lnTo>
                <a:lnTo>
                  <a:pt x="3894145" y="3270033"/>
                </a:lnTo>
                <a:lnTo>
                  <a:pt x="3876092" y="3236307"/>
                </a:lnTo>
                <a:lnTo>
                  <a:pt x="3830354" y="3179548"/>
                </a:lnTo>
                <a:lnTo>
                  <a:pt x="3770345" y="3137835"/>
                </a:lnTo>
                <a:lnTo>
                  <a:pt x="3734453" y="3122916"/>
                </a:lnTo>
                <a:lnTo>
                  <a:pt x="3694351" y="3112113"/>
                </a:lnTo>
                <a:lnTo>
                  <a:pt x="3649829" y="3105545"/>
                </a:lnTo>
                <a:lnTo>
                  <a:pt x="3600665" y="3103329"/>
                </a:lnTo>
                <a:close/>
                <a:moveTo>
                  <a:pt x="3508797" y="3004837"/>
                </a:moveTo>
                <a:lnTo>
                  <a:pt x="3508797" y="3103329"/>
                </a:lnTo>
                <a:lnTo>
                  <a:pt x="3459910" y="3105545"/>
                </a:lnTo>
                <a:lnTo>
                  <a:pt x="3415630" y="3112113"/>
                </a:lnTo>
                <a:lnTo>
                  <a:pt x="3375743" y="3122916"/>
                </a:lnTo>
                <a:lnTo>
                  <a:pt x="3340039" y="3137835"/>
                </a:lnTo>
                <a:lnTo>
                  <a:pt x="3280323" y="3179548"/>
                </a:lnTo>
                <a:lnTo>
                  <a:pt x="3234789" y="3236307"/>
                </a:lnTo>
                <a:lnTo>
                  <a:pt x="3216810" y="3270033"/>
                </a:lnTo>
                <a:lnTo>
                  <a:pt x="3201740" y="3307165"/>
                </a:lnTo>
                <a:lnTo>
                  <a:pt x="3189368" y="3347586"/>
                </a:lnTo>
                <a:lnTo>
                  <a:pt x="3179480" y="3391177"/>
                </a:lnTo>
                <a:lnTo>
                  <a:pt x="3171865" y="3437821"/>
                </a:lnTo>
                <a:lnTo>
                  <a:pt x="3166313" y="3487397"/>
                </a:lnTo>
                <a:lnTo>
                  <a:pt x="3162609" y="3539790"/>
                </a:lnTo>
                <a:lnTo>
                  <a:pt x="3160541" y="3594879"/>
                </a:lnTo>
                <a:lnTo>
                  <a:pt x="3159899" y="3652548"/>
                </a:lnTo>
                <a:lnTo>
                  <a:pt x="3160527" y="3710788"/>
                </a:lnTo>
                <a:lnTo>
                  <a:pt x="3162547" y="3766415"/>
                </a:lnTo>
                <a:lnTo>
                  <a:pt x="3166185" y="3819310"/>
                </a:lnTo>
                <a:lnTo>
                  <a:pt x="3171653" y="3869354"/>
                </a:lnTo>
                <a:lnTo>
                  <a:pt x="3179175" y="3916431"/>
                </a:lnTo>
                <a:lnTo>
                  <a:pt x="3188965" y="3960421"/>
                </a:lnTo>
                <a:lnTo>
                  <a:pt x="3201241" y="4001206"/>
                </a:lnTo>
                <a:lnTo>
                  <a:pt x="3216223" y="4038667"/>
                </a:lnTo>
                <a:lnTo>
                  <a:pt x="3234129" y="4072688"/>
                </a:lnTo>
                <a:lnTo>
                  <a:pt x="3279582" y="4129932"/>
                </a:lnTo>
                <a:lnTo>
                  <a:pt x="3339348" y="4171992"/>
                </a:lnTo>
                <a:lnTo>
                  <a:pt x="3375143" y="4187032"/>
                </a:lnTo>
                <a:lnTo>
                  <a:pt x="3415171" y="4197921"/>
                </a:lnTo>
                <a:lnTo>
                  <a:pt x="3459650" y="4204542"/>
                </a:lnTo>
                <a:lnTo>
                  <a:pt x="3508797" y="4206775"/>
                </a:lnTo>
                <a:lnTo>
                  <a:pt x="3508797" y="4303597"/>
                </a:lnTo>
                <a:lnTo>
                  <a:pt x="3455275" y="4301708"/>
                </a:lnTo>
                <a:lnTo>
                  <a:pt x="3405793" y="4296095"/>
                </a:lnTo>
                <a:lnTo>
                  <a:pt x="3360214" y="4286841"/>
                </a:lnTo>
                <a:lnTo>
                  <a:pt x="3318395" y="4274029"/>
                </a:lnTo>
                <a:lnTo>
                  <a:pt x="3280198" y="4257742"/>
                </a:lnTo>
                <a:lnTo>
                  <a:pt x="3245481" y="4238061"/>
                </a:lnTo>
                <a:lnTo>
                  <a:pt x="3214105" y="4215071"/>
                </a:lnTo>
                <a:lnTo>
                  <a:pt x="3185929" y="4188852"/>
                </a:lnTo>
                <a:lnTo>
                  <a:pt x="3160812" y="4159489"/>
                </a:lnTo>
                <a:lnTo>
                  <a:pt x="3138616" y="4127063"/>
                </a:lnTo>
                <a:lnTo>
                  <a:pt x="3119198" y="4091657"/>
                </a:lnTo>
                <a:lnTo>
                  <a:pt x="3102421" y="4053354"/>
                </a:lnTo>
                <a:lnTo>
                  <a:pt x="3088141" y="4012236"/>
                </a:lnTo>
                <a:lnTo>
                  <a:pt x="3076222" y="3968387"/>
                </a:lnTo>
                <a:lnTo>
                  <a:pt x="3066519" y="3921888"/>
                </a:lnTo>
                <a:lnTo>
                  <a:pt x="3058896" y="3872823"/>
                </a:lnTo>
                <a:lnTo>
                  <a:pt x="3053212" y="3821273"/>
                </a:lnTo>
                <a:lnTo>
                  <a:pt x="3049324" y="3767323"/>
                </a:lnTo>
                <a:lnTo>
                  <a:pt x="3047094" y="3711053"/>
                </a:lnTo>
                <a:lnTo>
                  <a:pt x="3046384" y="3652548"/>
                </a:lnTo>
                <a:lnTo>
                  <a:pt x="3047118" y="3594292"/>
                </a:lnTo>
                <a:lnTo>
                  <a:pt x="3049414" y="3538272"/>
                </a:lnTo>
                <a:lnTo>
                  <a:pt x="3053403" y="3484567"/>
                </a:lnTo>
                <a:lnTo>
                  <a:pt x="3059217" y="3433261"/>
                </a:lnTo>
                <a:lnTo>
                  <a:pt x="3066990" y="3384433"/>
                </a:lnTo>
                <a:lnTo>
                  <a:pt x="3076852" y="3338166"/>
                </a:lnTo>
                <a:lnTo>
                  <a:pt x="3088939" y="3294540"/>
                </a:lnTo>
                <a:lnTo>
                  <a:pt x="3103381" y="3253638"/>
                </a:lnTo>
                <a:lnTo>
                  <a:pt x="3120314" y="3215540"/>
                </a:lnTo>
                <a:lnTo>
                  <a:pt x="3139867" y="3180328"/>
                </a:lnTo>
                <a:lnTo>
                  <a:pt x="3162174" y="3148083"/>
                </a:lnTo>
                <a:lnTo>
                  <a:pt x="3187372" y="3118887"/>
                </a:lnTo>
                <a:lnTo>
                  <a:pt x="3215586" y="3092821"/>
                </a:lnTo>
                <a:lnTo>
                  <a:pt x="3246953" y="3069966"/>
                </a:lnTo>
                <a:lnTo>
                  <a:pt x="3281606" y="3050405"/>
                </a:lnTo>
                <a:lnTo>
                  <a:pt x="3319678" y="3034217"/>
                </a:lnTo>
                <a:lnTo>
                  <a:pt x="3361299" y="3021485"/>
                </a:lnTo>
                <a:lnTo>
                  <a:pt x="3406605" y="3012290"/>
                </a:lnTo>
                <a:lnTo>
                  <a:pt x="3455726" y="3006713"/>
                </a:lnTo>
                <a:close/>
                <a:moveTo>
                  <a:pt x="3637118" y="2373826"/>
                </a:moveTo>
                <a:lnTo>
                  <a:pt x="4541909" y="2373826"/>
                </a:lnTo>
                <a:lnTo>
                  <a:pt x="4541909" y="2480664"/>
                </a:lnTo>
                <a:lnTo>
                  <a:pt x="3637118" y="2480664"/>
                </a:lnTo>
                <a:close/>
                <a:moveTo>
                  <a:pt x="2550201" y="2373826"/>
                </a:moveTo>
                <a:lnTo>
                  <a:pt x="3454993" y="2373826"/>
                </a:lnTo>
                <a:lnTo>
                  <a:pt x="3454993" y="2480664"/>
                </a:lnTo>
                <a:lnTo>
                  <a:pt x="2550201" y="2480664"/>
                </a:lnTo>
                <a:close/>
                <a:moveTo>
                  <a:pt x="3637119" y="2024930"/>
                </a:moveTo>
                <a:lnTo>
                  <a:pt x="4541909" y="2024930"/>
                </a:lnTo>
                <a:lnTo>
                  <a:pt x="4541909" y="2131769"/>
                </a:lnTo>
                <a:lnTo>
                  <a:pt x="3637119" y="2131769"/>
                </a:lnTo>
                <a:close/>
                <a:moveTo>
                  <a:pt x="2550201" y="2024930"/>
                </a:moveTo>
                <a:lnTo>
                  <a:pt x="3454993" y="2024930"/>
                </a:lnTo>
                <a:lnTo>
                  <a:pt x="3454993" y="2131769"/>
                </a:lnTo>
                <a:lnTo>
                  <a:pt x="2550201" y="2131769"/>
                </a:lnTo>
                <a:close/>
                <a:moveTo>
                  <a:pt x="6133380" y="1502419"/>
                </a:moveTo>
                <a:lnTo>
                  <a:pt x="6186450" y="1504296"/>
                </a:lnTo>
                <a:lnTo>
                  <a:pt x="6235571" y="1509872"/>
                </a:lnTo>
                <a:lnTo>
                  <a:pt x="6280876" y="1519068"/>
                </a:lnTo>
                <a:lnTo>
                  <a:pt x="6322498" y="1531799"/>
                </a:lnTo>
                <a:lnTo>
                  <a:pt x="6360569" y="1547987"/>
                </a:lnTo>
                <a:lnTo>
                  <a:pt x="6395222" y="1567548"/>
                </a:lnTo>
                <a:lnTo>
                  <a:pt x="6426589" y="1590403"/>
                </a:lnTo>
                <a:lnTo>
                  <a:pt x="6454804" y="1616469"/>
                </a:lnTo>
                <a:lnTo>
                  <a:pt x="6480000" y="1645665"/>
                </a:lnTo>
                <a:lnTo>
                  <a:pt x="6502308" y="1677910"/>
                </a:lnTo>
                <a:lnTo>
                  <a:pt x="6521861" y="1713122"/>
                </a:lnTo>
                <a:lnTo>
                  <a:pt x="6538793" y="1751221"/>
                </a:lnTo>
                <a:lnTo>
                  <a:pt x="6553236" y="1792122"/>
                </a:lnTo>
                <a:lnTo>
                  <a:pt x="6565323" y="1835748"/>
                </a:lnTo>
                <a:lnTo>
                  <a:pt x="6575186" y="1882015"/>
                </a:lnTo>
                <a:lnTo>
                  <a:pt x="6582958" y="1930843"/>
                </a:lnTo>
                <a:lnTo>
                  <a:pt x="6588772" y="1982149"/>
                </a:lnTo>
                <a:lnTo>
                  <a:pt x="6592760" y="2035854"/>
                </a:lnTo>
                <a:lnTo>
                  <a:pt x="6595056" y="2091874"/>
                </a:lnTo>
                <a:lnTo>
                  <a:pt x="6595792" y="2150130"/>
                </a:lnTo>
                <a:lnTo>
                  <a:pt x="6595092" y="2208635"/>
                </a:lnTo>
                <a:lnTo>
                  <a:pt x="6592895" y="2264905"/>
                </a:lnTo>
                <a:lnTo>
                  <a:pt x="6589059" y="2318855"/>
                </a:lnTo>
                <a:lnTo>
                  <a:pt x="6583438" y="2370405"/>
                </a:lnTo>
                <a:lnTo>
                  <a:pt x="6575890" y="2419470"/>
                </a:lnTo>
                <a:lnTo>
                  <a:pt x="6566269" y="2465969"/>
                </a:lnTo>
                <a:lnTo>
                  <a:pt x="6554432" y="2509818"/>
                </a:lnTo>
                <a:lnTo>
                  <a:pt x="6540235" y="2550936"/>
                </a:lnTo>
                <a:lnTo>
                  <a:pt x="6523535" y="2589239"/>
                </a:lnTo>
                <a:lnTo>
                  <a:pt x="6504186" y="2624645"/>
                </a:lnTo>
                <a:lnTo>
                  <a:pt x="6482045" y="2657071"/>
                </a:lnTo>
                <a:lnTo>
                  <a:pt x="6456968" y="2686434"/>
                </a:lnTo>
                <a:lnTo>
                  <a:pt x="6428811" y="2712653"/>
                </a:lnTo>
                <a:lnTo>
                  <a:pt x="6397430" y="2735643"/>
                </a:lnTo>
                <a:lnTo>
                  <a:pt x="6362682" y="2755324"/>
                </a:lnTo>
                <a:lnTo>
                  <a:pt x="6324421" y="2771611"/>
                </a:lnTo>
                <a:lnTo>
                  <a:pt x="6282504" y="2784423"/>
                </a:lnTo>
                <a:lnTo>
                  <a:pt x="6236788" y="2793677"/>
                </a:lnTo>
                <a:lnTo>
                  <a:pt x="6187128" y="2799290"/>
                </a:lnTo>
                <a:lnTo>
                  <a:pt x="6133380" y="2801179"/>
                </a:lnTo>
                <a:lnTo>
                  <a:pt x="6133380" y="2704356"/>
                </a:lnTo>
                <a:lnTo>
                  <a:pt x="6183065" y="2702123"/>
                </a:lnTo>
                <a:lnTo>
                  <a:pt x="6227986" y="2695502"/>
                </a:lnTo>
                <a:lnTo>
                  <a:pt x="6268368" y="2684613"/>
                </a:lnTo>
                <a:lnTo>
                  <a:pt x="6304439" y="2669573"/>
                </a:lnTo>
                <a:lnTo>
                  <a:pt x="6364550" y="2627513"/>
                </a:lnTo>
                <a:lnTo>
                  <a:pt x="6410130" y="2570269"/>
                </a:lnTo>
                <a:lnTo>
                  <a:pt x="6428035" y="2536249"/>
                </a:lnTo>
                <a:lnTo>
                  <a:pt x="6442987" y="2498787"/>
                </a:lnTo>
                <a:lnTo>
                  <a:pt x="6455211" y="2458002"/>
                </a:lnTo>
                <a:lnTo>
                  <a:pt x="6464934" y="2414012"/>
                </a:lnTo>
                <a:lnTo>
                  <a:pt x="6472381" y="2366936"/>
                </a:lnTo>
                <a:lnTo>
                  <a:pt x="6477780" y="2316891"/>
                </a:lnTo>
                <a:lnTo>
                  <a:pt x="6481356" y="2263996"/>
                </a:lnTo>
                <a:lnTo>
                  <a:pt x="6483335" y="2208370"/>
                </a:lnTo>
                <a:lnTo>
                  <a:pt x="6483945" y="2150130"/>
                </a:lnTo>
                <a:lnTo>
                  <a:pt x="6483303" y="2092461"/>
                </a:lnTo>
                <a:lnTo>
                  <a:pt x="6481233" y="2037371"/>
                </a:lnTo>
                <a:lnTo>
                  <a:pt x="6477523" y="1984979"/>
                </a:lnTo>
                <a:lnTo>
                  <a:pt x="6471957" y="1935402"/>
                </a:lnTo>
                <a:lnTo>
                  <a:pt x="6464322" y="1888759"/>
                </a:lnTo>
                <a:lnTo>
                  <a:pt x="6454404" y="1845167"/>
                </a:lnTo>
                <a:lnTo>
                  <a:pt x="6441988" y="1804746"/>
                </a:lnTo>
                <a:lnTo>
                  <a:pt x="6426861" y="1767614"/>
                </a:lnTo>
                <a:lnTo>
                  <a:pt x="6408808" y="1733888"/>
                </a:lnTo>
                <a:lnTo>
                  <a:pt x="6363070" y="1677129"/>
                </a:lnTo>
                <a:lnTo>
                  <a:pt x="6303061" y="1635416"/>
                </a:lnTo>
                <a:lnTo>
                  <a:pt x="6267169" y="1620497"/>
                </a:lnTo>
                <a:lnTo>
                  <a:pt x="6227068" y="1609694"/>
                </a:lnTo>
                <a:lnTo>
                  <a:pt x="6182543" y="1603125"/>
                </a:lnTo>
                <a:lnTo>
                  <a:pt x="6133380" y="1600910"/>
                </a:lnTo>
                <a:close/>
                <a:moveTo>
                  <a:pt x="6041530" y="1502419"/>
                </a:moveTo>
                <a:lnTo>
                  <a:pt x="6041530" y="1600910"/>
                </a:lnTo>
                <a:lnTo>
                  <a:pt x="5992644" y="1603125"/>
                </a:lnTo>
                <a:lnTo>
                  <a:pt x="5948363" y="1609694"/>
                </a:lnTo>
                <a:lnTo>
                  <a:pt x="5908477" y="1620497"/>
                </a:lnTo>
                <a:lnTo>
                  <a:pt x="5872771" y="1635416"/>
                </a:lnTo>
                <a:lnTo>
                  <a:pt x="5813056" y="1677129"/>
                </a:lnTo>
                <a:lnTo>
                  <a:pt x="5767522" y="1733888"/>
                </a:lnTo>
                <a:lnTo>
                  <a:pt x="5749543" y="1767614"/>
                </a:lnTo>
                <a:lnTo>
                  <a:pt x="5734473" y="1804746"/>
                </a:lnTo>
                <a:lnTo>
                  <a:pt x="5722101" y="1845167"/>
                </a:lnTo>
                <a:lnTo>
                  <a:pt x="5712213" y="1888759"/>
                </a:lnTo>
                <a:lnTo>
                  <a:pt x="5704599" y="1935402"/>
                </a:lnTo>
                <a:lnTo>
                  <a:pt x="5699046" y="1984979"/>
                </a:lnTo>
                <a:lnTo>
                  <a:pt x="5695342" y="2037371"/>
                </a:lnTo>
                <a:lnTo>
                  <a:pt x="5693275" y="2092461"/>
                </a:lnTo>
                <a:lnTo>
                  <a:pt x="5692633" y="2150130"/>
                </a:lnTo>
                <a:lnTo>
                  <a:pt x="5693259" y="2208370"/>
                </a:lnTo>
                <a:lnTo>
                  <a:pt x="5695281" y="2263996"/>
                </a:lnTo>
                <a:lnTo>
                  <a:pt x="5698918" y="2316891"/>
                </a:lnTo>
                <a:lnTo>
                  <a:pt x="5704387" y="2366936"/>
                </a:lnTo>
                <a:lnTo>
                  <a:pt x="5711908" y="2414012"/>
                </a:lnTo>
                <a:lnTo>
                  <a:pt x="5721697" y="2458002"/>
                </a:lnTo>
                <a:lnTo>
                  <a:pt x="5733974" y="2498787"/>
                </a:lnTo>
                <a:lnTo>
                  <a:pt x="5748956" y="2536249"/>
                </a:lnTo>
                <a:lnTo>
                  <a:pt x="5766862" y="2570269"/>
                </a:lnTo>
                <a:lnTo>
                  <a:pt x="5812316" y="2627513"/>
                </a:lnTo>
                <a:lnTo>
                  <a:pt x="5872082" y="2669573"/>
                </a:lnTo>
                <a:lnTo>
                  <a:pt x="5907877" y="2684613"/>
                </a:lnTo>
                <a:lnTo>
                  <a:pt x="5947905" y="2695502"/>
                </a:lnTo>
                <a:lnTo>
                  <a:pt x="5992383" y="2702123"/>
                </a:lnTo>
                <a:lnTo>
                  <a:pt x="6041530" y="2704356"/>
                </a:lnTo>
                <a:lnTo>
                  <a:pt x="6041530" y="2801179"/>
                </a:lnTo>
                <a:lnTo>
                  <a:pt x="5988008" y="2799290"/>
                </a:lnTo>
                <a:lnTo>
                  <a:pt x="5938527" y="2793677"/>
                </a:lnTo>
                <a:lnTo>
                  <a:pt x="5892948" y="2784423"/>
                </a:lnTo>
                <a:lnTo>
                  <a:pt x="5851129" y="2771611"/>
                </a:lnTo>
                <a:lnTo>
                  <a:pt x="5812932" y="2755324"/>
                </a:lnTo>
                <a:lnTo>
                  <a:pt x="5778215" y="2735643"/>
                </a:lnTo>
                <a:lnTo>
                  <a:pt x="5746839" y="2712653"/>
                </a:lnTo>
                <a:lnTo>
                  <a:pt x="5718663" y="2686434"/>
                </a:lnTo>
                <a:lnTo>
                  <a:pt x="5693546" y="2657071"/>
                </a:lnTo>
                <a:lnTo>
                  <a:pt x="5671350" y="2624645"/>
                </a:lnTo>
                <a:lnTo>
                  <a:pt x="5651932" y="2589239"/>
                </a:lnTo>
                <a:lnTo>
                  <a:pt x="5635155" y="2550936"/>
                </a:lnTo>
                <a:lnTo>
                  <a:pt x="5620876" y="2509818"/>
                </a:lnTo>
                <a:lnTo>
                  <a:pt x="5608956" y="2465969"/>
                </a:lnTo>
                <a:lnTo>
                  <a:pt x="5599254" y="2419470"/>
                </a:lnTo>
                <a:lnTo>
                  <a:pt x="5591631" y="2370405"/>
                </a:lnTo>
                <a:lnTo>
                  <a:pt x="5585946" y="2318855"/>
                </a:lnTo>
                <a:lnTo>
                  <a:pt x="5582059" y="2264905"/>
                </a:lnTo>
                <a:lnTo>
                  <a:pt x="5579829" y="2208635"/>
                </a:lnTo>
                <a:lnTo>
                  <a:pt x="5579118" y="2150130"/>
                </a:lnTo>
                <a:lnTo>
                  <a:pt x="5579853" y="2091874"/>
                </a:lnTo>
                <a:lnTo>
                  <a:pt x="5582149" y="2035854"/>
                </a:lnTo>
                <a:lnTo>
                  <a:pt x="5586138" y="1982149"/>
                </a:lnTo>
                <a:lnTo>
                  <a:pt x="5591951" y="1930843"/>
                </a:lnTo>
                <a:lnTo>
                  <a:pt x="5599724" y="1882015"/>
                </a:lnTo>
                <a:lnTo>
                  <a:pt x="5609587" y="1835748"/>
                </a:lnTo>
                <a:lnTo>
                  <a:pt x="5621673" y="1792122"/>
                </a:lnTo>
                <a:lnTo>
                  <a:pt x="5636116" y="1751221"/>
                </a:lnTo>
                <a:lnTo>
                  <a:pt x="5653048" y="1713122"/>
                </a:lnTo>
                <a:lnTo>
                  <a:pt x="5672601" y="1677910"/>
                </a:lnTo>
                <a:lnTo>
                  <a:pt x="5694909" y="1645665"/>
                </a:lnTo>
                <a:lnTo>
                  <a:pt x="5720105" y="1616469"/>
                </a:lnTo>
                <a:lnTo>
                  <a:pt x="5748320" y="1590403"/>
                </a:lnTo>
                <a:lnTo>
                  <a:pt x="5779687" y="1567548"/>
                </a:lnTo>
                <a:lnTo>
                  <a:pt x="5814340" y="1547987"/>
                </a:lnTo>
                <a:lnTo>
                  <a:pt x="5852411" y="1531799"/>
                </a:lnTo>
                <a:lnTo>
                  <a:pt x="5894033" y="1519068"/>
                </a:lnTo>
                <a:lnTo>
                  <a:pt x="5939338" y="1509872"/>
                </a:lnTo>
                <a:lnTo>
                  <a:pt x="5988459" y="1504296"/>
                </a:lnTo>
                <a:close/>
                <a:moveTo>
                  <a:pt x="4160590" y="1021648"/>
                </a:moveTo>
                <a:lnTo>
                  <a:pt x="4367589" y="1021648"/>
                </a:lnTo>
                <a:lnTo>
                  <a:pt x="4367589" y="1195261"/>
                </a:lnTo>
                <a:lnTo>
                  <a:pt x="4160590" y="1195261"/>
                </a:lnTo>
                <a:close/>
                <a:moveTo>
                  <a:pt x="5799344" y="871408"/>
                </a:moveTo>
                <a:lnTo>
                  <a:pt x="6704136" y="871408"/>
                </a:lnTo>
                <a:lnTo>
                  <a:pt x="6704136" y="978246"/>
                </a:lnTo>
                <a:lnTo>
                  <a:pt x="5799344" y="978246"/>
                </a:lnTo>
                <a:close/>
                <a:moveTo>
                  <a:pt x="5799344" y="522512"/>
                </a:moveTo>
                <a:lnTo>
                  <a:pt x="6704136" y="522512"/>
                </a:lnTo>
                <a:lnTo>
                  <a:pt x="6704136" y="629350"/>
                </a:lnTo>
                <a:lnTo>
                  <a:pt x="5799344" y="629350"/>
                </a:lnTo>
                <a:close/>
                <a:moveTo>
                  <a:pt x="7774691" y="6383"/>
                </a:moveTo>
                <a:lnTo>
                  <a:pt x="8148629" y="6383"/>
                </a:lnTo>
                <a:lnTo>
                  <a:pt x="8148629" y="101632"/>
                </a:lnTo>
                <a:lnTo>
                  <a:pt x="7889880" y="101632"/>
                </a:lnTo>
                <a:lnTo>
                  <a:pt x="7889880" y="1200182"/>
                </a:lnTo>
                <a:lnTo>
                  <a:pt x="8148629" y="1200182"/>
                </a:lnTo>
                <a:lnTo>
                  <a:pt x="8148629" y="1295432"/>
                </a:lnTo>
                <a:lnTo>
                  <a:pt x="7774691" y="1295432"/>
                </a:lnTo>
                <a:lnTo>
                  <a:pt x="7774691" y="1200182"/>
                </a:lnTo>
                <a:lnTo>
                  <a:pt x="7774691" y="101632"/>
                </a:lnTo>
                <a:close/>
                <a:moveTo>
                  <a:pt x="8243417" y="0"/>
                </a:moveTo>
                <a:lnTo>
                  <a:pt x="8296487" y="1877"/>
                </a:lnTo>
                <a:lnTo>
                  <a:pt x="8345608" y="7454"/>
                </a:lnTo>
                <a:lnTo>
                  <a:pt x="8390913" y="16649"/>
                </a:lnTo>
                <a:lnTo>
                  <a:pt x="8432534" y="29381"/>
                </a:lnTo>
                <a:lnTo>
                  <a:pt x="8470605" y="45569"/>
                </a:lnTo>
                <a:lnTo>
                  <a:pt x="8505258" y="65130"/>
                </a:lnTo>
                <a:lnTo>
                  <a:pt x="8536626" y="87984"/>
                </a:lnTo>
                <a:lnTo>
                  <a:pt x="8564841" y="114050"/>
                </a:lnTo>
                <a:lnTo>
                  <a:pt x="8590036" y="143246"/>
                </a:lnTo>
                <a:lnTo>
                  <a:pt x="8612344" y="175491"/>
                </a:lnTo>
                <a:lnTo>
                  <a:pt x="8631898" y="210703"/>
                </a:lnTo>
                <a:lnTo>
                  <a:pt x="8648830" y="248801"/>
                </a:lnTo>
                <a:lnTo>
                  <a:pt x="8663273" y="289703"/>
                </a:lnTo>
                <a:lnTo>
                  <a:pt x="8675359" y="333329"/>
                </a:lnTo>
                <a:lnTo>
                  <a:pt x="8685222" y="379596"/>
                </a:lnTo>
                <a:lnTo>
                  <a:pt x="8692995" y="428424"/>
                </a:lnTo>
                <a:lnTo>
                  <a:pt x="8698808" y="479730"/>
                </a:lnTo>
                <a:lnTo>
                  <a:pt x="8702797" y="533435"/>
                </a:lnTo>
                <a:lnTo>
                  <a:pt x="8705093" y="589455"/>
                </a:lnTo>
                <a:lnTo>
                  <a:pt x="8705829" y="647711"/>
                </a:lnTo>
                <a:lnTo>
                  <a:pt x="8705129" y="706216"/>
                </a:lnTo>
                <a:lnTo>
                  <a:pt x="8702932" y="762486"/>
                </a:lnTo>
                <a:lnTo>
                  <a:pt x="8699096" y="816436"/>
                </a:lnTo>
                <a:lnTo>
                  <a:pt x="8693475" y="867986"/>
                </a:lnTo>
                <a:lnTo>
                  <a:pt x="8685927" y="917051"/>
                </a:lnTo>
                <a:lnTo>
                  <a:pt x="8676306" y="963550"/>
                </a:lnTo>
                <a:lnTo>
                  <a:pt x="8664469" y="1007399"/>
                </a:lnTo>
                <a:lnTo>
                  <a:pt x="8650272" y="1048517"/>
                </a:lnTo>
                <a:lnTo>
                  <a:pt x="8633571" y="1086820"/>
                </a:lnTo>
                <a:lnTo>
                  <a:pt x="8614222" y="1122226"/>
                </a:lnTo>
                <a:lnTo>
                  <a:pt x="8592081" y="1154652"/>
                </a:lnTo>
                <a:lnTo>
                  <a:pt x="8567005" y="1184015"/>
                </a:lnTo>
                <a:lnTo>
                  <a:pt x="8538848" y="1210234"/>
                </a:lnTo>
                <a:lnTo>
                  <a:pt x="8507467" y="1233224"/>
                </a:lnTo>
                <a:lnTo>
                  <a:pt x="8472718" y="1252905"/>
                </a:lnTo>
                <a:lnTo>
                  <a:pt x="8434458" y="1269193"/>
                </a:lnTo>
                <a:lnTo>
                  <a:pt x="8392541" y="1282004"/>
                </a:lnTo>
                <a:lnTo>
                  <a:pt x="8346825" y="1291258"/>
                </a:lnTo>
                <a:lnTo>
                  <a:pt x="8297165" y="1296871"/>
                </a:lnTo>
                <a:lnTo>
                  <a:pt x="8243417" y="1298760"/>
                </a:lnTo>
                <a:lnTo>
                  <a:pt x="8243417" y="1201938"/>
                </a:lnTo>
                <a:lnTo>
                  <a:pt x="8293102" y="1199705"/>
                </a:lnTo>
                <a:lnTo>
                  <a:pt x="8338022" y="1193084"/>
                </a:lnTo>
                <a:lnTo>
                  <a:pt x="8378405" y="1182195"/>
                </a:lnTo>
                <a:lnTo>
                  <a:pt x="8414476" y="1167155"/>
                </a:lnTo>
                <a:lnTo>
                  <a:pt x="8474587" y="1125095"/>
                </a:lnTo>
                <a:lnTo>
                  <a:pt x="8520166" y="1067851"/>
                </a:lnTo>
                <a:lnTo>
                  <a:pt x="8538072" y="1033830"/>
                </a:lnTo>
                <a:lnTo>
                  <a:pt x="8553024" y="996369"/>
                </a:lnTo>
                <a:lnTo>
                  <a:pt x="8565248" y="955584"/>
                </a:lnTo>
                <a:lnTo>
                  <a:pt x="8574971" y="911594"/>
                </a:lnTo>
                <a:lnTo>
                  <a:pt x="8582418" y="864517"/>
                </a:lnTo>
                <a:lnTo>
                  <a:pt x="8587817" y="814473"/>
                </a:lnTo>
                <a:lnTo>
                  <a:pt x="8591393" y="761578"/>
                </a:lnTo>
                <a:lnTo>
                  <a:pt x="8593372" y="705951"/>
                </a:lnTo>
                <a:lnTo>
                  <a:pt x="8593982" y="647711"/>
                </a:lnTo>
                <a:lnTo>
                  <a:pt x="8593340" y="590042"/>
                </a:lnTo>
                <a:lnTo>
                  <a:pt x="8591270" y="534953"/>
                </a:lnTo>
                <a:lnTo>
                  <a:pt x="8587560" y="482561"/>
                </a:lnTo>
                <a:lnTo>
                  <a:pt x="8581994" y="432984"/>
                </a:lnTo>
                <a:lnTo>
                  <a:pt x="8574359" y="386340"/>
                </a:lnTo>
                <a:lnTo>
                  <a:pt x="8564441" y="342749"/>
                </a:lnTo>
                <a:lnTo>
                  <a:pt x="8552025" y="302328"/>
                </a:lnTo>
                <a:lnTo>
                  <a:pt x="8536898" y="265196"/>
                </a:lnTo>
                <a:lnTo>
                  <a:pt x="8518845" y="231470"/>
                </a:lnTo>
                <a:lnTo>
                  <a:pt x="8473107" y="174711"/>
                </a:lnTo>
                <a:lnTo>
                  <a:pt x="8413098" y="132998"/>
                </a:lnTo>
                <a:lnTo>
                  <a:pt x="8377206" y="118079"/>
                </a:lnTo>
                <a:lnTo>
                  <a:pt x="8337105" y="107277"/>
                </a:lnTo>
                <a:lnTo>
                  <a:pt x="8292580" y="100708"/>
                </a:lnTo>
                <a:lnTo>
                  <a:pt x="8243417" y="98492"/>
                </a:lnTo>
                <a:close/>
                <a:moveTo>
                  <a:pt x="3109502" y="0"/>
                </a:moveTo>
                <a:lnTo>
                  <a:pt x="3162572" y="1876"/>
                </a:lnTo>
                <a:lnTo>
                  <a:pt x="3211694" y="7453"/>
                </a:lnTo>
                <a:lnTo>
                  <a:pt x="3256998" y="16648"/>
                </a:lnTo>
                <a:lnTo>
                  <a:pt x="3298621" y="29380"/>
                </a:lnTo>
                <a:lnTo>
                  <a:pt x="3336692" y="45568"/>
                </a:lnTo>
                <a:lnTo>
                  <a:pt x="3371345" y="65129"/>
                </a:lnTo>
                <a:lnTo>
                  <a:pt x="3402713" y="87984"/>
                </a:lnTo>
                <a:lnTo>
                  <a:pt x="3430928" y="114050"/>
                </a:lnTo>
                <a:lnTo>
                  <a:pt x="3456123" y="143246"/>
                </a:lnTo>
                <a:lnTo>
                  <a:pt x="3478431" y="175491"/>
                </a:lnTo>
                <a:lnTo>
                  <a:pt x="3497985" y="210703"/>
                </a:lnTo>
                <a:lnTo>
                  <a:pt x="3514917" y="248801"/>
                </a:lnTo>
                <a:lnTo>
                  <a:pt x="3529360" y="289703"/>
                </a:lnTo>
                <a:lnTo>
                  <a:pt x="3541446" y="333329"/>
                </a:lnTo>
                <a:lnTo>
                  <a:pt x="3551309" y="379596"/>
                </a:lnTo>
                <a:lnTo>
                  <a:pt x="3559082" y="428424"/>
                </a:lnTo>
                <a:lnTo>
                  <a:pt x="3564896" y="479730"/>
                </a:lnTo>
                <a:lnTo>
                  <a:pt x="3568884" y="533435"/>
                </a:lnTo>
                <a:lnTo>
                  <a:pt x="3571180" y="589455"/>
                </a:lnTo>
                <a:lnTo>
                  <a:pt x="3571916" y="647711"/>
                </a:lnTo>
                <a:lnTo>
                  <a:pt x="3571216" y="706216"/>
                </a:lnTo>
                <a:lnTo>
                  <a:pt x="3569019" y="762486"/>
                </a:lnTo>
                <a:lnTo>
                  <a:pt x="3565183" y="816436"/>
                </a:lnTo>
                <a:lnTo>
                  <a:pt x="3559562" y="867986"/>
                </a:lnTo>
                <a:lnTo>
                  <a:pt x="3552014" y="917051"/>
                </a:lnTo>
                <a:lnTo>
                  <a:pt x="3542393" y="963550"/>
                </a:lnTo>
                <a:lnTo>
                  <a:pt x="3530556" y="1007399"/>
                </a:lnTo>
                <a:lnTo>
                  <a:pt x="3516359" y="1048517"/>
                </a:lnTo>
                <a:lnTo>
                  <a:pt x="3499658" y="1086820"/>
                </a:lnTo>
                <a:lnTo>
                  <a:pt x="3480309" y="1122226"/>
                </a:lnTo>
                <a:lnTo>
                  <a:pt x="3458168" y="1154652"/>
                </a:lnTo>
                <a:lnTo>
                  <a:pt x="3433091" y="1184015"/>
                </a:lnTo>
                <a:lnTo>
                  <a:pt x="3404934" y="1210234"/>
                </a:lnTo>
                <a:lnTo>
                  <a:pt x="3373554" y="1233224"/>
                </a:lnTo>
                <a:lnTo>
                  <a:pt x="3338805" y="1252905"/>
                </a:lnTo>
                <a:lnTo>
                  <a:pt x="3300544" y="1269192"/>
                </a:lnTo>
                <a:lnTo>
                  <a:pt x="3258627" y="1282004"/>
                </a:lnTo>
                <a:lnTo>
                  <a:pt x="3212910" y="1291258"/>
                </a:lnTo>
                <a:lnTo>
                  <a:pt x="3163250" y="1296871"/>
                </a:lnTo>
                <a:lnTo>
                  <a:pt x="3109502" y="1298760"/>
                </a:lnTo>
                <a:lnTo>
                  <a:pt x="3109502" y="1201938"/>
                </a:lnTo>
                <a:lnTo>
                  <a:pt x="3159187" y="1199705"/>
                </a:lnTo>
                <a:lnTo>
                  <a:pt x="3204108" y="1193084"/>
                </a:lnTo>
                <a:lnTo>
                  <a:pt x="3244491" y="1182195"/>
                </a:lnTo>
                <a:lnTo>
                  <a:pt x="3280562" y="1167155"/>
                </a:lnTo>
                <a:lnTo>
                  <a:pt x="3340673" y="1125095"/>
                </a:lnTo>
                <a:lnTo>
                  <a:pt x="3386253" y="1067851"/>
                </a:lnTo>
                <a:lnTo>
                  <a:pt x="3404158" y="1033830"/>
                </a:lnTo>
                <a:lnTo>
                  <a:pt x="3419110" y="996369"/>
                </a:lnTo>
                <a:lnTo>
                  <a:pt x="3431334" y="955584"/>
                </a:lnTo>
                <a:lnTo>
                  <a:pt x="3441057" y="911594"/>
                </a:lnTo>
                <a:lnTo>
                  <a:pt x="3448504" y="864517"/>
                </a:lnTo>
                <a:lnTo>
                  <a:pt x="3453903" y="814473"/>
                </a:lnTo>
                <a:lnTo>
                  <a:pt x="3457479" y="761578"/>
                </a:lnTo>
                <a:lnTo>
                  <a:pt x="3459458" y="705951"/>
                </a:lnTo>
                <a:lnTo>
                  <a:pt x="3460068" y="647711"/>
                </a:lnTo>
                <a:lnTo>
                  <a:pt x="3459426" y="590042"/>
                </a:lnTo>
                <a:lnTo>
                  <a:pt x="3457356" y="534953"/>
                </a:lnTo>
                <a:lnTo>
                  <a:pt x="3453646" y="482560"/>
                </a:lnTo>
                <a:lnTo>
                  <a:pt x="3448080" y="432984"/>
                </a:lnTo>
                <a:lnTo>
                  <a:pt x="3440445" y="386340"/>
                </a:lnTo>
                <a:lnTo>
                  <a:pt x="3430527" y="342749"/>
                </a:lnTo>
                <a:lnTo>
                  <a:pt x="3418111" y="302328"/>
                </a:lnTo>
                <a:lnTo>
                  <a:pt x="3402984" y="265196"/>
                </a:lnTo>
                <a:lnTo>
                  <a:pt x="3384931" y="231470"/>
                </a:lnTo>
                <a:lnTo>
                  <a:pt x="3339193" y="174711"/>
                </a:lnTo>
                <a:lnTo>
                  <a:pt x="3279183" y="132998"/>
                </a:lnTo>
                <a:lnTo>
                  <a:pt x="3243291" y="118079"/>
                </a:lnTo>
                <a:lnTo>
                  <a:pt x="3203191" y="107276"/>
                </a:lnTo>
                <a:lnTo>
                  <a:pt x="3158665" y="100708"/>
                </a:lnTo>
                <a:lnTo>
                  <a:pt x="3109502" y="98492"/>
                </a:lnTo>
                <a:close/>
                <a:moveTo>
                  <a:pt x="3017637" y="0"/>
                </a:moveTo>
                <a:lnTo>
                  <a:pt x="3017637" y="98492"/>
                </a:lnTo>
                <a:lnTo>
                  <a:pt x="2968752" y="100708"/>
                </a:lnTo>
                <a:lnTo>
                  <a:pt x="2924471" y="107277"/>
                </a:lnTo>
                <a:lnTo>
                  <a:pt x="2884585" y="118079"/>
                </a:lnTo>
                <a:lnTo>
                  <a:pt x="2848878" y="132998"/>
                </a:lnTo>
                <a:lnTo>
                  <a:pt x="2789164" y="174711"/>
                </a:lnTo>
                <a:lnTo>
                  <a:pt x="2743630" y="231470"/>
                </a:lnTo>
                <a:lnTo>
                  <a:pt x="2725650" y="265196"/>
                </a:lnTo>
                <a:lnTo>
                  <a:pt x="2710579" y="302328"/>
                </a:lnTo>
                <a:lnTo>
                  <a:pt x="2698207" y="342749"/>
                </a:lnTo>
                <a:lnTo>
                  <a:pt x="2688320" y="386340"/>
                </a:lnTo>
                <a:lnTo>
                  <a:pt x="2680706" y="432984"/>
                </a:lnTo>
                <a:lnTo>
                  <a:pt x="2675153" y="482561"/>
                </a:lnTo>
                <a:lnTo>
                  <a:pt x="2671448" y="534953"/>
                </a:lnTo>
                <a:lnTo>
                  <a:pt x="2669382" y="590042"/>
                </a:lnTo>
                <a:lnTo>
                  <a:pt x="2668740" y="647711"/>
                </a:lnTo>
                <a:lnTo>
                  <a:pt x="2669365" y="705951"/>
                </a:lnTo>
                <a:lnTo>
                  <a:pt x="2671388" y="761578"/>
                </a:lnTo>
                <a:lnTo>
                  <a:pt x="2675025" y="814473"/>
                </a:lnTo>
                <a:lnTo>
                  <a:pt x="2680494" y="864517"/>
                </a:lnTo>
                <a:lnTo>
                  <a:pt x="2688015" y="911594"/>
                </a:lnTo>
                <a:lnTo>
                  <a:pt x="2697803" y="955584"/>
                </a:lnTo>
                <a:lnTo>
                  <a:pt x="2710081" y="996369"/>
                </a:lnTo>
                <a:lnTo>
                  <a:pt x="2725063" y="1033830"/>
                </a:lnTo>
                <a:lnTo>
                  <a:pt x="2742969" y="1067851"/>
                </a:lnTo>
                <a:lnTo>
                  <a:pt x="2788423" y="1125095"/>
                </a:lnTo>
                <a:lnTo>
                  <a:pt x="2848189" y="1167155"/>
                </a:lnTo>
                <a:lnTo>
                  <a:pt x="2883984" y="1182195"/>
                </a:lnTo>
                <a:lnTo>
                  <a:pt x="2924012" y="1193084"/>
                </a:lnTo>
                <a:lnTo>
                  <a:pt x="2968491" y="1199705"/>
                </a:lnTo>
                <a:lnTo>
                  <a:pt x="3017637" y="1201938"/>
                </a:lnTo>
                <a:lnTo>
                  <a:pt x="3017637" y="1298760"/>
                </a:lnTo>
                <a:lnTo>
                  <a:pt x="2964115" y="1296871"/>
                </a:lnTo>
                <a:lnTo>
                  <a:pt x="2914634" y="1291258"/>
                </a:lnTo>
                <a:lnTo>
                  <a:pt x="2869056" y="1282004"/>
                </a:lnTo>
                <a:lnTo>
                  <a:pt x="2827236" y="1269193"/>
                </a:lnTo>
                <a:lnTo>
                  <a:pt x="2789039" y="1252905"/>
                </a:lnTo>
                <a:lnTo>
                  <a:pt x="2754322" y="1233224"/>
                </a:lnTo>
                <a:lnTo>
                  <a:pt x="2722946" y="1210234"/>
                </a:lnTo>
                <a:lnTo>
                  <a:pt x="2694770" y="1184015"/>
                </a:lnTo>
                <a:lnTo>
                  <a:pt x="2669653" y="1154652"/>
                </a:lnTo>
                <a:lnTo>
                  <a:pt x="2647457" y="1122226"/>
                </a:lnTo>
                <a:lnTo>
                  <a:pt x="2628039" y="1086820"/>
                </a:lnTo>
                <a:lnTo>
                  <a:pt x="2611262" y="1048517"/>
                </a:lnTo>
                <a:lnTo>
                  <a:pt x="2596982" y="1007399"/>
                </a:lnTo>
                <a:lnTo>
                  <a:pt x="2585062" y="963550"/>
                </a:lnTo>
                <a:lnTo>
                  <a:pt x="2575361" y="917051"/>
                </a:lnTo>
                <a:lnTo>
                  <a:pt x="2567737" y="867986"/>
                </a:lnTo>
                <a:lnTo>
                  <a:pt x="2562052" y="816436"/>
                </a:lnTo>
                <a:lnTo>
                  <a:pt x="2558166" y="762486"/>
                </a:lnTo>
                <a:lnTo>
                  <a:pt x="2555936" y="706216"/>
                </a:lnTo>
                <a:lnTo>
                  <a:pt x="2555225" y="647711"/>
                </a:lnTo>
                <a:lnTo>
                  <a:pt x="2555961" y="589455"/>
                </a:lnTo>
                <a:lnTo>
                  <a:pt x="2558256" y="533435"/>
                </a:lnTo>
                <a:lnTo>
                  <a:pt x="2562245" y="479730"/>
                </a:lnTo>
                <a:lnTo>
                  <a:pt x="2568057" y="428424"/>
                </a:lnTo>
                <a:lnTo>
                  <a:pt x="2575830" y="379596"/>
                </a:lnTo>
                <a:lnTo>
                  <a:pt x="2585694" y="333329"/>
                </a:lnTo>
                <a:lnTo>
                  <a:pt x="2597780" y="289703"/>
                </a:lnTo>
                <a:lnTo>
                  <a:pt x="2612222" y="248801"/>
                </a:lnTo>
                <a:lnTo>
                  <a:pt x="2629156" y="210703"/>
                </a:lnTo>
                <a:lnTo>
                  <a:pt x="2648708" y="175491"/>
                </a:lnTo>
                <a:lnTo>
                  <a:pt x="2671016" y="143246"/>
                </a:lnTo>
                <a:lnTo>
                  <a:pt x="2696212" y="114050"/>
                </a:lnTo>
                <a:lnTo>
                  <a:pt x="2724427" y="87984"/>
                </a:lnTo>
                <a:lnTo>
                  <a:pt x="2755794" y="65130"/>
                </a:lnTo>
                <a:lnTo>
                  <a:pt x="2790448" y="45569"/>
                </a:lnTo>
                <a:lnTo>
                  <a:pt x="2828518" y="29382"/>
                </a:lnTo>
                <a:lnTo>
                  <a:pt x="2870141" y="16649"/>
                </a:lnTo>
                <a:lnTo>
                  <a:pt x="2915445" y="7455"/>
                </a:lnTo>
                <a:lnTo>
                  <a:pt x="2964567" y="1877"/>
                </a:lnTo>
                <a:close/>
              </a:path>
            </a:pathLst>
          </a:custGeom>
          <a:solidFill>
            <a:srgbClr val="4D7836"/>
          </a:solidFill>
        </p:spPr>
        <p:txBody>
          <a:bodyPr wrap="square" lIns="0" tIns="0" rIns="0" bIns="0" rtlCol="0">
            <a:noAutofit/>
          </a:bodyPr>
          <a:lstStyle/>
          <a:p>
            <a:endParaRPr lang="da-DK" sz="1350" dirty="0"/>
          </a:p>
        </p:txBody>
      </p:sp>
    </p:spTree>
    <p:extLst>
      <p:ext uri="{BB962C8B-B14F-4D97-AF65-F5344CB8AC3E}">
        <p14:creationId xmlns:p14="http://schemas.microsoft.com/office/powerpoint/2010/main" val="21221964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reaker D">
    <p:bg>
      <p:bgRef idx="1001">
        <a:schemeClr val="bg1"/>
      </p:bgRef>
    </p:bg>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dirty="0"/>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dirty="0"/>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3BB9AE99-772C-4228-AF46-BF964994F324}" type="datetime2">
              <a:rPr lang="da-DK" smtClean="0"/>
              <a:t>11. december 2025</a:t>
            </a:fld>
            <a:endParaRPr lang="da-DK" dirty="0"/>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dirty="0"/>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dirty="0"/>
          </a:p>
        </p:txBody>
      </p:sp>
      <p:sp>
        <p:nvSpPr>
          <p:cNvPr id="6" name="Mikro grafik 1">
            <a:extLst>
              <a:ext uri="{FF2B5EF4-FFF2-40B4-BE49-F238E27FC236}">
                <a16:creationId xmlns:a16="http://schemas.microsoft.com/office/drawing/2014/main" id="{CF298011-2AEF-EC84-54F2-B43A8661A425}"/>
              </a:ext>
            </a:extLst>
          </p:cNvPr>
          <p:cNvSpPr/>
          <p:nvPr userDrawn="1"/>
        </p:nvSpPr>
        <p:spPr>
          <a:xfrm>
            <a:off x="257176" y="930323"/>
            <a:ext cx="4065815" cy="3297127"/>
          </a:xfrm>
          <a:custGeom>
            <a:avLst/>
            <a:gdLst>
              <a:gd name="connsiteX0" fmla="*/ 6351898 w 9012328"/>
              <a:gd name="connsiteY0" fmla="*/ 7031333 h 7308446"/>
              <a:gd name="connsiteX1" fmla="*/ 6558899 w 9012328"/>
              <a:gd name="connsiteY1" fmla="*/ 7031333 h 7308446"/>
              <a:gd name="connsiteX2" fmla="*/ 6558899 w 9012328"/>
              <a:gd name="connsiteY2" fmla="*/ 7204946 h 7308446"/>
              <a:gd name="connsiteX3" fmla="*/ 6351898 w 9012328"/>
              <a:gd name="connsiteY3" fmla="*/ 7204946 h 7308446"/>
              <a:gd name="connsiteX4" fmla="*/ 3333905 w 9012328"/>
              <a:gd name="connsiteY4" fmla="*/ 6881094 h 7308446"/>
              <a:gd name="connsiteX5" fmla="*/ 4238693 w 9012328"/>
              <a:gd name="connsiteY5" fmla="*/ 6881094 h 7308446"/>
              <a:gd name="connsiteX6" fmla="*/ 4238693 w 9012328"/>
              <a:gd name="connsiteY6" fmla="*/ 6987931 h 7308446"/>
              <a:gd name="connsiteX7" fmla="*/ 3333905 w 9012328"/>
              <a:gd name="connsiteY7" fmla="*/ 6987931 h 7308446"/>
              <a:gd name="connsiteX8" fmla="*/ 3333905 w 9012328"/>
              <a:gd name="connsiteY8" fmla="*/ 6532197 h 7308446"/>
              <a:gd name="connsiteX9" fmla="*/ 4238693 w 9012328"/>
              <a:gd name="connsiteY9" fmla="*/ 6532197 h 7308446"/>
              <a:gd name="connsiteX10" fmla="*/ 4238693 w 9012328"/>
              <a:gd name="connsiteY10" fmla="*/ 6639034 h 7308446"/>
              <a:gd name="connsiteX11" fmla="*/ 3333905 w 9012328"/>
              <a:gd name="connsiteY11" fmla="*/ 6639034 h 7308446"/>
              <a:gd name="connsiteX12" fmla="*/ 5357969 w 9012328"/>
              <a:gd name="connsiteY12" fmla="*/ 6016022 h 7308446"/>
              <a:gd name="connsiteX13" fmla="*/ 5731908 w 9012328"/>
              <a:gd name="connsiteY13" fmla="*/ 6016022 h 7308446"/>
              <a:gd name="connsiteX14" fmla="*/ 5731908 w 9012328"/>
              <a:gd name="connsiteY14" fmla="*/ 6111272 h 7308446"/>
              <a:gd name="connsiteX15" fmla="*/ 5731908 w 9012328"/>
              <a:gd name="connsiteY15" fmla="*/ 7209822 h 7308446"/>
              <a:gd name="connsiteX16" fmla="*/ 5731908 w 9012328"/>
              <a:gd name="connsiteY16" fmla="*/ 7305072 h 7308446"/>
              <a:gd name="connsiteX17" fmla="*/ 5357969 w 9012328"/>
              <a:gd name="connsiteY17" fmla="*/ 7305072 h 7308446"/>
              <a:gd name="connsiteX18" fmla="*/ 5357969 w 9012328"/>
              <a:gd name="connsiteY18" fmla="*/ 7209822 h 7308446"/>
              <a:gd name="connsiteX19" fmla="*/ 5616719 w 9012328"/>
              <a:gd name="connsiteY19" fmla="*/ 7209822 h 7308446"/>
              <a:gd name="connsiteX20" fmla="*/ 5616719 w 9012328"/>
              <a:gd name="connsiteY20" fmla="*/ 6111272 h 7308446"/>
              <a:gd name="connsiteX21" fmla="*/ 5357969 w 9012328"/>
              <a:gd name="connsiteY21" fmla="*/ 6111272 h 7308446"/>
              <a:gd name="connsiteX22" fmla="*/ 4884222 w 9012328"/>
              <a:gd name="connsiteY22" fmla="*/ 6016022 h 7308446"/>
              <a:gd name="connsiteX23" fmla="*/ 5258161 w 9012328"/>
              <a:gd name="connsiteY23" fmla="*/ 6016022 h 7308446"/>
              <a:gd name="connsiteX24" fmla="*/ 5258161 w 9012328"/>
              <a:gd name="connsiteY24" fmla="*/ 6111272 h 7308446"/>
              <a:gd name="connsiteX25" fmla="*/ 4999412 w 9012328"/>
              <a:gd name="connsiteY25" fmla="*/ 6111272 h 7308446"/>
              <a:gd name="connsiteX26" fmla="*/ 4999412 w 9012328"/>
              <a:gd name="connsiteY26" fmla="*/ 7209822 h 7308446"/>
              <a:gd name="connsiteX27" fmla="*/ 5258161 w 9012328"/>
              <a:gd name="connsiteY27" fmla="*/ 7209822 h 7308446"/>
              <a:gd name="connsiteX28" fmla="*/ 5258161 w 9012328"/>
              <a:gd name="connsiteY28" fmla="*/ 7305072 h 7308446"/>
              <a:gd name="connsiteX29" fmla="*/ 4884222 w 9012328"/>
              <a:gd name="connsiteY29" fmla="*/ 7305072 h 7308446"/>
              <a:gd name="connsiteX30" fmla="*/ 4884222 w 9012328"/>
              <a:gd name="connsiteY30" fmla="*/ 7209822 h 7308446"/>
              <a:gd name="connsiteX31" fmla="*/ 4884222 w 9012328"/>
              <a:gd name="connsiteY31" fmla="*/ 6111272 h 7308446"/>
              <a:gd name="connsiteX32" fmla="*/ 8549915 w 9012328"/>
              <a:gd name="connsiteY32" fmla="*/ 6009685 h 7308446"/>
              <a:gd name="connsiteX33" fmla="*/ 8602985 w 9012328"/>
              <a:gd name="connsiteY33" fmla="*/ 6011561 h 7308446"/>
              <a:gd name="connsiteX34" fmla="*/ 8652106 w 9012328"/>
              <a:gd name="connsiteY34" fmla="*/ 6017138 h 7308446"/>
              <a:gd name="connsiteX35" fmla="*/ 8697411 w 9012328"/>
              <a:gd name="connsiteY35" fmla="*/ 6026333 h 7308446"/>
              <a:gd name="connsiteX36" fmla="*/ 8739033 w 9012328"/>
              <a:gd name="connsiteY36" fmla="*/ 6039065 h 7308446"/>
              <a:gd name="connsiteX37" fmla="*/ 8777104 w 9012328"/>
              <a:gd name="connsiteY37" fmla="*/ 6055253 h 7308446"/>
              <a:gd name="connsiteX38" fmla="*/ 8811757 w 9012328"/>
              <a:gd name="connsiteY38" fmla="*/ 6074814 h 7308446"/>
              <a:gd name="connsiteX39" fmla="*/ 8843125 w 9012328"/>
              <a:gd name="connsiteY39" fmla="*/ 6097669 h 7308446"/>
              <a:gd name="connsiteX40" fmla="*/ 8871340 w 9012328"/>
              <a:gd name="connsiteY40" fmla="*/ 6123735 h 7308446"/>
              <a:gd name="connsiteX41" fmla="*/ 8896535 w 9012328"/>
              <a:gd name="connsiteY41" fmla="*/ 6152931 h 7308446"/>
              <a:gd name="connsiteX42" fmla="*/ 8918843 w 9012328"/>
              <a:gd name="connsiteY42" fmla="*/ 6185176 h 7308446"/>
              <a:gd name="connsiteX43" fmla="*/ 8938397 w 9012328"/>
              <a:gd name="connsiteY43" fmla="*/ 6220388 h 7308446"/>
              <a:gd name="connsiteX44" fmla="*/ 8955329 w 9012328"/>
              <a:gd name="connsiteY44" fmla="*/ 6258486 h 7308446"/>
              <a:gd name="connsiteX45" fmla="*/ 8969772 w 9012328"/>
              <a:gd name="connsiteY45" fmla="*/ 6299388 h 7308446"/>
              <a:gd name="connsiteX46" fmla="*/ 8981858 w 9012328"/>
              <a:gd name="connsiteY46" fmla="*/ 6343014 h 7308446"/>
              <a:gd name="connsiteX47" fmla="*/ 8991721 w 9012328"/>
              <a:gd name="connsiteY47" fmla="*/ 6389281 h 7308446"/>
              <a:gd name="connsiteX48" fmla="*/ 8999494 w 9012328"/>
              <a:gd name="connsiteY48" fmla="*/ 6438109 h 7308446"/>
              <a:gd name="connsiteX49" fmla="*/ 9005308 w 9012328"/>
              <a:gd name="connsiteY49" fmla="*/ 6489415 h 7308446"/>
              <a:gd name="connsiteX50" fmla="*/ 9009296 w 9012328"/>
              <a:gd name="connsiteY50" fmla="*/ 6543120 h 7308446"/>
              <a:gd name="connsiteX51" fmla="*/ 9011592 w 9012328"/>
              <a:gd name="connsiteY51" fmla="*/ 6599140 h 7308446"/>
              <a:gd name="connsiteX52" fmla="*/ 9012328 w 9012328"/>
              <a:gd name="connsiteY52" fmla="*/ 6657396 h 7308446"/>
              <a:gd name="connsiteX53" fmla="*/ 9011628 w 9012328"/>
              <a:gd name="connsiteY53" fmla="*/ 6715902 h 7308446"/>
              <a:gd name="connsiteX54" fmla="*/ 9009431 w 9012328"/>
              <a:gd name="connsiteY54" fmla="*/ 6772172 h 7308446"/>
              <a:gd name="connsiteX55" fmla="*/ 9005595 w 9012328"/>
              <a:gd name="connsiteY55" fmla="*/ 6826122 h 7308446"/>
              <a:gd name="connsiteX56" fmla="*/ 8999974 w 9012328"/>
              <a:gd name="connsiteY56" fmla="*/ 6877672 h 7308446"/>
              <a:gd name="connsiteX57" fmla="*/ 8992426 w 9012328"/>
              <a:gd name="connsiteY57" fmla="*/ 6926737 h 7308446"/>
              <a:gd name="connsiteX58" fmla="*/ 8982805 w 9012328"/>
              <a:gd name="connsiteY58" fmla="*/ 6973236 h 7308446"/>
              <a:gd name="connsiteX59" fmla="*/ 8970968 w 9012328"/>
              <a:gd name="connsiteY59" fmla="*/ 7017085 h 7308446"/>
              <a:gd name="connsiteX60" fmla="*/ 8956771 w 9012328"/>
              <a:gd name="connsiteY60" fmla="*/ 7058203 h 7308446"/>
              <a:gd name="connsiteX61" fmla="*/ 8940070 w 9012328"/>
              <a:gd name="connsiteY61" fmla="*/ 7096506 h 7308446"/>
              <a:gd name="connsiteX62" fmla="*/ 8920721 w 9012328"/>
              <a:gd name="connsiteY62" fmla="*/ 7131912 h 7308446"/>
              <a:gd name="connsiteX63" fmla="*/ 8898580 w 9012328"/>
              <a:gd name="connsiteY63" fmla="*/ 7164338 h 7308446"/>
              <a:gd name="connsiteX64" fmla="*/ 8873503 w 9012328"/>
              <a:gd name="connsiteY64" fmla="*/ 7193701 h 7308446"/>
              <a:gd name="connsiteX65" fmla="*/ 8845346 w 9012328"/>
              <a:gd name="connsiteY65" fmla="*/ 7219920 h 7308446"/>
              <a:gd name="connsiteX66" fmla="*/ 8813966 w 9012328"/>
              <a:gd name="connsiteY66" fmla="*/ 7242910 h 7308446"/>
              <a:gd name="connsiteX67" fmla="*/ 8779217 w 9012328"/>
              <a:gd name="connsiteY67" fmla="*/ 7262591 h 7308446"/>
              <a:gd name="connsiteX68" fmla="*/ 8740956 w 9012328"/>
              <a:gd name="connsiteY68" fmla="*/ 7278878 h 7308446"/>
              <a:gd name="connsiteX69" fmla="*/ 8699039 w 9012328"/>
              <a:gd name="connsiteY69" fmla="*/ 7291690 h 7308446"/>
              <a:gd name="connsiteX70" fmla="*/ 8653323 w 9012328"/>
              <a:gd name="connsiteY70" fmla="*/ 7300944 h 7308446"/>
              <a:gd name="connsiteX71" fmla="*/ 8603663 w 9012328"/>
              <a:gd name="connsiteY71" fmla="*/ 7306557 h 7308446"/>
              <a:gd name="connsiteX72" fmla="*/ 8549915 w 9012328"/>
              <a:gd name="connsiteY72" fmla="*/ 7308446 h 7308446"/>
              <a:gd name="connsiteX73" fmla="*/ 8549915 w 9012328"/>
              <a:gd name="connsiteY73" fmla="*/ 7211624 h 7308446"/>
              <a:gd name="connsiteX74" fmla="*/ 8599600 w 9012328"/>
              <a:gd name="connsiteY74" fmla="*/ 7209391 h 7308446"/>
              <a:gd name="connsiteX75" fmla="*/ 8644521 w 9012328"/>
              <a:gd name="connsiteY75" fmla="*/ 7202770 h 7308446"/>
              <a:gd name="connsiteX76" fmla="*/ 8684903 w 9012328"/>
              <a:gd name="connsiteY76" fmla="*/ 7191881 h 7308446"/>
              <a:gd name="connsiteX77" fmla="*/ 8720974 w 9012328"/>
              <a:gd name="connsiteY77" fmla="*/ 7176841 h 7308446"/>
              <a:gd name="connsiteX78" fmla="*/ 8781085 w 9012328"/>
              <a:gd name="connsiteY78" fmla="*/ 7134781 h 7308446"/>
              <a:gd name="connsiteX79" fmla="*/ 8826665 w 9012328"/>
              <a:gd name="connsiteY79" fmla="*/ 7077537 h 7308446"/>
              <a:gd name="connsiteX80" fmla="*/ 8844570 w 9012328"/>
              <a:gd name="connsiteY80" fmla="*/ 7043516 h 7308446"/>
              <a:gd name="connsiteX81" fmla="*/ 8859522 w 9012328"/>
              <a:gd name="connsiteY81" fmla="*/ 7006054 h 7308446"/>
              <a:gd name="connsiteX82" fmla="*/ 8871746 w 9012328"/>
              <a:gd name="connsiteY82" fmla="*/ 6965269 h 7308446"/>
              <a:gd name="connsiteX83" fmla="*/ 8881469 w 9012328"/>
              <a:gd name="connsiteY83" fmla="*/ 6921279 h 7308446"/>
              <a:gd name="connsiteX84" fmla="*/ 8888916 w 9012328"/>
              <a:gd name="connsiteY84" fmla="*/ 6874203 h 7308446"/>
              <a:gd name="connsiteX85" fmla="*/ 8894315 w 9012328"/>
              <a:gd name="connsiteY85" fmla="*/ 6824158 h 7308446"/>
              <a:gd name="connsiteX86" fmla="*/ 8897891 w 9012328"/>
              <a:gd name="connsiteY86" fmla="*/ 6771263 h 7308446"/>
              <a:gd name="connsiteX87" fmla="*/ 8899870 w 9012328"/>
              <a:gd name="connsiteY87" fmla="*/ 6715637 h 7308446"/>
              <a:gd name="connsiteX88" fmla="*/ 8900480 w 9012328"/>
              <a:gd name="connsiteY88" fmla="*/ 6657396 h 7308446"/>
              <a:gd name="connsiteX89" fmla="*/ 8899838 w 9012328"/>
              <a:gd name="connsiteY89" fmla="*/ 6599727 h 7308446"/>
              <a:gd name="connsiteX90" fmla="*/ 8897768 w 9012328"/>
              <a:gd name="connsiteY90" fmla="*/ 6544638 h 7308446"/>
              <a:gd name="connsiteX91" fmla="*/ 8894058 w 9012328"/>
              <a:gd name="connsiteY91" fmla="*/ 6492245 h 7308446"/>
              <a:gd name="connsiteX92" fmla="*/ 8888492 w 9012328"/>
              <a:gd name="connsiteY92" fmla="*/ 6442669 h 7308446"/>
              <a:gd name="connsiteX93" fmla="*/ 8880857 w 9012328"/>
              <a:gd name="connsiteY93" fmla="*/ 6396025 h 7308446"/>
              <a:gd name="connsiteX94" fmla="*/ 8870939 w 9012328"/>
              <a:gd name="connsiteY94" fmla="*/ 6352434 h 7308446"/>
              <a:gd name="connsiteX95" fmla="*/ 8858523 w 9012328"/>
              <a:gd name="connsiteY95" fmla="*/ 6312013 h 7308446"/>
              <a:gd name="connsiteX96" fmla="*/ 8843396 w 9012328"/>
              <a:gd name="connsiteY96" fmla="*/ 6274881 h 7308446"/>
              <a:gd name="connsiteX97" fmla="*/ 8825343 w 9012328"/>
              <a:gd name="connsiteY97" fmla="*/ 6241155 h 7308446"/>
              <a:gd name="connsiteX98" fmla="*/ 8779605 w 9012328"/>
              <a:gd name="connsiteY98" fmla="*/ 6184396 h 7308446"/>
              <a:gd name="connsiteX99" fmla="*/ 8719596 w 9012328"/>
              <a:gd name="connsiteY99" fmla="*/ 6142683 h 7308446"/>
              <a:gd name="connsiteX100" fmla="*/ 8683704 w 9012328"/>
              <a:gd name="connsiteY100" fmla="*/ 6127764 h 7308446"/>
              <a:gd name="connsiteX101" fmla="*/ 8643603 w 9012328"/>
              <a:gd name="connsiteY101" fmla="*/ 6116961 h 7308446"/>
              <a:gd name="connsiteX102" fmla="*/ 8599078 w 9012328"/>
              <a:gd name="connsiteY102" fmla="*/ 6110393 h 7308446"/>
              <a:gd name="connsiteX103" fmla="*/ 8549915 w 9012328"/>
              <a:gd name="connsiteY103" fmla="*/ 6108177 h 7308446"/>
              <a:gd name="connsiteX104" fmla="*/ 8458035 w 9012328"/>
              <a:gd name="connsiteY104" fmla="*/ 6009685 h 7308446"/>
              <a:gd name="connsiteX105" fmla="*/ 8458035 w 9012328"/>
              <a:gd name="connsiteY105" fmla="*/ 6108177 h 7308446"/>
              <a:gd name="connsiteX106" fmla="*/ 8409149 w 9012328"/>
              <a:gd name="connsiteY106" fmla="*/ 6110393 h 7308446"/>
              <a:gd name="connsiteX107" fmla="*/ 8364868 w 9012328"/>
              <a:gd name="connsiteY107" fmla="*/ 6116961 h 7308446"/>
              <a:gd name="connsiteX108" fmla="*/ 8324982 w 9012328"/>
              <a:gd name="connsiteY108" fmla="*/ 6127764 h 7308446"/>
              <a:gd name="connsiteX109" fmla="*/ 8289276 w 9012328"/>
              <a:gd name="connsiteY109" fmla="*/ 6142683 h 7308446"/>
              <a:gd name="connsiteX110" fmla="*/ 8229561 w 9012328"/>
              <a:gd name="connsiteY110" fmla="*/ 6184396 h 7308446"/>
              <a:gd name="connsiteX111" fmla="*/ 8184027 w 9012328"/>
              <a:gd name="connsiteY111" fmla="*/ 6241155 h 7308446"/>
              <a:gd name="connsiteX112" fmla="*/ 8166048 w 9012328"/>
              <a:gd name="connsiteY112" fmla="*/ 6274881 h 7308446"/>
              <a:gd name="connsiteX113" fmla="*/ 8150978 w 9012328"/>
              <a:gd name="connsiteY113" fmla="*/ 6312013 h 7308446"/>
              <a:gd name="connsiteX114" fmla="*/ 8138606 w 9012328"/>
              <a:gd name="connsiteY114" fmla="*/ 6352434 h 7308446"/>
              <a:gd name="connsiteX115" fmla="*/ 8128718 w 9012328"/>
              <a:gd name="connsiteY115" fmla="*/ 6396025 h 7308446"/>
              <a:gd name="connsiteX116" fmla="*/ 8121104 w 9012328"/>
              <a:gd name="connsiteY116" fmla="*/ 6442669 h 7308446"/>
              <a:gd name="connsiteX117" fmla="*/ 8115551 w 9012328"/>
              <a:gd name="connsiteY117" fmla="*/ 6492245 h 7308446"/>
              <a:gd name="connsiteX118" fmla="*/ 8111847 w 9012328"/>
              <a:gd name="connsiteY118" fmla="*/ 6544638 h 7308446"/>
              <a:gd name="connsiteX119" fmla="*/ 8109780 w 9012328"/>
              <a:gd name="connsiteY119" fmla="*/ 6599727 h 7308446"/>
              <a:gd name="connsiteX120" fmla="*/ 8109138 w 9012328"/>
              <a:gd name="connsiteY120" fmla="*/ 6657396 h 7308446"/>
              <a:gd name="connsiteX121" fmla="*/ 8109764 w 9012328"/>
              <a:gd name="connsiteY121" fmla="*/ 6715637 h 7308446"/>
              <a:gd name="connsiteX122" fmla="*/ 8111786 w 9012328"/>
              <a:gd name="connsiteY122" fmla="*/ 6771263 h 7308446"/>
              <a:gd name="connsiteX123" fmla="*/ 8115423 w 9012328"/>
              <a:gd name="connsiteY123" fmla="*/ 6824158 h 7308446"/>
              <a:gd name="connsiteX124" fmla="*/ 8120892 w 9012328"/>
              <a:gd name="connsiteY124" fmla="*/ 6874203 h 7308446"/>
              <a:gd name="connsiteX125" fmla="*/ 8128413 w 9012328"/>
              <a:gd name="connsiteY125" fmla="*/ 6921279 h 7308446"/>
              <a:gd name="connsiteX126" fmla="*/ 8138202 w 9012328"/>
              <a:gd name="connsiteY126" fmla="*/ 6965269 h 7308446"/>
              <a:gd name="connsiteX127" fmla="*/ 8150479 w 9012328"/>
              <a:gd name="connsiteY127" fmla="*/ 7006054 h 7308446"/>
              <a:gd name="connsiteX128" fmla="*/ 8165461 w 9012328"/>
              <a:gd name="connsiteY128" fmla="*/ 7043516 h 7308446"/>
              <a:gd name="connsiteX129" fmla="*/ 8183367 w 9012328"/>
              <a:gd name="connsiteY129" fmla="*/ 7077537 h 7308446"/>
              <a:gd name="connsiteX130" fmla="*/ 8228821 w 9012328"/>
              <a:gd name="connsiteY130" fmla="*/ 7134781 h 7308446"/>
              <a:gd name="connsiteX131" fmla="*/ 8288587 w 9012328"/>
              <a:gd name="connsiteY131" fmla="*/ 7176841 h 7308446"/>
              <a:gd name="connsiteX132" fmla="*/ 8324382 w 9012328"/>
              <a:gd name="connsiteY132" fmla="*/ 7191881 h 7308446"/>
              <a:gd name="connsiteX133" fmla="*/ 8364410 w 9012328"/>
              <a:gd name="connsiteY133" fmla="*/ 7202770 h 7308446"/>
              <a:gd name="connsiteX134" fmla="*/ 8408888 w 9012328"/>
              <a:gd name="connsiteY134" fmla="*/ 7209391 h 7308446"/>
              <a:gd name="connsiteX135" fmla="*/ 8458035 w 9012328"/>
              <a:gd name="connsiteY135" fmla="*/ 7211624 h 7308446"/>
              <a:gd name="connsiteX136" fmla="*/ 8458035 w 9012328"/>
              <a:gd name="connsiteY136" fmla="*/ 7308446 h 7308446"/>
              <a:gd name="connsiteX137" fmla="*/ 8404513 w 9012328"/>
              <a:gd name="connsiteY137" fmla="*/ 7306557 h 7308446"/>
              <a:gd name="connsiteX138" fmla="*/ 8355032 w 9012328"/>
              <a:gd name="connsiteY138" fmla="*/ 7300944 h 7308446"/>
              <a:gd name="connsiteX139" fmla="*/ 8309453 w 9012328"/>
              <a:gd name="connsiteY139" fmla="*/ 7291690 h 7308446"/>
              <a:gd name="connsiteX140" fmla="*/ 8267634 w 9012328"/>
              <a:gd name="connsiteY140" fmla="*/ 7278878 h 7308446"/>
              <a:gd name="connsiteX141" fmla="*/ 8229437 w 9012328"/>
              <a:gd name="connsiteY141" fmla="*/ 7262591 h 7308446"/>
              <a:gd name="connsiteX142" fmla="*/ 8194720 w 9012328"/>
              <a:gd name="connsiteY142" fmla="*/ 7242910 h 7308446"/>
              <a:gd name="connsiteX143" fmla="*/ 8163344 w 9012328"/>
              <a:gd name="connsiteY143" fmla="*/ 7219920 h 7308446"/>
              <a:gd name="connsiteX144" fmla="*/ 8135168 w 9012328"/>
              <a:gd name="connsiteY144" fmla="*/ 7193701 h 7308446"/>
              <a:gd name="connsiteX145" fmla="*/ 8110051 w 9012328"/>
              <a:gd name="connsiteY145" fmla="*/ 7164338 h 7308446"/>
              <a:gd name="connsiteX146" fmla="*/ 8087855 w 9012328"/>
              <a:gd name="connsiteY146" fmla="*/ 7131912 h 7308446"/>
              <a:gd name="connsiteX147" fmla="*/ 8068437 w 9012328"/>
              <a:gd name="connsiteY147" fmla="*/ 7096506 h 7308446"/>
              <a:gd name="connsiteX148" fmla="*/ 8051660 w 9012328"/>
              <a:gd name="connsiteY148" fmla="*/ 7058203 h 7308446"/>
              <a:gd name="connsiteX149" fmla="*/ 8037381 w 9012328"/>
              <a:gd name="connsiteY149" fmla="*/ 7017085 h 7308446"/>
              <a:gd name="connsiteX150" fmla="*/ 8025461 w 9012328"/>
              <a:gd name="connsiteY150" fmla="*/ 6973236 h 7308446"/>
              <a:gd name="connsiteX151" fmla="*/ 8015759 w 9012328"/>
              <a:gd name="connsiteY151" fmla="*/ 6926737 h 7308446"/>
              <a:gd name="connsiteX152" fmla="*/ 8008136 w 9012328"/>
              <a:gd name="connsiteY152" fmla="*/ 6877672 h 7308446"/>
              <a:gd name="connsiteX153" fmla="*/ 8002451 w 9012328"/>
              <a:gd name="connsiteY153" fmla="*/ 6826122 h 7308446"/>
              <a:gd name="connsiteX154" fmla="*/ 7998564 w 9012328"/>
              <a:gd name="connsiteY154" fmla="*/ 6772172 h 7308446"/>
              <a:gd name="connsiteX155" fmla="*/ 7996334 w 9012328"/>
              <a:gd name="connsiteY155" fmla="*/ 6715902 h 7308446"/>
              <a:gd name="connsiteX156" fmla="*/ 7995623 w 9012328"/>
              <a:gd name="connsiteY156" fmla="*/ 6657396 h 7308446"/>
              <a:gd name="connsiteX157" fmla="*/ 7996358 w 9012328"/>
              <a:gd name="connsiteY157" fmla="*/ 6599140 h 7308446"/>
              <a:gd name="connsiteX158" fmla="*/ 7998654 w 9012328"/>
              <a:gd name="connsiteY158" fmla="*/ 6543120 h 7308446"/>
              <a:gd name="connsiteX159" fmla="*/ 8002643 w 9012328"/>
              <a:gd name="connsiteY159" fmla="*/ 6489415 h 7308446"/>
              <a:gd name="connsiteX160" fmla="*/ 8008456 w 9012328"/>
              <a:gd name="connsiteY160" fmla="*/ 6438109 h 7308446"/>
              <a:gd name="connsiteX161" fmla="*/ 8016229 w 9012328"/>
              <a:gd name="connsiteY161" fmla="*/ 6389281 h 7308446"/>
              <a:gd name="connsiteX162" fmla="*/ 8026092 w 9012328"/>
              <a:gd name="connsiteY162" fmla="*/ 6343014 h 7308446"/>
              <a:gd name="connsiteX163" fmla="*/ 8038178 w 9012328"/>
              <a:gd name="connsiteY163" fmla="*/ 6299388 h 7308446"/>
              <a:gd name="connsiteX164" fmla="*/ 8052621 w 9012328"/>
              <a:gd name="connsiteY164" fmla="*/ 6258486 h 7308446"/>
              <a:gd name="connsiteX165" fmla="*/ 8069553 w 9012328"/>
              <a:gd name="connsiteY165" fmla="*/ 6220388 h 7308446"/>
              <a:gd name="connsiteX166" fmla="*/ 8089106 w 9012328"/>
              <a:gd name="connsiteY166" fmla="*/ 6185176 h 7308446"/>
              <a:gd name="connsiteX167" fmla="*/ 8111414 w 9012328"/>
              <a:gd name="connsiteY167" fmla="*/ 6152931 h 7308446"/>
              <a:gd name="connsiteX168" fmla="*/ 8136610 w 9012328"/>
              <a:gd name="connsiteY168" fmla="*/ 6123735 h 7308446"/>
              <a:gd name="connsiteX169" fmla="*/ 8164825 w 9012328"/>
              <a:gd name="connsiteY169" fmla="*/ 6097669 h 7308446"/>
              <a:gd name="connsiteX170" fmla="*/ 8196192 w 9012328"/>
              <a:gd name="connsiteY170" fmla="*/ 6074814 h 7308446"/>
              <a:gd name="connsiteX171" fmla="*/ 8230845 w 9012328"/>
              <a:gd name="connsiteY171" fmla="*/ 6055253 h 7308446"/>
              <a:gd name="connsiteX172" fmla="*/ 8268916 w 9012328"/>
              <a:gd name="connsiteY172" fmla="*/ 6039065 h 7308446"/>
              <a:gd name="connsiteX173" fmla="*/ 8310538 w 9012328"/>
              <a:gd name="connsiteY173" fmla="*/ 6026333 h 7308446"/>
              <a:gd name="connsiteX174" fmla="*/ 8355843 w 9012328"/>
              <a:gd name="connsiteY174" fmla="*/ 6017138 h 7308446"/>
              <a:gd name="connsiteX175" fmla="*/ 8404964 w 9012328"/>
              <a:gd name="connsiteY175" fmla="*/ 6011561 h 7308446"/>
              <a:gd name="connsiteX176" fmla="*/ 1409388 w 9012328"/>
              <a:gd name="connsiteY176" fmla="*/ 6009685 h 7308446"/>
              <a:gd name="connsiteX177" fmla="*/ 1462459 w 9012328"/>
              <a:gd name="connsiteY177" fmla="*/ 6011561 h 7308446"/>
              <a:gd name="connsiteX178" fmla="*/ 1511579 w 9012328"/>
              <a:gd name="connsiteY178" fmla="*/ 6017138 h 7308446"/>
              <a:gd name="connsiteX179" fmla="*/ 1556884 w 9012328"/>
              <a:gd name="connsiteY179" fmla="*/ 6026333 h 7308446"/>
              <a:gd name="connsiteX180" fmla="*/ 1598508 w 9012328"/>
              <a:gd name="connsiteY180" fmla="*/ 6039065 h 7308446"/>
              <a:gd name="connsiteX181" fmla="*/ 1636578 w 9012328"/>
              <a:gd name="connsiteY181" fmla="*/ 6055253 h 7308446"/>
              <a:gd name="connsiteX182" fmla="*/ 1671231 w 9012328"/>
              <a:gd name="connsiteY182" fmla="*/ 6074814 h 7308446"/>
              <a:gd name="connsiteX183" fmla="*/ 1702600 w 9012328"/>
              <a:gd name="connsiteY183" fmla="*/ 6097669 h 7308446"/>
              <a:gd name="connsiteX184" fmla="*/ 1730815 w 9012328"/>
              <a:gd name="connsiteY184" fmla="*/ 6123735 h 7308446"/>
              <a:gd name="connsiteX185" fmla="*/ 1756009 w 9012328"/>
              <a:gd name="connsiteY185" fmla="*/ 6152931 h 7308446"/>
              <a:gd name="connsiteX186" fmla="*/ 1778317 w 9012328"/>
              <a:gd name="connsiteY186" fmla="*/ 6185176 h 7308446"/>
              <a:gd name="connsiteX187" fmla="*/ 1797871 w 9012328"/>
              <a:gd name="connsiteY187" fmla="*/ 6220388 h 7308446"/>
              <a:gd name="connsiteX188" fmla="*/ 1814804 w 9012328"/>
              <a:gd name="connsiteY188" fmla="*/ 6258486 h 7308446"/>
              <a:gd name="connsiteX189" fmla="*/ 1829247 w 9012328"/>
              <a:gd name="connsiteY189" fmla="*/ 6299388 h 7308446"/>
              <a:gd name="connsiteX190" fmla="*/ 1841333 w 9012328"/>
              <a:gd name="connsiteY190" fmla="*/ 6343014 h 7308446"/>
              <a:gd name="connsiteX191" fmla="*/ 1851196 w 9012328"/>
              <a:gd name="connsiteY191" fmla="*/ 6389281 h 7308446"/>
              <a:gd name="connsiteX192" fmla="*/ 1858969 w 9012328"/>
              <a:gd name="connsiteY192" fmla="*/ 6438109 h 7308446"/>
              <a:gd name="connsiteX193" fmla="*/ 1864782 w 9012328"/>
              <a:gd name="connsiteY193" fmla="*/ 6489415 h 7308446"/>
              <a:gd name="connsiteX194" fmla="*/ 1868770 w 9012328"/>
              <a:gd name="connsiteY194" fmla="*/ 6543120 h 7308446"/>
              <a:gd name="connsiteX195" fmla="*/ 1871067 w 9012328"/>
              <a:gd name="connsiteY195" fmla="*/ 6599140 h 7308446"/>
              <a:gd name="connsiteX196" fmla="*/ 1871802 w 9012328"/>
              <a:gd name="connsiteY196" fmla="*/ 6657396 h 7308446"/>
              <a:gd name="connsiteX197" fmla="*/ 1871103 w 9012328"/>
              <a:gd name="connsiteY197" fmla="*/ 6715902 h 7308446"/>
              <a:gd name="connsiteX198" fmla="*/ 1868906 w 9012328"/>
              <a:gd name="connsiteY198" fmla="*/ 6772172 h 7308446"/>
              <a:gd name="connsiteX199" fmla="*/ 1865069 w 9012328"/>
              <a:gd name="connsiteY199" fmla="*/ 6826122 h 7308446"/>
              <a:gd name="connsiteX200" fmla="*/ 1859448 w 9012328"/>
              <a:gd name="connsiteY200" fmla="*/ 6877672 h 7308446"/>
              <a:gd name="connsiteX201" fmla="*/ 1851900 w 9012328"/>
              <a:gd name="connsiteY201" fmla="*/ 6926737 h 7308446"/>
              <a:gd name="connsiteX202" fmla="*/ 1842280 w 9012328"/>
              <a:gd name="connsiteY202" fmla="*/ 6973236 h 7308446"/>
              <a:gd name="connsiteX203" fmla="*/ 1830443 w 9012328"/>
              <a:gd name="connsiteY203" fmla="*/ 7017085 h 7308446"/>
              <a:gd name="connsiteX204" fmla="*/ 1816246 w 9012328"/>
              <a:gd name="connsiteY204" fmla="*/ 7058203 h 7308446"/>
              <a:gd name="connsiteX205" fmla="*/ 1799544 w 9012328"/>
              <a:gd name="connsiteY205" fmla="*/ 7096506 h 7308446"/>
              <a:gd name="connsiteX206" fmla="*/ 1780195 w 9012328"/>
              <a:gd name="connsiteY206" fmla="*/ 7131912 h 7308446"/>
              <a:gd name="connsiteX207" fmla="*/ 1758055 w 9012328"/>
              <a:gd name="connsiteY207" fmla="*/ 7164338 h 7308446"/>
              <a:gd name="connsiteX208" fmla="*/ 1732977 w 9012328"/>
              <a:gd name="connsiteY208" fmla="*/ 7193701 h 7308446"/>
              <a:gd name="connsiteX209" fmla="*/ 1704820 w 9012328"/>
              <a:gd name="connsiteY209" fmla="*/ 7219920 h 7308446"/>
              <a:gd name="connsiteX210" fmla="*/ 1673440 w 9012328"/>
              <a:gd name="connsiteY210" fmla="*/ 7242910 h 7308446"/>
              <a:gd name="connsiteX211" fmla="*/ 1638691 w 9012328"/>
              <a:gd name="connsiteY211" fmla="*/ 7262591 h 7308446"/>
              <a:gd name="connsiteX212" fmla="*/ 1600431 w 9012328"/>
              <a:gd name="connsiteY212" fmla="*/ 7278878 h 7308446"/>
              <a:gd name="connsiteX213" fmla="*/ 1558512 w 9012328"/>
              <a:gd name="connsiteY213" fmla="*/ 7291690 h 7308446"/>
              <a:gd name="connsiteX214" fmla="*/ 1512797 w 9012328"/>
              <a:gd name="connsiteY214" fmla="*/ 7300944 h 7308446"/>
              <a:gd name="connsiteX215" fmla="*/ 1463136 w 9012328"/>
              <a:gd name="connsiteY215" fmla="*/ 7306557 h 7308446"/>
              <a:gd name="connsiteX216" fmla="*/ 1409388 w 9012328"/>
              <a:gd name="connsiteY216" fmla="*/ 7308446 h 7308446"/>
              <a:gd name="connsiteX217" fmla="*/ 1409388 w 9012328"/>
              <a:gd name="connsiteY217" fmla="*/ 7211624 h 7308446"/>
              <a:gd name="connsiteX218" fmla="*/ 1459074 w 9012328"/>
              <a:gd name="connsiteY218" fmla="*/ 7209391 h 7308446"/>
              <a:gd name="connsiteX219" fmla="*/ 1503995 w 9012328"/>
              <a:gd name="connsiteY219" fmla="*/ 7202770 h 7308446"/>
              <a:gd name="connsiteX220" fmla="*/ 1544377 w 9012328"/>
              <a:gd name="connsiteY220" fmla="*/ 7191881 h 7308446"/>
              <a:gd name="connsiteX221" fmla="*/ 1580448 w 9012328"/>
              <a:gd name="connsiteY221" fmla="*/ 7176841 h 7308446"/>
              <a:gd name="connsiteX222" fmla="*/ 1640559 w 9012328"/>
              <a:gd name="connsiteY222" fmla="*/ 7134781 h 7308446"/>
              <a:gd name="connsiteX223" fmla="*/ 1686139 w 9012328"/>
              <a:gd name="connsiteY223" fmla="*/ 7077537 h 7308446"/>
              <a:gd name="connsiteX224" fmla="*/ 1704044 w 9012328"/>
              <a:gd name="connsiteY224" fmla="*/ 7043516 h 7308446"/>
              <a:gd name="connsiteX225" fmla="*/ 1718997 w 9012328"/>
              <a:gd name="connsiteY225" fmla="*/ 7006054 h 7308446"/>
              <a:gd name="connsiteX226" fmla="*/ 1731220 w 9012328"/>
              <a:gd name="connsiteY226" fmla="*/ 6965269 h 7308446"/>
              <a:gd name="connsiteX227" fmla="*/ 1740944 w 9012328"/>
              <a:gd name="connsiteY227" fmla="*/ 6921279 h 7308446"/>
              <a:gd name="connsiteX228" fmla="*/ 1748390 w 9012328"/>
              <a:gd name="connsiteY228" fmla="*/ 6874203 h 7308446"/>
              <a:gd name="connsiteX229" fmla="*/ 1753790 w 9012328"/>
              <a:gd name="connsiteY229" fmla="*/ 6824158 h 7308446"/>
              <a:gd name="connsiteX230" fmla="*/ 1757366 w 9012328"/>
              <a:gd name="connsiteY230" fmla="*/ 6771263 h 7308446"/>
              <a:gd name="connsiteX231" fmla="*/ 1759345 w 9012328"/>
              <a:gd name="connsiteY231" fmla="*/ 6715637 h 7308446"/>
              <a:gd name="connsiteX232" fmla="*/ 1759955 w 9012328"/>
              <a:gd name="connsiteY232" fmla="*/ 6657396 h 7308446"/>
              <a:gd name="connsiteX233" fmla="*/ 1759313 w 9012328"/>
              <a:gd name="connsiteY233" fmla="*/ 6599727 h 7308446"/>
              <a:gd name="connsiteX234" fmla="*/ 1757242 w 9012328"/>
              <a:gd name="connsiteY234" fmla="*/ 6544638 h 7308446"/>
              <a:gd name="connsiteX235" fmla="*/ 1753533 w 9012328"/>
              <a:gd name="connsiteY235" fmla="*/ 6492245 h 7308446"/>
              <a:gd name="connsiteX236" fmla="*/ 1747967 w 9012328"/>
              <a:gd name="connsiteY236" fmla="*/ 6442669 h 7308446"/>
              <a:gd name="connsiteX237" fmla="*/ 1740332 w 9012328"/>
              <a:gd name="connsiteY237" fmla="*/ 6396025 h 7308446"/>
              <a:gd name="connsiteX238" fmla="*/ 1730413 w 9012328"/>
              <a:gd name="connsiteY238" fmla="*/ 6352434 h 7308446"/>
              <a:gd name="connsiteX239" fmla="*/ 1717998 w 9012328"/>
              <a:gd name="connsiteY239" fmla="*/ 6312013 h 7308446"/>
              <a:gd name="connsiteX240" fmla="*/ 1702871 w 9012328"/>
              <a:gd name="connsiteY240" fmla="*/ 6274881 h 7308446"/>
              <a:gd name="connsiteX241" fmla="*/ 1684817 w 9012328"/>
              <a:gd name="connsiteY241" fmla="*/ 6241155 h 7308446"/>
              <a:gd name="connsiteX242" fmla="*/ 1639079 w 9012328"/>
              <a:gd name="connsiteY242" fmla="*/ 6184396 h 7308446"/>
              <a:gd name="connsiteX243" fmla="*/ 1579070 w 9012328"/>
              <a:gd name="connsiteY243" fmla="*/ 6142683 h 7308446"/>
              <a:gd name="connsiteX244" fmla="*/ 1543178 w 9012328"/>
              <a:gd name="connsiteY244" fmla="*/ 6127764 h 7308446"/>
              <a:gd name="connsiteX245" fmla="*/ 1503076 w 9012328"/>
              <a:gd name="connsiteY245" fmla="*/ 6116961 h 7308446"/>
              <a:gd name="connsiteX246" fmla="*/ 1458551 w 9012328"/>
              <a:gd name="connsiteY246" fmla="*/ 6110393 h 7308446"/>
              <a:gd name="connsiteX247" fmla="*/ 1409388 w 9012328"/>
              <a:gd name="connsiteY247" fmla="*/ 6108177 h 7308446"/>
              <a:gd name="connsiteX248" fmla="*/ 1317509 w 9012328"/>
              <a:gd name="connsiteY248" fmla="*/ 6009685 h 7308446"/>
              <a:gd name="connsiteX249" fmla="*/ 1317509 w 9012328"/>
              <a:gd name="connsiteY249" fmla="*/ 6108177 h 7308446"/>
              <a:gd name="connsiteX250" fmla="*/ 1268623 w 9012328"/>
              <a:gd name="connsiteY250" fmla="*/ 6110393 h 7308446"/>
              <a:gd name="connsiteX251" fmla="*/ 1224343 w 9012328"/>
              <a:gd name="connsiteY251" fmla="*/ 6116961 h 7308446"/>
              <a:gd name="connsiteX252" fmla="*/ 1184456 w 9012328"/>
              <a:gd name="connsiteY252" fmla="*/ 6127764 h 7308446"/>
              <a:gd name="connsiteX253" fmla="*/ 1148750 w 9012328"/>
              <a:gd name="connsiteY253" fmla="*/ 6142683 h 7308446"/>
              <a:gd name="connsiteX254" fmla="*/ 1089035 w 9012328"/>
              <a:gd name="connsiteY254" fmla="*/ 6184396 h 7308446"/>
              <a:gd name="connsiteX255" fmla="*/ 1043502 w 9012328"/>
              <a:gd name="connsiteY255" fmla="*/ 6241155 h 7308446"/>
              <a:gd name="connsiteX256" fmla="*/ 1025523 w 9012328"/>
              <a:gd name="connsiteY256" fmla="*/ 6274881 h 7308446"/>
              <a:gd name="connsiteX257" fmla="*/ 1010453 w 9012328"/>
              <a:gd name="connsiteY257" fmla="*/ 6312013 h 7308446"/>
              <a:gd name="connsiteX258" fmla="*/ 998080 w 9012328"/>
              <a:gd name="connsiteY258" fmla="*/ 6352434 h 7308446"/>
              <a:gd name="connsiteX259" fmla="*/ 988193 w 9012328"/>
              <a:gd name="connsiteY259" fmla="*/ 6396025 h 7308446"/>
              <a:gd name="connsiteX260" fmla="*/ 980578 w 9012328"/>
              <a:gd name="connsiteY260" fmla="*/ 6442669 h 7308446"/>
              <a:gd name="connsiteX261" fmla="*/ 975024 w 9012328"/>
              <a:gd name="connsiteY261" fmla="*/ 6492245 h 7308446"/>
              <a:gd name="connsiteX262" fmla="*/ 971321 w 9012328"/>
              <a:gd name="connsiteY262" fmla="*/ 6544638 h 7308446"/>
              <a:gd name="connsiteX263" fmla="*/ 969254 w 9012328"/>
              <a:gd name="connsiteY263" fmla="*/ 6599727 h 7308446"/>
              <a:gd name="connsiteX264" fmla="*/ 968612 w 9012328"/>
              <a:gd name="connsiteY264" fmla="*/ 6657396 h 7308446"/>
              <a:gd name="connsiteX265" fmla="*/ 969237 w 9012328"/>
              <a:gd name="connsiteY265" fmla="*/ 6715637 h 7308446"/>
              <a:gd name="connsiteX266" fmla="*/ 971260 w 9012328"/>
              <a:gd name="connsiteY266" fmla="*/ 6771263 h 7308446"/>
              <a:gd name="connsiteX267" fmla="*/ 974897 w 9012328"/>
              <a:gd name="connsiteY267" fmla="*/ 6824158 h 7308446"/>
              <a:gd name="connsiteX268" fmla="*/ 980366 w 9012328"/>
              <a:gd name="connsiteY268" fmla="*/ 6874203 h 7308446"/>
              <a:gd name="connsiteX269" fmla="*/ 987887 w 9012328"/>
              <a:gd name="connsiteY269" fmla="*/ 6921279 h 7308446"/>
              <a:gd name="connsiteX270" fmla="*/ 997676 w 9012328"/>
              <a:gd name="connsiteY270" fmla="*/ 6965269 h 7308446"/>
              <a:gd name="connsiteX271" fmla="*/ 1009953 w 9012328"/>
              <a:gd name="connsiteY271" fmla="*/ 7006054 h 7308446"/>
              <a:gd name="connsiteX272" fmla="*/ 1024935 w 9012328"/>
              <a:gd name="connsiteY272" fmla="*/ 7043516 h 7308446"/>
              <a:gd name="connsiteX273" fmla="*/ 1042841 w 9012328"/>
              <a:gd name="connsiteY273" fmla="*/ 7077537 h 7308446"/>
              <a:gd name="connsiteX274" fmla="*/ 1088295 w 9012328"/>
              <a:gd name="connsiteY274" fmla="*/ 7134781 h 7308446"/>
              <a:gd name="connsiteX275" fmla="*/ 1148061 w 9012328"/>
              <a:gd name="connsiteY275" fmla="*/ 7176841 h 7308446"/>
              <a:gd name="connsiteX276" fmla="*/ 1183856 w 9012328"/>
              <a:gd name="connsiteY276" fmla="*/ 7191881 h 7308446"/>
              <a:gd name="connsiteX277" fmla="*/ 1223884 w 9012328"/>
              <a:gd name="connsiteY277" fmla="*/ 7202770 h 7308446"/>
              <a:gd name="connsiteX278" fmla="*/ 1268362 w 9012328"/>
              <a:gd name="connsiteY278" fmla="*/ 7209391 h 7308446"/>
              <a:gd name="connsiteX279" fmla="*/ 1317509 w 9012328"/>
              <a:gd name="connsiteY279" fmla="*/ 7211624 h 7308446"/>
              <a:gd name="connsiteX280" fmla="*/ 1317509 w 9012328"/>
              <a:gd name="connsiteY280" fmla="*/ 7308446 h 7308446"/>
              <a:gd name="connsiteX281" fmla="*/ 1263987 w 9012328"/>
              <a:gd name="connsiteY281" fmla="*/ 7306557 h 7308446"/>
              <a:gd name="connsiteX282" fmla="*/ 1214506 w 9012328"/>
              <a:gd name="connsiteY282" fmla="*/ 7300944 h 7308446"/>
              <a:gd name="connsiteX283" fmla="*/ 1168927 w 9012328"/>
              <a:gd name="connsiteY283" fmla="*/ 7291690 h 7308446"/>
              <a:gd name="connsiteX284" fmla="*/ 1127108 w 9012328"/>
              <a:gd name="connsiteY284" fmla="*/ 7278878 h 7308446"/>
              <a:gd name="connsiteX285" fmla="*/ 1088911 w 9012328"/>
              <a:gd name="connsiteY285" fmla="*/ 7262591 h 7308446"/>
              <a:gd name="connsiteX286" fmla="*/ 1054194 w 9012328"/>
              <a:gd name="connsiteY286" fmla="*/ 7242910 h 7308446"/>
              <a:gd name="connsiteX287" fmla="*/ 1022818 w 9012328"/>
              <a:gd name="connsiteY287" fmla="*/ 7219920 h 7308446"/>
              <a:gd name="connsiteX288" fmla="*/ 994641 w 9012328"/>
              <a:gd name="connsiteY288" fmla="*/ 7193701 h 7308446"/>
              <a:gd name="connsiteX289" fmla="*/ 969525 w 9012328"/>
              <a:gd name="connsiteY289" fmla="*/ 7164338 h 7308446"/>
              <a:gd name="connsiteX290" fmla="*/ 947329 w 9012328"/>
              <a:gd name="connsiteY290" fmla="*/ 7131912 h 7308446"/>
              <a:gd name="connsiteX291" fmla="*/ 927911 w 9012328"/>
              <a:gd name="connsiteY291" fmla="*/ 7096506 h 7308446"/>
              <a:gd name="connsiteX292" fmla="*/ 911133 w 9012328"/>
              <a:gd name="connsiteY292" fmla="*/ 7058203 h 7308446"/>
              <a:gd name="connsiteX293" fmla="*/ 896855 w 9012328"/>
              <a:gd name="connsiteY293" fmla="*/ 7017085 h 7308446"/>
              <a:gd name="connsiteX294" fmla="*/ 884935 w 9012328"/>
              <a:gd name="connsiteY294" fmla="*/ 6973236 h 7308446"/>
              <a:gd name="connsiteX295" fmla="*/ 875233 w 9012328"/>
              <a:gd name="connsiteY295" fmla="*/ 6926737 h 7308446"/>
              <a:gd name="connsiteX296" fmla="*/ 867610 w 9012328"/>
              <a:gd name="connsiteY296" fmla="*/ 6877672 h 7308446"/>
              <a:gd name="connsiteX297" fmla="*/ 861924 w 9012328"/>
              <a:gd name="connsiteY297" fmla="*/ 6826122 h 7308446"/>
              <a:gd name="connsiteX298" fmla="*/ 858037 w 9012328"/>
              <a:gd name="connsiteY298" fmla="*/ 6772172 h 7308446"/>
              <a:gd name="connsiteX299" fmla="*/ 855809 w 9012328"/>
              <a:gd name="connsiteY299" fmla="*/ 6715902 h 7308446"/>
              <a:gd name="connsiteX300" fmla="*/ 855097 w 9012328"/>
              <a:gd name="connsiteY300" fmla="*/ 6657396 h 7308446"/>
              <a:gd name="connsiteX301" fmla="*/ 855832 w 9012328"/>
              <a:gd name="connsiteY301" fmla="*/ 6599140 h 7308446"/>
              <a:gd name="connsiteX302" fmla="*/ 858128 w 9012328"/>
              <a:gd name="connsiteY302" fmla="*/ 6543120 h 7308446"/>
              <a:gd name="connsiteX303" fmla="*/ 862117 w 9012328"/>
              <a:gd name="connsiteY303" fmla="*/ 6489415 h 7308446"/>
              <a:gd name="connsiteX304" fmla="*/ 867930 w 9012328"/>
              <a:gd name="connsiteY304" fmla="*/ 6438109 h 7308446"/>
              <a:gd name="connsiteX305" fmla="*/ 875703 w 9012328"/>
              <a:gd name="connsiteY305" fmla="*/ 6389281 h 7308446"/>
              <a:gd name="connsiteX306" fmla="*/ 885565 w 9012328"/>
              <a:gd name="connsiteY306" fmla="*/ 6343014 h 7308446"/>
              <a:gd name="connsiteX307" fmla="*/ 897652 w 9012328"/>
              <a:gd name="connsiteY307" fmla="*/ 6299388 h 7308446"/>
              <a:gd name="connsiteX308" fmla="*/ 912095 w 9012328"/>
              <a:gd name="connsiteY308" fmla="*/ 6258486 h 7308446"/>
              <a:gd name="connsiteX309" fmla="*/ 929026 w 9012328"/>
              <a:gd name="connsiteY309" fmla="*/ 6220388 h 7308446"/>
              <a:gd name="connsiteX310" fmla="*/ 948580 w 9012328"/>
              <a:gd name="connsiteY310" fmla="*/ 6185176 h 7308446"/>
              <a:gd name="connsiteX311" fmla="*/ 970888 w 9012328"/>
              <a:gd name="connsiteY311" fmla="*/ 6152931 h 7308446"/>
              <a:gd name="connsiteX312" fmla="*/ 996084 w 9012328"/>
              <a:gd name="connsiteY312" fmla="*/ 6123735 h 7308446"/>
              <a:gd name="connsiteX313" fmla="*/ 1024299 w 9012328"/>
              <a:gd name="connsiteY313" fmla="*/ 6097669 h 7308446"/>
              <a:gd name="connsiteX314" fmla="*/ 1055666 w 9012328"/>
              <a:gd name="connsiteY314" fmla="*/ 6074814 h 7308446"/>
              <a:gd name="connsiteX315" fmla="*/ 1090319 w 9012328"/>
              <a:gd name="connsiteY315" fmla="*/ 6055253 h 7308446"/>
              <a:gd name="connsiteX316" fmla="*/ 1128390 w 9012328"/>
              <a:gd name="connsiteY316" fmla="*/ 6039065 h 7308446"/>
              <a:gd name="connsiteX317" fmla="*/ 1170012 w 9012328"/>
              <a:gd name="connsiteY317" fmla="*/ 6026333 h 7308446"/>
              <a:gd name="connsiteX318" fmla="*/ 1215317 w 9012328"/>
              <a:gd name="connsiteY318" fmla="*/ 6017138 h 7308446"/>
              <a:gd name="connsiteX319" fmla="*/ 1264438 w 9012328"/>
              <a:gd name="connsiteY319" fmla="*/ 6011561 h 7308446"/>
              <a:gd name="connsiteX320" fmla="*/ 505166 w 9012328"/>
              <a:gd name="connsiteY320" fmla="*/ 5528915 h 7308446"/>
              <a:gd name="connsiteX321" fmla="*/ 547395 w 9012328"/>
              <a:gd name="connsiteY321" fmla="*/ 5532593 h 7308446"/>
              <a:gd name="connsiteX322" fmla="*/ 580078 w 9012328"/>
              <a:gd name="connsiteY322" fmla="*/ 5545817 h 7308446"/>
              <a:gd name="connsiteX323" fmla="*/ 601179 w 9012328"/>
              <a:gd name="connsiteY323" fmla="*/ 5571874 h 7308446"/>
              <a:gd name="connsiteX324" fmla="*/ 608666 w 9012328"/>
              <a:gd name="connsiteY324" fmla="*/ 5614052 h 7308446"/>
              <a:gd name="connsiteX325" fmla="*/ 601179 w 9012328"/>
              <a:gd name="connsiteY325" fmla="*/ 5658159 h 7308446"/>
              <a:gd name="connsiteX326" fmla="*/ 580078 w 9012328"/>
              <a:gd name="connsiteY326" fmla="*/ 5685208 h 7308446"/>
              <a:gd name="connsiteX327" fmla="*/ 547395 w 9012328"/>
              <a:gd name="connsiteY327" fmla="*/ 5698798 h 7308446"/>
              <a:gd name="connsiteX328" fmla="*/ 505166 w 9012328"/>
              <a:gd name="connsiteY328" fmla="*/ 5702529 h 7308446"/>
              <a:gd name="connsiteX329" fmla="*/ 462936 w 9012328"/>
              <a:gd name="connsiteY329" fmla="*/ 5698798 h 7308446"/>
              <a:gd name="connsiteX330" fmla="*/ 430252 w 9012328"/>
              <a:gd name="connsiteY330" fmla="*/ 5685208 h 7308446"/>
              <a:gd name="connsiteX331" fmla="*/ 409151 w 9012328"/>
              <a:gd name="connsiteY331" fmla="*/ 5658159 h 7308446"/>
              <a:gd name="connsiteX332" fmla="*/ 401665 w 9012328"/>
              <a:gd name="connsiteY332" fmla="*/ 5614052 h 7308446"/>
              <a:gd name="connsiteX333" fmla="*/ 409385 w 9012328"/>
              <a:gd name="connsiteY333" fmla="*/ 5571874 h 7308446"/>
              <a:gd name="connsiteX334" fmla="*/ 430878 w 9012328"/>
              <a:gd name="connsiteY334" fmla="*/ 5545817 h 7308446"/>
              <a:gd name="connsiteX335" fmla="*/ 463640 w 9012328"/>
              <a:gd name="connsiteY335" fmla="*/ 5532593 h 7308446"/>
              <a:gd name="connsiteX336" fmla="*/ 2465444 w 9012328"/>
              <a:gd name="connsiteY336" fmla="*/ 5378664 h 7308446"/>
              <a:gd name="connsiteX337" fmla="*/ 3370236 w 9012328"/>
              <a:gd name="connsiteY337" fmla="*/ 5378664 h 7308446"/>
              <a:gd name="connsiteX338" fmla="*/ 3370236 w 9012328"/>
              <a:gd name="connsiteY338" fmla="*/ 5485502 h 7308446"/>
              <a:gd name="connsiteX339" fmla="*/ 2465444 w 9012328"/>
              <a:gd name="connsiteY339" fmla="*/ 5485502 h 7308446"/>
              <a:gd name="connsiteX340" fmla="*/ 2465444 w 9012328"/>
              <a:gd name="connsiteY340" fmla="*/ 5029768 h 7308446"/>
              <a:gd name="connsiteX341" fmla="*/ 3370236 w 9012328"/>
              <a:gd name="connsiteY341" fmla="*/ 5029768 h 7308446"/>
              <a:gd name="connsiteX342" fmla="*/ 3370236 w 9012328"/>
              <a:gd name="connsiteY342" fmla="*/ 5136606 h 7308446"/>
              <a:gd name="connsiteX343" fmla="*/ 2465444 w 9012328"/>
              <a:gd name="connsiteY343" fmla="*/ 5136606 h 7308446"/>
              <a:gd name="connsiteX344" fmla="*/ 505166 w 9012328"/>
              <a:gd name="connsiteY344" fmla="*/ 4827784 h 7308446"/>
              <a:gd name="connsiteX345" fmla="*/ 547395 w 9012328"/>
              <a:gd name="connsiteY345" fmla="*/ 4831253 h 7308446"/>
              <a:gd name="connsiteX346" fmla="*/ 580078 w 9012328"/>
              <a:gd name="connsiteY346" fmla="*/ 4844268 h 7308446"/>
              <a:gd name="connsiteX347" fmla="*/ 601179 w 9012328"/>
              <a:gd name="connsiteY347" fmla="*/ 4870743 h 7308446"/>
              <a:gd name="connsiteX348" fmla="*/ 608666 w 9012328"/>
              <a:gd name="connsiteY348" fmla="*/ 4914590 h 7308446"/>
              <a:gd name="connsiteX349" fmla="*/ 601179 w 9012328"/>
              <a:gd name="connsiteY349" fmla="*/ 4957028 h 7308446"/>
              <a:gd name="connsiteX350" fmla="*/ 580078 w 9012328"/>
              <a:gd name="connsiteY350" fmla="*/ 4983660 h 7308446"/>
              <a:gd name="connsiteX351" fmla="*/ 547395 w 9012328"/>
              <a:gd name="connsiteY351" fmla="*/ 4997458 h 7308446"/>
              <a:gd name="connsiteX352" fmla="*/ 505166 w 9012328"/>
              <a:gd name="connsiteY352" fmla="*/ 5001397 h 7308446"/>
              <a:gd name="connsiteX353" fmla="*/ 463901 w 9012328"/>
              <a:gd name="connsiteY353" fmla="*/ 4997458 h 7308446"/>
              <a:gd name="connsiteX354" fmla="*/ 431713 w 9012328"/>
              <a:gd name="connsiteY354" fmla="*/ 4983660 h 7308446"/>
              <a:gd name="connsiteX355" fmla="*/ 410794 w 9012328"/>
              <a:gd name="connsiteY355" fmla="*/ 4957028 h 7308446"/>
              <a:gd name="connsiteX356" fmla="*/ 403334 w 9012328"/>
              <a:gd name="connsiteY356" fmla="*/ 4914590 h 7308446"/>
              <a:gd name="connsiteX357" fmla="*/ 410794 w 9012328"/>
              <a:gd name="connsiteY357" fmla="*/ 4870743 h 7308446"/>
              <a:gd name="connsiteX358" fmla="*/ 431713 w 9012328"/>
              <a:gd name="connsiteY358" fmla="*/ 4844268 h 7308446"/>
              <a:gd name="connsiteX359" fmla="*/ 463901 w 9012328"/>
              <a:gd name="connsiteY359" fmla="*/ 4831253 h 7308446"/>
              <a:gd name="connsiteX360" fmla="*/ 4111651 w 9012328"/>
              <a:gd name="connsiteY360" fmla="*/ 4507266 h 7308446"/>
              <a:gd name="connsiteX361" fmla="*/ 4164721 w 9012328"/>
              <a:gd name="connsiteY361" fmla="*/ 4509142 h 7308446"/>
              <a:gd name="connsiteX362" fmla="*/ 4213842 w 9012328"/>
              <a:gd name="connsiteY362" fmla="*/ 4514719 h 7308446"/>
              <a:gd name="connsiteX363" fmla="*/ 4259148 w 9012328"/>
              <a:gd name="connsiteY363" fmla="*/ 4523914 h 7308446"/>
              <a:gd name="connsiteX364" fmla="*/ 4300769 w 9012328"/>
              <a:gd name="connsiteY364" fmla="*/ 4536646 h 7308446"/>
              <a:gd name="connsiteX365" fmla="*/ 4338840 w 9012328"/>
              <a:gd name="connsiteY365" fmla="*/ 4552834 h 7308446"/>
              <a:gd name="connsiteX366" fmla="*/ 4373493 w 9012328"/>
              <a:gd name="connsiteY366" fmla="*/ 4572395 h 7308446"/>
              <a:gd name="connsiteX367" fmla="*/ 4404861 w 9012328"/>
              <a:gd name="connsiteY367" fmla="*/ 4595250 h 7308446"/>
              <a:gd name="connsiteX368" fmla="*/ 4433076 w 9012328"/>
              <a:gd name="connsiteY368" fmla="*/ 4621316 h 7308446"/>
              <a:gd name="connsiteX369" fmla="*/ 4458271 w 9012328"/>
              <a:gd name="connsiteY369" fmla="*/ 4650512 h 7308446"/>
              <a:gd name="connsiteX370" fmla="*/ 4480579 w 9012328"/>
              <a:gd name="connsiteY370" fmla="*/ 4682757 h 7308446"/>
              <a:gd name="connsiteX371" fmla="*/ 4500133 w 9012328"/>
              <a:gd name="connsiteY371" fmla="*/ 4717969 h 7308446"/>
              <a:gd name="connsiteX372" fmla="*/ 4517065 w 9012328"/>
              <a:gd name="connsiteY372" fmla="*/ 4756067 h 7308446"/>
              <a:gd name="connsiteX373" fmla="*/ 4531508 w 9012328"/>
              <a:gd name="connsiteY373" fmla="*/ 4796969 h 7308446"/>
              <a:gd name="connsiteX374" fmla="*/ 4543594 w 9012328"/>
              <a:gd name="connsiteY374" fmla="*/ 4840595 h 7308446"/>
              <a:gd name="connsiteX375" fmla="*/ 4553457 w 9012328"/>
              <a:gd name="connsiteY375" fmla="*/ 4886863 h 7308446"/>
              <a:gd name="connsiteX376" fmla="*/ 4561230 w 9012328"/>
              <a:gd name="connsiteY376" fmla="*/ 4935691 h 7308446"/>
              <a:gd name="connsiteX377" fmla="*/ 4567043 w 9012328"/>
              <a:gd name="connsiteY377" fmla="*/ 4986997 h 7308446"/>
              <a:gd name="connsiteX378" fmla="*/ 4571032 w 9012328"/>
              <a:gd name="connsiteY378" fmla="*/ 5040702 h 7308446"/>
              <a:gd name="connsiteX379" fmla="*/ 4573328 w 9012328"/>
              <a:gd name="connsiteY379" fmla="*/ 5096722 h 7308446"/>
              <a:gd name="connsiteX380" fmla="*/ 4574064 w 9012328"/>
              <a:gd name="connsiteY380" fmla="*/ 5154978 h 7308446"/>
              <a:gd name="connsiteX381" fmla="*/ 4573364 w 9012328"/>
              <a:gd name="connsiteY381" fmla="*/ 5213483 h 7308446"/>
              <a:gd name="connsiteX382" fmla="*/ 4571167 w 9012328"/>
              <a:gd name="connsiteY382" fmla="*/ 5269753 h 7308446"/>
              <a:gd name="connsiteX383" fmla="*/ 4567331 w 9012328"/>
              <a:gd name="connsiteY383" fmla="*/ 5323704 h 7308446"/>
              <a:gd name="connsiteX384" fmla="*/ 4561710 w 9012328"/>
              <a:gd name="connsiteY384" fmla="*/ 5375253 h 7308446"/>
              <a:gd name="connsiteX385" fmla="*/ 4554162 w 9012328"/>
              <a:gd name="connsiteY385" fmla="*/ 5424318 h 7308446"/>
              <a:gd name="connsiteX386" fmla="*/ 4544541 w 9012328"/>
              <a:gd name="connsiteY386" fmla="*/ 5470817 h 7308446"/>
              <a:gd name="connsiteX387" fmla="*/ 4532704 w 9012328"/>
              <a:gd name="connsiteY387" fmla="*/ 5514667 h 7308446"/>
              <a:gd name="connsiteX388" fmla="*/ 4518507 w 9012328"/>
              <a:gd name="connsiteY388" fmla="*/ 5555784 h 7308446"/>
              <a:gd name="connsiteX389" fmla="*/ 4501806 w 9012328"/>
              <a:gd name="connsiteY389" fmla="*/ 5594087 h 7308446"/>
              <a:gd name="connsiteX390" fmla="*/ 4482457 w 9012328"/>
              <a:gd name="connsiteY390" fmla="*/ 5629493 h 7308446"/>
              <a:gd name="connsiteX391" fmla="*/ 4460316 w 9012328"/>
              <a:gd name="connsiteY391" fmla="*/ 5661919 h 7308446"/>
              <a:gd name="connsiteX392" fmla="*/ 4435240 w 9012328"/>
              <a:gd name="connsiteY392" fmla="*/ 5691283 h 7308446"/>
              <a:gd name="connsiteX393" fmla="*/ 4407083 w 9012328"/>
              <a:gd name="connsiteY393" fmla="*/ 5717501 h 7308446"/>
              <a:gd name="connsiteX394" fmla="*/ 4375702 w 9012328"/>
              <a:gd name="connsiteY394" fmla="*/ 5740492 h 7308446"/>
              <a:gd name="connsiteX395" fmla="*/ 4340953 w 9012328"/>
              <a:gd name="connsiteY395" fmla="*/ 5760173 h 7308446"/>
              <a:gd name="connsiteX396" fmla="*/ 4302693 w 9012328"/>
              <a:gd name="connsiteY396" fmla="*/ 5776460 h 7308446"/>
              <a:gd name="connsiteX397" fmla="*/ 4260776 w 9012328"/>
              <a:gd name="connsiteY397" fmla="*/ 5789272 h 7308446"/>
              <a:gd name="connsiteX398" fmla="*/ 4215059 w 9012328"/>
              <a:gd name="connsiteY398" fmla="*/ 5798526 h 7308446"/>
              <a:gd name="connsiteX399" fmla="*/ 4165399 w 9012328"/>
              <a:gd name="connsiteY399" fmla="*/ 5804139 h 7308446"/>
              <a:gd name="connsiteX400" fmla="*/ 4111651 w 9012328"/>
              <a:gd name="connsiteY400" fmla="*/ 5806028 h 7308446"/>
              <a:gd name="connsiteX401" fmla="*/ 4111651 w 9012328"/>
              <a:gd name="connsiteY401" fmla="*/ 5709205 h 7308446"/>
              <a:gd name="connsiteX402" fmla="*/ 4161336 w 9012328"/>
              <a:gd name="connsiteY402" fmla="*/ 5706972 h 7308446"/>
              <a:gd name="connsiteX403" fmla="*/ 4206256 w 9012328"/>
              <a:gd name="connsiteY403" fmla="*/ 5700351 h 7308446"/>
              <a:gd name="connsiteX404" fmla="*/ 4246640 w 9012328"/>
              <a:gd name="connsiteY404" fmla="*/ 5689462 h 7308446"/>
              <a:gd name="connsiteX405" fmla="*/ 4282711 w 9012328"/>
              <a:gd name="connsiteY405" fmla="*/ 5674422 h 7308446"/>
              <a:gd name="connsiteX406" fmla="*/ 4342822 w 9012328"/>
              <a:gd name="connsiteY406" fmla="*/ 5632362 h 7308446"/>
              <a:gd name="connsiteX407" fmla="*/ 4388401 w 9012328"/>
              <a:gd name="connsiteY407" fmla="*/ 5575118 h 7308446"/>
              <a:gd name="connsiteX408" fmla="*/ 4406307 w 9012328"/>
              <a:gd name="connsiteY408" fmla="*/ 5541097 h 7308446"/>
              <a:gd name="connsiteX409" fmla="*/ 4421259 w 9012328"/>
              <a:gd name="connsiteY409" fmla="*/ 5503636 h 7308446"/>
              <a:gd name="connsiteX410" fmla="*/ 4433483 w 9012328"/>
              <a:gd name="connsiteY410" fmla="*/ 5462851 h 7308446"/>
              <a:gd name="connsiteX411" fmla="*/ 4443206 w 9012328"/>
              <a:gd name="connsiteY411" fmla="*/ 5418861 h 7308446"/>
              <a:gd name="connsiteX412" fmla="*/ 4450653 w 9012328"/>
              <a:gd name="connsiteY412" fmla="*/ 5371784 h 7308446"/>
              <a:gd name="connsiteX413" fmla="*/ 4456052 w 9012328"/>
              <a:gd name="connsiteY413" fmla="*/ 5321740 h 7308446"/>
              <a:gd name="connsiteX414" fmla="*/ 4459628 w 9012328"/>
              <a:gd name="connsiteY414" fmla="*/ 5268845 h 7308446"/>
              <a:gd name="connsiteX415" fmla="*/ 4461607 w 9012328"/>
              <a:gd name="connsiteY415" fmla="*/ 5213218 h 7308446"/>
              <a:gd name="connsiteX416" fmla="*/ 4462217 w 9012328"/>
              <a:gd name="connsiteY416" fmla="*/ 5154978 h 7308446"/>
              <a:gd name="connsiteX417" fmla="*/ 4461575 w 9012328"/>
              <a:gd name="connsiteY417" fmla="*/ 5097309 h 7308446"/>
              <a:gd name="connsiteX418" fmla="*/ 4459505 w 9012328"/>
              <a:gd name="connsiteY418" fmla="*/ 5042220 h 7308446"/>
              <a:gd name="connsiteX419" fmla="*/ 4455795 w 9012328"/>
              <a:gd name="connsiteY419" fmla="*/ 4989827 h 7308446"/>
              <a:gd name="connsiteX420" fmla="*/ 4450229 w 9012328"/>
              <a:gd name="connsiteY420" fmla="*/ 4940251 h 7308446"/>
              <a:gd name="connsiteX421" fmla="*/ 4442594 w 9012328"/>
              <a:gd name="connsiteY421" fmla="*/ 4893607 h 7308446"/>
              <a:gd name="connsiteX422" fmla="*/ 4432676 w 9012328"/>
              <a:gd name="connsiteY422" fmla="*/ 4850015 h 7308446"/>
              <a:gd name="connsiteX423" fmla="*/ 4420260 w 9012328"/>
              <a:gd name="connsiteY423" fmla="*/ 4809594 h 7308446"/>
              <a:gd name="connsiteX424" fmla="*/ 4405133 w 9012328"/>
              <a:gd name="connsiteY424" fmla="*/ 4772462 h 7308446"/>
              <a:gd name="connsiteX425" fmla="*/ 4387080 w 9012328"/>
              <a:gd name="connsiteY425" fmla="*/ 4738736 h 7308446"/>
              <a:gd name="connsiteX426" fmla="*/ 4341342 w 9012328"/>
              <a:gd name="connsiteY426" fmla="*/ 4681977 h 7308446"/>
              <a:gd name="connsiteX427" fmla="*/ 4281333 w 9012328"/>
              <a:gd name="connsiteY427" fmla="*/ 4640264 h 7308446"/>
              <a:gd name="connsiteX428" fmla="*/ 4245441 w 9012328"/>
              <a:gd name="connsiteY428" fmla="*/ 4625345 h 7308446"/>
              <a:gd name="connsiteX429" fmla="*/ 4205339 w 9012328"/>
              <a:gd name="connsiteY429" fmla="*/ 4614542 h 7308446"/>
              <a:gd name="connsiteX430" fmla="*/ 4160814 w 9012328"/>
              <a:gd name="connsiteY430" fmla="*/ 4607974 h 7308446"/>
              <a:gd name="connsiteX431" fmla="*/ 4111651 w 9012328"/>
              <a:gd name="connsiteY431" fmla="*/ 4605758 h 7308446"/>
              <a:gd name="connsiteX432" fmla="*/ 4019781 w 9012328"/>
              <a:gd name="connsiteY432" fmla="*/ 4507266 h 7308446"/>
              <a:gd name="connsiteX433" fmla="*/ 4019781 w 9012328"/>
              <a:gd name="connsiteY433" fmla="*/ 4605758 h 7308446"/>
              <a:gd name="connsiteX434" fmla="*/ 3970895 w 9012328"/>
              <a:gd name="connsiteY434" fmla="*/ 4607974 h 7308446"/>
              <a:gd name="connsiteX435" fmla="*/ 3926615 w 9012328"/>
              <a:gd name="connsiteY435" fmla="*/ 4614542 h 7308446"/>
              <a:gd name="connsiteX436" fmla="*/ 3886728 w 9012328"/>
              <a:gd name="connsiteY436" fmla="*/ 4625345 h 7308446"/>
              <a:gd name="connsiteX437" fmla="*/ 3851022 w 9012328"/>
              <a:gd name="connsiteY437" fmla="*/ 4640264 h 7308446"/>
              <a:gd name="connsiteX438" fmla="*/ 3791307 w 9012328"/>
              <a:gd name="connsiteY438" fmla="*/ 4681977 h 7308446"/>
              <a:gd name="connsiteX439" fmla="*/ 3745774 w 9012328"/>
              <a:gd name="connsiteY439" fmla="*/ 4738736 h 7308446"/>
              <a:gd name="connsiteX440" fmla="*/ 3727795 w 9012328"/>
              <a:gd name="connsiteY440" fmla="*/ 4772462 h 7308446"/>
              <a:gd name="connsiteX441" fmla="*/ 3712725 w 9012328"/>
              <a:gd name="connsiteY441" fmla="*/ 4809594 h 7308446"/>
              <a:gd name="connsiteX442" fmla="*/ 3700353 w 9012328"/>
              <a:gd name="connsiteY442" fmla="*/ 4850015 h 7308446"/>
              <a:gd name="connsiteX443" fmla="*/ 3690465 w 9012328"/>
              <a:gd name="connsiteY443" fmla="*/ 4893607 h 7308446"/>
              <a:gd name="connsiteX444" fmla="*/ 3682853 w 9012328"/>
              <a:gd name="connsiteY444" fmla="*/ 4940251 h 7308446"/>
              <a:gd name="connsiteX445" fmla="*/ 3677301 w 9012328"/>
              <a:gd name="connsiteY445" fmla="*/ 4989827 h 7308446"/>
              <a:gd name="connsiteX446" fmla="*/ 3673597 w 9012328"/>
              <a:gd name="connsiteY446" fmla="*/ 5042220 h 7308446"/>
              <a:gd name="connsiteX447" fmla="*/ 3671530 w 9012328"/>
              <a:gd name="connsiteY447" fmla="*/ 5097309 h 7308446"/>
              <a:gd name="connsiteX448" fmla="*/ 3670887 w 9012328"/>
              <a:gd name="connsiteY448" fmla="*/ 5154978 h 7308446"/>
              <a:gd name="connsiteX449" fmla="*/ 3671513 w 9012328"/>
              <a:gd name="connsiteY449" fmla="*/ 5213218 h 7308446"/>
              <a:gd name="connsiteX450" fmla="*/ 3673535 w 9012328"/>
              <a:gd name="connsiteY450" fmla="*/ 5268845 h 7308446"/>
              <a:gd name="connsiteX451" fmla="*/ 3677173 w 9012328"/>
              <a:gd name="connsiteY451" fmla="*/ 5321740 h 7308446"/>
              <a:gd name="connsiteX452" fmla="*/ 3682642 w 9012328"/>
              <a:gd name="connsiteY452" fmla="*/ 5371784 h 7308446"/>
              <a:gd name="connsiteX453" fmla="*/ 3690160 w 9012328"/>
              <a:gd name="connsiteY453" fmla="*/ 5418861 h 7308446"/>
              <a:gd name="connsiteX454" fmla="*/ 3699949 w 9012328"/>
              <a:gd name="connsiteY454" fmla="*/ 5462851 h 7308446"/>
              <a:gd name="connsiteX455" fmla="*/ 3712226 w 9012328"/>
              <a:gd name="connsiteY455" fmla="*/ 5503636 h 7308446"/>
              <a:gd name="connsiteX456" fmla="*/ 3727208 w 9012328"/>
              <a:gd name="connsiteY456" fmla="*/ 5541097 h 7308446"/>
              <a:gd name="connsiteX457" fmla="*/ 3745113 w 9012328"/>
              <a:gd name="connsiteY457" fmla="*/ 5575118 h 7308446"/>
              <a:gd name="connsiteX458" fmla="*/ 3790567 w 9012328"/>
              <a:gd name="connsiteY458" fmla="*/ 5632362 h 7308446"/>
              <a:gd name="connsiteX459" fmla="*/ 3850333 w 9012328"/>
              <a:gd name="connsiteY459" fmla="*/ 5674422 h 7308446"/>
              <a:gd name="connsiteX460" fmla="*/ 3886128 w 9012328"/>
              <a:gd name="connsiteY460" fmla="*/ 5689462 h 7308446"/>
              <a:gd name="connsiteX461" fmla="*/ 3926156 w 9012328"/>
              <a:gd name="connsiteY461" fmla="*/ 5700351 h 7308446"/>
              <a:gd name="connsiteX462" fmla="*/ 3970634 w 9012328"/>
              <a:gd name="connsiteY462" fmla="*/ 5706972 h 7308446"/>
              <a:gd name="connsiteX463" fmla="*/ 4019781 w 9012328"/>
              <a:gd name="connsiteY463" fmla="*/ 5709205 h 7308446"/>
              <a:gd name="connsiteX464" fmla="*/ 4019781 w 9012328"/>
              <a:gd name="connsiteY464" fmla="*/ 5806028 h 7308446"/>
              <a:gd name="connsiteX465" fmla="*/ 3966259 w 9012328"/>
              <a:gd name="connsiteY465" fmla="*/ 5804139 h 7308446"/>
              <a:gd name="connsiteX466" fmla="*/ 3916778 w 9012328"/>
              <a:gd name="connsiteY466" fmla="*/ 5798526 h 7308446"/>
              <a:gd name="connsiteX467" fmla="*/ 3871199 w 9012328"/>
              <a:gd name="connsiteY467" fmla="*/ 5789272 h 7308446"/>
              <a:gd name="connsiteX468" fmla="*/ 3829380 w 9012328"/>
              <a:gd name="connsiteY468" fmla="*/ 5776460 h 7308446"/>
              <a:gd name="connsiteX469" fmla="*/ 3791183 w 9012328"/>
              <a:gd name="connsiteY469" fmla="*/ 5760173 h 7308446"/>
              <a:gd name="connsiteX470" fmla="*/ 3756466 w 9012328"/>
              <a:gd name="connsiteY470" fmla="*/ 5740492 h 7308446"/>
              <a:gd name="connsiteX471" fmla="*/ 3725090 w 9012328"/>
              <a:gd name="connsiteY471" fmla="*/ 5717501 h 7308446"/>
              <a:gd name="connsiteX472" fmla="*/ 3696914 w 9012328"/>
              <a:gd name="connsiteY472" fmla="*/ 5691283 h 7308446"/>
              <a:gd name="connsiteX473" fmla="*/ 3671799 w 9012328"/>
              <a:gd name="connsiteY473" fmla="*/ 5661919 h 7308446"/>
              <a:gd name="connsiteX474" fmla="*/ 3649604 w 9012328"/>
              <a:gd name="connsiteY474" fmla="*/ 5629493 h 7308446"/>
              <a:gd name="connsiteX475" fmla="*/ 3630186 w 9012328"/>
              <a:gd name="connsiteY475" fmla="*/ 5594087 h 7308446"/>
              <a:gd name="connsiteX476" fmla="*/ 3613408 w 9012328"/>
              <a:gd name="connsiteY476" fmla="*/ 5555784 h 7308446"/>
              <a:gd name="connsiteX477" fmla="*/ 3599129 w 9012328"/>
              <a:gd name="connsiteY477" fmla="*/ 5514667 h 7308446"/>
              <a:gd name="connsiteX478" fmla="*/ 3587210 w 9012328"/>
              <a:gd name="connsiteY478" fmla="*/ 5470817 h 7308446"/>
              <a:gd name="connsiteX479" fmla="*/ 3577507 w 9012328"/>
              <a:gd name="connsiteY479" fmla="*/ 5424318 h 7308446"/>
              <a:gd name="connsiteX480" fmla="*/ 3569884 w 9012328"/>
              <a:gd name="connsiteY480" fmla="*/ 5375253 h 7308446"/>
              <a:gd name="connsiteX481" fmla="*/ 3564199 w 9012328"/>
              <a:gd name="connsiteY481" fmla="*/ 5323704 h 7308446"/>
              <a:gd name="connsiteX482" fmla="*/ 3560312 w 9012328"/>
              <a:gd name="connsiteY482" fmla="*/ 5269753 h 7308446"/>
              <a:gd name="connsiteX483" fmla="*/ 3558082 w 9012328"/>
              <a:gd name="connsiteY483" fmla="*/ 5213483 h 7308446"/>
              <a:gd name="connsiteX484" fmla="*/ 3557372 w 9012328"/>
              <a:gd name="connsiteY484" fmla="*/ 5154978 h 7308446"/>
              <a:gd name="connsiteX485" fmla="*/ 3558107 w 9012328"/>
              <a:gd name="connsiteY485" fmla="*/ 5096722 h 7308446"/>
              <a:gd name="connsiteX486" fmla="*/ 3560402 w 9012328"/>
              <a:gd name="connsiteY486" fmla="*/ 5040702 h 7308446"/>
              <a:gd name="connsiteX487" fmla="*/ 3564391 w 9012328"/>
              <a:gd name="connsiteY487" fmla="*/ 4986997 h 7308446"/>
              <a:gd name="connsiteX488" fmla="*/ 3570205 w 9012328"/>
              <a:gd name="connsiteY488" fmla="*/ 4935691 h 7308446"/>
              <a:gd name="connsiteX489" fmla="*/ 3577977 w 9012328"/>
              <a:gd name="connsiteY489" fmla="*/ 4886863 h 7308446"/>
              <a:gd name="connsiteX490" fmla="*/ 3587840 w 9012328"/>
              <a:gd name="connsiteY490" fmla="*/ 4840595 h 7308446"/>
              <a:gd name="connsiteX491" fmla="*/ 3599926 w 9012328"/>
              <a:gd name="connsiteY491" fmla="*/ 4796969 h 7308446"/>
              <a:gd name="connsiteX492" fmla="*/ 3614369 w 9012328"/>
              <a:gd name="connsiteY492" fmla="*/ 4756067 h 7308446"/>
              <a:gd name="connsiteX493" fmla="*/ 3631302 w 9012328"/>
              <a:gd name="connsiteY493" fmla="*/ 4717969 h 7308446"/>
              <a:gd name="connsiteX494" fmla="*/ 3650855 w 9012328"/>
              <a:gd name="connsiteY494" fmla="*/ 4682757 h 7308446"/>
              <a:gd name="connsiteX495" fmla="*/ 3673163 w 9012328"/>
              <a:gd name="connsiteY495" fmla="*/ 4650512 h 7308446"/>
              <a:gd name="connsiteX496" fmla="*/ 3698356 w 9012328"/>
              <a:gd name="connsiteY496" fmla="*/ 4621316 h 7308446"/>
              <a:gd name="connsiteX497" fmla="*/ 3726571 w 9012328"/>
              <a:gd name="connsiteY497" fmla="*/ 4595250 h 7308446"/>
              <a:gd name="connsiteX498" fmla="*/ 3757938 w 9012328"/>
              <a:gd name="connsiteY498" fmla="*/ 4572395 h 7308446"/>
              <a:gd name="connsiteX499" fmla="*/ 3792591 w 9012328"/>
              <a:gd name="connsiteY499" fmla="*/ 4552834 h 7308446"/>
              <a:gd name="connsiteX500" fmla="*/ 3830662 w 9012328"/>
              <a:gd name="connsiteY500" fmla="*/ 4536646 h 7308446"/>
              <a:gd name="connsiteX501" fmla="*/ 3872284 w 9012328"/>
              <a:gd name="connsiteY501" fmla="*/ 4523914 h 7308446"/>
              <a:gd name="connsiteX502" fmla="*/ 3917589 w 9012328"/>
              <a:gd name="connsiteY502" fmla="*/ 4514719 h 7308446"/>
              <a:gd name="connsiteX503" fmla="*/ 3966710 w 9012328"/>
              <a:gd name="connsiteY503" fmla="*/ 4509142 h 7308446"/>
              <a:gd name="connsiteX504" fmla="*/ 0 w 9012328"/>
              <a:gd name="connsiteY504" fmla="*/ 3876244 h 7308446"/>
              <a:gd name="connsiteX505" fmla="*/ 904792 w 9012328"/>
              <a:gd name="connsiteY505" fmla="*/ 3876244 h 7308446"/>
              <a:gd name="connsiteX506" fmla="*/ 904792 w 9012328"/>
              <a:gd name="connsiteY506" fmla="*/ 3983083 h 7308446"/>
              <a:gd name="connsiteX507" fmla="*/ 0 w 9012328"/>
              <a:gd name="connsiteY507" fmla="*/ 3983083 h 7308446"/>
              <a:gd name="connsiteX508" fmla="*/ 0 w 9012328"/>
              <a:gd name="connsiteY508" fmla="*/ 3527349 h 7308446"/>
              <a:gd name="connsiteX509" fmla="*/ 904792 w 9012328"/>
              <a:gd name="connsiteY509" fmla="*/ 3527349 h 7308446"/>
              <a:gd name="connsiteX510" fmla="*/ 904792 w 9012328"/>
              <a:gd name="connsiteY510" fmla="*/ 3634187 h 7308446"/>
              <a:gd name="connsiteX511" fmla="*/ 0 w 9012328"/>
              <a:gd name="connsiteY511" fmla="*/ 3634187 h 7308446"/>
              <a:gd name="connsiteX512" fmla="*/ 1599039 w 9012328"/>
              <a:gd name="connsiteY512" fmla="*/ 3011203 h 7308446"/>
              <a:gd name="connsiteX513" fmla="*/ 1972978 w 9012328"/>
              <a:gd name="connsiteY513" fmla="*/ 3011203 h 7308446"/>
              <a:gd name="connsiteX514" fmla="*/ 1972978 w 9012328"/>
              <a:gd name="connsiteY514" fmla="*/ 3106453 h 7308446"/>
              <a:gd name="connsiteX515" fmla="*/ 1972978 w 9012328"/>
              <a:gd name="connsiteY515" fmla="*/ 4205003 h 7308446"/>
              <a:gd name="connsiteX516" fmla="*/ 1972978 w 9012328"/>
              <a:gd name="connsiteY516" fmla="*/ 4300253 h 7308446"/>
              <a:gd name="connsiteX517" fmla="*/ 1599039 w 9012328"/>
              <a:gd name="connsiteY517" fmla="*/ 4300253 h 7308446"/>
              <a:gd name="connsiteX518" fmla="*/ 1599039 w 9012328"/>
              <a:gd name="connsiteY518" fmla="*/ 4205003 h 7308446"/>
              <a:gd name="connsiteX519" fmla="*/ 1857788 w 9012328"/>
              <a:gd name="connsiteY519" fmla="*/ 4205003 h 7308446"/>
              <a:gd name="connsiteX520" fmla="*/ 1857788 w 9012328"/>
              <a:gd name="connsiteY520" fmla="*/ 3106453 h 7308446"/>
              <a:gd name="connsiteX521" fmla="*/ 1599039 w 9012328"/>
              <a:gd name="connsiteY521" fmla="*/ 3106453 h 7308446"/>
              <a:gd name="connsiteX522" fmla="*/ 1125303 w 9012328"/>
              <a:gd name="connsiteY522" fmla="*/ 3011203 h 7308446"/>
              <a:gd name="connsiteX523" fmla="*/ 1499242 w 9012328"/>
              <a:gd name="connsiteY523" fmla="*/ 3011203 h 7308446"/>
              <a:gd name="connsiteX524" fmla="*/ 1499242 w 9012328"/>
              <a:gd name="connsiteY524" fmla="*/ 3106453 h 7308446"/>
              <a:gd name="connsiteX525" fmla="*/ 1240492 w 9012328"/>
              <a:gd name="connsiteY525" fmla="*/ 3106453 h 7308446"/>
              <a:gd name="connsiteX526" fmla="*/ 1240492 w 9012328"/>
              <a:gd name="connsiteY526" fmla="*/ 4205003 h 7308446"/>
              <a:gd name="connsiteX527" fmla="*/ 1499242 w 9012328"/>
              <a:gd name="connsiteY527" fmla="*/ 4205003 h 7308446"/>
              <a:gd name="connsiteX528" fmla="*/ 1499242 w 9012328"/>
              <a:gd name="connsiteY528" fmla="*/ 4300253 h 7308446"/>
              <a:gd name="connsiteX529" fmla="*/ 1125303 w 9012328"/>
              <a:gd name="connsiteY529" fmla="*/ 4300253 h 7308446"/>
              <a:gd name="connsiteX530" fmla="*/ 1125303 w 9012328"/>
              <a:gd name="connsiteY530" fmla="*/ 4205003 h 7308446"/>
              <a:gd name="connsiteX531" fmla="*/ 1125303 w 9012328"/>
              <a:gd name="connsiteY531" fmla="*/ 3106453 h 7308446"/>
              <a:gd name="connsiteX532" fmla="*/ 3600665 w 9012328"/>
              <a:gd name="connsiteY532" fmla="*/ 3004837 h 7308446"/>
              <a:gd name="connsiteX533" fmla="*/ 3653736 w 9012328"/>
              <a:gd name="connsiteY533" fmla="*/ 3006713 h 7308446"/>
              <a:gd name="connsiteX534" fmla="*/ 3702854 w 9012328"/>
              <a:gd name="connsiteY534" fmla="*/ 3012290 h 7308446"/>
              <a:gd name="connsiteX535" fmla="*/ 3748160 w 9012328"/>
              <a:gd name="connsiteY535" fmla="*/ 3021485 h 7308446"/>
              <a:gd name="connsiteX536" fmla="*/ 3789782 w 9012328"/>
              <a:gd name="connsiteY536" fmla="*/ 3034217 h 7308446"/>
              <a:gd name="connsiteX537" fmla="*/ 3827853 w 9012328"/>
              <a:gd name="connsiteY537" fmla="*/ 3050405 h 7308446"/>
              <a:gd name="connsiteX538" fmla="*/ 3862506 w 9012328"/>
              <a:gd name="connsiteY538" fmla="*/ 3069966 h 7308446"/>
              <a:gd name="connsiteX539" fmla="*/ 3893873 w 9012328"/>
              <a:gd name="connsiteY539" fmla="*/ 3092821 h 7308446"/>
              <a:gd name="connsiteX540" fmla="*/ 3922088 w 9012328"/>
              <a:gd name="connsiteY540" fmla="*/ 3118887 h 7308446"/>
              <a:gd name="connsiteX541" fmla="*/ 3947284 w 9012328"/>
              <a:gd name="connsiteY541" fmla="*/ 3148083 h 7308446"/>
              <a:gd name="connsiteX542" fmla="*/ 3969592 w 9012328"/>
              <a:gd name="connsiteY542" fmla="*/ 3180328 h 7308446"/>
              <a:gd name="connsiteX543" fmla="*/ 3989145 w 9012328"/>
              <a:gd name="connsiteY543" fmla="*/ 3215540 h 7308446"/>
              <a:gd name="connsiteX544" fmla="*/ 4006077 w 9012328"/>
              <a:gd name="connsiteY544" fmla="*/ 3253638 h 7308446"/>
              <a:gd name="connsiteX545" fmla="*/ 4020520 w 9012328"/>
              <a:gd name="connsiteY545" fmla="*/ 3294540 h 7308446"/>
              <a:gd name="connsiteX546" fmla="*/ 4032607 w 9012328"/>
              <a:gd name="connsiteY546" fmla="*/ 3338166 h 7308446"/>
              <a:gd name="connsiteX547" fmla="*/ 4042470 w 9012328"/>
              <a:gd name="connsiteY547" fmla="*/ 3384433 h 7308446"/>
              <a:gd name="connsiteX548" fmla="*/ 4050242 w 9012328"/>
              <a:gd name="connsiteY548" fmla="*/ 3433261 h 7308446"/>
              <a:gd name="connsiteX549" fmla="*/ 4056056 w 9012328"/>
              <a:gd name="connsiteY549" fmla="*/ 3484567 h 7308446"/>
              <a:gd name="connsiteX550" fmla="*/ 4060044 w 9012328"/>
              <a:gd name="connsiteY550" fmla="*/ 3538272 h 7308446"/>
              <a:gd name="connsiteX551" fmla="*/ 4062340 w 9012328"/>
              <a:gd name="connsiteY551" fmla="*/ 3594292 h 7308446"/>
              <a:gd name="connsiteX552" fmla="*/ 4063076 w 9012328"/>
              <a:gd name="connsiteY552" fmla="*/ 3652548 h 7308446"/>
              <a:gd name="connsiteX553" fmla="*/ 4062376 w 9012328"/>
              <a:gd name="connsiteY553" fmla="*/ 3711053 h 7308446"/>
              <a:gd name="connsiteX554" fmla="*/ 4060179 w 9012328"/>
              <a:gd name="connsiteY554" fmla="*/ 3767323 h 7308446"/>
              <a:gd name="connsiteX555" fmla="*/ 4056343 w 9012328"/>
              <a:gd name="connsiteY555" fmla="*/ 3821273 h 7308446"/>
              <a:gd name="connsiteX556" fmla="*/ 4050722 w 9012328"/>
              <a:gd name="connsiteY556" fmla="*/ 3872823 h 7308446"/>
              <a:gd name="connsiteX557" fmla="*/ 4043174 w 9012328"/>
              <a:gd name="connsiteY557" fmla="*/ 3921888 h 7308446"/>
              <a:gd name="connsiteX558" fmla="*/ 4033553 w 9012328"/>
              <a:gd name="connsiteY558" fmla="*/ 3968387 h 7308446"/>
              <a:gd name="connsiteX559" fmla="*/ 4021716 w 9012328"/>
              <a:gd name="connsiteY559" fmla="*/ 4012236 h 7308446"/>
              <a:gd name="connsiteX560" fmla="*/ 4007519 w 9012328"/>
              <a:gd name="connsiteY560" fmla="*/ 4053354 h 7308446"/>
              <a:gd name="connsiteX561" fmla="*/ 3990818 w 9012328"/>
              <a:gd name="connsiteY561" fmla="*/ 4091657 h 7308446"/>
              <a:gd name="connsiteX562" fmla="*/ 3971469 w 9012328"/>
              <a:gd name="connsiteY562" fmla="*/ 4127063 h 7308446"/>
              <a:gd name="connsiteX563" fmla="*/ 3949328 w 9012328"/>
              <a:gd name="connsiteY563" fmla="*/ 4159489 h 7308446"/>
              <a:gd name="connsiteX564" fmla="*/ 3924252 w 9012328"/>
              <a:gd name="connsiteY564" fmla="*/ 4188852 h 7308446"/>
              <a:gd name="connsiteX565" fmla="*/ 3896095 w 9012328"/>
              <a:gd name="connsiteY565" fmla="*/ 4215071 h 7308446"/>
              <a:gd name="connsiteX566" fmla="*/ 3864714 w 9012328"/>
              <a:gd name="connsiteY566" fmla="*/ 4238061 h 7308446"/>
              <a:gd name="connsiteX567" fmla="*/ 3829965 w 9012328"/>
              <a:gd name="connsiteY567" fmla="*/ 4257742 h 7308446"/>
              <a:gd name="connsiteX568" fmla="*/ 3791705 w 9012328"/>
              <a:gd name="connsiteY568" fmla="*/ 4274029 h 7308446"/>
              <a:gd name="connsiteX569" fmla="*/ 3749788 w 9012328"/>
              <a:gd name="connsiteY569" fmla="*/ 4286841 h 7308446"/>
              <a:gd name="connsiteX570" fmla="*/ 3704071 w 9012328"/>
              <a:gd name="connsiteY570" fmla="*/ 4296095 h 7308446"/>
              <a:gd name="connsiteX571" fmla="*/ 3654414 w 9012328"/>
              <a:gd name="connsiteY571" fmla="*/ 4301708 h 7308446"/>
              <a:gd name="connsiteX572" fmla="*/ 3600665 w 9012328"/>
              <a:gd name="connsiteY572" fmla="*/ 4303597 h 7308446"/>
              <a:gd name="connsiteX573" fmla="*/ 3600665 w 9012328"/>
              <a:gd name="connsiteY573" fmla="*/ 4206775 h 7308446"/>
              <a:gd name="connsiteX574" fmla="*/ 3650351 w 9012328"/>
              <a:gd name="connsiteY574" fmla="*/ 4204542 h 7308446"/>
              <a:gd name="connsiteX575" fmla="*/ 3695268 w 9012328"/>
              <a:gd name="connsiteY575" fmla="*/ 4197921 h 7308446"/>
              <a:gd name="connsiteX576" fmla="*/ 3735652 w 9012328"/>
              <a:gd name="connsiteY576" fmla="*/ 4187032 h 7308446"/>
              <a:gd name="connsiteX577" fmla="*/ 3771723 w 9012328"/>
              <a:gd name="connsiteY577" fmla="*/ 4171992 h 7308446"/>
              <a:gd name="connsiteX578" fmla="*/ 3831834 w 9012328"/>
              <a:gd name="connsiteY578" fmla="*/ 4129932 h 7308446"/>
              <a:gd name="connsiteX579" fmla="*/ 3877413 w 9012328"/>
              <a:gd name="connsiteY579" fmla="*/ 4072688 h 7308446"/>
              <a:gd name="connsiteX580" fmla="*/ 3895319 w 9012328"/>
              <a:gd name="connsiteY580" fmla="*/ 4038667 h 7308446"/>
              <a:gd name="connsiteX581" fmla="*/ 3910271 w 9012328"/>
              <a:gd name="connsiteY581" fmla="*/ 4001206 h 7308446"/>
              <a:gd name="connsiteX582" fmla="*/ 3922495 w 9012328"/>
              <a:gd name="connsiteY582" fmla="*/ 3960421 h 7308446"/>
              <a:gd name="connsiteX583" fmla="*/ 3932218 w 9012328"/>
              <a:gd name="connsiteY583" fmla="*/ 3916431 h 7308446"/>
              <a:gd name="connsiteX584" fmla="*/ 3939665 w 9012328"/>
              <a:gd name="connsiteY584" fmla="*/ 3869354 h 7308446"/>
              <a:gd name="connsiteX585" fmla="*/ 3945064 w 9012328"/>
              <a:gd name="connsiteY585" fmla="*/ 3819310 h 7308446"/>
              <a:gd name="connsiteX586" fmla="*/ 3948640 w 9012328"/>
              <a:gd name="connsiteY586" fmla="*/ 3766415 h 7308446"/>
              <a:gd name="connsiteX587" fmla="*/ 3950619 w 9012328"/>
              <a:gd name="connsiteY587" fmla="*/ 3710788 h 7308446"/>
              <a:gd name="connsiteX588" fmla="*/ 3951229 w 9012328"/>
              <a:gd name="connsiteY588" fmla="*/ 3652548 h 7308446"/>
              <a:gd name="connsiteX589" fmla="*/ 3950587 w 9012328"/>
              <a:gd name="connsiteY589" fmla="*/ 3594879 h 7308446"/>
              <a:gd name="connsiteX590" fmla="*/ 3948517 w 9012328"/>
              <a:gd name="connsiteY590" fmla="*/ 3539790 h 7308446"/>
              <a:gd name="connsiteX591" fmla="*/ 3944807 w 9012328"/>
              <a:gd name="connsiteY591" fmla="*/ 3487397 h 7308446"/>
              <a:gd name="connsiteX592" fmla="*/ 3939241 w 9012328"/>
              <a:gd name="connsiteY592" fmla="*/ 3437821 h 7308446"/>
              <a:gd name="connsiteX593" fmla="*/ 3931606 w 9012328"/>
              <a:gd name="connsiteY593" fmla="*/ 3391177 h 7308446"/>
              <a:gd name="connsiteX594" fmla="*/ 3921688 w 9012328"/>
              <a:gd name="connsiteY594" fmla="*/ 3347586 h 7308446"/>
              <a:gd name="connsiteX595" fmla="*/ 3909272 w 9012328"/>
              <a:gd name="connsiteY595" fmla="*/ 3307165 h 7308446"/>
              <a:gd name="connsiteX596" fmla="*/ 3894145 w 9012328"/>
              <a:gd name="connsiteY596" fmla="*/ 3270033 h 7308446"/>
              <a:gd name="connsiteX597" fmla="*/ 3876092 w 9012328"/>
              <a:gd name="connsiteY597" fmla="*/ 3236307 h 7308446"/>
              <a:gd name="connsiteX598" fmla="*/ 3830354 w 9012328"/>
              <a:gd name="connsiteY598" fmla="*/ 3179548 h 7308446"/>
              <a:gd name="connsiteX599" fmla="*/ 3770345 w 9012328"/>
              <a:gd name="connsiteY599" fmla="*/ 3137835 h 7308446"/>
              <a:gd name="connsiteX600" fmla="*/ 3734453 w 9012328"/>
              <a:gd name="connsiteY600" fmla="*/ 3122916 h 7308446"/>
              <a:gd name="connsiteX601" fmla="*/ 3694351 w 9012328"/>
              <a:gd name="connsiteY601" fmla="*/ 3112113 h 7308446"/>
              <a:gd name="connsiteX602" fmla="*/ 3649829 w 9012328"/>
              <a:gd name="connsiteY602" fmla="*/ 3105545 h 7308446"/>
              <a:gd name="connsiteX603" fmla="*/ 3600665 w 9012328"/>
              <a:gd name="connsiteY603" fmla="*/ 3103329 h 7308446"/>
              <a:gd name="connsiteX604" fmla="*/ 3508797 w 9012328"/>
              <a:gd name="connsiteY604" fmla="*/ 3004837 h 7308446"/>
              <a:gd name="connsiteX605" fmla="*/ 3508797 w 9012328"/>
              <a:gd name="connsiteY605" fmla="*/ 3103329 h 7308446"/>
              <a:gd name="connsiteX606" fmla="*/ 3459910 w 9012328"/>
              <a:gd name="connsiteY606" fmla="*/ 3105545 h 7308446"/>
              <a:gd name="connsiteX607" fmla="*/ 3415630 w 9012328"/>
              <a:gd name="connsiteY607" fmla="*/ 3112113 h 7308446"/>
              <a:gd name="connsiteX608" fmla="*/ 3375743 w 9012328"/>
              <a:gd name="connsiteY608" fmla="*/ 3122916 h 7308446"/>
              <a:gd name="connsiteX609" fmla="*/ 3340039 w 9012328"/>
              <a:gd name="connsiteY609" fmla="*/ 3137835 h 7308446"/>
              <a:gd name="connsiteX610" fmla="*/ 3280323 w 9012328"/>
              <a:gd name="connsiteY610" fmla="*/ 3179548 h 7308446"/>
              <a:gd name="connsiteX611" fmla="*/ 3234789 w 9012328"/>
              <a:gd name="connsiteY611" fmla="*/ 3236307 h 7308446"/>
              <a:gd name="connsiteX612" fmla="*/ 3216810 w 9012328"/>
              <a:gd name="connsiteY612" fmla="*/ 3270033 h 7308446"/>
              <a:gd name="connsiteX613" fmla="*/ 3201740 w 9012328"/>
              <a:gd name="connsiteY613" fmla="*/ 3307165 h 7308446"/>
              <a:gd name="connsiteX614" fmla="*/ 3189368 w 9012328"/>
              <a:gd name="connsiteY614" fmla="*/ 3347586 h 7308446"/>
              <a:gd name="connsiteX615" fmla="*/ 3179480 w 9012328"/>
              <a:gd name="connsiteY615" fmla="*/ 3391177 h 7308446"/>
              <a:gd name="connsiteX616" fmla="*/ 3171865 w 9012328"/>
              <a:gd name="connsiteY616" fmla="*/ 3437821 h 7308446"/>
              <a:gd name="connsiteX617" fmla="*/ 3166313 w 9012328"/>
              <a:gd name="connsiteY617" fmla="*/ 3487397 h 7308446"/>
              <a:gd name="connsiteX618" fmla="*/ 3162609 w 9012328"/>
              <a:gd name="connsiteY618" fmla="*/ 3539790 h 7308446"/>
              <a:gd name="connsiteX619" fmla="*/ 3160541 w 9012328"/>
              <a:gd name="connsiteY619" fmla="*/ 3594879 h 7308446"/>
              <a:gd name="connsiteX620" fmla="*/ 3159899 w 9012328"/>
              <a:gd name="connsiteY620" fmla="*/ 3652548 h 7308446"/>
              <a:gd name="connsiteX621" fmla="*/ 3160527 w 9012328"/>
              <a:gd name="connsiteY621" fmla="*/ 3710788 h 7308446"/>
              <a:gd name="connsiteX622" fmla="*/ 3162547 w 9012328"/>
              <a:gd name="connsiteY622" fmla="*/ 3766415 h 7308446"/>
              <a:gd name="connsiteX623" fmla="*/ 3166185 w 9012328"/>
              <a:gd name="connsiteY623" fmla="*/ 3819310 h 7308446"/>
              <a:gd name="connsiteX624" fmla="*/ 3171653 w 9012328"/>
              <a:gd name="connsiteY624" fmla="*/ 3869354 h 7308446"/>
              <a:gd name="connsiteX625" fmla="*/ 3179175 w 9012328"/>
              <a:gd name="connsiteY625" fmla="*/ 3916431 h 7308446"/>
              <a:gd name="connsiteX626" fmla="*/ 3188965 w 9012328"/>
              <a:gd name="connsiteY626" fmla="*/ 3960421 h 7308446"/>
              <a:gd name="connsiteX627" fmla="*/ 3201241 w 9012328"/>
              <a:gd name="connsiteY627" fmla="*/ 4001206 h 7308446"/>
              <a:gd name="connsiteX628" fmla="*/ 3216223 w 9012328"/>
              <a:gd name="connsiteY628" fmla="*/ 4038667 h 7308446"/>
              <a:gd name="connsiteX629" fmla="*/ 3234129 w 9012328"/>
              <a:gd name="connsiteY629" fmla="*/ 4072688 h 7308446"/>
              <a:gd name="connsiteX630" fmla="*/ 3279582 w 9012328"/>
              <a:gd name="connsiteY630" fmla="*/ 4129932 h 7308446"/>
              <a:gd name="connsiteX631" fmla="*/ 3339348 w 9012328"/>
              <a:gd name="connsiteY631" fmla="*/ 4171992 h 7308446"/>
              <a:gd name="connsiteX632" fmla="*/ 3375143 w 9012328"/>
              <a:gd name="connsiteY632" fmla="*/ 4187032 h 7308446"/>
              <a:gd name="connsiteX633" fmla="*/ 3415171 w 9012328"/>
              <a:gd name="connsiteY633" fmla="*/ 4197921 h 7308446"/>
              <a:gd name="connsiteX634" fmla="*/ 3459650 w 9012328"/>
              <a:gd name="connsiteY634" fmla="*/ 4204542 h 7308446"/>
              <a:gd name="connsiteX635" fmla="*/ 3508797 w 9012328"/>
              <a:gd name="connsiteY635" fmla="*/ 4206775 h 7308446"/>
              <a:gd name="connsiteX636" fmla="*/ 3508797 w 9012328"/>
              <a:gd name="connsiteY636" fmla="*/ 4303597 h 7308446"/>
              <a:gd name="connsiteX637" fmla="*/ 3455275 w 9012328"/>
              <a:gd name="connsiteY637" fmla="*/ 4301708 h 7308446"/>
              <a:gd name="connsiteX638" fmla="*/ 3405793 w 9012328"/>
              <a:gd name="connsiteY638" fmla="*/ 4296095 h 7308446"/>
              <a:gd name="connsiteX639" fmla="*/ 3360214 w 9012328"/>
              <a:gd name="connsiteY639" fmla="*/ 4286841 h 7308446"/>
              <a:gd name="connsiteX640" fmla="*/ 3318395 w 9012328"/>
              <a:gd name="connsiteY640" fmla="*/ 4274029 h 7308446"/>
              <a:gd name="connsiteX641" fmla="*/ 3280198 w 9012328"/>
              <a:gd name="connsiteY641" fmla="*/ 4257742 h 7308446"/>
              <a:gd name="connsiteX642" fmla="*/ 3245481 w 9012328"/>
              <a:gd name="connsiteY642" fmla="*/ 4238061 h 7308446"/>
              <a:gd name="connsiteX643" fmla="*/ 3214105 w 9012328"/>
              <a:gd name="connsiteY643" fmla="*/ 4215071 h 7308446"/>
              <a:gd name="connsiteX644" fmla="*/ 3185929 w 9012328"/>
              <a:gd name="connsiteY644" fmla="*/ 4188852 h 7308446"/>
              <a:gd name="connsiteX645" fmla="*/ 3160812 w 9012328"/>
              <a:gd name="connsiteY645" fmla="*/ 4159489 h 7308446"/>
              <a:gd name="connsiteX646" fmla="*/ 3138616 w 9012328"/>
              <a:gd name="connsiteY646" fmla="*/ 4127063 h 7308446"/>
              <a:gd name="connsiteX647" fmla="*/ 3119198 w 9012328"/>
              <a:gd name="connsiteY647" fmla="*/ 4091657 h 7308446"/>
              <a:gd name="connsiteX648" fmla="*/ 3102421 w 9012328"/>
              <a:gd name="connsiteY648" fmla="*/ 4053354 h 7308446"/>
              <a:gd name="connsiteX649" fmla="*/ 3088141 w 9012328"/>
              <a:gd name="connsiteY649" fmla="*/ 4012236 h 7308446"/>
              <a:gd name="connsiteX650" fmla="*/ 3076222 w 9012328"/>
              <a:gd name="connsiteY650" fmla="*/ 3968387 h 7308446"/>
              <a:gd name="connsiteX651" fmla="*/ 3066519 w 9012328"/>
              <a:gd name="connsiteY651" fmla="*/ 3921888 h 7308446"/>
              <a:gd name="connsiteX652" fmla="*/ 3058896 w 9012328"/>
              <a:gd name="connsiteY652" fmla="*/ 3872823 h 7308446"/>
              <a:gd name="connsiteX653" fmla="*/ 3053212 w 9012328"/>
              <a:gd name="connsiteY653" fmla="*/ 3821273 h 7308446"/>
              <a:gd name="connsiteX654" fmla="*/ 3049324 w 9012328"/>
              <a:gd name="connsiteY654" fmla="*/ 3767323 h 7308446"/>
              <a:gd name="connsiteX655" fmla="*/ 3047094 w 9012328"/>
              <a:gd name="connsiteY655" fmla="*/ 3711053 h 7308446"/>
              <a:gd name="connsiteX656" fmla="*/ 3046384 w 9012328"/>
              <a:gd name="connsiteY656" fmla="*/ 3652548 h 7308446"/>
              <a:gd name="connsiteX657" fmla="*/ 3047118 w 9012328"/>
              <a:gd name="connsiteY657" fmla="*/ 3594292 h 7308446"/>
              <a:gd name="connsiteX658" fmla="*/ 3049414 w 9012328"/>
              <a:gd name="connsiteY658" fmla="*/ 3538272 h 7308446"/>
              <a:gd name="connsiteX659" fmla="*/ 3053403 w 9012328"/>
              <a:gd name="connsiteY659" fmla="*/ 3484567 h 7308446"/>
              <a:gd name="connsiteX660" fmla="*/ 3059217 w 9012328"/>
              <a:gd name="connsiteY660" fmla="*/ 3433261 h 7308446"/>
              <a:gd name="connsiteX661" fmla="*/ 3066990 w 9012328"/>
              <a:gd name="connsiteY661" fmla="*/ 3384433 h 7308446"/>
              <a:gd name="connsiteX662" fmla="*/ 3076852 w 9012328"/>
              <a:gd name="connsiteY662" fmla="*/ 3338166 h 7308446"/>
              <a:gd name="connsiteX663" fmla="*/ 3088939 w 9012328"/>
              <a:gd name="connsiteY663" fmla="*/ 3294540 h 7308446"/>
              <a:gd name="connsiteX664" fmla="*/ 3103381 w 9012328"/>
              <a:gd name="connsiteY664" fmla="*/ 3253638 h 7308446"/>
              <a:gd name="connsiteX665" fmla="*/ 3120314 w 9012328"/>
              <a:gd name="connsiteY665" fmla="*/ 3215540 h 7308446"/>
              <a:gd name="connsiteX666" fmla="*/ 3139867 w 9012328"/>
              <a:gd name="connsiteY666" fmla="*/ 3180328 h 7308446"/>
              <a:gd name="connsiteX667" fmla="*/ 3162174 w 9012328"/>
              <a:gd name="connsiteY667" fmla="*/ 3148083 h 7308446"/>
              <a:gd name="connsiteX668" fmla="*/ 3187372 w 9012328"/>
              <a:gd name="connsiteY668" fmla="*/ 3118887 h 7308446"/>
              <a:gd name="connsiteX669" fmla="*/ 3215586 w 9012328"/>
              <a:gd name="connsiteY669" fmla="*/ 3092821 h 7308446"/>
              <a:gd name="connsiteX670" fmla="*/ 3246953 w 9012328"/>
              <a:gd name="connsiteY670" fmla="*/ 3069966 h 7308446"/>
              <a:gd name="connsiteX671" fmla="*/ 3281606 w 9012328"/>
              <a:gd name="connsiteY671" fmla="*/ 3050405 h 7308446"/>
              <a:gd name="connsiteX672" fmla="*/ 3319678 w 9012328"/>
              <a:gd name="connsiteY672" fmla="*/ 3034217 h 7308446"/>
              <a:gd name="connsiteX673" fmla="*/ 3361299 w 9012328"/>
              <a:gd name="connsiteY673" fmla="*/ 3021485 h 7308446"/>
              <a:gd name="connsiteX674" fmla="*/ 3406605 w 9012328"/>
              <a:gd name="connsiteY674" fmla="*/ 3012290 h 7308446"/>
              <a:gd name="connsiteX675" fmla="*/ 3455726 w 9012328"/>
              <a:gd name="connsiteY675" fmla="*/ 3006713 h 7308446"/>
              <a:gd name="connsiteX676" fmla="*/ 3637118 w 9012328"/>
              <a:gd name="connsiteY676" fmla="*/ 2373826 h 7308446"/>
              <a:gd name="connsiteX677" fmla="*/ 4541909 w 9012328"/>
              <a:gd name="connsiteY677" fmla="*/ 2373826 h 7308446"/>
              <a:gd name="connsiteX678" fmla="*/ 4541909 w 9012328"/>
              <a:gd name="connsiteY678" fmla="*/ 2480664 h 7308446"/>
              <a:gd name="connsiteX679" fmla="*/ 3637118 w 9012328"/>
              <a:gd name="connsiteY679" fmla="*/ 2480664 h 7308446"/>
              <a:gd name="connsiteX680" fmla="*/ 2550201 w 9012328"/>
              <a:gd name="connsiteY680" fmla="*/ 2373826 h 7308446"/>
              <a:gd name="connsiteX681" fmla="*/ 3454993 w 9012328"/>
              <a:gd name="connsiteY681" fmla="*/ 2373826 h 7308446"/>
              <a:gd name="connsiteX682" fmla="*/ 3454993 w 9012328"/>
              <a:gd name="connsiteY682" fmla="*/ 2480664 h 7308446"/>
              <a:gd name="connsiteX683" fmla="*/ 2550201 w 9012328"/>
              <a:gd name="connsiteY683" fmla="*/ 2480664 h 7308446"/>
              <a:gd name="connsiteX684" fmla="*/ 3637119 w 9012328"/>
              <a:gd name="connsiteY684" fmla="*/ 2024930 h 7308446"/>
              <a:gd name="connsiteX685" fmla="*/ 4541909 w 9012328"/>
              <a:gd name="connsiteY685" fmla="*/ 2024930 h 7308446"/>
              <a:gd name="connsiteX686" fmla="*/ 4541909 w 9012328"/>
              <a:gd name="connsiteY686" fmla="*/ 2131769 h 7308446"/>
              <a:gd name="connsiteX687" fmla="*/ 3637119 w 9012328"/>
              <a:gd name="connsiteY687" fmla="*/ 2131769 h 7308446"/>
              <a:gd name="connsiteX688" fmla="*/ 2550201 w 9012328"/>
              <a:gd name="connsiteY688" fmla="*/ 2024930 h 7308446"/>
              <a:gd name="connsiteX689" fmla="*/ 3454993 w 9012328"/>
              <a:gd name="connsiteY689" fmla="*/ 2024930 h 7308446"/>
              <a:gd name="connsiteX690" fmla="*/ 3454993 w 9012328"/>
              <a:gd name="connsiteY690" fmla="*/ 2131769 h 7308446"/>
              <a:gd name="connsiteX691" fmla="*/ 2550201 w 9012328"/>
              <a:gd name="connsiteY691" fmla="*/ 2131769 h 7308446"/>
              <a:gd name="connsiteX692" fmla="*/ 6133380 w 9012328"/>
              <a:gd name="connsiteY692" fmla="*/ 1502419 h 7308446"/>
              <a:gd name="connsiteX693" fmla="*/ 6186450 w 9012328"/>
              <a:gd name="connsiteY693" fmla="*/ 1504296 h 7308446"/>
              <a:gd name="connsiteX694" fmla="*/ 6235571 w 9012328"/>
              <a:gd name="connsiteY694" fmla="*/ 1509872 h 7308446"/>
              <a:gd name="connsiteX695" fmla="*/ 6280876 w 9012328"/>
              <a:gd name="connsiteY695" fmla="*/ 1519068 h 7308446"/>
              <a:gd name="connsiteX696" fmla="*/ 6322498 w 9012328"/>
              <a:gd name="connsiteY696" fmla="*/ 1531799 h 7308446"/>
              <a:gd name="connsiteX697" fmla="*/ 6360569 w 9012328"/>
              <a:gd name="connsiteY697" fmla="*/ 1547987 h 7308446"/>
              <a:gd name="connsiteX698" fmla="*/ 6395222 w 9012328"/>
              <a:gd name="connsiteY698" fmla="*/ 1567548 h 7308446"/>
              <a:gd name="connsiteX699" fmla="*/ 6426589 w 9012328"/>
              <a:gd name="connsiteY699" fmla="*/ 1590403 h 7308446"/>
              <a:gd name="connsiteX700" fmla="*/ 6454804 w 9012328"/>
              <a:gd name="connsiteY700" fmla="*/ 1616469 h 7308446"/>
              <a:gd name="connsiteX701" fmla="*/ 6480000 w 9012328"/>
              <a:gd name="connsiteY701" fmla="*/ 1645665 h 7308446"/>
              <a:gd name="connsiteX702" fmla="*/ 6502308 w 9012328"/>
              <a:gd name="connsiteY702" fmla="*/ 1677910 h 7308446"/>
              <a:gd name="connsiteX703" fmla="*/ 6521861 w 9012328"/>
              <a:gd name="connsiteY703" fmla="*/ 1713122 h 7308446"/>
              <a:gd name="connsiteX704" fmla="*/ 6538793 w 9012328"/>
              <a:gd name="connsiteY704" fmla="*/ 1751221 h 7308446"/>
              <a:gd name="connsiteX705" fmla="*/ 6553236 w 9012328"/>
              <a:gd name="connsiteY705" fmla="*/ 1792122 h 7308446"/>
              <a:gd name="connsiteX706" fmla="*/ 6565323 w 9012328"/>
              <a:gd name="connsiteY706" fmla="*/ 1835748 h 7308446"/>
              <a:gd name="connsiteX707" fmla="*/ 6575186 w 9012328"/>
              <a:gd name="connsiteY707" fmla="*/ 1882015 h 7308446"/>
              <a:gd name="connsiteX708" fmla="*/ 6582958 w 9012328"/>
              <a:gd name="connsiteY708" fmla="*/ 1930843 h 7308446"/>
              <a:gd name="connsiteX709" fmla="*/ 6588772 w 9012328"/>
              <a:gd name="connsiteY709" fmla="*/ 1982149 h 7308446"/>
              <a:gd name="connsiteX710" fmla="*/ 6592760 w 9012328"/>
              <a:gd name="connsiteY710" fmla="*/ 2035854 h 7308446"/>
              <a:gd name="connsiteX711" fmla="*/ 6595056 w 9012328"/>
              <a:gd name="connsiteY711" fmla="*/ 2091874 h 7308446"/>
              <a:gd name="connsiteX712" fmla="*/ 6595792 w 9012328"/>
              <a:gd name="connsiteY712" fmla="*/ 2150130 h 7308446"/>
              <a:gd name="connsiteX713" fmla="*/ 6595092 w 9012328"/>
              <a:gd name="connsiteY713" fmla="*/ 2208635 h 7308446"/>
              <a:gd name="connsiteX714" fmla="*/ 6592895 w 9012328"/>
              <a:gd name="connsiteY714" fmla="*/ 2264905 h 7308446"/>
              <a:gd name="connsiteX715" fmla="*/ 6589059 w 9012328"/>
              <a:gd name="connsiteY715" fmla="*/ 2318855 h 7308446"/>
              <a:gd name="connsiteX716" fmla="*/ 6583438 w 9012328"/>
              <a:gd name="connsiteY716" fmla="*/ 2370405 h 7308446"/>
              <a:gd name="connsiteX717" fmla="*/ 6575890 w 9012328"/>
              <a:gd name="connsiteY717" fmla="*/ 2419470 h 7308446"/>
              <a:gd name="connsiteX718" fmla="*/ 6566269 w 9012328"/>
              <a:gd name="connsiteY718" fmla="*/ 2465969 h 7308446"/>
              <a:gd name="connsiteX719" fmla="*/ 6554432 w 9012328"/>
              <a:gd name="connsiteY719" fmla="*/ 2509818 h 7308446"/>
              <a:gd name="connsiteX720" fmla="*/ 6540235 w 9012328"/>
              <a:gd name="connsiteY720" fmla="*/ 2550936 h 7308446"/>
              <a:gd name="connsiteX721" fmla="*/ 6523535 w 9012328"/>
              <a:gd name="connsiteY721" fmla="*/ 2589239 h 7308446"/>
              <a:gd name="connsiteX722" fmla="*/ 6504186 w 9012328"/>
              <a:gd name="connsiteY722" fmla="*/ 2624645 h 7308446"/>
              <a:gd name="connsiteX723" fmla="*/ 6482045 w 9012328"/>
              <a:gd name="connsiteY723" fmla="*/ 2657071 h 7308446"/>
              <a:gd name="connsiteX724" fmla="*/ 6456968 w 9012328"/>
              <a:gd name="connsiteY724" fmla="*/ 2686434 h 7308446"/>
              <a:gd name="connsiteX725" fmla="*/ 6428811 w 9012328"/>
              <a:gd name="connsiteY725" fmla="*/ 2712653 h 7308446"/>
              <a:gd name="connsiteX726" fmla="*/ 6397430 w 9012328"/>
              <a:gd name="connsiteY726" fmla="*/ 2735643 h 7308446"/>
              <a:gd name="connsiteX727" fmla="*/ 6362682 w 9012328"/>
              <a:gd name="connsiteY727" fmla="*/ 2755324 h 7308446"/>
              <a:gd name="connsiteX728" fmla="*/ 6324421 w 9012328"/>
              <a:gd name="connsiteY728" fmla="*/ 2771611 h 7308446"/>
              <a:gd name="connsiteX729" fmla="*/ 6282504 w 9012328"/>
              <a:gd name="connsiteY729" fmla="*/ 2784423 h 7308446"/>
              <a:gd name="connsiteX730" fmla="*/ 6236788 w 9012328"/>
              <a:gd name="connsiteY730" fmla="*/ 2793677 h 7308446"/>
              <a:gd name="connsiteX731" fmla="*/ 6187128 w 9012328"/>
              <a:gd name="connsiteY731" fmla="*/ 2799290 h 7308446"/>
              <a:gd name="connsiteX732" fmla="*/ 6133380 w 9012328"/>
              <a:gd name="connsiteY732" fmla="*/ 2801179 h 7308446"/>
              <a:gd name="connsiteX733" fmla="*/ 6133380 w 9012328"/>
              <a:gd name="connsiteY733" fmla="*/ 2704356 h 7308446"/>
              <a:gd name="connsiteX734" fmla="*/ 6183065 w 9012328"/>
              <a:gd name="connsiteY734" fmla="*/ 2702123 h 7308446"/>
              <a:gd name="connsiteX735" fmla="*/ 6227986 w 9012328"/>
              <a:gd name="connsiteY735" fmla="*/ 2695502 h 7308446"/>
              <a:gd name="connsiteX736" fmla="*/ 6268368 w 9012328"/>
              <a:gd name="connsiteY736" fmla="*/ 2684613 h 7308446"/>
              <a:gd name="connsiteX737" fmla="*/ 6304439 w 9012328"/>
              <a:gd name="connsiteY737" fmla="*/ 2669573 h 7308446"/>
              <a:gd name="connsiteX738" fmla="*/ 6364550 w 9012328"/>
              <a:gd name="connsiteY738" fmla="*/ 2627513 h 7308446"/>
              <a:gd name="connsiteX739" fmla="*/ 6410130 w 9012328"/>
              <a:gd name="connsiteY739" fmla="*/ 2570269 h 7308446"/>
              <a:gd name="connsiteX740" fmla="*/ 6428035 w 9012328"/>
              <a:gd name="connsiteY740" fmla="*/ 2536249 h 7308446"/>
              <a:gd name="connsiteX741" fmla="*/ 6442987 w 9012328"/>
              <a:gd name="connsiteY741" fmla="*/ 2498787 h 7308446"/>
              <a:gd name="connsiteX742" fmla="*/ 6455211 w 9012328"/>
              <a:gd name="connsiteY742" fmla="*/ 2458002 h 7308446"/>
              <a:gd name="connsiteX743" fmla="*/ 6464934 w 9012328"/>
              <a:gd name="connsiteY743" fmla="*/ 2414012 h 7308446"/>
              <a:gd name="connsiteX744" fmla="*/ 6472381 w 9012328"/>
              <a:gd name="connsiteY744" fmla="*/ 2366936 h 7308446"/>
              <a:gd name="connsiteX745" fmla="*/ 6477780 w 9012328"/>
              <a:gd name="connsiteY745" fmla="*/ 2316891 h 7308446"/>
              <a:gd name="connsiteX746" fmla="*/ 6481356 w 9012328"/>
              <a:gd name="connsiteY746" fmla="*/ 2263996 h 7308446"/>
              <a:gd name="connsiteX747" fmla="*/ 6483335 w 9012328"/>
              <a:gd name="connsiteY747" fmla="*/ 2208370 h 7308446"/>
              <a:gd name="connsiteX748" fmla="*/ 6483945 w 9012328"/>
              <a:gd name="connsiteY748" fmla="*/ 2150130 h 7308446"/>
              <a:gd name="connsiteX749" fmla="*/ 6483303 w 9012328"/>
              <a:gd name="connsiteY749" fmla="*/ 2092461 h 7308446"/>
              <a:gd name="connsiteX750" fmla="*/ 6481233 w 9012328"/>
              <a:gd name="connsiteY750" fmla="*/ 2037371 h 7308446"/>
              <a:gd name="connsiteX751" fmla="*/ 6477523 w 9012328"/>
              <a:gd name="connsiteY751" fmla="*/ 1984979 h 7308446"/>
              <a:gd name="connsiteX752" fmla="*/ 6471957 w 9012328"/>
              <a:gd name="connsiteY752" fmla="*/ 1935402 h 7308446"/>
              <a:gd name="connsiteX753" fmla="*/ 6464322 w 9012328"/>
              <a:gd name="connsiteY753" fmla="*/ 1888759 h 7308446"/>
              <a:gd name="connsiteX754" fmla="*/ 6454404 w 9012328"/>
              <a:gd name="connsiteY754" fmla="*/ 1845167 h 7308446"/>
              <a:gd name="connsiteX755" fmla="*/ 6441988 w 9012328"/>
              <a:gd name="connsiteY755" fmla="*/ 1804746 h 7308446"/>
              <a:gd name="connsiteX756" fmla="*/ 6426861 w 9012328"/>
              <a:gd name="connsiteY756" fmla="*/ 1767614 h 7308446"/>
              <a:gd name="connsiteX757" fmla="*/ 6408808 w 9012328"/>
              <a:gd name="connsiteY757" fmla="*/ 1733888 h 7308446"/>
              <a:gd name="connsiteX758" fmla="*/ 6363070 w 9012328"/>
              <a:gd name="connsiteY758" fmla="*/ 1677129 h 7308446"/>
              <a:gd name="connsiteX759" fmla="*/ 6303061 w 9012328"/>
              <a:gd name="connsiteY759" fmla="*/ 1635416 h 7308446"/>
              <a:gd name="connsiteX760" fmla="*/ 6267169 w 9012328"/>
              <a:gd name="connsiteY760" fmla="*/ 1620497 h 7308446"/>
              <a:gd name="connsiteX761" fmla="*/ 6227068 w 9012328"/>
              <a:gd name="connsiteY761" fmla="*/ 1609694 h 7308446"/>
              <a:gd name="connsiteX762" fmla="*/ 6182543 w 9012328"/>
              <a:gd name="connsiteY762" fmla="*/ 1603125 h 7308446"/>
              <a:gd name="connsiteX763" fmla="*/ 6133380 w 9012328"/>
              <a:gd name="connsiteY763" fmla="*/ 1600910 h 7308446"/>
              <a:gd name="connsiteX764" fmla="*/ 6041530 w 9012328"/>
              <a:gd name="connsiteY764" fmla="*/ 1502419 h 7308446"/>
              <a:gd name="connsiteX765" fmla="*/ 6041530 w 9012328"/>
              <a:gd name="connsiteY765" fmla="*/ 1600910 h 7308446"/>
              <a:gd name="connsiteX766" fmla="*/ 5992644 w 9012328"/>
              <a:gd name="connsiteY766" fmla="*/ 1603125 h 7308446"/>
              <a:gd name="connsiteX767" fmla="*/ 5948363 w 9012328"/>
              <a:gd name="connsiteY767" fmla="*/ 1609694 h 7308446"/>
              <a:gd name="connsiteX768" fmla="*/ 5908477 w 9012328"/>
              <a:gd name="connsiteY768" fmla="*/ 1620497 h 7308446"/>
              <a:gd name="connsiteX769" fmla="*/ 5872771 w 9012328"/>
              <a:gd name="connsiteY769" fmla="*/ 1635416 h 7308446"/>
              <a:gd name="connsiteX770" fmla="*/ 5813056 w 9012328"/>
              <a:gd name="connsiteY770" fmla="*/ 1677129 h 7308446"/>
              <a:gd name="connsiteX771" fmla="*/ 5767522 w 9012328"/>
              <a:gd name="connsiteY771" fmla="*/ 1733888 h 7308446"/>
              <a:gd name="connsiteX772" fmla="*/ 5749543 w 9012328"/>
              <a:gd name="connsiteY772" fmla="*/ 1767614 h 7308446"/>
              <a:gd name="connsiteX773" fmla="*/ 5734473 w 9012328"/>
              <a:gd name="connsiteY773" fmla="*/ 1804746 h 7308446"/>
              <a:gd name="connsiteX774" fmla="*/ 5722101 w 9012328"/>
              <a:gd name="connsiteY774" fmla="*/ 1845167 h 7308446"/>
              <a:gd name="connsiteX775" fmla="*/ 5712213 w 9012328"/>
              <a:gd name="connsiteY775" fmla="*/ 1888759 h 7308446"/>
              <a:gd name="connsiteX776" fmla="*/ 5704599 w 9012328"/>
              <a:gd name="connsiteY776" fmla="*/ 1935402 h 7308446"/>
              <a:gd name="connsiteX777" fmla="*/ 5699046 w 9012328"/>
              <a:gd name="connsiteY777" fmla="*/ 1984979 h 7308446"/>
              <a:gd name="connsiteX778" fmla="*/ 5695342 w 9012328"/>
              <a:gd name="connsiteY778" fmla="*/ 2037371 h 7308446"/>
              <a:gd name="connsiteX779" fmla="*/ 5693275 w 9012328"/>
              <a:gd name="connsiteY779" fmla="*/ 2092461 h 7308446"/>
              <a:gd name="connsiteX780" fmla="*/ 5692633 w 9012328"/>
              <a:gd name="connsiteY780" fmla="*/ 2150130 h 7308446"/>
              <a:gd name="connsiteX781" fmla="*/ 5693259 w 9012328"/>
              <a:gd name="connsiteY781" fmla="*/ 2208370 h 7308446"/>
              <a:gd name="connsiteX782" fmla="*/ 5695281 w 9012328"/>
              <a:gd name="connsiteY782" fmla="*/ 2263996 h 7308446"/>
              <a:gd name="connsiteX783" fmla="*/ 5698918 w 9012328"/>
              <a:gd name="connsiteY783" fmla="*/ 2316891 h 7308446"/>
              <a:gd name="connsiteX784" fmla="*/ 5704387 w 9012328"/>
              <a:gd name="connsiteY784" fmla="*/ 2366936 h 7308446"/>
              <a:gd name="connsiteX785" fmla="*/ 5711908 w 9012328"/>
              <a:gd name="connsiteY785" fmla="*/ 2414012 h 7308446"/>
              <a:gd name="connsiteX786" fmla="*/ 5721697 w 9012328"/>
              <a:gd name="connsiteY786" fmla="*/ 2458002 h 7308446"/>
              <a:gd name="connsiteX787" fmla="*/ 5733974 w 9012328"/>
              <a:gd name="connsiteY787" fmla="*/ 2498787 h 7308446"/>
              <a:gd name="connsiteX788" fmla="*/ 5748956 w 9012328"/>
              <a:gd name="connsiteY788" fmla="*/ 2536249 h 7308446"/>
              <a:gd name="connsiteX789" fmla="*/ 5766862 w 9012328"/>
              <a:gd name="connsiteY789" fmla="*/ 2570269 h 7308446"/>
              <a:gd name="connsiteX790" fmla="*/ 5812316 w 9012328"/>
              <a:gd name="connsiteY790" fmla="*/ 2627513 h 7308446"/>
              <a:gd name="connsiteX791" fmla="*/ 5872082 w 9012328"/>
              <a:gd name="connsiteY791" fmla="*/ 2669573 h 7308446"/>
              <a:gd name="connsiteX792" fmla="*/ 5907877 w 9012328"/>
              <a:gd name="connsiteY792" fmla="*/ 2684613 h 7308446"/>
              <a:gd name="connsiteX793" fmla="*/ 5947905 w 9012328"/>
              <a:gd name="connsiteY793" fmla="*/ 2695502 h 7308446"/>
              <a:gd name="connsiteX794" fmla="*/ 5992383 w 9012328"/>
              <a:gd name="connsiteY794" fmla="*/ 2702123 h 7308446"/>
              <a:gd name="connsiteX795" fmla="*/ 6041530 w 9012328"/>
              <a:gd name="connsiteY795" fmla="*/ 2704356 h 7308446"/>
              <a:gd name="connsiteX796" fmla="*/ 6041530 w 9012328"/>
              <a:gd name="connsiteY796" fmla="*/ 2801179 h 7308446"/>
              <a:gd name="connsiteX797" fmla="*/ 5988008 w 9012328"/>
              <a:gd name="connsiteY797" fmla="*/ 2799290 h 7308446"/>
              <a:gd name="connsiteX798" fmla="*/ 5938527 w 9012328"/>
              <a:gd name="connsiteY798" fmla="*/ 2793677 h 7308446"/>
              <a:gd name="connsiteX799" fmla="*/ 5892948 w 9012328"/>
              <a:gd name="connsiteY799" fmla="*/ 2784423 h 7308446"/>
              <a:gd name="connsiteX800" fmla="*/ 5851129 w 9012328"/>
              <a:gd name="connsiteY800" fmla="*/ 2771611 h 7308446"/>
              <a:gd name="connsiteX801" fmla="*/ 5812932 w 9012328"/>
              <a:gd name="connsiteY801" fmla="*/ 2755324 h 7308446"/>
              <a:gd name="connsiteX802" fmla="*/ 5778215 w 9012328"/>
              <a:gd name="connsiteY802" fmla="*/ 2735643 h 7308446"/>
              <a:gd name="connsiteX803" fmla="*/ 5746839 w 9012328"/>
              <a:gd name="connsiteY803" fmla="*/ 2712653 h 7308446"/>
              <a:gd name="connsiteX804" fmla="*/ 5718663 w 9012328"/>
              <a:gd name="connsiteY804" fmla="*/ 2686434 h 7308446"/>
              <a:gd name="connsiteX805" fmla="*/ 5693546 w 9012328"/>
              <a:gd name="connsiteY805" fmla="*/ 2657071 h 7308446"/>
              <a:gd name="connsiteX806" fmla="*/ 5671350 w 9012328"/>
              <a:gd name="connsiteY806" fmla="*/ 2624645 h 7308446"/>
              <a:gd name="connsiteX807" fmla="*/ 5651932 w 9012328"/>
              <a:gd name="connsiteY807" fmla="*/ 2589239 h 7308446"/>
              <a:gd name="connsiteX808" fmla="*/ 5635155 w 9012328"/>
              <a:gd name="connsiteY808" fmla="*/ 2550936 h 7308446"/>
              <a:gd name="connsiteX809" fmla="*/ 5620876 w 9012328"/>
              <a:gd name="connsiteY809" fmla="*/ 2509818 h 7308446"/>
              <a:gd name="connsiteX810" fmla="*/ 5608956 w 9012328"/>
              <a:gd name="connsiteY810" fmla="*/ 2465969 h 7308446"/>
              <a:gd name="connsiteX811" fmla="*/ 5599254 w 9012328"/>
              <a:gd name="connsiteY811" fmla="*/ 2419470 h 7308446"/>
              <a:gd name="connsiteX812" fmla="*/ 5591631 w 9012328"/>
              <a:gd name="connsiteY812" fmla="*/ 2370405 h 7308446"/>
              <a:gd name="connsiteX813" fmla="*/ 5585946 w 9012328"/>
              <a:gd name="connsiteY813" fmla="*/ 2318855 h 7308446"/>
              <a:gd name="connsiteX814" fmla="*/ 5582059 w 9012328"/>
              <a:gd name="connsiteY814" fmla="*/ 2264905 h 7308446"/>
              <a:gd name="connsiteX815" fmla="*/ 5579829 w 9012328"/>
              <a:gd name="connsiteY815" fmla="*/ 2208635 h 7308446"/>
              <a:gd name="connsiteX816" fmla="*/ 5579118 w 9012328"/>
              <a:gd name="connsiteY816" fmla="*/ 2150130 h 7308446"/>
              <a:gd name="connsiteX817" fmla="*/ 5579853 w 9012328"/>
              <a:gd name="connsiteY817" fmla="*/ 2091874 h 7308446"/>
              <a:gd name="connsiteX818" fmla="*/ 5582149 w 9012328"/>
              <a:gd name="connsiteY818" fmla="*/ 2035854 h 7308446"/>
              <a:gd name="connsiteX819" fmla="*/ 5586138 w 9012328"/>
              <a:gd name="connsiteY819" fmla="*/ 1982149 h 7308446"/>
              <a:gd name="connsiteX820" fmla="*/ 5591951 w 9012328"/>
              <a:gd name="connsiteY820" fmla="*/ 1930843 h 7308446"/>
              <a:gd name="connsiteX821" fmla="*/ 5599724 w 9012328"/>
              <a:gd name="connsiteY821" fmla="*/ 1882015 h 7308446"/>
              <a:gd name="connsiteX822" fmla="*/ 5609587 w 9012328"/>
              <a:gd name="connsiteY822" fmla="*/ 1835748 h 7308446"/>
              <a:gd name="connsiteX823" fmla="*/ 5621673 w 9012328"/>
              <a:gd name="connsiteY823" fmla="*/ 1792122 h 7308446"/>
              <a:gd name="connsiteX824" fmla="*/ 5636116 w 9012328"/>
              <a:gd name="connsiteY824" fmla="*/ 1751221 h 7308446"/>
              <a:gd name="connsiteX825" fmla="*/ 5653048 w 9012328"/>
              <a:gd name="connsiteY825" fmla="*/ 1713122 h 7308446"/>
              <a:gd name="connsiteX826" fmla="*/ 5672601 w 9012328"/>
              <a:gd name="connsiteY826" fmla="*/ 1677910 h 7308446"/>
              <a:gd name="connsiteX827" fmla="*/ 5694909 w 9012328"/>
              <a:gd name="connsiteY827" fmla="*/ 1645665 h 7308446"/>
              <a:gd name="connsiteX828" fmla="*/ 5720105 w 9012328"/>
              <a:gd name="connsiteY828" fmla="*/ 1616469 h 7308446"/>
              <a:gd name="connsiteX829" fmla="*/ 5748320 w 9012328"/>
              <a:gd name="connsiteY829" fmla="*/ 1590403 h 7308446"/>
              <a:gd name="connsiteX830" fmla="*/ 5779687 w 9012328"/>
              <a:gd name="connsiteY830" fmla="*/ 1567548 h 7308446"/>
              <a:gd name="connsiteX831" fmla="*/ 5814340 w 9012328"/>
              <a:gd name="connsiteY831" fmla="*/ 1547987 h 7308446"/>
              <a:gd name="connsiteX832" fmla="*/ 5852411 w 9012328"/>
              <a:gd name="connsiteY832" fmla="*/ 1531799 h 7308446"/>
              <a:gd name="connsiteX833" fmla="*/ 5894033 w 9012328"/>
              <a:gd name="connsiteY833" fmla="*/ 1519068 h 7308446"/>
              <a:gd name="connsiteX834" fmla="*/ 5939338 w 9012328"/>
              <a:gd name="connsiteY834" fmla="*/ 1509872 h 7308446"/>
              <a:gd name="connsiteX835" fmla="*/ 5988459 w 9012328"/>
              <a:gd name="connsiteY835" fmla="*/ 1504296 h 7308446"/>
              <a:gd name="connsiteX836" fmla="*/ 4160590 w 9012328"/>
              <a:gd name="connsiteY836" fmla="*/ 1021648 h 7308446"/>
              <a:gd name="connsiteX837" fmla="*/ 4367589 w 9012328"/>
              <a:gd name="connsiteY837" fmla="*/ 1021648 h 7308446"/>
              <a:gd name="connsiteX838" fmla="*/ 4367589 w 9012328"/>
              <a:gd name="connsiteY838" fmla="*/ 1195261 h 7308446"/>
              <a:gd name="connsiteX839" fmla="*/ 4160590 w 9012328"/>
              <a:gd name="connsiteY839" fmla="*/ 1195261 h 7308446"/>
              <a:gd name="connsiteX840" fmla="*/ 5799344 w 9012328"/>
              <a:gd name="connsiteY840" fmla="*/ 871408 h 7308446"/>
              <a:gd name="connsiteX841" fmla="*/ 6704136 w 9012328"/>
              <a:gd name="connsiteY841" fmla="*/ 871408 h 7308446"/>
              <a:gd name="connsiteX842" fmla="*/ 6704136 w 9012328"/>
              <a:gd name="connsiteY842" fmla="*/ 978246 h 7308446"/>
              <a:gd name="connsiteX843" fmla="*/ 5799344 w 9012328"/>
              <a:gd name="connsiteY843" fmla="*/ 978246 h 7308446"/>
              <a:gd name="connsiteX844" fmla="*/ 5799344 w 9012328"/>
              <a:gd name="connsiteY844" fmla="*/ 522512 h 7308446"/>
              <a:gd name="connsiteX845" fmla="*/ 6704136 w 9012328"/>
              <a:gd name="connsiteY845" fmla="*/ 522512 h 7308446"/>
              <a:gd name="connsiteX846" fmla="*/ 6704136 w 9012328"/>
              <a:gd name="connsiteY846" fmla="*/ 629350 h 7308446"/>
              <a:gd name="connsiteX847" fmla="*/ 5799344 w 9012328"/>
              <a:gd name="connsiteY847" fmla="*/ 629350 h 7308446"/>
              <a:gd name="connsiteX848" fmla="*/ 7774691 w 9012328"/>
              <a:gd name="connsiteY848" fmla="*/ 6383 h 7308446"/>
              <a:gd name="connsiteX849" fmla="*/ 8148629 w 9012328"/>
              <a:gd name="connsiteY849" fmla="*/ 6383 h 7308446"/>
              <a:gd name="connsiteX850" fmla="*/ 8148629 w 9012328"/>
              <a:gd name="connsiteY850" fmla="*/ 101632 h 7308446"/>
              <a:gd name="connsiteX851" fmla="*/ 7889880 w 9012328"/>
              <a:gd name="connsiteY851" fmla="*/ 101632 h 7308446"/>
              <a:gd name="connsiteX852" fmla="*/ 7889880 w 9012328"/>
              <a:gd name="connsiteY852" fmla="*/ 1200182 h 7308446"/>
              <a:gd name="connsiteX853" fmla="*/ 8148629 w 9012328"/>
              <a:gd name="connsiteY853" fmla="*/ 1200182 h 7308446"/>
              <a:gd name="connsiteX854" fmla="*/ 8148629 w 9012328"/>
              <a:gd name="connsiteY854" fmla="*/ 1295432 h 7308446"/>
              <a:gd name="connsiteX855" fmla="*/ 7774691 w 9012328"/>
              <a:gd name="connsiteY855" fmla="*/ 1295432 h 7308446"/>
              <a:gd name="connsiteX856" fmla="*/ 7774691 w 9012328"/>
              <a:gd name="connsiteY856" fmla="*/ 1200182 h 7308446"/>
              <a:gd name="connsiteX857" fmla="*/ 7774691 w 9012328"/>
              <a:gd name="connsiteY857" fmla="*/ 101632 h 7308446"/>
              <a:gd name="connsiteX858" fmla="*/ 8243417 w 9012328"/>
              <a:gd name="connsiteY858" fmla="*/ 0 h 7308446"/>
              <a:gd name="connsiteX859" fmla="*/ 8296487 w 9012328"/>
              <a:gd name="connsiteY859" fmla="*/ 1877 h 7308446"/>
              <a:gd name="connsiteX860" fmla="*/ 8345608 w 9012328"/>
              <a:gd name="connsiteY860" fmla="*/ 7454 h 7308446"/>
              <a:gd name="connsiteX861" fmla="*/ 8390913 w 9012328"/>
              <a:gd name="connsiteY861" fmla="*/ 16649 h 7308446"/>
              <a:gd name="connsiteX862" fmla="*/ 8432534 w 9012328"/>
              <a:gd name="connsiteY862" fmla="*/ 29381 h 7308446"/>
              <a:gd name="connsiteX863" fmla="*/ 8470605 w 9012328"/>
              <a:gd name="connsiteY863" fmla="*/ 45569 h 7308446"/>
              <a:gd name="connsiteX864" fmla="*/ 8505258 w 9012328"/>
              <a:gd name="connsiteY864" fmla="*/ 65130 h 7308446"/>
              <a:gd name="connsiteX865" fmla="*/ 8536626 w 9012328"/>
              <a:gd name="connsiteY865" fmla="*/ 87984 h 7308446"/>
              <a:gd name="connsiteX866" fmla="*/ 8564841 w 9012328"/>
              <a:gd name="connsiteY866" fmla="*/ 114050 h 7308446"/>
              <a:gd name="connsiteX867" fmla="*/ 8590036 w 9012328"/>
              <a:gd name="connsiteY867" fmla="*/ 143246 h 7308446"/>
              <a:gd name="connsiteX868" fmla="*/ 8612344 w 9012328"/>
              <a:gd name="connsiteY868" fmla="*/ 175491 h 7308446"/>
              <a:gd name="connsiteX869" fmla="*/ 8631898 w 9012328"/>
              <a:gd name="connsiteY869" fmla="*/ 210703 h 7308446"/>
              <a:gd name="connsiteX870" fmla="*/ 8648830 w 9012328"/>
              <a:gd name="connsiteY870" fmla="*/ 248801 h 7308446"/>
              <a:gd name="connsiteX871" fmla="*/ 8663273 w 9012328"/>
              <a:gd name="connsiteY871" fmla="*/ 289703 h 7308446"/>
              <a:gd name="connsiteX872" fmla="*/ 8675359 w 9012328"/>
              <a:gd name="connsiteY872" fmla="*/ 333329 h 7308446"/>
              <a:gd name="connsiteX873" fmla="*/ 8685222 w 9012328"/>
              <a:gd name="connsiteY873" fmla="*/ 379596 h 7308446"/>
              <a:gd name="connsiteX874" fmla="*/ 8692995 w 9012328"/>
              <a:gd name="connsiteY874" fmla="*/ 428424 h 7308446"/>
              <a:gd name="connsiteX875" fmla="*/ 8698808 w 9012328"/>
              <a:gd name="connsiteY875" fmla="*/ 479730 h 7308446"/>
              <a:gd name="connsiteX876" fmla="*/ 8702797 w 9012328"/>
              <a:gd name="connsiteY876" fmla="*/ 533435 h 7308446"/>
              <a:gd name="connsiteX877" fmla="*/ 8705093 w 9012328"/>
              <a:gd name="connsiteY877" fmla="*/ 589455 h 7308446"/>
              <a:gd name="connsiteX878" fmla="*/ 8705829 w 9012328"/>
              <a:gd name="connsiteY878" fmla="*/ 647711 h 7308446"/>
              <a:gd name="connsiteX879" fmla="*/ 8705129 w 9012328"/>
              <a:gd name="connsiteY879" fmla="*/ 706216 h 7308446"/>
              <a:gd name="connsiteX880" fmla="*/ 8702932 w 9012328"/>
              <a:gd name="connsiteY880" fmla="*/ 762486 h 7308446"/>
              <a:gd name="connsiteX881" fmla="*/ 8699096 w 9012328"/>
              <a:gd name="connsiteY881" fmla="*/ 816436 h 7308446"/>
              <a:gd name="connsiteX882" fmla="*/ 8693475 w 9012328"/>
              <a:gd name="connsiteY882" fmla="*/ 867986 h 7308446"/>
              <a:gd name="connsiteX883" fmla="*/ 8685927 w 9012328"/>
              <a:gd name="connsiteY883" fmla="*/ 917051 h 7308446"/>
              <a:gd name="connsiteX884" fmla="*/ 8676306 w 9012328"/>
              <a:gd name="connsiteY884" fmla="*/ 963550 h 7308446"/>
              <a:gd name="connsiteX885" fmla="*/ 8664469 w 9012328"/>
              <a:gd name="connsiteY885" fmla="*/ 1007399 h 7308446"/>
              <a:gd name="connsiteX886" fmla="*/ 8650272 w 9012328"/>
              <a:gd name="connsiteY886" fmla="*/ 1048517 h 7308446"/>
              <a:gd name="connsiteX887" fmla="*/ 8633571 w 9012328"/>
              <a:gd name="connsiteY887" fmla="*/ 1086820 h 7308446"/>
              <a:gd name="connsiteX888" fmla="*/ 8614222 w 9012328"/>
              <a:gd name="connsiteY888" fmla="*/ 1122226 h 7308446"/>
              <a:gd name="connsiteX889" fmla="*/ 8592081 w 9012328"/>
              <a:gd name="connsiteY889" fmla="*/ 1154652 h 7308446"/>
              <a:gd name="connsiteX890" fmla="*/ 8567005 w 9012328"/>
              <a:gd name="connsiteY890" fmla="*/ 1184015 h 7308446"/>
              <a:gd name="connsiteX891" fmla="*/ 8538848 w 9012328"/>
              <a:gd name="connsiteY891" fmla="*/ 1210234 h 7308446"/>
              <a:gd name="connsiteX892" fmla="*/ 8507467 w 9012328"/>
              <a:gd name="connsiteY892" fmla="*/ 1233224 h 7308446"/>
              <a:gd name="connsiteX893" fmla="*/ 8472718 w 9012328"/>
              <a:gd name="connsiteY893" fmla="*/ 1252905 h 7308446"/>
              <a:gd name="connsiteX894" fmla="*/ 8434458 w 9012328"/>
              <a:gd name="connsiteY894" fmla="*/ 1269193 h 7308446"/>
              <a:gd name="connsiteX895" fmla="*/ 8392541 w 9012328"/>
              <a:gd name="connsiteY895" fmla="*/ 1282004 h 7308446"/>
              <a:gd name="connsiteX896" fmla="*/ 8346825 w 9012328"/>
              <a:gd name="connsiteY896" fmla="*/ 1291258 h 7308446"/>
              <a:gd name="connsiteX897" fmla="*/ 8297165 w 9012328"/>
              <a:gd name="connsiteY897" fmla="*/ 1296871 h 7308446"/>
              <a:gd name="connsiteX898" fmla="*/ 8243417 w 9012328"/>
              <a:gd name="connsiteY898" fmla="*/ 1298760 h 7308446"/>
              <a:gd name="connsiteX899" fmla="*/ 8243417 w 9012328"/>
              <a:gd name="connsiteY899" fmla="*/ 1201938 h 7308446"/>
              <a:gd name="connsiteX900" fmla="*/ 8293102 w 9012328"/>
              <a:gd name="connsiteY900" fmla="*/ 1199705 h 7308446"/>
              <a:gd name="connsiteX901" fmla="*/ 8338022 w 9012328"/>
              <a:gd name="connsiteY901" fmla="*/ 1193084 h 7308446"/>
              <a:gd name="connsiteX902" fmla="*/ 8378405 w 9012328"/>
              <a:gd name="connsiteY902" fmla="*/ 1182195 h 7308446"/>
              <a:gd name="connsiteX903" fmla="*/ 8414476 w 9012328"/>
              <a:gd name="connsiteY903" fmla="*/ 1167155 h 7308446"/>
              <a:gd name="connsiteX904" fmla="*/ 8474587 w 9012328"/>
              <a:gd name="connsiteY904" fmla="*/ 1125095 h 7308446"/>
              <a:gd name="connsiteX905" fmla="*/ 8520166 w 9012328"/>
              <a:gd name="connsiteY905" fmla="*/ 1067851 h 7308446"/>
              <a:gd name="connsiteX906" fmla="*/ 8538072 w 9012328"/>
              <a:gd name="connsiteY906" fmla="*/ 1033830 h 7308446"/>
              <a:gd name="connsiteX907" fmla="*/ 8553024 w 9012328"/>
              <a:gd name="connsiteY907" fmla="*/ 996369 h 7308446"/>
              <a:gd name="connsiteX908" fmla="*/ 8565248 w 9012328"/>
              <a:gd name="connsiteY908" fmla="*/ 955584 h 7308446"/>
              <a:gd name="connsiteX909" fmla="*/ 8574971 w 9012328"/>
              <a:gd name="connsiteY909" fmla="*/ 911594 h 7308446"/>
              <a:gd name="connsiteX910" fmla="*/ 8582418 w 9012328"/>
              <a:gd name="connsiteY910" fmla="*/ 864517 h 7308446"/>
              <a:gd name="connsiteX911" fmla="*/ 8587817 w 9012328"/>
              <a:gd name="connsiteY911" fmla="*/ 814473 h 7308446"/>
              <a:gd name="connsiteX912" fmla="*/ 8591393 w 9012328"/>
              <a:gd name="connsiteY912" fmla="*/ 761578 h 7308446"/>
              <a:gd name="connsiteX913" fmla="*/ 8593372 w 9012328"/>
              <a:gd name="connsiteY913" fmla="*/ 705951 h 7308446"/>
              <a:gd name="connsiteX914" fmla="*/ 8593982 w 9012328"/>
              <a:gd name="connsiteY914" fmla="*/ 647711 h 7308446"/>
              <a:gd name="connsiteX915" fmla="*/ 8593340 w 9012328"/>
              <a:gd name="connsiteY915" fmla="*/ 590042 h 7308446"/>
              <a:gd name="connsiteX916" fmla="*/ 8591270 w 9012328"/>
              <a:gd name="connsiteY916" fmla="*/ 534953 h 7308446"/>
              <a:gd name="connsiteX917" fmla="*/ 8587560 w 9012328"/>
              <a:gd name="connsiteY917" fmla="*/ 482561 h 7308446"/>
              <a:gd name="connsiteX918" fmla="*/ 8581994 w 9012328"/>
              <a:gd name="connsiteY918" fmla="*/ 432984 h 7308446"/>
              <a:gd name="connsiteX919" fmla="*/ 8574359 w 9012328"/>
              <a:gd name="connsiteY919" fmla="*/ 386340 h 7308446"/>
              <a:gd name="connsiteX920" fmla="*/ 8564441 w 9012328"/>
              <a:gd name="connsiteY920" fmla="*/ 342749 h 7308446"/>
              <a:gd name="connsiteX921" fmla="*/ 8552025 w 9012328"/>
              <a:gd name="connsiteY921" fmla="*/ 302328 h 7308446"/>
              <a:gd name="connsiteX922" fmla="*/ 8536898 w 9012328"/>
              <a:gd name="connsiteY922" fmla="*/ 265196 h 7308446"/>
              <a:gd name="connsiteX923" fmla="*/ 8518845 w 9012328"/>
              <a:gd name="connsiteY923" fmla="*/ 231470 h 7308446"/>
              <a:gd name="connsiteX924" fmla="*/ 8473107 w 9012328"/>
              <a:gd name="connsiteY924" fmla="*/ 174711 h 7308446"/>
              <a:gd name="connsiteX925" fmla="*/ 8413098 w 9012328"/>
              <a:gd name="connsiteY925" fmla="*/ 132998 h 7308446"/>
              <a:gd name="connsiteX926" fmla="*/ 8377206 w 9012328"/>
              <a:gd name="connsiteY926" fmla="*/ 118079 h 7308446"/>
              <a:gd name="connsiteX927" fmla="*/ 8337105 w 9012328"/>
              <a:gd name="connsiteY927" fmla="*/ 107277 h 7308446"/>
              <a:gd name="connsiteX928" fmla="*/ 8292580 w 9012328"/>
              <a:gd name="connsiteY928" fmla="*/ 100708 h 7308446"/>
              <a:gd name="connsiteX929" fmla="*/ 8243417 w 9012328"/>
              <a:gd name="connsiteY929" fmla="*/ 98492 h 7308446"/>
              <a:gd name="connsiteX930" fmla="*/ 3109502 w 9012328"/>
              <a:gd name="connsiteY930" fmla="*/ 0 h 7308446"/>
              <a:gd name="connsiteX931" fmla="*/ 3162572 w 9012328"/>
              <a:gd name="connsiteY931" fmla="*/ 1876 h 7308446"/>
              <a:gd name="connsiteX932" fmla="*/ 3211694 w 9012328"/>
              <a:gd name="connsiteY932" fmla="*/ 7453 h 7308446"/>
              <a:gd name="connsiteX933" fmla="*/ 3256998 w 9012328"/>
              <a:gd name="connsiteY933" fmla="*/ 16648 h 7308446"/>
              <a:gd name="connsiteX934" fmla="*/ 3298621 w 9012328"/>
              <a:gd name="connsiteY934" fmla="*/ 29380 h 7308446"/>
              <a:gd name="connsiteX935" fmla="*/ 3336692 w 9012328"/>
              <a:gd name="connsiteY935" fmla="*/ 45568 h 7308446"/>
              <a:gd name="connsiteX936" fmla="*/ 3371345 w 9012328"/>
              <a:gd name="connsiteY936" fmla="*/ 65129 h 7308446"/>
              <a:gd name="connsiteX937" fmla="*/ 3402713 w 9012328"/>
              <a:gd name="connsiteY937" fmla="*/ 87984 h 7308446"/>
              <a:gd name="connsiteX938" fmla="*/ 3430928 w 9012328"/>
              <a:gd name="connsiteY938" fmla="*/ 114050 h 7308446"/>
              <a:gd name="connsiteX939" fmla="*/ 3456123 w 9012328"/>
              <a:gd name="connsiteY939" fmla="*/ 143246 h 7308446"/>
              <a:gd name="connsiteX940" fmla="*/ 3478431 w 9012328"/>
              <a:gd name="connsiteY940" fmla="*/ 175491 h 7308446"/>
              <a:gd name="connsiteX941" fmla="*/ 3497985 w 9012328"/>
              <a:gd name="connsiteY941" fmla="*/ 210703 h 7308446"/>
              <a:gd name="connsiteX942" fmla="*/ 3514917 w 9012328"/>
              <a:gd name="connsiteY942" fmla="*/ 248801 h 7308446"/>
              <a:gd name="connsiteX943" fmla="*/ 3529360 w 9012328"/>
              <a:gd name="connsiteY943" fmla="*/ 289703 h 7308446"/>
              <a:gd name="connsiteX944" fmla="*/ 3541446 w 9012328"/>
              <a:gd name="connsiteY944" fmla="*/ 333329 h 7308446"/>
              <a:gd name="connsiteX945" fmla="*/ 3551309 w 9012328"/>
              <a:gd name="connsiteY945" fmla="*/ 379596 h 7308446"/>
              <a:gd name="connsiteX946" fmla="*/ 3559082 w 9012328"/>
              <a:gd name="connsiteY946" fmla="*/ 428424 h 7308446"/>
              <a:gd name="connsiteX947" fmla="*/ 3564896 w 9012328"/>
              <a:gd name="connsiteY947" fmla="*/ 479730 h 7308446"/>
              <a:gd name="connsiteX948" fmla="*/ 3568884 w 9012328"/>
              <a:gd name="connsiteY948" fmla="*/ 533435 h 7308446"/>
              <a:gd name="connsiteX949" fmla="*/ 3571180 w 9012328"/>
              <a:gd name="connsiteY949" fmla="*/ 589455 h 7308446"/>
              <a:gd name="connsiteX950" fmla="*/ 3571916 w 9012328"/>
              <a:gd name="connsiteY950" fmla="*/ 647711 h 7308446"/>
              <a:gd name="connsiteX951" fmla="*/ 3571216 w 9012328"/>
              <a:gd name="connsiteY951" fmla="*/ 706216 h 7308446"/>
              <a:gd name="connsiteX952" fmla="*/ 3569019 w 9012328"/>
              <a:gd name="connsiteY952" fmla="*/ 762486 h 7308446"/>
              <a:gd name="connsiteX953" fmla="*/ 3565183 w 9012328"/>
              <a:gd name="connsiteY953" fmla="*/ 816436 h 7308446"/>
              <a:gd name="connsiteX954" fmla="*/ 3559562 w 9012328"/>
              <a:gd name="connsiteY954" fmla="*/ 867986 h 7308446"/>
              <a:gd name="connsiteX955" fmla="*/ 3552014 w 9012328"/>
              <a:gd name="connsiteY955" fmla="*/ 917051 h 7308446"/>
              <a:gd name="connsiteX956" fmla="*/ 3542393 w 9012328"/>
              <a:gd name="connsiteY956" fmla="*/ 963550 h 7308446"/>
              <a:gd name="connsiteX957" fmla="*/ 3530556 w 9012328"/>
              <a:gd name="connsiteY957" fmla="*/ 1007399 h 7308446"/>
              <a:gd name="connsiteX958" fmla="*/ 3516359 w 9012328"/>
              <a:gd name="connsiteY958" fmla="*/ 1048517 h 7308446"/>
              <a:gd name="connsiteX959" fmla="*/ 3499658 w 9012328"/>
              <a:gd name="connsiteY959" fmla="*/ 1086820 h 7308446"/>
              <a:gd name="connsiteX960" fmla="*/ 3480309 w 9012328"/>
              <a:gd name="connsiteY960" fmla="*/ 1122226 h 7308446"/>
              <a:gd name="connsiteX961" fmla="*/ 3458168 w 9012328"/>
              <a:gd name="connsiteY961" fmla="*/ 1154652 h 7308446"/>
              <a:gd name="connsiteX962" fmla="*/ 3433091 w 9012328"/>
              <a:gd name="connsiteY962" fmla="*/ 1184015 h 7308446"/>
              <a:gd name="connsiteX963" fmla="*/ 3404934 w 9012328"/>
              <a:gd name="connsiteY963" fmla="*/ 1210234 h 7308446"/>
              <a:gd name="connsiteX964" fmla="*/ 3373554 w 9012328"/>
              <a:gd name="connsiteY964" fmla="*/ 1233224 h 7308446"/>
              <a:gd name="connsiteX965" fmla="*/ 3338805 w 9012328"/>
              <a:gd name="connsiteY965" fmla="*/ 1252905 h 7308446"/>
              <a:gd name="connsiteX966" fmla="*/ 3300544 w 9012328"/>
              <a:gd name="connsiteY966" fmla="*/ 1269192 h 7308446"/>
              <a:gd name="connsiteX967" fmla="*/ 3258627 w 9012328"/>
              <a:gd name="connsiteY967" fmla="*/ 1282004 h 7308446"/>
              <a:gd name="connsiteX968" fmla="*/ 3212910 w 9012328"/>
              <a:gd name="connsiteY968" fmla="*/ 1291258 h 7308446"/>
              <a:gd name="connsiteX969" fmla="*/ 3163250 w 9012328"/>
              <a:gd name="connsiteY969" fmla="*/ 1296871 h 7308446"/>
              <a:gd name="connsiteX970" fmla="*/ 3109502 w 9012328"/>
              <a:gd name="connsiteY970" fmla="*/ 1298760 h 7308446"/>
              <a:gd name="connsiteX971" fmla="*/ 3109502 w 9012328"/>
              <a:gd name="connsiteY971" fmla="*/ 1201938 h 7308446"/>
              <a:gd name="connsiteX972" fmla="*/ 3159187 w 9012328"/>
              <a:gd name="connsiteY972" fmla="*/ 1199705 h 7308446"/>
              <a:gd name="connsiteX973" fmla="*/ 3204108 w 9012328"/>
              <a:gd name="connsiteY973" fmla="*/ 1193084 h 7308446"/>
              <a:gd name="connsiteX974" fmla="*/ 3244491 w 9012328"/>
              <a:gd name="connsiteY974" fmla="*/ 1182195 h 7308446"/>
              <a:gd name="connsiteX975" fmla="*/ 3280562 w 9012328"/>
              <a:gd name="connsiteY975" fmla="*/ 1167155 h 7308446"/>
              <a:gd name="connsiteX976" fmla="*/ 3340673 w 9012328"/>
              <a:gd name="connsiteY976" fmla="*/ 1125095 h 7308446"/>
              <a:gd name="connsiteX977" fmla="*/ 3386253 w 9012328"/>
              <a:gd name="connsiteY977" fmla="*/ 1067851 h 7308446"/>
              <a:gd name="connsiteX978" fmla="*/ 3404158 w 9012328"/>
              <a:gd name="connsiteY978" fmla="*/ 1033830 h 7308446"/>
              <a:gd name="connsiteX979" fmla="*/ 3419110 w 9012328"/>
              <a:gd name="connsiteY979" fmla="*/ 996369 h 7308446"/>
              <a:gd name="connsiteX980" fmla="*/ 3431334 w 9012328"/>
              <a:gd name="connsiteY980" fmla="*/ 955584 h 7308446"/>
              <a:gd name="connsiteX981" fmla="*/ 3441057 w 9012328"/>
              <a:gd name="connsiteY981" fmla="*/ 911594 h 7308446"/>
              <a:gd name="connsiteX982" fmla="*/ 3448504 w 9012328"/>
              <a:gd name="connsiteY982" fmla="*/ 864517 h 7308446"/>
              <a:gd name="connsiteX983" fmla="*/ 3453903 w 9012328"/>
              <a:gd name="connsiteY983" fmla="*/ 814473 h 7308446"/>
              <a:gd name="connsiteX984" fmla="*/ 3457479 w 9012328"/>
              <a:gd name="connsiteY984" fmla="*/ 761578 h 7308446"/>
              <a:gd name="connsiteX985" fmla="*/ 3459458 w 9012328"/>
              <a:gd name="connsiteY985" fmla="*/ 705951 h 7308446"/>
              <a:gd name="connsiteX986" fmla="*/ 3460068 w 9012328"/>
              <a:gd name="connsiteY986" fmla="*/ 647711 h 7308446"/>
              <a:gd name="connsiteX987" fmla="*/ 3459426 w 9012328"/>
              <a:gd name="connsiteY987" fmla="*/ 590042 h 7308446"/>
              <a:gd name="connsiteX988" fmla="*/ 3457356 w 9012328"/>
              <a:gd name="connsiteY988" fmla="*/ 534953 h 7308446"/>
              <a:gd name="connsiteX989" fmla="*/ 3453646 w 9012328"/>
              <a:gd name="connsiteY989" fmla="*/ 482560 h 7308446"/>
              <a:gd name="connsiteX990" fmla="*/ 3448080 w 9012328"/>
              <a:gd name="connsiteY990" fmla="*/ 432984 h 7308446"/>
              <a:gd name="connsiteX991" fmla="*/ 3440445 w 9012328"/>
              <a:gd name="connsiteY991" fmla="*/ 386340 h 7308446"/>
              <a:gd name="connsiteX992" fmla="*/ 3430527 w 9012328"/>
              <a:gd name="connsiteY992" fmla="*/ 342749 h 7308446"/>
              <a:gd name="connsiteX993" fmla="*/ 3418111 w 9012328"/>
              <a:gd name="connsiteY993" fmla="*/ 302328 h 7308446"/>
              <a:gd name="connsiteX994" fmla="*/ 3402984 w 9012328"/>
              <a:gd name="connsiteY994" fmla="*/ 265196 h 7308446"/>
              <a:gd name="connsiteX995" fmla="*/ 3384931 w 9012328"/>
              <a:gd name="connsiteY995" fmla="*/ 231470 h 7308446"/>
              <a:gd name="connsiteX996" fmla="*/ 3339193 w 9012328"/>
              <a:gd name="connsiteY996" fmla="*/ 174711 h 7308446"/>
              <a:gd name="connsiteX997" fmla="*/ 3279183 w 9012328"/>
              <a:gd name="connsiteY997" fmla="*/ 132998 h 7308446"/>
              <a:gd name="connsiteX998" fmla="*/ 3243291 w 9012328"/>
              <a:gd name="connsiteY998" fmla="*/ 118079 h 7308446"/>
              <a:gd name="connsiteX999" fmla="*/ 3203191 w 9012328"/>
              <a:gd name="connsiteY999" fmla="*/ 107276 h 7308446"/>
              <a:gd name="connsiteX1000" fmla="*/ 3158665 w 9012328"/>
              <a:gd name="connsiteY1000" fmla="*/ 100708 h 7308446"/>
              <a:gd name="connsiteX1001" fmla="*/ 3109502 w 9012328"/>
              <a:gd name="connsiteY1001" fmla="*/ 98492 h 7308446"/>
              <a:gd name="connsiteX1002" fmla="*/ 3017637 w 9012328"/>
              <a:gd name="connsiteY1002" fmla="*/ 0 h 7308446"/>
              <a:gd name="connsiteX1003" fmla="*/ 3017637 w 9012328"/>
              <a:gd name="connsiteY1003" fmla="*/ 98492 h 7308446"/>
              <a:gd name="connsiteX1004" fmla="*/ 2968752 w 9012328"/>
              <a:gd name="connsiteY1004" fmla="*/ 100708 h 7308446"/>
              <a:gd name="connsiteX1005" fmla="*/ 2924471 w 9012328"/>
              <a:gd name="connsiteY1005" fmla="*/ 107277 h 7308446"/>
              <a:gd name="connsiteX1006" fmla="*/ 2884585 w 9012328"/>
              <a:gd name="connsiteY1006" fmla="*/ 118079 h 7308446"/>
              <a:gd name="connsiteX1007" fmla="*/ 2848878 w 9012328"/>
              <a:gd name="connsiteY1007" fmla="*/ 132998 h 7308446"/>
              <a:gd name="connsiteX1008" fmla="*/ 2789164 w 9012328"/>
              <a:gd name="connsiteY1008" fmla="*/ 174711 h 7308446"/>
              <a:gd name="connsiteX1009" fmla="*/ 2743630 w 9012328"/>
              <a:gd name="connsiteY1009" fmla="*/ 231470 h 7308446"/>
              <a:gd name="connsiteX1010" fmla="*/ 2725650 w 9012328"/>
              <a:gd name="connsiteY1010" fmla="*/ 265196 h 7308446"/>
              <a:gd name="connsiteX1011" fmla="*/ 2710579 w 9012328"/>
              <a:gd name="connsiteY1011" fmla="*/ 302328 h 7308446"/>
              <a:gd name="connsiteX1012" fmla="*/ 2698207 w 9012328"/>
              <a:gd name="connsiteY1012" fmla="*/ 342749 h 7308446"/>
              <a:gd name="connsiteX1013" fmla="*/ 2688320 w 9012328"/>
              <a:gd name="connsiteY1013" fmla="*/ 386340 h 7308446"/>
              <a:gd name="connsiteX1014" fmla="*/ 2680706 w 9012328"/>
              <a:gd name="connsiteY1014" fmla="*/ 432984 h 7308446"/>
              <a:gd name="connsiteX1015" fmla="*/ 2675153 w 9012328"/>
              <a:gd name="connsiteY1015" fmla="*/ 482561 h 7308446"/>
              <a:gd name="connsiteX1016" fmla="*/ 2671448 w 9012328"/>
              <a:gd name="connsiteY1016" fmla="*/ 534953 h 7308446"/>
              <a:gd name="connsiteX1017" fmla="*/ 2669382 w 9012328"/>
              <a:gd name="connsiteY1017" fmla="*/ 590042 h 7308446"/>
              <a:gd name="connsiteX1018" fmla="*/ 2668740 w 9012328"/>
              <a:gd name="connsiteY1018" fmla="*/ 647711 h 7308446"/>
              <a:gd name="connsiteX1019" fmla="*/ 2669365 w 9012328"/>
              <a:gd name="connsiteY1019" fmla="*/ 705951 h 7308446"/>
              <a:gd name="connsiteX1020" fmla="*/ 2671388 w 9012328"/>
              <a:gd name="connsiteY1020" fmla="*/ 761578 h 7308446"/>
              <a:gd name="connsiteX1021" fmla="*/ 2675025 w 9012328"/>
              <a:gd name="connsiteY1021" fmla="*/ 814473 h 7308446"/>
              <a:gd name="connsiteX1022" fmla="*/ 2680494 w 9012328"/>
              <a:gd name="connsiteY1022" fmla="*/ 864517 h 7308446"/>
              <a:gd name="connsiteX1023" fmla="*/ 2688015 w 9012328"/>
              <a:gd name="connsiteY1023" fmla="*/ 911594 h 7308446"/>
              <a:gd name="connsiteX1024" fmla="*/ 2697803 w 9012328"/>
              <a:gd name="connsiteY1024" fmla="*/ 955584 h 7308446"/>
              <a:gd name="connsiteX1025" fmla="*/ 2710081 w 9012328"/>
              <a:gd name="connsiteY1025" fmla="*/ 996369 h 7308446"/>
              <a:gd name="connsiteX1026" fmla="*/ 2725063 w 9012328"/>
              <a:gd name="connsiteY1026" fmla="*/ 1033830 h 7308446"/>
              <a:gd name="connsiteX1027" fmla="*/ 2742969 w 9012328"/>
              <a:gd name="connsiteY1027" fmla="*/ 1067851 h 7308446"/>
              <a:gd name="connsiteX1028" fmla="*/ 2788423 w 9012328"/>
              <a:gd name="connsiteY1028" fmla="*/ 1125095 h 7308446"/>
              <a:gd name="connsiteX1029" fmla="*/ 2848189 w 9012328"/>
              <a:gd name="connsiteY1029" fmla="*/ 1167155 h 7308446"/>
              <a:gd name="connsiteX1030" fmla="*/ 2883984 w 9012328"/>
              <a:gd name="connsiteY1030" fmla="*/ 1182195 h 7308446"/>
              <a:gd name="connsiteX1031" fmla="*/ 2924012 w 9012328"/>
              <a:gd name="connsiteY1031" fmla="*/ 1193084 h 7308446"/>
              <a:gd name="connsiteX1032" fmla="*/ 2968491 w 9012328"/>
              <a:gd name="connsiteY1032" fmla="*/ 1199705 h 7308446"/>
              <a:gd name="connsiteX1033" fmla="*/ 3017637 w 9012328"/>
              <a:gd name="connsiteY1033" fmla="*/ 1201938 h 7308446"/>
              <a:gd name="connsiteX1034" fmla="*/ 3017637 w 9012328"/>
              <a:gd name="connsiteY1034" fmla="*/ 1298760 h 7308446"/>
              <a:gd name="connsiteX1035" fmla="*/ 2964115 w 9012328"/>
              <a:gd name="connsiteY1035" fmla="*/ 1296871 h 7308446"/>
              <a:gd name="connsiteX1036" fmla="*/ 2914634 w 9012328"/>
              <a:gd name="connsiteY1036" fmla="*/ 1291258 h 7308446"/>
              <a:gd name="connsiteX1037" fmla="*/ 2869056 w 9012328"/>
              <a:gd name="connsiteY1037" fmla="*/ 1282004 h 7308446"/>
              <a:gd name="connsiteX1038" fmla="*/ 2827236 w 9012328"/>
              <a:gd name="connsiteY1038" fmla="*/ 1269193 h 7308446"/>
              <a:gd name="connsiteX1039" fmla="*/ 2789039 w 9012328"/>
              <a:gd name="connsiteY1039" fmla="*/ 1252905 h 7308446"/>
              <a:gd name="connsiteX1040" fmla="*/ 2754322 w 9012328"/>
              <a:gd name="connsiteY1040" fmla="*/ 1233224 h 7308446"/>
              <a:gd name="connsiteX1041" fmla="*/ 2722946 w 9012328"/>
              <a:gd name="connsiteY1041" fmla="*/ 1210234 h 7308446"/>
              <a:gd name="connsiteX1042" fmla="*/ 2694770 w 9012328"/>
              <a:gd name="connsiteY1042" fmla="*/ 1184015 h 7308446"/>
              <a:gd name="connsiteX1043" fmla="*/ 2669653 w 9012328"/>
              <a:gd name="connsiteY1043" fmla="*/ 1154652 h 7308446"/>
              <a:gd name="connsiteX1044" fmla="*/ 2647457 w 9012328"/>
              <a:gd name="connsiteY1044" fmla="*/ 1122226 h 7308446"/>
              <a:gd name="connsiteX1045" fmla="*/ 2628039 w 9012328"/>
              <a:gd name="connsiteY1045" fmla="*/ 1086820 h 7308446"/>
              <a:gd name="connsiteX1046" fmla="*/ 2611262 w 9012328"/>
              <a:gd name="connsiteY1046" fmla="*/ 1048517 h 7308446"/>
              <a:gd name="connsiteX1047" fmla="*/ 2596982 w 9012328"/>
              <a:gd name="connsiteY1047" fmla="*/ 1007399 h 7308446"/>
              <a:gd name="connsiteX1048" fmla="*/ 2585062 w 9012328"/>
              <a:gd name="connsiteY1048" fmla="*/ 963550 h 7308446"/>
              <a:gd name="connsiteX1049" fmla="*/ 2575361 w 9012328"/>
              <a:gd name="connsiteY1049" fmla="*/ 917051 h 7308446"/>
              <a:gd name="connsiteX1050" fmla="*/ 2567737 w 9012328"/>
              <a:gd name="connsiteY1050" fmla="*/ 867986 h 7308446"/>
              <a:gd name="connsiteX1051" fmla="*/ 2562052 w 9012328"/>
              <a:gd name="connsiteY1051" fmla="*/ 816436 h 7308446"/>
              <a:gd name="connsiteX1052" fmla="*/ 2558166 w 9012328"/>
              <a:gd name="connsiteY1052" fmla="*/ 762486 h 7308446"/>
              <a:gd name="connsiteX1053" fmla="*/ 2555936 w 9012328"/>
              <a:gd name="connsiteY1053" fmla="*/ 706216 h 7308446"/>
              <a:gd name="connsiteX1054" fmla="*/ 2555225 w 9012328"/>
              <a:gd name="connsiteY1054" fmla="*/ 647711 h 7308446"/>
              <a:gd name="connsiteX1055" fmla="*/ 2555961 w 9012328"/>
              <a:gd name="connsiteY1055" fmla="*/ 589455 h 7308446"/>
              <a:gd name="connsiteX1056" fmla="*/ 2558256 w 9012328"/>
              <a:gd name="connsiteY1056" fmla="*/ 533435 h 7308446"/>
              <a:gd name="connsiteX1057" fmla="*/ 2562245 w 9012328"/>
              <a:gd name="connsiteY1057" fmla="*/ 479730 h 7308446"/>
              <a:gd name="connsiteX1058" fmla="*/ 2568057 w 9012328"/>
              <a:gd name="connsiteY1058" fmla="*/ 428424 h 7308446"/>
              <a:gd name="connsiteX1059" fmla="*/ 2575830 w 9012328"/>
              <a:gd name="connsiteY1059" fmla="*/ 379596 h 7308446"/>
              <a:gd name="connsiteX1060" fmla="*/ 2585694 w 9012328"/>
              <a:gd name="connsiteY1060" fmla="*/ 333329 h 7308446"/>
              <a:gd name="connsiteX1061" fmla="*/ 2597780 w 9012328"/>
              <a:gd name="connsiteY1061" fmla="*/ 289703 h 7308446"/>
              <a:gd name="connsiteX1062" fmla="*/ 2612222 w 9012328"/>
              <a:gd name="connsiteY1062" fmla="*/ 248801 h 7308446"/>
              <a:gd name="connsiteX1063" fmla="*/ 2629156 w 9012328"/>
              <a:gd name="connsiteY1063" fmla="*/ 210703 h 7308446"/>
              <a:gd name="connsiteX1064" fmla="*/ 2648708 w 9012328"/>
              <a:gd name="connsiteY1064" fmla="*/ 175491 h 7308446"/>
              <a:gd name="connsiteX1065" fmla="*/ 2671016 w 9012328"/>
              <a:gd name="connsiteY1065" fmla="*/ 143246 h 7308446"/>
              <a:gd name="connsiteX1066" fmla="*/ 2696212 w 9012328"/>
              <a:gd name="connsiteY1066" fmla="*/ 114050 h 7308446"/>
              <a:gd name="connsiteX1067" fmla="*/ 2724427 w 9012328"/>
              <a:gd name="connsiteY1067" fmla="*/ 87984 h 7308446"/>
              <a:gd name="connsiteX1068" fmla="*/ 2755794 w 9012328"/>
              <a:gd name="connsiteY1068" fmla="*/ 65130 h 7308446"/>
              <a:gd name="connsiteX1069" fmla="*/ 2790448 w 9012328"/>
              <a:gd name="connsiteY1069" fmla="*/ 45569 h 7308446"/>
              <a:gd name="connsiteX1070" fmla="*/ 2828518 w 9012328"/>
              <a:gd name="connsiteY1070" fmla="*/ 29382 h 7308446"/>
              <a:gd name="connsiteX1071" fmla="*/ 2870141 w 9012328"/>
              <a:gd name="connsiteY1071" fmla="*/ 16649 h 7308446"/>
              <a:gd name="connsiteX1072" fmla="*/ 2915445 w 9012328"/>
              <a:gd name="connsiteY1072" fmla="*/ 7455 h 7308446"/>
              <a:gd name="connsiteX1073" fmla="*/ 2964567 w 9012328"/>
              <a:gd name="connsiteY1073" fmla="*/ 1877 h 730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Lst>
            <a:rect l="l" t="t" r="r" b="b"/>
            <a:pathLst>
              <a:path w="9012328" h="7308446">
                <a:moveTo>
                  <a:pt x="6351898" y="7031333"/>
                </a:moveTo>
                <a:lnTo>
                  <a:pt x="6558899" y="7031333"/>
                </a:lnTo>
                <a:lnTo>
                  <a:pt x="6558899" y="7204946"/>
                </a:lnTo>
                <a:lnTo>
                  <a:pt x="6351898" y="7204946"/>
                </a:lnTo>
                <a:close/>
                <a:moveTo>
                  <a:pt x="3333905" y="6881094"/>
                </a:moveTo>
                <a:lnTo>
                  <a:pt x="4238693" y="6881094"/>
                </a:lnTo>
                <a:lnTo>
                  <a:pt x="4238693" y="6987931"/>
                </a:lnTo>
                <a:lnTo>
                  <a:pt x="3333905" y="6987931"/>
                </a:lnTo>
                <a:close/>
                <a:moveTo>
                  <a:pt x="3333905" y="6532197"/>
                </a:moveTo>
                <a:lnTo>
                  <a:pt x="4238693" y="6532197"/>
                </a:lnTo>
                <a:lnTo>
                  <a:pt x="4238693" y="6639034"/>
                </a:lnTo>
                <a:lnTo>
                  <a:pt x="3333905" y="6639034"/>
                </a:lnTo>
                <a:close/>
                <a:moveTo>
                  <a:pt x="5357969" y="6016022"/>
                </a:moveTo>
                <a:lnTo>
                  <a:pt x="5731908" y="6016022"/>
                </a:lnTo>
                <a:lnTo>
                  <a:pt x="5731908" y="6111272"/>
                </a:lnTo>
                <a:lnTo>
                  <a:pt x="5731908" y="7209822"/>
                </a:lnTo>
                <a:lnTo>
                  <a:pt x="5731908" y="7305072"/>
                </a:lnTo>
                <a:lnTo>
                  <a:pt x="5357969" y="7305072"/>
                </a:lnTo>
                <a:lnTo>
                  <a:pt x="5357969" y="7209822"/>
                </a:lnTo>
                <a:lnTo>
                  <a:pt x="5616719" y="7209822"/>
                </a:lnTo>
                <a:lnTo>
                  <a:pt x="5616719" y="6111272"/>
                </a:lnTo>
                <a:lnTo>
                  <a:pt x="5357969" y="6111272"/>
                </a:lnTo>
                <a:close/>
                <a:moveTo>
                  <a:pt x="4884222" y="6016022"/>
                </a:moveTo>
                <a:lnTo>
                  <a:pt x="5258161" y="6016022"/>
                </a:lnTo>
                <a:lnTo>
                  <a:pt x="5258161" y="6111272"/>
                </a:lnTo>
                <a:lnTo>
                  <a:pt x="4999412" y="6111272"/>
                </a:lnTo>
                <a:lnTo>
                  <a:pt x="4999412" y="7209822"/>
                </a:lnTo>
                <a:lnTo>
                  <a:pt x="5258161" y="7209822"/>
                </a:lnTo>
                <a:lnTo>
                  <a:pt x="5258161" y="7305072"/>
                </a:lnTo>
                <a:lnTo>
                  <a:pt x="4884222" y="7305072"/>
                </a:lnTo>
                <a:lnTo>
                  <a:pt x="4884222" y="7209822"/>
                </a:lnTo>
                <a:lnTo>
                  <a:pt x="4884222" y="6111272"/>
                </a:lnTo>
                <a:close/>
                <a:moveTo>
                  <a:pt x="8549915" y="6009685"/>
                </a:moveTo>
                <a:lnTo>
                  <a:pt x="8602985" y="6011561"/>
                </a:lnTo>
                <a:lnTo>
                  <a:pt x="8652106" y="6017138"/>
                </a:lnTo>
                <a:lnTo>
                  <a:pt x="8697411" y="6026333"/>
                </a:lnTo>
                <a:lnTo>
                  <a:pt x="8739033" y="6039065"/>
                </a:lnTo>
                <a:lnTo>
                  <a:pt x="8777104" y="6055253"/>
                </a:lnTo>
                <a:lnTo>
                  <a:pt x="8811757" y="6074814"/>
                </a:lnTo>
                <a:lnTo>
                  <a:pt x="8843125" y="6097669"/>
                </a:lnTo>
                <a:lnTo>
                  <a:pt x="8871340" y="6123735"/>
                </a:lnTo>
                <a:lnTo>
                  <a:pt x="8896535" y="6152931"/>
                </a:lnTo>
                <a:lnTo>
                  <a:pt x="8918843" y="6185176"/>
                </a:lnTo>
                <a:lnTo>
                  <a:pt x="8938397" y="6220388"/>
                </a:lnTo>
                <a:lnTo>
                  <a:pt x="8955329" y="6258486"/>
                </a:lnTo>
                <a:lnTo>
                  <a:pt x="8969772" y="6299388"/>
                </a:lnTo>
                <a:lnTo>
                  <a:pt x="8981858" y="6343014"/>
                </a:lnTo>
                <a:lnTo>
                  <a:pt x="8991721" y="6389281"/>
                </a:lnTo>
                <a:lnTo>
                  <a:pt x="8999494" y="6438109"/>
                </a:lnTo>
                <a:lnTo>
                  <a:pt x="9005308" y="6489415"/>
                </a:lnTo>
                <a:lnTo>
                  <a:pt x="9009296" y="6543120"/>
                </a:lnTo>
                <a:lnTo>
                  <a:pt x="9011592" y="6599140"/>
                </a:lnTo>
                <a:lnTo>
                  <a:pt x="9012328" y="6657396"/>
                </a:lnTo>
                <a:lnTo>
                  <a:pt x="9011628" y="6715902"/>
                </a:lnTo>
                <a:lnTo>
                  <a:pt x="9009431" y="6772172"/>
                </a:lnTo>
                <a:lnTo>
                  <a:pt x="9005595" y="6826122"/>
                </a:lnTo>
                <a:lnTo>
                  <a:pt x="8999974" y="6877672"/>
                </a:lnTo>
                <a:lnTo>
                  <a:pt x="8992426" y="6926737"/>
                </a:lnTo>
                <a:lnTo>
                  <a:pt x="8982805" y="6973236"/>
                </a:lnTo>
                <a:lnTo>
                  <a:pt x="8970968" y="7017085"/>
                </a:lnTo>
                <a:lnTo>
                  <a:pt x="8956771" y="7058203"/>
                </a:lnTo>
                <a:lnTo>
                  <a:pt x="8940070" y="7096506"/>
                </a:lnTo>
                <a:lnTo>
                  <a:pt x="8920721" y="7131912"/>
                </a:lnTo>
                <a:lnTo>
                  <a:pt x="8898580" y="7164338"/>
                </a:lnTo>
                <a:lnTo>
                  <a:pt x="8873503" y="7193701"/>
                </a:lnTo>
                <a:lnTo>
                  <a:pt x="8845346" y="7219920"/>
                </a:lnTo>
                <a:lnTo>
                  <a:pt x="8813966" y="7242910"/>
                </a:lnTo>
                <a:lnTo>
                  <a:pt x="8779217" y="7262591"/>
                </a:lnTo>
                <a:lnTo>
                  <a:pt x="8740956" y="7278878"/>
                </a:lnTo>
                <a:lnTo>
                  <a:pt x="8699039" y="7291690"/>
                </a:lnTo>
                <a:lnTo>
                  <a:pt x="8653323" y="7300944"/>
                </a:lnTo>
                <a:lnTo>
                  <a:pt x="8603663" y="7306557"/>
                </a:lnTo>
                <a:lnTo>
                  <a:pt x="8549915" y="7308446"/>
                </a:lnTo>
                <a:lnTo>
                  <a:pt x="8549915" y="7211624"/>
                </a:lnTo>
                <a:lnTo>
                  <a:pt x="8599600" y="7209391"/>
                </a:lnTo>
                <a:lnTo>
                  <a:pt x="8644521" y="7202770"/>
                </a:lnTo>
                <a:lnTo>
                  <a:pt x="8684903" y="7191881"/>
                </a:lnTo>
                <a:lnTo>
                  <a:pt x="8720974" y="7176841"/>
                </a:lnTo>
                <a:lnTo>
                  <a:pt x="8781085" y="7134781"/>
                </a:lnTo>
                <a:lnTo>
                  <a:pt x="8826665" y="7077537"/>
                </a:lnTo>
                <a:lnTo>
                  <a:pt x="8844570" y="7043516"/>
                </a:lnTo>
                <a:lnTo>
                  <a:pt x="8859522" y="7006054"/>
                </a:lnTo>
                <a:lnTo>
                  <a:pt x="8871746" y="6965269"/>
                </a:lnTo>
                <a:lnTo>
                  <a:pt x="8881469" y="6921279"/>
                </a:lnTo>
                <a:lnTo>
                  <a:pt x="8888916" y="6874203"/>
                </a:lnTo>
                <a:lnTo>
                  <a:pt x="8894315" y="6824158"/>
                </a:lnTo>
                <a:lnTo>
                  <a:pt x="8897891" y="6771263"/>
                </a:lnTo>
                <a:lnTo>
                  <a:pt x="8899870" y="6715637"/>
                </a:lnTo>
                <a:lnTo>
                  <a:pt x="8900480" y="6657396"/>
                </a:lnTo>
                <a:lnTo>
                  <a:pt x="8899838" y="6599727"/>
                </a:lnTo>
                <a:lnTo>
                  <a:pt x="8897768" y="6544638"/>
                </a:lnTo>
                <a:lnTo>
                  <a:pt x="8894058" y="6492245"/>
                </a:lnTo>
                <a:lnTo>
                  <a:pt x="8888492" y="6442669"/>
                </a:lnTo>
                <a:lnTo>
                  <a:pt x="8880857" y="6396025"/>
                </a:lnTo>
                <a:lnTo>
                  <a:pt x="8870939" y="6352434"/>
                </a:lnTo>
                <a:lnTo>
                  <a:pt x="8858523" y="6312013"/>
                </a:lnTo>
                <a:lnTo>
                  <a:pt x="8843396" y="6274881"/>
                </a:lnTo>
                <a:lnTo>
                  <a:pt x="8825343" y="6241155"/>
                </a:lnTo>
                <a:lnTo>
                  <a:pt x="8779605" y="6184396"/>
                </a:lnTo>
                <a:lnTo>
                  <a:pt x="8719596" y="6142683"/>
                </a:lnTo>
                <a:lnTo>
                  <a:pt x="8683704" y="6127764"/>
                </a:lnTo>
                <a:lnTo>
                  <a:pt x="8643603" y="6116961"/>
                </a:lnTo>
                <a:lnTo>
                  <a:pt x="8599078" y="6110393"/>
                </a:lnTo>
                <a:lnTo>
                  <a:pt x="8549915" y="6108177"/>
                </a:lnTo>
                <a:close/>
                <a:moveTo>
                  <a:pt x="8458035" y="6009685"/>
                </a:moveTo>
                <a:lnTo>
                  <a:pt x="8458035" y="6108177"/>
                </a:lnTo>
                <a:lnTo>
                  <a:pt x="8409149" y="6110393"/>
                </a:lnTo>
                <a:lnTo>
                  <a:pt x="8364868" y="6116961"/>
                </a:lnTo>
                <a:lnTo>
                  <a:pt x="8324982" y="6127764"/>
                </a:lnTo>
                <a:lnTo>
                  <a:pt x="8289276" y="6142683"/>
                </a:lnTo>
                <a:lnTo>
                  <a:pt x="8229561" y="6184396"/>
                </a:lnTo>
                <a:lnTo>
                  <a:pt x="8184027" y="6241155"/>
                </a:lnTo>
                <a:lnTo>
                  <a:pt x="8166048" y="6274881"/>
                </a:lnTo>
                <a:lnTo>
                  <a:pt x="8150978" y="6312013"/>
                </a:lnTo>
                <a:lnTo>
                  <a:pt x="8138606" y="6352434"/>
                </a:lnTo>
                <a:lnTo>
                  <a:pt x="8128718" y="6396025"/>
                </a:lnTo>
                <a:lnTo>
                  <a:pt x="8121104" y="6442669"/>
                </a:lnTo>
                <a:lnTo>
                  <a:pt x="8115551" y="6492245"/>
                </a:lnTo>
                <a:lnTo>
                  <a:pt x="8111847" y="6544638"/>
                </a:lnTo>
                <a:lnTo>
                  <a:pt x="8109780" y="6599727"/>
                </a:lnTo>
                <a:lnTo>
                  <a:pt x="8109138" y="6657396"/>
                </a:lnTo>
                <a:lnTo>
                  <a:pt x="8109764" y="6715637"/>
                </a:lnTo>
                <a:lnTo>
                  <a:pt x="8111786" y="6771263"/>
                </a:lnTo>
                <a:lnTo>
                  <a:pt x="8115423" y="6824158"/>
                </a:lnTo>
                <a:lnTo>
                  <a:pt x="8120892" y="6874203"/>
                </a:lnTo>
                <a:lnTo>
                  <a:pt x="8128413" y="6921279"/>
                </a:lnTo>
                <a:lnTo>
                  <a:pt x="8138202" y="6965269"/>
                </a:lnTo>
                <a:lnTo>
                  <a:pt x="8150479" y="7006054"/>
                </a:lnTo>
                <a:lnTo>
                  <a:pt x="8165461" y="7043516"/>
                </a:lnTo>
                <a:lnTo>
                  <a:pt x="8183367" y="7077537"/>
                </a:lnTo>
                <a:lnTo>
                  <a:pt x="8228821" y="7134781"/>
                </a:lnTo>
                <a:lnTo>
                  <a:pt x="8288587" y="7176841"/>
                </a:lnTo>
                <a:lnTo>
                  <a:pt x="8324382" y="7191881"/>
                </a:lnTo>
                <a:lnTo>
                  <a:pt x="8364410" y="7202770"/>
                </a:lnTo>
                <a:lnTo>
                  <a:pt x="8408888" y="7209391"/>
                </a:lnTo>
                <a:lnTo>
                  <a:pt x="8458035" y="7211624"/>
                </a:lnTo>
                <a:lnTo>
                  <a:pt x="8458035" y="7308446"/>
                </a:lnTo>
                <a:lnTo>
                  <a:pt x="8404513" y="7306557"/>
                </a:lnTo>
                <a:lnTo>
                  <a:pt x="8355032" y="7300944"/>
                </a:lnTo>
                <a:lnTo>
                  <a:pt x="8309453" y="7291690"/>
                </a:lnTo>
                <a:lnTo>
                  <a:pt x="8267634" y="7278878"/>
                </a:lnTo>
                <a:lnTo>
                  <a:pt x="8229437" y="7262591"/>
                </a:lnTo>
                <a:lnTo>
                  <a:pt x="8194720" y="7242910"/>
                </a:lnTo>
                <a:lnTo>
                  <a:pt x="8163344" y="7219920"/>
                </a:lnTo>
                <a:lnTo>
                  <a:pt x="8135168" y="7193701"/>
                </a:lnTo>
                <a:lnTo>
                  <a:pt x="8110051" y="7164338"/>
                </a:lnTo>
                <a:lnTo>
                  <a:pt x="8087855" y="7131912"/>
                </a:lnTo>
                <a:lnTo>
                  <a:pt x="8068437" y="7096506"/>
                </a:lnTo>
                <a:lnTo>
                  <a:pt x="8051660" y="7058203"/>
                </a:lnTo>
                <a:lnTo>
                  <a:pt x="8037381" y="7017085"/>
                </a:lnTo>
                <a:lnTo>
                  <a:pt x="8025461" y="6973236"/>
                </a:lnTo>
                <a:lnTo>
                  <a:pt x="8015759" y="6926737"/>
                </a:lnTo>
                <a:lnTo>
                  <a:pt x="8008136" y="6877672"/>
                </a:lnTo>
                <a:lnTo>
                  <a:pt x="8002451" y="6826122"/>
                </a:lnTo>
                <a:lnTo>
                  <a:pt x="7998564" y="6772172"/>
                </a:lnTo>
                <a:lnTo>
                  <a:pt x="7996334" y="6715902"/>
                </a:lnTo>
                <a:lnTo>
                  <a:pt x="7995623" y="6657396"/>
                </a:lnTo>
                <a:lnTo>
                  <a:pt x="7996358" y="6599140"/>
                </a:lnTo>
                <a:lnTo>
                  <a:pt x="7998654" y="6543120"/>
                </a:lnTo>
                <a:lnTo>
                  <a:pt x="8002643" y="6489415"/>
                </a:lnTo>
                <a:lnTo>
                  <a:pt x="8008456" y="6438109"/>
                </a:lnTo>
                <a:lnTo>
                  <a:pt x="8016229" y="6389281"/>
                </a:lnTo>
                <a:lnTo>
                  <a:pt x="8026092" y="6343014"/>
                </a:lnTo>
                <a:lnTo>
                  <a:pt x="8038178" y="6299388"/>
                </a:lnTo>
                <a:lnTo>
                  <a:pt x="8052621" y="6258486"/>
                </a:lnTo>
                <a:lnTo>
                  <a:pt x="8069553" y="6220388"/>
                </a:lnTo>
                <a:lnTo>
                  <a:pt x="8089106" y="6185176"/>
                </a:lnTo>
                <a:lnTo>
                  <a:pt x="8111414" y="6152931"/>
                </a:lnTo>
                <a:lnTo>
                  <a:pt x="8136610" y="6123735"/>
                </a:lnTo>
                <a:lnTo>
                  <a:pt x="8164825" y="6097669"/>
                </a:lnTo>
                <a:lnTo>
                  <a:pt x="8196192" y="6074814"/>
                </a:lnTo>
                <a:lnTo>
                  <a:pt x="8230845" y="6055253"/>
                </a:lnTo>
                <a:lnTo>
                  <a:pt x="8268916" y="6039065"/>
                </a:lnTo>
                <a:lnTo>
                  <a:pt x="8310538" y="6026333"/>
                </a:lnTo>
                <a:lnTo>
                  <a:pt x="8355843" y="6017138"/>
                </a:lnTo>
                <a:lnTo>
                  <a:pt x="8404964" y="6011561"/>
                </a:lnTo>
                <a:close/>
                <a:moveTo>
                  <a:pt x="1409388" y="6009685"/>
                </a:moveTo>
                <a:lnTo>
                  <a:pt x="1462459" y="6011561"/>
                </a:lnTo>
                <a:lnTo>
                  <a:pt x="1511579" y="6017138"/>
                </a:lnTo>
                <a:lnTo>
                  <a:pt x="1556884" y="6026333"/>
                </a:lnTo>
                <a:lnTo>
                  <a:pt x="1598508" y="6039065"/>
                </a:lnTo>
                <a:lnTo>
                  <a:pt x="1636578" y="6055253"/>
                </a:lnTo>
                <a:lnTo>
                  <a:pt x="1671231" y="6074814"/>
                </a:lnTo>
                <a:lnTo>
                  <a:pt x="1702600" y="6097669"/>
                </a:lnTo>
                <a:lnTo>
                  <a:pt x="1730815" y="6123735"/>
                </a:lnTo>
                <a:lnTo>
                  <a:pt x="1756009" y="6152931"/>
                </a:lnTo>
                <a:lnTo>
                  <a:pt x="1778317" y="6185176"/>
                </a:lnTo>
                <a:lnTo>
                  <a:pt x="1797871" y="6220388"/>
                </a:lnTo>
                <a:lnTo>
                  <a:pt x="1814804" y="6258486"/>
                </a:lnTo>
                <a:lnTo>
                  <a:pt x="1829247" y="6299388"/>
                </a:lnTo>
                <a:lnTo>
                  <a:pt x="1841333" y="6343014"/>
                </a:lnTo>
                <a:lnTo>
                  <a:pt x="1851196" y="6389281"/>
                </a:lnTo>
                <a:lnTo>
                  <a:pt x="1858969" y="6438109"/>
                </a:lnTo>
                <a:lnTo>
                  <a:pt x="1864782" y="6489415"/>
                </a:lnTo>
                <a:lnTo>
                  <a:pt x="1868770" y="6543120"/>
                </a:lnTo>
                <a:lnTo>
                  <a:pt x="1871067" y="6599140"/>
                </a:lnTo>
                <a:lnTo>
                  <a:pt x="1871802" y="6657396"/>
                </a:lnTo>
                <a:lnTo>
                  <a:pt x="1871103" y="6715902"/>
                </a:lnTo>
                <a:lnTo>
                  <a:pt x="1868906" y="6772172"/>
                </a:lnTo>
                <a:lnTo>
                  <a:pt x="1865069" y="6826122"/>
                </a:lnTo>
                <a:lnTo>
                  <a:pt x="1859448" y="6877672"/>
                </a:lnTo>
                <a:lnTo>
                  <a:pt x="1851900" y="6926737"/>
                </a:lnTo>
                <a:lnTo>
                  <a:pt x="1842280" y="6973236"/>
                </a:lnTo>
                <a:lnTo>
                  <a:pt x="1830443" y="7017085"/>
                </a:lnTo>
                <a:lnTo>
                  <a:pt x="1816246" y="7058203"/>
                </a:lnTo>
                <a:lnTo>
                  <a:pt x="1799544" y="7096506"/>
                </a:lnTo>
                <a:lnTo>
                  <a:pt x="1780195" y="7131912"/>
                </a:lnTo>
                <a:lnTo>
                  <a:pt x="1758055" y="7164338"/>
                </a:lnTo>
                <a:lnTo>
                  <a:pt x="1732977" y="7193701"/>
                </a:lnTo>
                <a:lnTo>
                  <a:pt x="1704820" y="7219920"/>
                </a:lnTo>
                <a:lnTo>
                  <a:pt x="1673440" y="7242910"/>
                </a:lnTo>
                <a:lnTo>
                  <a:pt x="1638691" y="7262591"/>
                </a:lnTo>
                <a:lnTo>
                  <a:pt x="1600431" y="7278878"/>
                </a:lnTo>
                <a:lnTo>
                  <a:pt x="1558512" y="7291690"/>
                </a:lnTo>
                <a:lnTo>
                  <a:pt x="1512797" y="7300944"/>
                </a:lnTo>
                <a:lnTo>
                  <a:pt x="1463136" y="7306557"/>
                </a:lnTo>
                <a:lnTo>
                  <a:pt x="1409388" y="7308446"/>
                </a:lnTo>
                <a:lnTo>
                  <a:pt x="1409388" y="7211624"/>
                </a:lnTo>
                <a:lnTo>
                  <a:pt x="1459074" y="7209391"/>
                </a:lnTo>
                <a:lnTo>
                  <a:pt x="1503995" y="7202770"/>
                </a:lnTo>
                <a:lnTo>
                  <a:pt x="1544377" y="7191881"/>
                </a:lnTo>
                <a:lnTo>
                  <a:pt x="1580448" y="7176841"/>
                </a:lnTo>
                <a:lnTo>
                  <a:pt x="1640559" y="7134781"/>
                </a:lnTo>
                <a:lnTo>
                  <a:pt x="1686139" y="7077537"/>
                </a:lnTo>
                <a:lnTo>
                  <a:pt x="1704044" y="7043516"/>
                </a:lnTo>
                <a:lnTo>
                  <a:pt x="1718997" y="7006054"/>
                </a:lnTo>
                <a:lnTo>
                  <a:pt x="1731220" y="6965269"/>
                </a:lnTo>
                <a:lnTo>
                  <a:pt x="1740944" y="6921279"/>
                </a:lnTo>
                <a:lnTo>
                  <a:pt x="1748390" y="6874203"/>
                </a:lnTo>
                <a:lnTo>
                  <a:pt x="1753790" y="6824158"/>
                </a:lnTo>
                <a:lnTo>
                  <a:pt x="1757366" y="6771263"/>
                </a:lnTo>
                <a:lnTo>
                  <a:pt x="1759345" y="6715637"/>
                </a:lnTo>
                <a:lnTo>
                  <a:pt x="1759955" y="6657396"/>
                </a:lnTo>
                <a:lnTo>
                  <a:pt x="1759313" y="6599727"/>
                </a:lnTo>
                <a:lnTo>
                  <a:pt x="1757242" y="6544638"/>
                </a:lnTo>
                <a:lnTo>
                  <a:pt x="1753533" y="6492245"/>
                </a:lnTo>
                <a:lnTo>
                  <a:pt x="1747967" y="6442669"/>
                </a:lnTo>
                <a:lnTo>
                  <a:pt x="1740332" y="6396025"/>
                </a:lnTo>
                <a:lnTo>
                  <a:pt x="1730413" y="6352434"/>
                </a:lnTo>
                <a:lnTo>
                  <a:pt x="1717998" y="6312013"/>
                </a:lnTo>
                <a:lnTo>
                  <a:pt x="1702871" y="6274881"/>
                </a:lnTo>
                <a:lnTo>
                  <a:pt x="1684817" y="6241155"/>
                </a:lnTo>
                <a:lnTo>
                  <a:pt x="1639079" y="6184396"/>
                </a:lnTo>
                <a:lnTo>
                  <a:pt x="1579070" y="6142683"/>
                </a:lnTo>
                <a:lnTo>
                  <a:pt x="1543178" y="6127764"/>
                </a:lnTo>
                <a:lnTo>
                  <a:pt x="1503076" y="6116961"/>
                </a:lnTo>
                <a:lnTo>
                  <a:pt x="1458551" y="6110393"/>
                </a:lnTo>
                <a:lnTo>
                  <a:pt x="1409388" y="6108177"/>
                </a:lnTo>
                <a:close/>
                <a:moveTo>
                  <a:pt x="1317509" y="6009685"/>
                </a:moveTo>
                <a:lnTo>
                  <a:pt x="1317509" y="6108177"/>
                </a:lnTo>
                <a:lnTo>
                  <a:pt x="1268623" y="6110393"/>
                </a:lnTo>
                <a:lnTo>
                  <a:pt x="1224343" y="6116961"/>
                </a:lnTo>
                <a:lnTo>
                  <a:pt x="1184456" y="6127764"/>
                </a:lnTo>
                <a:lnTo>
                  <a:pt x="1148750" y="6142683"/>
                </a:lnTo>
                <a:lnTo>
                  <a:pt x="1089035" y="6184396"/>
                </a:lnTo>
                <a:lnTo>
                  <a:pt x="1043502" y="6241155"/>
                </a:lnTo>
                <a:lnTo>
                  <a:pt x="1025523" y="6274881"/>
                </a:lnTo>
                <a:lnTo>
                  <a:pt x="1010453" y="6312013"/>
                </a:lnTo>
                <a:lnTo>
                  <a:pt x="998080" y="6352434"/>
                </a:lnTo>
                <a:lnTo>
                  <a:pt x="988193" y="6396025"/>
                </a:lnTo>
                <a:lnTo>
                  <a:pt x="980578" y="6442669"/>
                </a:lnTo>
                <a:lnTo>
                  <a:pt x="975024" y="6492245"/>
                </a:lnTo>
                <a:lnTo>
                  <a:pt x="971321" y="6544638"/>
                </a:lnTo>
                <a:lnTo>
                  <a:pt x="969254" y="6599727"/>
                </a:lnTo>
                <a:lnTo>
                  <a:pt x="968612" y="6657396"/>
                </a:lnTo>
                <a:lnTo>
                  <a:pt x="969237" y="6715637"/>
                </a:lnTo>
                <a:lnTo>
                  <a:pt x="971260" y="6771263"/>
                </a:lnTo>
                <a:lnTo>
                  <a:pt x="974897" y="6824158"/>
                </a:lnTo>
                <a:lnTo>
                  <a:pt x="980366" y="6874203"/>
                </a:lnTo>
                <a:lnTo>
                  <a:pt x="987887" y="6921279"/>
                </a:lnTo>
                <a:lnTo>
                  <a:pt x="997676" y="6965269"/>
                </a:lnTo>
                <a:lnTo>
                  <a:pt x="1009953" y="7006054"/>
                </a:lnTo>
                <a:lnTo>
                  <a:pt x="1024935" y="7043516"/>
                </a:lnTo>
                <a:lnTo>
                  <a:pt x="1042841" y="7077537"/>
                </a:lnTo>
                <a:lnTo>
                  <a:pt x="1088295" y="7134781"/>
                </a:lnTo>
                <a:lnTo>
                  <a:pt x="1148061" y="7176841"/>
                </a:lnTo>
                <a:lnTo>
                  <a:pt x="1183856" y="7191881"/>
                </a:lnTo>
                <a:lnTo>
                  <a:pt x="1223884" y="7202770"/>
                </a:lnTo>
                <a:lnTo>
                  <a:pt x="1268362" y="7209391"/>
                </a:lnTo>
                <a:lnTo>
                  <a:pt x="1317509" y="7211624"/>
                </a:lnTo>
                <a:lnTo>
                  <a:pt x="1317509" y="7308446"/>
                </a:lnTo>
                <a:lnTo>
                  <a:pt x="1263987" y="7306557"/>
                </a:lnTo>
                <a:lnTo>
                  <a:pt x="1214506" y="7300944"/>
                </a:lnTo>
                <a:lnTo>
                  <a:pt x="1168927" y="7291690"/>
                </a:lnTo>
                <a:lnTo>
                  <a:pt x="1127108" y="7278878"/>
                </a:lnTo>
                <a:lnTo>
                  <a:pt x="1088911" y="7262591"/>
                </a:lnTo>
                <a:lnTo>
                  <a:pt x="1054194" y="7242910"/>
                </a:lnTo>
                <a:lnTo>
                  <a:pt x="1022818" y="7219920"/>
                </a:lnTo>
                <a:lnTo>
                  <a:pt x="994641" y="7193701"/>
                </a:lnTo>
                <a:lnTo>
                  <a:pt x="969525" y="7164338"/>
                </a:lnTo>
                <a:lnTo>
                  <a:pt x="947329" y="7131912"/>
                </a:lnTo>
                <a:lnTo>
                  <a:pt x="927911" y="7096506"/>
                </a:lnTo>
                <a:lnTo>
                  <a:pt x="911133" y="7058203"/>
                </a:lnTo>
                <a:lnTo>
                  <a:pt x="896855" y="7017085"/>
                </a:lnTo>
                <a:lnTo>
                  <a:pt x="884935" y="6973236"/>
                </a:lnTo>
                <a:lnTo>
                  <a:pt x="875233" y="6926737"/>
                </a:lnTo>
                <a:lnTo>
                  <a:pt x="867610" y="6877672"/>
                </a:lnTo>
                <a:lnTo>
                  <a:pt x="861924" y="6826122"/>
                </a:lnTo>
                <a:lnTo>
                  <a:pt x="858037" y="6772172"/>
                </a:lnTo>
                <a:lnTo>
                  <a:pt x="855809" y="6715902"/>
                </a:lnTo>
                <a:lnTo>
                  <a:pt x="855097" y="6657396"/>
                </a:lnTo>
                <a:lnTo>
                  <a:pt x="855832" y="6599140"/>
                </a:lnTo>
                <a:lnTo>
                  <a:pt x="858128" y="6543120"/>
                </a:lnTo>
                <a:lnTo>
                  <a:pt x="862117" y="6489415"/>
                </a:lnTo>
                <a:lnTo>
                  <a:pt x="867930" y="6438109"/>
                </a:lnTo>
                <a:lnTo>
                  <a:pt x="875703" y="6389281"/>
                </a:lnTo>
                <a:lnTo>
                  <a:pt x="885565" y="6343014"/>
                </a:lnTo>
                <a:lnTo>
                  <a:pt x="897652" y="6299388"/>
                </a:lnTo>
                <a:lnTo>
                  <a:pt x="912095" y="6258486"/>
                </a:lnTo>
                <a:lnTo>
                  <a:pt x="929026" y="6220388"/>
                </a:lnTo>
                <a:lnTo>
                  <a:pt x="948580" y="6185176"/>
                </a:lnTo>
                <a:lnTo>
                  <a:pt x="970888" y="6152931"/>
                </a:lnTo>
                <a:lnTo>
                  <a:pt x="996084" y="6123735"/>
                </a:lnTo>
                <a:lnTo>
                  <a:pt x="1024299" y="6097669"/>
                </a:lnTo>
                <a:lnTo>
                  <a:pt x="1055666" y="6074814"/>
                </a:lnTo>
                <a:lnTo>
                  <a:pt x="1090319" y="6055253"/>
                </a:lnTo>
                <a:lnTo>
                  <a:pt x="1128390" y="6039065"/>
                </a:lnTo>
                <a:lnTo>
                  <a:pt x="1170012" y="6026333"/>
                </a:lnTo>
                <a:lnTo>
                  <a:pt x="1215317" y="6017138"/>
                </a:lnTo>
                <a:lnTo>
                  <a:pt x="1264438" y="6011561"/>
                </a:lnTo>
                <a:close/>
                <a:moveTo>
                  <a:pt x="505166" y="5528915"/>
                </a:moveTo>
                <a:lnTo>
                  <a:pt x="547395" y="5532593"/>
                </a:lnTo>
                <a:lnTo>
                  <a:pt x="580078" y="5545817"/>
                </a:lnTo>
                <a:lnTo>
                  <a:pt x="601179" y="5571874"/>
                </a:lnTo>
                <a:lnTo>
                  <a:pt x="608666" y="5614052"/>
                </a:lnTo>
                <a:lnTo>
                  <a:pt x="601179" y="5658159"/>
                </a:lnTo>
                <a:lnTo>
                  <a:pt x="580078" y="5685208"/>
                </a:lnTo>
                <a:lnTo>
                  <a:pt x="547395" y="5698798"/>
                </a:lnTo>
                <a:lnTo>
                  <a:pt x="505166" y="5702529"/>
                </a:lnTo>
                <a:lnTo>
                  <a:pt x="462936" y="5698798"/>
                </a:lnTo>
                <a:lnTo>
                  <a:pt x="430252" y="5685208"/>
                </a:lnTo>
                <a:lnTo>
                  <a:pt x="409151" y="5658159"/>
                </a:lnTo>
                <a:lnTo>
                  <a:pt x="401665" y="5614052"/>
                </a:lnTo>
                <a:lnTo>
                  <a:pt x="409385" y="5571874"/>
                </a:lnTo>
                <a:lnTo>
                  <a:pt x="430878" y="5545817"/>
                </a:lnTo>
                <a:lnTo>
                  <a:pt x="463640" y="5532593"/>
                </a:lnTo>
                <a:close/>
                <a:moveTo>
                  <a:pt x="2465444" y="5378664"/>
                </a:moveTo>
                <a:lnTo>
                  <a:pt x="3370236" y="5378664"/>
                </a:lnTo>
                <a:lnTo>
                  <a:pt x="3370236" y="5485502"/>
                </a:lnTo>
                <a:lnTo>
                  <a:pt x="2465444" y="5485502"/>
                </a:lnTo>
                <a:close/>
                <a:moveTo>
                  <a:pt x="2465444" y="5029768"/>
                </a:moveTo>
                <a:lnTo>
                  <a:pt x="3370236" y="5029768"/>
                </a:lnTo>
                <a:lnTo>
                  <a:pt x="3370236" y="5136606"/>
                </a:lnTo>
                <a:lnTo>
                  <a:pt x="2465444" y="5136606"/>
                </a:lnTo>
                <a:close/>
                <a:moveTo>
                  <a:pt x="505166" y="4827784"/>
                </a:moveTo>
                <a:lnTo>
                  <a:pt x="547395" y="4831253"/>
                </a:lnTo>
                <a:lnTo>
                  <a:pt x="580078" y="4844268"/>
                </a:lnTo>
                <a:lnTo>
                  <a:pt x="601179" y="4870743"/>
                </a:lnTo>
                <a:lnTo>
                  <a:pt x="608666" y="4914590"/>
                </a:lnTo>
                <a:lnTo>
                  <a:pt x="601179" y="4957028"/>
                </a:lnTo>
                <a:lnTo>
                  <a:pt x="580078" y="4983660"/>
                </a:lnTo>
                <a:lnTo>
                  <a:pt x="547395" y="4997458"/>
                </a:lnTo>
                <a:lnTo>
                  <a:pt x="505166" y="5001397"/>
                </a:lnTo>
                <a:lnTo>
                  <a:pt x="463901" y="4997458"/>
                </a:lnTo>
                <a:lnTo>
                  <a:pt x="431713" y="4983660"/>
                </a:lnTo>
                <a:lnTo>
                  <a:pt x="410794" y="4957028"/>
                </a:lnTo>
                <a:lnTo>
                  <a:pt x="403334" y="4914590"/>
                </a:lnTo>
                <a:lnTo>
                  <a:pt x="410794" y="4870743"/>
                </a:lnTo>
                <a:lnTo>
                  <a:pt x="431713" y="4844268"/>
                </a:lnTo>
                <a:lnTo>
                  <a:pt x="463901" y="4831253"/>
                </a:lnTo>
                <a:close/>
                <a:moveTo>
                  <a:pt x="4111651" y="4507266"/>
                </a:moveTo>
                <a:lnTo>
                  <a:pt x="4164721" y="4509142"/>
                </a:lnTo>
                <a:lnTo>
                  <a:pt x="4213842" y="4514719"/>
                </a:lnTo>
                <a:lnTo>
                  <a:pt x="4259148" y="4523914"/>
                </a:lnTo>
                <a:lnTo>
                  <a:pt x="4300769" y="4536646"/>
                </a:lnTo>
                <a:lnTo>
                  <a:pt x="4338840" y="4552834"/>
                </a:lnTo>
                <a:lnTo>
                  <a:pt x="4373493" y="4572395"/>
                </a:lnTo>
                <a:lnTo>
                  <a:pt x="4404861" y="4595250"/>
                </a:lnTo>
                <a:lnTo>
                  <a:pt x="4433076" y="4621316"/>
                </a:lnTo>
                <a:lnTo>
                  <a:pt x="4458271" y="4650512"/>
                </a:lnTo>
                <a:lnTo>
                  <a:pt x="4480579" y="4682757"/>
                </a:lnTo>
                <a:lnTo>
                  <a:pt x="4500133" y="4717969"/>
                </a:lnTo>
                <a:lnTo>
                  <a:pt x="4517065" y="4756067"/>
                </a:lnTo>
                <a:lnTo>
                  <a:pt x="4531508" y="4796969"/>
                </a:lnTo>
                <a:lnTo>
                  <a:pt x="4543594" y="4840595"/>
                </a:lnTo>
                <a:lnTo>
                  <a:pt x="4553457" y="4886863"/>
                </a:lnTo>
                <a:lnTo>
                  <a:pt x="4561230" y="4935691"/>
                </a:lnTo>
                <a:lnTo>
                  <a:pt x="4567043" y="4986997"/>
                </a:lnTo>
                <a:lnTo>
                  <a:pt x="4571032" y="5040702"/>
                </a:lnTo>
                <a:lnTo>
                  <a:pt x="4573328" y="5096722"/>
                </a:lnTo>
                <a:lnTo>
                  <a:pt x="4574064" y="5154978"/>
                </a:lnTo>
                <a:lnTo>
                  <a:pt x="4573364" y="5213483"/>
                </a:lnTo>
                <a:lnTo>
                  <a:pt x="4571167" y="5269753"/>
                </a:lnTo>
                <a:lnTo>
                  <a:pt x="4567331" y="5323704"/>
                </a:lnTo>
                <a:lnTo>
                  <a:pt x="4561710" y="5375253"/>
                </a:lnTo>
                <a:lnTo>
                  <a:pt x="4554162" y="5424318"/>
                </a:lnTo>
                <a:lnTo>
                  <a:pt x="4544541" y="5470817"/>
                </a:lnTo>
                <a:lnTo>
                  <a:pt x="4532704" y="5514667"/>
                </a:lnTo>
                <a:lnTo>
                  <a:pt x="4518507" y="5555784"/>
                </a:lnTo>
                <a:lnTo>
                  <a:pt x="4501806" y="5594087"/>
                </a:lnTo>
                <a:lnTo>
                  <a:pt x="4482457" y="5629493"/>
                </a:lnTo>
                <a:lnTo>
                  <a:pt x="4460316" y="5661919"/>
                </a:lnTo>
                <a:lnTo>
                  <a:pt x="4435240" y="5691283"/>
                </a:lnTo>
                <a:lnTo>
                  <a:pt x="4407083" y="5717501"/>
                </a:lnTo>
                <a:lnTo>
                  <a:pt x="4375702" y="5740492"/>
                </a:lnTo>
                <a:lnTo>
                  <a:pt x="4340953" y="5760173"/>
                </a:lnTo>
                <a:lnTo>
                  <a:pt x="4302693" y="5776460"/>
                </a:lnTo>
                <a:lnTo>
                  <a:pt x="4260776" y="5789272"/>
                </a:lnTo>
                <a:lnTo>
                  <a:pt x="4215059" y="5798526"/>
                </a:lnTo>
                <a:lnTo>
                  <a:pt x="4165399" y="5804139"/>
                </a:lnTo>
                <a:lnTo>
                  <a:pt x="4111651" y="5806028"/>
                </a:lnTo>
                <a:lnTo>
                  <a:pt x="4111651" y="5709205"/>
                </a:lnTo>
                <a:lnTo>
                  <a:pt x="4161336" y="5706972"/>
                </a:lnTo>
                <a:lnTo>
                  <a:pt x="4206256" y="5700351"/>
                </a:lnTo>
                <a:lnTo>
                  <a:pt x="4246640" y="5689462"/>
                </a:lnTo>
                <a:lnTo>
                  <a:pt x="4282711" y="5674422"/>
                </a:lnTo>
                <a:lnTo>
                  <a:pt x="4342822" y="5632362"/>
                </a:lnTo>
                <a:lnTo>
                  <a:pt x="4388401" y="5575118"/>
                </a:lnTo>
                <a:lnTo>
                  <a:pt x="4406307" y="5541097"/>
                </a:lnTo>
                <a:lnTo>
                  <a:pt x="4421259" y="5503636"/>
                </a:lnTo>
                <a:lnTo>
                  <a:pt x="4433483" y="5462851"/>
                </a:lnTo>
                <a:lnTo>
                  <a:pt x="4443206" y="5418861"/>
                </a:lnTo>
                <a:lnTo>
                  <a:pt x="4450653" y="5371784"/>
                </a:lnTo>
                <a:lnTo>
                  <a:pt x="4456052" y="5321740"/>
                </a:lnTo>
                <a:lnTo>
                  <a:pt x="4459628" y="5268845"/>
                </a:lnTo>
                <a:lnTo>
                  <a:pt x="4461607" y="5213218"/>
                </a:lnTo>
                <a:lnTo>
                  <a:pt x="4462217" y="5154978"/>
                </a:lnTo>
                <a:lnTo>
                  <a:pt x="4461575" y="5097309"/>
                </a:lnTo>
                <a:lnTo>
                  <a:pt x="4459505" y="5042220"/>
                </a:lnTo>
                <a:lnTo>
                  <a:pt x="4455795" y="4989827"/>
                </a:lnTo>
                <a:lnTo>
                  <a:pt x="4450229" y="4940251"/>
                </a:lnTo>
                <a:lnTo>
                  <a:pt x="4442594" y="4893607"/>
                </a:lnTo>
                <a:lnTo>
                  <a:pt x="4432676" y="4850015"/>
                </a:lnTo>
                <a:lnTo>
                  <a:pt x="4420260" y="4809594"/>
                </a:lnTo>
                <a:lnTo>
                  <a:pt x="4405133" y="4772462"/>
                </a:lnTo>
                <a:lnTo>
                  <a:pt x="4387080" y="4738736"/>
                </a:lnTo>
                <a:lnTo>
                  <a:pt x="4341342" y="4681977"/>
                </a:lnTo>
                <a:lnTo>
                  <a:pt x="4281333" y="4640264"/>
                </a:lnTo>
                <a:lnTo>
                  <a:pt x="4245441" y="4625345"/>
                </a:lnTo>
                <a:lnTo>
                  <a:pt x="4205339" y="4614542"/>
                </a:lnTo>
                <a:lnTo>
                  <a:pt x="4160814" y="4607974"/>
                </a:lnTo>
                <a:lnTo>
                  <a:pt x="4111651" y="4605758"/>
                </a:lnTo>
                <a:close/>
                <a:moveTo>
                  <a:pt x="4019781" y="4507266"/>
                </a:moveTo>
                <a:lnTo>
                  <a:pt x="4019781" y="4605758"/>
                </a:lnTo>
                <a:lnTo>
                  <a:pt x="3970895" y="4607974"/>
                </a:lnTo>
                <a:lnTo>
                  <a:pt x="3926615" y="4614542"/>
                </a:lnTo>
                <a:lnTo>
                  <a:pt x="3886728" y="4625345"/>
                </a:lnTo>
                <a:lnTo>
                  <a:pt x="3851022" y="4640264"/>
                </a:lnTo>
                <a:lnTo>
                  <a:pt x="3791307" y="4681977"/>
                </a:lnTo>
                <a:lnTo>
                  <a:pt x="3745774" y="4738736"/>
                </a:lnTo>
                <a:lnTo>
                  <a:pt x="3727795" y="4772462"/>
                </a:lnTo>
                <a:lnTo>
                  <a:pt x="3712725" y="4809594"/>
                </a:lnTo>
                <a:lnTo>
                  <a:pt x="3700353" y="4850015"/>
                </a:lnTo>
                <a:lnTo>
                  <a:pt x="3690465" y="4893607"/>
                </a:lnTo>
                <a:lnTo>
                  <a:pt x="3682853" y="4940251"/>
                </a:lnTo>
                <a:lnTo>
                  <a:pt x="3677301" y="4989827"/>
                </a:lnTo>
                <a:lnTo>
                  <a:pt x="3673597" y="5042220"/>
                </a:lnTo>
                <a:lnTo>
                  <a:pt x="3671530" y="5097309"/>
                </a:lnTo>
                <a:lnTo>
                  <a:pt x="3670887" y="5154978"/>
                </a:lnTo>
                <a:lnTo>
                  <a:pt x="3671513" y="5213218"/>
                </a:lnTo>
                <a:lnTo>
                  <a:pt x="3673535" y="5268845"/>
                </a:lnTo>
                <a:lnTo>
                  <a:pt x="3677173" y="5321740"/>
                </a:lnTo>
                <a:lnTo>
                  <a:pt x="3682642" y="5371784"/>
                </a:lnTo>
                <a:lnTo>
                  <a:pt x="3690160" y="5418861"/>
                </a:lnTo>
                <a:lnTo>
                  <a:pt x="3699949" y="5462851"/>
                </a:lnTo>
                <a:lnTo>
                  <a:pt x="3712226" y="5503636"/>
                </a:lnTo>
                <a:lnTo>
                  <a:pt x="3727208" y="5541097"/>
                </a:lnTo>
                <a:lnTo>
                  <a:pt x="3745113" y="5575118"/>
                </a:lnTo>
                <a:lnTo>
                  <a:pt x="3790567" y="5632362"/>
                </a:lnTo>
                <a:lnTo>
                  <a:pt x="3850333" y="5674422"/>
                </a:lnTo>
                <a:lnTo>
                  <a:pt x="3886128" y="5689462"/>
                </a:lnTo>
                <a:lnTo>
                  <a:pt x="3926156" y="5700351"/>
                </a:lnTo>
                <a:lnTo>
                  <a:pt x="3970634" y="5706972"/>
                </a:lnTo>
                <a:lnTo>
                  <a:pt x="4019781" y="5709205"/>
                </a:lnTo>
                <a:lnTo>
                  <a:pt x="4019781" y="5806028"/>
                </a:lnTo>
                <a:lnTo>
                  <a:pt x="3966259" y="5804139"/>
                </a:lnTo>
                <a:lnTo>
                  <a:pt x="3916778" y="5798526"/>
                </a:lnTo>
                <a:lnTo>
                  <a:pt x="3871199" y="5789272"/>
                </a:lnTo>
                <a:lnTo>
                  <a:pt x="3829380" y="5776460"/>
                </a:lnTo>
                <a:lnTo>
                  <a:pt x="3791183" y="5760173"/>
                </a:lnTo>
                <a:lnTo>
                  <a:pt x="3756466" y="5740492"/>
                </a:lnTo>
                <a:lnTo>
                  <a:pt x="3725090" y="5717501"/>
                </a:lnTo>
                <a:lnTo>
                  <a:pt x="3696914" y="5691283"/>
                </a:lnTo>
                <a:lnTo>
                  <a:pt x="3671799" y="5661919"/>
                </a:lnTo>
                <a:lnTo>
                  <a:pt x="3649604" y="5629493"/>
                </a:lnTo>
                <a:lnTo>
                  <a:pt x="3630186" y="5594087"/>
                </a:lnTo>
                <a:lnTo>
                  <a:pt x="3613408" y="5555784"/>
                </a:lnTo>
                <a:lnTo>
                  <a:pt x="3599129" y="5514667"/>
                </a:lnTo>
                <a:lnTo>
                  <a:pt x="3587210" y="5470817"/>
                </a:lnTo>
                <a:lnTo>
                  <a:pt x="3577507" y="5424318"/>
                </a:lnTo>
                <a:lnTo>
                  <a:pt x="3569884" y="5375253"/>
                </a:lnTo>
                <a:lnTo>
                  <a:pt x="3564199" y="5323704"/>
                </a:lnTo>
                <a:lnTo>
                  <a:pt x="3560312" y="5269753"/>
                </a:lnTo>
                <a:lnTo>
                  <a:pt x="3558082" y="5213483"/>
                </a:lnTo>
                <a:lnTo>
                  <a:pt x="3557372" y="5154978"/>
                </a:lnTo>
                <a:lnTo>
                  <a:pt x="3558107" y="5096722"/>
                </a:lnTo>
                <a:lnTo>
                  <a:pt x="3560402" y="5040702"/>
                </a:lnTo>
                <a:lnTo>
                  <a:pt x="3564391" y="4986997"/>
                </a:lnTo>
                <a:lnTo>
                  <a:pt x="3570205" y="4935691"/>
                </a:lnTo>
                <a:lnTo>
                  <a:pt x="3577977" y="4886863"/>
                </a:lnTo>
                <a:lnTo>
                  <a:pt x="3587840" y="4840595"/>
                </a:lnTo>
                <a:lnTo>
                  <a:pt x="3599926" y="4796969"/>
                </a:lnTo>
                <a:lnTo>
                  <a:pt x="3614369" y="4756067"/>
                </a:lnTo>
                <a:lnTo>
                  <a:pt x="3631302" y="4717969"/>
                </a:lnTo>
                <a:lnTo>
                  <a:pt x="3650855" y="4682757"/>
                </a:lnTo>
                <a:lnTo>
                  <a:pt x="3673163" y="4650512"/>
                </a:lnTo>
                <a:lnTo>
                  <a:pt x="3698356" y="4621316"/>
                </a:lnTo>
                <a:lnTo>
                  <a:pt x="3726571" y="4595250"/>
                </a:lnTo>
                <a:lnTo>
                  <a:pt x="3757938" y="4572395"/>
                </a:lnTo>
                <a:lnTo>
                  <a:pt x="3792591" y="4552834"/>
                </a:lnTo>
                <a:lnTo>
                  <a:pt x="3830662" y="4536646"/>
                </a:lnTo>
                <a:lnTo>
                  <a:pt x="3872284" y="4523914"/>
                </a:lnTo>
                <a:lnTo>
                  <a:pt x="3917589" y="4514719"/>
                </a:lnTo>
                <a:lnTo>
                  <a:pt x="3966710" y="4509142"/>
                </a:lnTo>
                <a:close/>
                <a:moveTo>
                  <a:pt x="0" y="3876244"/>
                </a:moveTo>
                <a:lnTo>
                  <a:pt x="904792" y="3876244"/>
                </a:lnTo>
                <a:lnTo>
                  <a:pt x="904792" y="3983083"/>
                </a:lnTo>
                <a:lnTo>
                  <a:pt x="0" y="3983083"/>
                </a:lnTo>
                <a:close/>
                <a:moveTo>
                  <a:pt x="0" y="3527349"/>
                </a:moveTo>
                <a:lnTo>
                  <a:pt x="904792" y="3527349"/>
                </a:lnTo>
                <a:lnTo>
                  <a:pt x="904792" y="3634187"/>
                </a:lnTo>
                <a:lnTo>
                  <a:pt x="0" y="3634187"/>
                </a:lnTo>
                <a:close/>
                <a:moveTo>
                  <a:pt x="1599039" y="3011203"/>
                </a:moveTo>
                <a:lnTo>
                  <a:pt x="1972978" y="3011203"/>
                </a:lnTo>
                <a:lnTo>
                  <a:pt x="1972978" y="3106453"/>
                </a:lnTo>
                <a:lnTo>
                  <a:pt x="1972978" y="4205003"/>
                </a:lnTo>
                <a:lnTo>
                  <a:pt x="1972978" y="4300253"/>
                </a:lnTo>
                <a:lnTo>
                  <a:pt x="1599039" y="4300253"/>
                </a:lnTo>
                <a:lnTo>
                  <a:pt x="1599039" y="4205003"/>
                </a:lnTo>
                <a:lnTo>
                  <a:pt x="1857788" y="4205003"/>
                </a:lnTo>
                <a:lnTo>
                  <a:pt x="1857788" y="3106453"/>
                </a:lnTo>
                <a:lnTo>
                  <a:pt x="1599039" y="3106453"/>
                </a:lnTo>
                <a:close/>
                <a:moveTo>
                  <a:pt x="1125303" y="3011203"/>
                </a:moveTo>
                <a:lnTo>
                  <a:pt x="1499242" y="3011203"/>
                </a:lnTo>
                <a:lnTo>
                  <a:pt x="1499242" y="3106453"/>
                </a:lnTo>
                <a:lnTo>
                  <a:pt x="1240492" y="3106453"/>
                </a:lnTo>
                <a:lnTo>
                  <a:pt x="1240492" y="4205003"/>
                </a:lnTo>
                <a:lnTo>
                  <a:pt x="1499242" y="4205003"/>
                </a:lnTo>
                <a:lnTo>
                  <a:pt x="1499242" y="4300253"/>
                </a:lnTo>
                <a:lnTo>
                  <a:pt x="1125303" y="4300253"/>
                </a:lnTo>
                <a:lnTo>
                  <a:pt x="1125303" y="4205003"/>
                </a:lnTo>
                <a:lnTo>
                  <a:pt x="1125303" y="3106453"/>
                </a:lnTo>
                <a:close/>
                <a:moveTo>
                  <a:pt x="3600665" y="3004837"/>
                </a:moveTo>
                <a:lnTo>
                  <a:pt x="3653736" y="3006713"/>
                </a:lnTo>
                <a:lnTo>
                  <a:pt x="3702854" y="3012290"/>
                </a:lnTo>
                <a:lnTo>
                  <a:pt x="3748160" y="3021485"/>
                </a:lnTo>
                <a:lnTo>
                  <a:pt x="3789782" y="3034217"/>
                </a:lnTo>
                <a:lnTo>
                  <a:pt x="3827853" y="3050405"/>
                </a:lnTo>
                <a:lnTo>
                  <a:pt x="3862506" y="3069966"/>
                </a:lnTo>
                <a:lnTo>
                  <a:pt x="3893873" y="3092821"/>
                </a:lnTo>
                <a:lnTo>
                  <a:pt x="3922088" y="3118887"/>
                </a:lnTo>
                <a:lnTo>
                  <a:pt x="3947284" y="3148083"/>
                </a:lnTo>
                <a:lnTo>
                  <a:pt x="3969592" y="3180328"/>
                </a:lnTo>
                <a:lnTo>
                  <a:pt x="3989145" y="3215540"/>
                </a:lnTo>
                <a:lnTo>
                  <a:pt x="4006077" y="3253638"/>
                </a:lnTo>
                <a:lnTo>
                  <a:pt x="4020520" y="3294540"/>
                </a:lnTo>
                <a:lnTo>
                  <a:pt x="4032607" y="3338166"/>
                </a:lnTo>
                <a:lnTo>
                  <a:pt x="4042470" y="3384433"/>
                </a:lnTo>
                <a:lnTo>
                  <a:pt x="4050242" y="3433261"/>
                </a:lnTo>
                <a:lnTo>
                  <a:pt x="4056056" y="3484567"/>
                </a:lnTo>
                <a:lnTo>
                  <a:pt x="4060044" y="3538272"/>
                </a:lnTo>
                <a:lnTo>
                  <a:pt x="4062340" y="3594292"/>
                </a:lnTo>
                <a:lnTo>
                  <a:pt x="4063076" y="3652548"/>
                </a:lnTo>
                <a:lnTo>
                  <a:pt x="4062376" y="3711053"/>
                </a:lnTo>
                <a:lnTo>
                  <a:pt x="4060179" y="3767323"/>
                </a:lnTo>
                <a:lnTo>
                  <a:pt x="4056343" y="3821273"/>
                </a:lnTo>
                <a:lnTo>
                  <a:pt x="4050722" y="3872823"/>
                </a:lnTo>
                <a:lnTo>
                  <a:pt x="4043174" y="3921888"/>
                </a:lnTo>
                <a:lnTo>
                  <a:pt x="4033553" y="3968387"/>
                </a:lnTo>
                <a:lnTo>
                  <a:pt x="4021716" y="4012236"/>
                </a:lnTo>
                <a:lnTo>
                  <a:pt x="4007519" y="4053354"/>
                </a:lnTo>
                <a:lnTo>
                  <a:pt x="3990818" y="4091657"/>
                </a:lnTo>
                <a:lnTo>
                  <a:pt x="3971469" y="4127063"/>
                </a:lnTo>
                <a:lnTo>
                  <a:pt x="3949328" y="4159489"/>
                </a:lnTo>
                <a:lnTo>
                  <a:pt x="3924252" y="4188852"/>
                </a:lnTo>
                <a:lnTo>
                  <a:pt x="3896095" y="4215071"/>
                </a:lnTo>
                <a:lnTo>
                  <a:pt x="3864714" y="4238061"/>
                </a:lnTo>
                <a:lnTo>
                  <a:pt x="3829965" y="4257742"/>
                </a:lnTo>
                <a:lnTo>
                  <a:pt x="3791705" y="4274029"/>
                </a:lnTo>
                <a:lnTo>
                  <a:pt x="3749788" y="4286841"/>
                </a:lnTo>
                <a:lnTo>
                  <a:pt x="3704071" y="4296095"/>
                </a:lnTo>
                <a:lnTo>
                  <a:pt x="3654414" y="4301708"/>
                </a:lnTo>
                <a:lnTo>
                  <a:pt x="3600665" y="4303597"/>
                </a:lnTo>
                <a:lnTo>
                  <a:pt x="3600665" y="4206775"/>
                </a:lnTo>
                <a:lnTo>
                  <a:pt x="3650351" y="4204542"/>
                </a:lnTo>
                <a:lnTo>
                  <a:pt x="3695268" y="4197921"/>
                </a:lnTo>
                <a:lnTo>
                  <a:pt x="3735652" y="4187032"/>
                </a:lnTo>
                <a:lnTo>
                  <a:pt x="3771723" y="4171992"/>
                </a:lnTo>
                <a:lnTo>
                  <a:pt x="3831834" y="4129932"/>
                </a:lnTo>
                <a:lnTo>
                  <a:pt x="3877413" y="4072688"/>
                </a:lnTo>
                <a:lnTo>
                  <a:pt x="3895319" y="4038667"/>
                </a:lnTo>
                <a:lnTo>
                  <a:pt x="3910271" y="4001206"/>
                </a:lnTo>
                <a:lnTo>
                  <a:pt x="3922495" y="3960421"/>
                </a:lnTo>
                <a:lnTo>
                  <a:pt x="3932218" y="3916431"/>
                </a:lnTo>
                <a:lnTo>
                  <a:pt x="3939665" y="3869354"/>
                </a:lnTo>
                <a:lnTo>
                  <a:pt x="3945064" y="3819310"/>
                </a:lnTo>
                <a:lnTo>
                  <a:pt x="3948640" y="3766415"/>
                </a:lnTo>
                <a:lnTo>
                  <a:pt x="3950619" y="3710788"/>
                </a:lnTo>
                <a:lnTo>
                  <a:pt x="3951229" y="3652548"/>
                </a:lnTo>
                <a:lnTo>
                  <a:pt x="3950587" y="3594879"/>
                </a:lnTo>
                <a:lnTo>
                  <a:pt x="3948517" y="3539790"/>
                </a:lnTo>
                <a:lnTo>
                  <a:pt x="3944807" y="3487397"/>
                </a:lnTo>
                <a:lnTo>
                  <a:pt x="3939241" y="3437821"/>
                </a:lnTo>
                <a:lnTo>
                  <a:pt x="3931606" y="3391177"/>
                </a:lnTo>
                <a:lnTo>
                  <a:pt x="3921688" y="3347586"/>
                </a:lnTo>
                <a:lnTo>
                  <a:pt x="3909272" y="3307165"/>
                </a:lnTo>
                <a:lnTo>
                  <a:pt x="3894145" y="3270033"/>
                </a:lnTo>
                <a:lnTo>
                  <a:pt x="3876092" y="3236307"/>
                </a:lnTo>
                <a:lnTo>
                  <a:pt x="3830354" y="3179548"/>
                </a:lnTo>
                <a:lnTo>
                  <a:pt x="3770345" y="3137835"/>
                </a:lnTo>
                <a:lnTo>
                  <a:pt x="3734453" y="3122916"/>
                </a:lnTo>
                <a:lnTo>
                  <a:pt x="3694351" y="3112113"/>
                </a:lnTo>
                <a:lnTo>
                  <a:pt x="3649829" y="3105545"/>
                </a:lnTo>
                <a:lnTo>
                  <a:pt x="3600665" y="3103329"/>
                </a:lnTo>
                <a:close/>
                <a:moveTo>
                  <a:pt x="3508797" y="3004837"/>
                </a:moveTo>
                <a:lnTo>
                  <a:pt x="3508797" y="3103329"/>
                </a:lnTo>
                <a:lnTo>
                  <a:pt x="3459910" y="3105545"/>
                </a:lnTo>
                <a:lnTo>
                  <a:pt x="3415630" y="3112113"/>
                </a:lnTo>
                <a:lnTo>
                  <a:pt x="3375743" y="3122916"/>
                </a:lnTo>
                <a:lnTo>
                  <a:pt x="3340039" y="3137835"/>
                </a:lnTo>
                <a:lnTo>
                  <a:pt x="3280323" y="3179548"/>
                </a:lnTo>
                <a:lnTo>
                  <a:pt x="3234789" y="3236307"/>
                </a:lnTo>
                <a:lnTo>
                  <a:pt x="3216810" y="3270033"/>
                </a:lnTo>
                <a:lnTo>
                  <a:pt x="3201740" y="3307165"/>
                </a:lnTo>
                <a:lnTo>
                  <a:pt x="3189368" y="3347586"/>
                </a:lnTo>
                <a:lnTo>
                  <a:pt x="3179480" y="3391177"/>
                </a:lnTo>
                <a:lnTo>
                  <a:pt x="3171865" y="3437821"/>
                </a:lnTo>
                <a:lnTo>
                  <a:pt x="3166313" y="3487397"/>
                </a:lnTo>
                <a:lnTo>
                  <a:pt x="3162609" y="3539790"/>
                </a:lnTo>
                <a:lnTo>
                  <a:pt x="3160541" y="3594879"/>
                </a:lnTo>
                <a:lnTo>
                  <a:pt x="3159899" y="3652548"/>
                </a:lnTo>
                <a:lnTo>
                  <a:pt x="3160527" y="3710788"/>
                </a:lnTo>
                <a:lnTo>
                  <a:pt x="3162547" y="3766415"/>
                </a:lnTo>
                <a:lnTo>
                  <a:pt x="3166185" y="3819310"/>
                </a:lnTo>
                <a:lnTo>
                  <a:pt x="3171653" y="3869354"/>
                </a:lnTo>
                <a:lnTo>
                  <a:pt x="3179175" y="3916431"/>
                </a:lnTo>
                <a:lnTo>
                  <a:pt x="3188965" y="3960421"/>
                </a:lnTo>
                <a:lnTo>
                  <a:pt x="3201241" y="4001206"/>
                </a:lnTo>
                <a:lnTo>
                  <a:pt x="3216223" y="4038667"/>
                </a:lnTo>
                <a:lnTo>
                  <a:pt x="3234129" y="4072688"/>
                </a:lnTo>
                <a:lnTo>
                  <a:pt x="3279582" y="4129932"/>
                </a:lnTo>
                <a:lnTo>
                  <a:pt x="3339348" y="4171992"/>
                </a:lnTo>
                <a:lnTo>
                  <a:pt x="3375143" y="4187032"/>
                </a:lnTo>
                <a:lnTo>
                  <a:pt x="3415171" y="4197921"/>
                </a:lnTo>
                <a:lnTo>
                  <a:pt x="3459650" y="4204542"/>
                </a:lnTo>
                <a:lnTo>
                  <a:pt x="3508797" y="4206775"/>
                </a:lnTo>
                <a:lnTo>
                  <a:pt x="3508797" y="4303597"/>
                </a:lnTo>
                <a:lnTo>
                  <a:pt x="3455275" y="4301708"/>
                </a:lnTo>
                <a:lnTo>
                  <a:pt x="3405793" y="4296095"/>
                </a:lnTo>
                <a:lnTo>
                  <a:pt x="3360214" y="4286841"/>
                </a:lnTo>
                <a:lnTo>
                  <a:pt x="3318395" y="4274029"/>
                </a:lnTo>
                <a:lnTo>
                  <a:pt x="3280198" y="4257742"/>
                </a:lnTo>
                <a:lnTo>
                  <a:pt x="3245481" y="4238061"/>
                </a:lnTo>
                <a:lnTo>
                  <a:pt x="3214105" y="4215071"/>
                </a:lnTo>
                <a:lnTo>
                  <a:pt x="3185929" y="4188852"/>
                </a:lnTo>
                <a:lnTo>
                  <a:pt x="3160812" y="4159489"/>
                </a:lnTo>
                <a:lnTo>
                  <a:pt x="3138616" y="4127063"/>
                </a:lnTo>
                <a:lnTo>
                  <a:pt x="3119198" y="4091657"/>
                </a:lnTo>
                <a:lnTo>
                  <a:pt x="3102421" y="4053354"/>
                </a:lnTo>
                <a:lnTo>
                  <a:pt x="3088141" y="4012236"/>
                </a:lnTo>
                <a:lnTo>
                  <a:pt x="3076222" y="3968387"/>
                </a:lnTo>
                <a:lnTo>
                  <a:pt x="3066519" y="3921888"/>
                </a:lnTo>
                <a:lnTo>
                  <a:pt x="3058896" y="3872823"/>
                </a:lnTo>
                <a:lnTo>
                  <a:pt x="3053212" y="3821273"/>
                </a:lnTo>
                <a:lnTo>
                  <a:pt x="3049324" y="3767323"/>
                </a:lnTo>
                <a:lnTo>
                  <a:pt x="3047094" y="3711053"/>
                </a:lnTo>
                <a:lnTo>
                  <a:pt x="3046384" y="3652548"/>
                </a:lnTo>
                <a:lnTo>
                  <a:pt x="3047118" y="3594292"/>
                </a:lnTo>
                <a:lnTo>
                  <a:pt x="3049414" y="3538272"/>
                </a:lnTo>
                <a:lnTo>
                  <a:pt x="3053403" y="3484567"/>
                </a:lnTo>
                <a:lnTo>
                  <a:pt x="3059217" y="3433261"/>
                </a:lnTo>
                <a:lnTo>
                  <a:pt x="3066990" y="3384433"/>
                </a:lnTo>
                <a:lnTo>
                  <a:pt x="3076852" y="3338166"/>
                </a:lnTo>
                <a:lnTo>
                  <a:pt x="3088939" y="3294540"/>
                </a:lnTo>
                <a:lnTo>
                  <a:pt x="3103381" y="3253638"/>
                </a:lnTo>
                <a:lnTo>
                  <a:pt x="3120314" y="3215540"/>
                </a:lnTo>
                <a:lnTo>
                  <a:pt x="3139867" y="3180328"/>
                </a:lnTo>
                <a:lnTo>
                  <a:pt x="3162174" y="3148083"/>
                </a:lnTo>
                <a:lnTo>
                  <a:pt x="3187372" y="3118887"/>
                </a:lnTo>
                <a:lnTo>
                  <a:pt x="3215586" y="3092821"/>
                </a:lnTo>
                <a:lnTo>
                  <a:pt x="3246953" y="3069966"/>
                </a:lnTo>
                <a:lnTo>
                  <a:pt x="3281606" y="3050405"/>
                </a:lnTo>
                <a:lnTo>
                  <a:pt x="3319678" y="3034217"/>
                </a:lnTo>
                <a:lnTo>
                  <a:pt x="3361299" y="3021485"/>
                </a:lnTo>
                <a:lnTo>
                  <a:pt x="3406605" y="3012290"/>
                </a:lnTo>
                <a:lnTo>
                  <a:pt x="3455726" y="3006713"/>
                </a:lnTo>
                <a:close/>
                <a:moveTo>
                  <a:pt x="3637118" y="2373826"/>
                </a:moveTo>
                <a:lnTo>
                  <a:pt x="4541909" y="2373826"/>
                </a:lnTo>
                <a:lnTo>
                  <a:pt x="4541909" y="2480664"/>
                </a:lnTo>
                <a:lnTo>
                  <a:pt x="3637118" y="2480664"/>
                </a:lnTo>
                <a:close/>
                <a:moveTo>
                  <a:pt x="2550201" y="2373826"/>
                </a:moveTo>
                <a:lnTo>
                  <a:pt x="3454993" y="2373826"/>
                </a:lnTo>
                <a:lnTo>
                  <a:pt x="3454993" y="2480664"/>
                </a:lnTo>
                <a:lnTo>
                  <a:pt x="2550201" y="2480664"/>
                </a:lnTo>
                <a:close/>
                <a:moveTo>
                  <a:pt x="3637119" y="2024930"/>
                </a:moveTo>
                <a:lnTo>
                  <a:pt x="4541909" y="2024930"/>
                </a:lnTo>
                <a:lnTo>
                  <a:pt x="4541909" y="2131769"/>
                </a:lnTo>
                <a:lnTo>
                  <a:pt x="3637119" y="2131769"/>
                </a:lnTo>
                <a:close/>
                <a:moveTo>
                  <a:pt x="2550201" y="2024930"/>
                </a:moveTo>
                <a:lnTo>
                  <a:pt x="3454993" y="2024930"/>
                </a:lnTo>
                <a:lnTo>
                  <a:pt x="3454993" y="2131769"/>
                </a:lnTo>
                <a:lnTo>
                  <a:pt x="2550201" y="2131769"/>
                </a:lnTo>
                <a:close/>
                <a:moveTo>
                  <a:pt x="6133380" y="1502419"/>
                </a:moveTo>
                <a:lnTo>
                  <a:pt x="6186450" y="1504296"/>
                </a:lnTo>
                <a:lnTo>
                  <a:pt x="6235571" y="1509872"/>
                </a:lnTo>
                <a:lnTo>
                  <a:pt x="6280876" y="1519068"/>
                </a:lnTo>
                <a:lnTo>
                  <a:pt x="6322498" y="1531799"/>
                </a:lnTo>
                <a:lnTo>
                  <a:pt x="6360569" y="1547987"/>
                </a:lnTo>
                <a:lnTo>
                  <a:pt x="6395222" y="1567548"/>
                </a:lnTo>
                <a:lnTo>
                  <a:pt x="6426589" y="1590403"/>
                </a:lnTo>
                <a:lnTo>
                  <a:pt x="6454804" y="1616469"/>
                </a:lnTo>
                <a:lnTo>
                  <a:pt x="6480000" y="1645665"/>
                </a:lnTo>
                <a:lnTo>
                  <a:pt x="6502308" y="1677910"/>
                </a:lnTo>
                <a:lnTo>
                  <a:pt x="6521861" y="1713122"/>
                </a:lnTo>
                <a:lnTo>
                  <a:pt x="6538793" y="1751221"/>
                </a:lnTo>
                <a:lnTo>
                  <a:pt x="6553236" y="1792122"/>
                </a:lnTo>
                <a:lnTo>
                  <a:pt x="6565323" y="1835748"/>
                </a:lnTo>
                <a:lnTo>
                  <a:pt x="6575186" y="1882015"/>
                </a:lnTo>
                <a:lnTo>
                  <a:pt x="6582958" y="1930843"/>
                </a:lnTo>
                <a:lnTo>
                  <a:pt x="6588772" y="1982149"/>
                </a:lnTo>
                <a:lnTo>
                  <a:pt x="6592760" y="2035854"/>
                </a:lnTo>
                <a:lnTo>
                  <a:pt x="6595056" y="2091874"/>
                </a:lnTo>
                <a:lnTo>
                  <a:pt x="6595792" y="2150130"/>
                </a:lnTo>
                <a:lnTo>
                  <a:pt x="6595092" y="2208635"/>
                </a:lnTo>
                <a:lnTo>
                  <a:pt x="6592895" y="2264905"/>
                </a:lnTo>
                <a:lnTo>
                  <a:pt x="6589059" y="2318855"/>
                </a:lnTo>
                <a:lnTo>
                  <a:pt x="6583438" y="2370405"/>
                </a:lnTo>
                <a:lnTo>
                  <a:pt x="6575890" y="2419470"/>
                </a:lnTo>
                <a:lnTo>
                  <a:pt x="6566269" y="2465969"/>
                </a:lnTo>
                <a:lnTo>
                  <a:pt x="6554432" y="2509818"/>
                </a:lnTo>
                <a:lnTo>
                  <a:pt x="6540235" y="2550936"/>
                </a:lnTo>
                <a:lnTo>
                  <a:pt x="6523535" y="2589239"/>
                </a:lnTo>
                <a:lnTo>
                  <a:pt x="6504186" y="2624645"/>
                </a:lnTo>
                <a:lnTo>
                  <a:pt x="6482045" y="2657071"/>
                </a:lnTo>
                <a:lnTo>
                  <a:pt x="6456968" y="2686434"/>
                </a:lnTo>
                <a:lnTo>
                  <a:pt x="6428811" y="2712653"/>
                </a:lnTo>
                <a:lnTo>
                  <a:pt x="6397430" y="2735643"/>
                </a:lnTo>
                <a:lnTo>
                  <a:pt x="6362682" y="2755324"/>
                </a:lnTo>
                <a:lnTo>
                  <a:pt x="6324421" y="2771611"/>
                </a:lnTo>
                <a:lnTo>
                  <a:pt x="6282504" y="2784423"/>
                </a:lnTo>
                <a:lnTo>
                  <a:pt x="6236788" y="2793677"/>
                </a:lnTo>
                <a:lnTo>
                  <a:pt x="6187128" y="2799290"/>
                </a:lnTo>
                <a:lnTo>
                  <a:pt x="6133380" y="2801179"/>
                </a:lnTo>
                <a:lnTo>
                  <a:pt x="6133380" y="2704356"/>
                </a:lnTo>
                <a:lnTo>
                  <a:pt x="6183065" y="2702123"/>
                </a:lnTo>
                <a:lnTo>
                  <a:pt x="6227986" y="2695502"/>
                </a:lnTo>
                <a:lnTo>
                  <a:pt x="6268368" y="2684613"/>
                </a:lnTo>
                <a:lnTo>
                  <a:pt x="6304439" y="2669573"/>
                </a:lnTo>
                <a:lnTo>
                  <a:pt x="6364550" y="2627513"/>
                </a:lnTo>
                <a:lnTo>
                  <a:pt x="6410130" y="2570269"/>
                </a:lnTo>
                <a:lnTo>
                  <a:pt x="6428035" y="2536249"/>
                </a:lnTo>
                <a:lnTo>
                  <a:pt x="6442987" y="2498787"/>
                </a:lnTo>
                <a:lnTo>
                  <a:pt x="6455211" y="2458002"/>
                </a:lnTo>
                <a:lnTo>
                  <a:pt x="6464934" y="2414012"/>
                </a:lnTo>
                <a:lnTo>
                  <a:pt x="6472381" y="2366936"/>
                </a:lnTo>
                <a:lnTo>
                  <a:pt x="6477780" y="2316891"/>
                </a:lnTo>
                <a:lnTo>
                  <a:pt x="6481356" y="2263996"/>
                </a:lnTo>
                <a:lnTo>
                  <a:pt x="6483335" y="2208370"/>
                </a:lnTo>
                <a:lnTo>
                  <a:pt x="6483945" y="2150130"/>
                </a:lnTo>
                <a:lnTo>
                  <a:pt x="6483303" y="2092461"/>
                </a:lnTo>
                <a:lnTo>
                  <a:pt x="6481233" y="2037371"/>
                </a:lnTo>
                <a:lnTo>
                  <a:pt x="6477523" y="1984979"/>
                </a:lnTo>
                <a:lnTo>
                  <a:pt x="6471957" y="1935402"/>
                </a:lnTo>
                <a:lnTo>
                  <a:pt x="6464322" y="1888759"/>
                </a:lnTo>
                <a:lnTo>
                  <a:pt x="6454404" y="1845167"/>
                </a:lnTo>
                <a:lnTo>
                  <a:pt x="6441988" y="1804746"/>
                </a:lnTo>
                <a:lnTo>
                  <a:pt x="6426861" y="1767614"/>
                </a:lnTo>
                <a:lnTo>
                  <a:pt x="6408808" y="1733888"/>
                </a:lnTo>
                <a:lnTo>
                  <a:pt x="6363070" y="1677129"/>
                </a:lnTo>
                <a:lnTo>
                  <a:pt x="6303061" y="1635416"/>
                </a:lnTo>
                <a:lnTo>
                  <a:pt x="6267169" y="1620497"/>
                </a:lnTo>
                <a:lnTo>
                  <a:pt x="6227068" y="1609694"/>
                </a:lnTo>
                <a:lnTo>
                  <a:pt x="6182543" y="1603125"/>
                </a:lnTo>
                <a:lnTo>
                  <a:pt x="6133380" y="1600910"/>
                </a:lnTo>
                <a:close/>
                <a:moveTo>
                  <a:pt x="6041530" y="1502419"/>
                </a:moveTo>
                <a:lnTo>
                  <a:pt x="6041530" y="1600910"/>
                </a:lnTo>
                <a:lnTo>
                  <a:pt x="5992644" y="1603125"/>
                </a:lnTo>
                <a:lnTo>
                  <a:pt x="5948363" y="1609694"/>
                </a:lnTo>
                <a:lnTo>
                  <a:pt x="5908477" y="1620497"/>
                </a:lnTo>
                <a:lnTo>
                  <a:pt x="5872771" y="1635416"/>
                </a:lnTo>
                <a:lnTo>
                  <a:pt x="5813056" y="1677129"/>
                </a:lnTo>
                <a:lnTo>
                  <a:pt x="5767522" y="1733888"/>
                </a:lnTo>
                <a:lnTo>
                  <a:pt x="5749543" y="1767614"/>
                </a:lnTo>
                <a:lnTo>
                  <a:pt x="5734473" y="1804746"/>
                </a:lnTo>
                <a:lnTo>
                  <a:pt x="5722101" y="1845167"/>
                </a:lnTo>
                <a:lnTo>
                  <a:pt x="5712213" y="1888759"/>
                </a:lnTo>
                <a:lnTo>
                  <a:pt x="5704599" y="1935402"/>
                </a:lnTo>
                <a:lnTo>
                  <a:pt x="5699046" y="1984979"/>
                </a:lnTo>
                <a:lnTo>
                  <a:pt x="5695342" y="2037371"/>
                </a:lnTo>
                <a:lnTo>
                  <a:pt x="5693275" y="2092461"/>
                </a:lnTo>
                <a:lnTo>
                  <a:pt x="5692633" y="2150130"/>
                </a:lnTo>
                <a:lnTo>
                  <a:pt x="5693259" y="2208370"/>
                </a:lnTo>
                <a:lnTo>
                  <a:pt x="5695281" y="2263996"/>
                </a:lnTo>
                <a:lnTo>
                  <a:pt x="5698918" y="2316891"/>
                </a:lnTo>
                <a:lnTo>
                  <a:pt x="5704387" y="2366936"/>
                </a:lnTo>
                <a:lnTo>
                  <a:pt x="5711908" y="2414012"/>
                </a:lnTo>
                <a:lnTo>
                  <a:pt x="5721697" y="2458002"/>
                </a:lnTo>
                <a:lnTo>
                  <a:pt x="5733974" y="2498787"/>
                </a:lnTo>
                <a:lnTo>
                  <a:pt x="5748956" y="2536249"/>
                </a:lnTo>
                <a:lnTo>
                  <a:pt x="5766862" y="2570269"/>
                </a:lnTo>
                <a:lnTo>
                  <a:pt x="5812316" y="2627513"/>
                </a:lnTo>
                <a:lnTo>
                  <a:pt x="5872082" y="2669573"/>
                </a:lnTo>
                <a:lnTo>
                  <a:pt x="5907877" y="2684613"/>
                </a:lnTo>
                <a:lnTo>
                  <a:pt x="5947905" y="2695502"/>
                </a:lnTo>
                <a:lnTo>
                  <a:pt x="5992383" y="2702123"/>
                </a:lnTo>
                <a:lnTo>
                  <a:pt x="6041530" y="2704356"/>
                </a:lnTo>
                <a:lnTo>
                  <a:pt x="6041530" y="2801179"/>
                </a:lnTo>
                <a:lnTo>
                  <a:pt x="5988008" y="2799290"/>
                </a:lnTo>
                <a:lnTo>
                  <a:pt x="5938527" y="2793677"/>
                </a:lnTo>
                <a:lnTo>
                  <a:pt x="5892948" y="2784423"/>
                </a:lnTo>
                <a:lnTo>
                  <a:pt x="5851129" y="2771611"/>
                </a:lnTo>
                <a:lnTo>
                  <a:pt x="5812932" y="2755324"/>
                </a:lnTo>
                <a:lnTo>
                  <a:pt x="5778215" y="2735643"/>
                </a:lnTo>
                <a:lnTo>
                  <a:pt x="5746839" y="2712653"/>
                </a:lnTo>
                <a:lnTo>
                  <a:pt x="5718663" y="2686434"/>
                </a:lnTo>
                <a:lnTo>
                  <a:pt x="5693546" y="2657071"/>
                </a:lnTo>
                <a:lnTo>
                  <a:pt x="5671350" y="2624645"/>
                </a:lnTo>
                <a:lnTo>
                  <a:pt x="5651932" y="2589239"/>
                </a:lnTo>
                <a:lnTo>
                  <a:pt x="5635155" y="2550936"/>
                </a:lnTo>
                <a:lnTo>
                  <a:pt x="5620876" y="2509818"/>
                </a:lnTo>
                <a:lnTo>
                  <a:pt x="5608956" y="2465969"/>
                </a:lnTo>
                <a:lnTo>
                  <a:pt x="5599254" y="2419470"/>
                </a:lnTo>
                <a:lnTo>
                  <a:pt x="5591631" y="2370405"/>
                </a:lnTo>
                <a:lnTo>
                  <a:pt x="5585946" y="2318855"/>
                </a:lnTo>
                <a:lnTo>
                  <a:pt x="5582059" y="2264905"/>
                </a:lnTo>
                <a:lnTo>
                  <a:pt x="5579829" y="2208635"/>
                </a:lnTo>
                <a:lnTo>
                  <a:pt x="5579118" y="2150130"/>
                </a:lnTo>
                <a:lnTo>
                  <a:pt x="5579853" y="2091874"/>
                </a:lnTo>
                <a:lnTo>
                  <a:pt x="5582149" y="2035854"/>
                </a:lnTo>
                <a:lnTo>
                  <a:pt x="5586138" y="1982149"/>
                </a:lnTo>
                <a:lnTo>
                  <a:pt x="5591951" y="1930843"/>
                </a:lnTo>
                <a:lnTo>
                  <a:pt x="5599724" y="1882015"/>
                </a:lnTo>
                <a:lnTo>
                  <a:pt x="5609587" y="1835748"/>
                </a:lnTo>
                <a:lnTo>
                  <a:pt x="5621673" y="1792122"/>
                </a:lnTo>
                <a:lnTo>
                  <a:pt x="5636116" y="1751221"/>
                </a:lnTo>
                <a:lnTo>
                  <a:pt x="5653048" y="1713122"/>
                </a:lnTo>
                <a:lnTo>
                  <a:pt x="5672601" y="1677910"/>
                </a:lnTo>
                <a:lnTo>
                  <a:pt x="5694909" y="1645665"/>
                </a:lnTo>
                <a:lnTo>
                  <a:pt x="5720105" y="1616469"/>
                </a:lnTo>
                <a:lnTo>
                  <a:pt x="5748320" y="1590403"/>
                </a:lnTo>
                <a:lnTo>
                  <a:pt x="5779687" y="1567548"/>
                </a:lnTo>
                <a:lnTo>
                  <a:pt x="5814340" y="1547987"/>
                </a:lnTo>
                <a:lnTo>
                  <a:pt x="5852411" y="1531799"/>
                </a:lnTo>
                <a:lnTo>
                  <a:pt x="5894033" y="1519068"/>
                </a:lnTo>
                <a:lnTo>
                  <a:pt x="5939338" y="1509872"/>
                </a:lnTo>
                <a:lnTo>
                  <a:pt x="5988459" y="1504296"/>
                </a:lnTo>
                <a:close/>
                <a:moveTo>
                  <a:pt x="4160590" y="1021648"/>
                </a:moveTo>
                <a:lnTo>
                  <a:pt x="4367589" y="1021648"/>
                </a:lnTo>
                <a:lnTo>
                  <a:pt x="4367589" y="1195261"/>
                </a:lnTo>
                <a:lnTo>
                  <a:pt x="4160590" y="1195261"/>
                </a:lnTo>
                <a:close/>
                <a:moveTo>
                  <a:pt x="5799344" y="871408"/>
                </a:moveTo>
                <a:lnTo>
                  <a:pt x="6704136" y="871408"/>
                </a:lnTo>
                <a:lnTo>
                  <a:pt x="6704136" y="978246"/>
                </a:lnTo>
                <a:lnTo>
                  <a:pt x="5799344" y="978246"/>
                </a:lnTo>
                <a:close/>
                <a:moveTo>
                  <a:pt x="5799344" y="522512"/>
                </a:moveTo>
                <a:lnTo>
                  <a:pt x="6704136" y="522512"/>
                </a:lnTo>
                <a:lnTo>
                  <a:pt x="6704136" y="629350"/>
                </a:lnTo>
                <a:lnTo>
                  <a:pt x="5799344" y="629350"/>
                </a:lnTo>
                <a:close/>
                <a:moveTo>
                  <a:pt x="7774691" y="6383"/>
                </a:moveTo>
                <a:lnTo>
                  <a:pt x="8148629" y="6383"/>
                </a:lnTo>
                <a:lnTo>
                  <a:pt x="8148629" y="101632"/>
                </a:lnTo>
                <a:lnTo>
                  <a:pt x="7889880" y="101632"/>
                </a:lnTo>
                <a:lnTo>
                  <a:pt x="7889880" y="1200182"/>
                </a:lnTo>
                <a:lnTo>
                  <a:pt x="8148629" y="1200182"/>
                </a:lnTo>
                <a:lnTo>
                  <a:pt x="8148629" y="1295432"/>
                </a:lnTo>
                <a:lnTo>
                  <a:pt x="7774691" y="1295432"/>
                </a:lnTo>
                <a:lnTo>
                  <a:pt x="7774691" y="1200182"/>
                </a:lnTo>
                <a:lnTo>
                  <a:pt x="7774691" y="101632"/>
                </a:lnTo>
                <a:close/>
                <a:moveTo>
                  <a:pt x="8243417" y="0"/>
                </a:moveTo>
                <a:lnTo>
                  <a:pt x="8296487" y="1877"/>
                </a:lnTo>
                <a:lnTo>
                  <a:pt x="8345608" y="7454"/>
                </a:lnTo>
                <a:lnTo>
                  <a:pt x="8390913" y="16649"/>
                </a:lnTo>
                <a:lnTo>
                  <a:pt x="8432534" y="29381"/>
                </a:lnTo>
                <a:lnTo>
                  <a:pt x="8470605" y="45569"/>
                </a:lnTo>
                <a:lnTo>
                  <a:pt x="8505258" y="65130"/>
                </a:lnTo>
                <a:lnTo>
                  <a:pt x="8536626" y="87984"/>
                </a:lnTo>
                <a:lnTo>
                  <a:pt x="8564841" y="114050"/>
                </a:lnTo>
                <a:lnTo>
                  <a:pt x="8590036" y="143246"/>
                </a:lnTo>
                <a:lnTo>
                  <a:pt x="8612344" y="175491"/>
                </a:lnTo>
                <a:lnTo>
                  <a:pt x="8631898" y="210703"/>
                </a:lnTo>
                <a:lnTo>
                  <a:pt x="8648830" y="248801"/>
                </a:lnTo>
                <a:lnTo>
                  <a:pt x="8663273" y="289703"/>
                </a:lnTo>
                <a:lnTo>
                  <a:pt x="8675359" y="333329"/>
                </a:lnTo>
                <a:lnTo>
                  <a:pt x="8685222" y="379596"/>
                </a:lnTo>
                <a:lnTo>
                  <a:pt x="8692995" y="428424"/>
                </a:lnTo>
                <a:lnTo>
                  <a:pt x="8698808" y="479730"/>
                </a:lnTo>
                <a:lnTo>
                  <a:pt x="8702797" y="533435"/>
                </a:lnTo>
                <a:lnTo>
                  <a:pt x="8705093" y="589455"/>
                </a:lnTo>
                <a:lnTo>
                  <a:pt x="8705829" y="647711"/>
                </a:lnTo>
                <a:lnTo>
                  <a:pt x="8705129" y="706216"/>
                </a:lnTo>
                <a:lnTo>
                  <a:pt x="8702932" y="762486"/>
                </a:lnTo>
                <a:lnTo>
                  <a:pt x="8699096" y="816436"/>
                </a:lnTo>
                <a:lnTo>
                  <a:pt x="8693475" y="867986"/>
                </a:lnTo>
                <a:lnTo>
                  <a:pt x="8685927" y="917051"/>
                </a:lnTo>
                <a:lnTo>
                  <a:pt x="8676306" y="963550"/>
                </a:lnTo>
                <a:lnTo>
                  <a:pt x="8664469" y="1007399"/>
                </a:lnTo>
                <a:lnTo>
                  <a:pt x="8650272" y="1048517"/>
                </a:lnTo>
                <a:lnTo>
                  <a:pt x="8633571" y="1086820"/>
                </a:lnTo>
                <a:lnTo>
                  <a:pt x="8614222" y="1122226"/>
                </a:lnTo>
                <a:lnTo>
                  <a:pt x="8592081" y="1154652"/>
                </a:lnTo>
                <a:lnTo>
                  <a:pt x="8567005" y="1184015"/>
                </a:lnTo>
                <a:lnTo>
                  <a:pt x="8538848" y="1210234"/>
                </a:lnTo>
                <a:lnTo>
                  <a:pt x="8507467" y="1233224"/>
                </a:lnTo>
                <a:lnTo>
                  <a:pt x="8472718" y="1252905"/>
                </a:lnTo>
                <a:lnTo>
                  <a:pt x="8434458" y="1269193"/>
                </a:lnTo>
                <a:lnTo>
                  <a:pt x="8392541" y="1282004"/>
                </a:lnTo>
                <a:lnTo>
                  <a:pt x="8346825" y="1291258"/>
                </a:lnTo>
                <a:lnTo>
                  <a:pt x="8297165" y="1296871"/>
                </a:lnTo>
                <a:lnTo>
                  <a:pt x="8243417" y="1298760"/>
                </a:lnTo>
                <a:lnTo>
                  <a:pt x="8243417" y="1201938"/>
                </a:lnTo>
                <a:lnTo>
                  <a:pt x="8293102" y="1199705"/>
                </a:lnTo>
                <a:lnTo>
                  <a:pt x="8338022" y="1193084"/>
                </a:lnTo>
                <a:lnTo>
                  <a:pt x="8378405" y="1182195"/>
                </a:lnTo>
                <a:lnTo>
                  <a:pt x="8414476" y="1167155"/>
                </a:lnTo>
                <a:lnTo>
                  <a:pt x="8474587" y="1125095"/>
                </a:lnTo>
                <a:lnTo>
                  <a:pt x="8520166" y="1067851"/>
                </a:lnTo>
                <a:lnTo>
                  <a:pt x="8538072" y="1033830"/>
                </a:lnTo>
                <a:lnTo>
                  <a:pt x="8553024" y="996369"/>
                </a:lnTo>
                <a:lnTo>
                  <a:pt x="8565248" y="955584"/>
                </a:lnTo>
                <a:lnTo>
                  <a:pt x="8574971" y="911594"/>
                </a:lnTo>
                <a:lnTo>
                  <a:pt x="8582418" y="864517"/>
                </a:lnTo>
                <a:lnTo>
                  <a:pt x="8587817" y="814473"/>
                </a:lnTo>
                <a:lnTo>
                  <a:pt x="8591393" y="761578"/>
                </a:lnTo>
                <a:lnTo>
                  <a:pt x="8593372" y="705951"/>
                </a:lnTo>
                <a:lnTo>
                  <a:pt x="8593982" y="647711"/>
                </a:lnTo>
                <a:lnTo>
                  <a:pt x="8593340" y="590042"/>
                </a:lnTo>
                <a:lnTo>
                  <a:pt x="8591270" y="534953"/>
                </a:lnTo>
                <a:lnTo>
                  <a:pt x="8587560" y="482561"/>
                </a:lnTo>
                <a:lnTo>
                  <a:pt x="8581994" y="432984"/>
                </a:lnTo>
                <a:lnTo>
                  <a:pt x="8574359" y="386340"/>
                </a:lnTo>
                <a:lnTo>
                  <a:pt x="8564441" y="342749"/>
                </a:lnTo>
                <a:lnTo>
                  <a:pt x="8552025" y="302328"/>
                </a:lnTo>
                <a:lnTo>
                  <a:pt x="8536898" y="265196"/>
                </a:lnTo>
                <a:lnTo>
                  <a:pt x="8518845" y="231470"/>
                </a:lnTo>
                <a:lnTo>
                  <a:pt x="8473107" y="174711"/>
                </a:lnTo>
                <a:lnTo>
                  <a:pt x="8413098" y="132998"/>
                </a:lnTo>
                <a:lnTo>
                  <a:pt x="8377206" y="118079"/>
                </a:lnTo>
                <a:lnTo>
                  <a:pt x="8337105" y="107277"/>
                </a:lnTo>
                <a:lnTo>
                  <a:pt x="8292580" y="100708"/>
                </a:lnTo>
                <a:lnTo>
                  <a:pt x="8243417" y="98492"/>
                </a:lnTo>
                <a:close/>
                <a:moveTo>
                  <a:pt x="3109502" y="0"/>
                </a:moveTo>
                <a:lnTo>
                  <a:pt x="3162572" y="1876"/>
                </a:lnTo>
                <a:lnTo>
                  <a:pt x="3211694" y="7453"/>
                </a:lnTo>
                <a:lnTo>
                  <a:pt x="3256998" y="16648"/>
                </a:lnTo>
                <a:lnTo>
                  <a:pt x="3298621" y="29380"/>
                </a:lnTo>
                <a:lnTo>
                  <a:pt x="3336692" y="45568"/>
                </a:lnTo>
                <a:lnTo>
                  <a:pt x="3371345" y="65129"/>
                </a:lnTo>
                <a:lnTo>
                  <a:pt x="3402713" y="87984"/>
                </a:lnTo>
                <a:lnTo>
                  <a:pt x="3430928" y="114050"/>
                </a:lnTo>
                <a:lnTo>
                  <a:pt x="3456123" y="143246"/>
                </a:lnTo>
                <a:lnTo>
                  <a:pt x="3478431" y="175491"/>
                </a:lnTo>
                <a:lnTo>
                  <a:pt x="3497985" y="210703"/>
                </a:lnTo>
                <a:lnTo>
                  <a:pt x="3514917" y="248801"/>
                </a:lnTo>
                <a:lnTo>
                  <a:pt x="3529360" y="289703"/>
                </a:lnTo>
                <a:lnTo>
                  <a:pt x="3541446" y="333329"/>
                </a:lnTo>
                <a:lnTo>
                  <a:pt x="3551309" y="379596"/>
                </a:lnTo>
                <a:lnTo>
                  <a:pt x="3559082" y="428424"/>
                </a:lnTo>
                <a:lnTo>
                  <a:pt x="3564896" y="479730"/>
                </a:lnTo>
                <a:lnTo>
                  <a:pt x="3568884" y="533435"/>
                </a:lnTo>
                <a:lnTo>
                  <a:pt x="3571180" y="589455"/>
                </a:lnTo>
                <a:lnTo>
                  <a:pt x="3571916" y="647711"/>
                </a:lnTo>
                <a:lnTo>
                  <a:pt x="3571216" y="706216"/>
                </a:lnTo>
                <a:lnTo>
                  <a:pt x="3569019" y="762486"/>
                </a:lnTo>
                <a:lnTo>
                  <a:pt x="3565183" y="816436"/>
                </a:lnTo>
                <a:lnTo>
                  <a:pt x="3559562" y="867986"/>
                </a:lnTo>
                <a:lnTo>
                  <a:pt x="3552014" y="917051"/>
                </a:lnTo>
                <a:lnTo>
                  <a:pt x="3542393" y="963550"/>
                </a:lnTo>
                <a:lnTo>
                  <a:pt x="3530556" y="1007399"/>
                </a:lnTo>
                <a:lnTo>
                  <a:pt x="3516359" y="1048517"/>
                </a:lnTo>
                <a:lnTo>
                  <a:pt x="3499658" y="1086820"/>
                </a:lnTo>
                <a:lnTo>
                  <a:pt x="3480309" y="1122226"/>
                </a:lnTo>
                <a:lnTo>
                  <a:pt x="3458168" y="1154652"/>
                </a:lnTo>
                <a:lnTo>
                  <a:pt x="3433091" y="1184015"/>
                </a:lnTo>
                <a:lnTo>
                  <a:pt x="3404934" y="1210234"/>
                </a:lnTo>
                <a:lnTo>
                  <a:pt x="3373554" y="1233224"/>
                </a:lnTo>
                <a:lnTo>
                  <a:pt x="3338805" y="1252905"/>
                </a:lnTo>
                <a:lnTo>
                  <a:pt x="3300544" y="1269192"/>
                </a:lnTo>
                <a:lnTo>
                  <a:pt x="3258627" y="1282004"/>
                </a:lnTo>
                <a:lnTo>
                  <a:pt x="3212910" y="1291258"/>
                </a:lnTo>
                <a:lnTo>
                  <a:pt x="3163250" y="1296871"/>
                </a:lnTo>
                <a:lnTo>
                  <a:pt x="3109502" y="1298760"/>
                </a:lnTo>
                <a:lnTo>
                  <a:pt x="3109502" y="1201938"/>
                </a:lnTo>
                <a:lnTo>
                  <a:pt x="3159187" y="1199705"/>
                </a:lnTo>
                <a:lnTo>
                  <a:pt x="3204108" y="1193084"/>
                </a:lnTo>
                <a:lnTo>
                  <a:pt x="3244491" y="1182195"/>
                </a:lnTo>
                <a:lnTo>
                  <a:pt x="3280562" y="1167155"/>
                </a:lnTo>
                <a:lnTo>
                  <a:pt x="3340673" y="1125095"/>
                </a:lnTo>
                <a:lnTo>
                  <a:pt x="3386253" y="1067851"/>
                </a:lnTo>
                <a:lnTo>
                  <a:pt x="3404158" y="1033830"/>
                </a:lnTo>
                <a:lnTo>
                  <a:pt x="3419110" y="996369"/>
                </a:lnTo>
                <a:lnTo>
                  <a:pt x="3431334" y="955584"/>
                </a:lnTo>
                <a:lnTo>
                  <a:pt x="3441057" y="911594"/>
                </a:lnTo>
                <a:lnTo>
                  <a:pt x="3448504" y="864517"/>
                </a:lnTo>
                <a:lnTo>
                  <a:pt x="3453903" y="814473"/>
                </a:lnTo>
                <a:lnTo>
                  <a:pt x="3457479" y="761578"/>
                </a:lnTo>
                <a:lnTo>
                  <a:pt x="3459458" y="705951"/>
                </a:lnTo>
                <a:lnTo>
                  <a:pt x="3460068" y="647711"/>
                </a:lnTo>
                <a:lnTo>
                  <a:pt x="3459426" y="590042"/>
                </a:lnTo>
                <a:lnTo>
                  <a:pt x="3457356" y="534953"/>
                </a:lnTo>
                <a:lnTo>
                  <a:pt x="3453646" y="482560"/>
                </a:lnTo>
                <a:lnTo>
                  <a:pt x="3448080" y="432984"/>
                </a:lnTo>
                <a:lnTo>
                  <a:pt x="3440445" y="386340"/>
                </a:lnTo>
                <a:lnTo>
                  <a:pt x="3430527" y="342749"/>
                </a:lnTo>
                <a:lnTo>
                  <a:pt x="3418111" y="302328"/>
                </a:lnTo>
                <a:lnTo>
                  <a:pt x="3402984" y="265196"/>
                </a:lnTo>
                <a:lnTo>
                  <a:pt x="3384931" y="231470"/>
                </a:lnTo>
                <a:lnTo>
                  <a:pt x="3339193" y="174711"/>
                </a:lnTo>
                <a:lnTo>
                  <a:pt x="3279183" y="132998"/>
                </a:lnTo>
                <a:lnTo>
                  <a:pt x="3243291" y="118079"/>
                </a:lnTo>
                <a:lnTo>
                  <a:pt x="3203191" y="107276"/>
                </a:lnTo>
                <a:lnTo>
                  <a:pt x="3158665" y="100708"/>
                </a:lnTo>
                <a:lnTo>
                  <a:pt x="3109502" y="98492"/>
                </a:lnTo>
                <a:close/>
                <a:moveTo>
                  <a:pt x="3017637" y="0"/>
                </a:moveTo>
                <a:lnTo>
                  <a:pt x="3017637" y="98492"/>
                </a:lnTo>
                <a:lnTo>
                  <a:pt x="2968752" y="100708"/>
                </a:lnTo>
                <a:lnTo>
                  <a:pt x="2924471" y="107277"/>
                </a:lnTo>
                <a:lnTo>
                  <a:pt x="2884585" y="118079"/>
                </a:lnTo>
                <a:lnTo>
                  <a:pt x="2848878" y="132998"/>
                </a:lnTo>
                <a:lnTo>
                  <a:pt x="2789164" y="174711"/>
                </a:lnTo>
                <a:lnTo>
                  <a:pt x="2743630" y="231470"/>
                </a:lnTo>
                <a:lnTo>
                  <a:pt x="2725650" y="265196"/>
                </a:lnTo>
                <a:lnTo>
                  <a:pt x="2710579" y="302328"/>
                </a:lnTo>
                <a:lnTo>
                  <a:pt x="2698207" y="342749"/>
                </a:lnTo>
                <a:lnTo>
                  <a:pt x="2688320" y="386340"/>
                </a:lnTo>
                <a:lnTo>
                  <a:pt x="2680706" y="432984"/>
                </a:lnTo>
                <a:lnTo>
                  <a:pt x="2675153" y="482561"/>
                </a:lnTo>
                <a:lnTo>
                  <a:pt x="2671448" y="534953"/>
                </a:lnTo>
                <a:lnTo>
                  <a:pt x="2669382" y="590042"/>
                </a:lnTo>
                <a:lnTo>
                  <a:pt x="2668740" y="647711"/>
                </a:lnTo>
                <a:lnTo>
                  <a:pt x="2669365" y="705951"/>
                </a:lnTo>
                <a:lnTo>
                  <a:pt x="2671388" y="761578"/>
                </a:lnTo>
                <a:lnTo>
                  <a:pt x="2675025" y="814473"/>
                </a:lnTo>
                <a:lnTo>
                  <a:pt x="2680494" y="864517"/>
                </a:lnTo>
                <a:lnTo>
                  <a:pt x="2688015" y="911594"/>
                </a:lnTo>
                <a:lnTo>
                  <a:pt x="2697803" y="955584"/>
                </a:lnTo>
                <a:lnTo>
                  <a:pt x="2710081" y="996369"/>
                </a:lnTo>
                <a:lnTo>
                  <a:pt x="2725063" y="1033830"/>
                </a:lnTo>
                <a:lnTo>
                  <a:pt x="2742969" y="1067851"/>
                </a:lnTo>
                <a:lnTo>
                  <a:pt x="2788423" y="1125095"/>
                </a:lnTo>
                <a:lnTo>
                  <a:pt x="2848189" y="1167155"/>
                </a:lnTo>
                <a:lnTo>
                  <a:pt x="2883984" y="1182195"/>
                </a:lnTo>
                <a:lnTo>
                  <a:pt x="2924012" y="1193084"/>
                </a:lnTo>
                <a:lnTo>
                  <a:pt x="2968491" y="1199705"/>
                </a:lnTo>
                <a:lnTo>
                  <a:pt x="3017637" y="1201938"/>
                </a:lnTo>
                <a:lnTo>
                  <a:pt x="3017637" y="1298760"/>
                </a:lnTo>
                <a:lnTo>
                  <a:pt x="2964115" y="1296871"/>
                </a:lnTo>
                <a:lnTo>
                  <a:pt x="2914634" y="1291258"/>
                </a:lnTo>
                <a:lnTo>
                  <a:pt x="2869056" y="1282004"/>
                </a:lnTo>
                <a:lnTo>
                  <a:pt x="2827236" y="1269193"/>
                </a:lnTo>
                <a:lnTo>
                  <a:pt x="2789039" y="1252905"/>
                </a:lnTo>
                <a:lnTo>
                  <a:pt x="2754322" y="1233224"/>
                </a:lnTo>
                <a:lnTo>
                  <a:pt x="2722946" y="1210234"/>
                </a:lnTo>
                <a:lnTo>
                  <a:pt x="2694770" y="1184015"/>
                </a:lnTo>
                <a:lnTo>
                  <a:pt x="2669653" y="1154652"/>
                </a:lnTo>
                <a:lnTo>
                  <a:pt x="2647457" y="1122226"/>
                </a:lnTo>
                <a:lnTo>
                  <a:pt x="2628039" y="1086820"/>
                </a:lnTo>
                <a:lnTo>
                  <a:pt x="2611262" y="1048517"/>
                </a:lnTo>
                <a:lnTo>
                  <a:pt x="2596982" y="1007399"/>
                </a:lnTo>
                <a:lnTo>
                  <a:pt x="2585062" y="963550"/>
                </a:lnTo>
                <a:lnTo>
                  <a:pt x="2575361" y="917051"/>
                </a:lnTo>
                <a:lnTo>
                  <a:pt x="2567737" y="867986"/>
                </a:lnTo>
                <a:lnTo>
                  <a:pt x="2562052" y="816436"/>
                </a:lnTo>
                <a:lnTo>
                  <a:pt x="2558166" y="762486"/>
                </a:lnTo>
                <a:lnTo>
                  <a:pt x="2555936" y="706216"/>
                </a:lnTo>
                <a:lnTo>
                  <a:pt x="2555225" y="647711"/>
                </a:lnTo>
                <a:lnTo>
                  <a:pt x="2555961" y="589455"/>
                </a:lnTo>
                <a:lnTo>
                  <a:pt x="2558256" y="533435"/>
                </a:lnTo>
                <a:lnTo>
                  <a:pt x="2562245" y="479730"/>
                </a:lnTo>
                <a:lnTo>
                  <a:pt x="2568057" y="428424"/>
                </a:lnTo>
                <a:lnTo>
                  <a:pt x="2575830" y="379596"/>
                </a:lnTo>
                <a:lnTo>
                  <a:pt x="2585694" y="333329"/>
                </a:lnTo>
                <a:lnTo>
                  <a:pt x="2597780" y="289703"/>
                </a:lnTo>
                <a:lnTo>
                  <a:pt x="2612222" y="248801"/>
                </a:lnTo>
                <a:lnTo>
                  <a:pt x="2629156" y="210703"/>
                </a:lnTo>
                <a:lnTo>
                  <a:pt x="2648708" y="175491"/>
                </a:lnTo>
                <a:lnTo>
                  <a:pt x="2671016" y="143246"/>
                </a:lnTo>
                <a:lnTo>
                  <a:pt x="2696212" y="114050"/>
                </a:lnTo>
                <a:lnTo>
                  <a:pt x="2724427" y="87984"/>
                </a:lnTo>
                <a:lnTo>
                  <a:pt x="2755794" y="65130"/>
                </a:lnTo>
                <a:lnTo>
                  <a:pt x="2790448" y="45569"/>
                </a:lnTo>
                <a:lnTo>
                  <a:pt x="2828518" y="29382"/>
                </a:lnTo>
                <a:lnTo>
                  <a:pt x="2870141" y="16649"/>
                </a:lnTo>
                <a:lnTo>
                  <a:pt x="2915445" y="7455"/>
                </a:lnTo>
                <a:lnTo>
                  <a:pt x="2964567" y="1877"/>
                </a:lnTo>
                <a:close/>
              </a:path>
            </a:pathLst>
          </a:custGeom>
          <a:solidFill>
            <a:srgbClr val="88C66D"/>
          </a:solidFill>
        </p:spPr>
        <p:txBody>
          <a:bodyPr wrap="square" lIns="0" tIns="0" rIns="0" bIns="0" rtlCol="0">
            <a:noAutofit/>
          </a:bodyPr>
          <a:lstStyle/>
          <a:p>
            <a:endParaRPr lang="da-DK" sz="1350" dirty="0"/>
          </a:p>
        </p:txBody>
      </p:sp>
    </p:spTree>
    <p:extLst>
      <p:ext uri="{BB962C8B-B14F-4D97-AF65-F5344CB8AC3E}">
        <p14:creationId xmlns:p14="http://schemas.microsoft.com/office/powerpoint/2010/main" val="270407524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reaker E">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accent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dirty="0"/>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accent1"/>
                </a:solidFill>
              </a:defRPr>
            </a:lvl1pPr>
          </a:lstStyle>
          <a:p>
            <a:r>
              <a:rPr lang="da-DK" dirty="0"/>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accent1"/>
                </a:solidFill>
              </a:defRPr>
            </a:lvl1pPr>
          </a:lstStyle>
          <a:p>
            <a:fld id="{87C710D9-C93F-423E-B535-622B5249ACB1}" type="datetime2">
              <a:rPr lang="da-DK" smtClean="0"/>
              <a:pPr/>
              <a:t>11. december 2025</a:t>
            </a:fld>
            <a:endParaRPr lang="da-DK" dirty="0"/>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accent1"/>
                </a:solidFill>
              </a:defRPr>
            </a:lvl1pPr>
          </a:lstStyle>
          <a:p>
            <a:r>
              <a:rPr lang="da-DK" dirty="0"/>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accent1"/>
                </a:solidFill>
              </a:defRPr>
            </a:lvl1pPr>
          </a:lstStyle>
          <a:p>
            <a:fld id="{24C8C45C-947F-4981-8B3F-4F32E973C901}" type="slidenum">
              <a:rPr lang="da-DK" smtClean="0"/>
              <a:pPr/>
              <a:t>‹nr.›</a:t>
            </a:fld>
            <a:endParaRPr lang="da-DK" dirty="0"/>
          </a:p>
        </p:txBody>
      </p:sp>
      <p:sp>
        <p:nvSpPr>
          <p:cNvPr id="29" name="Mikro grafik 1">
            <a:extLst>
              <a:ext uri="{FF2B5EF4-FFF2-40B4-BE49-F238E27FC236}">
                <a16:creationId xmlns:a16="http://schemas.microsoft.com/office/drawing/2014/main" id="{64436394-C531-6AC2-FF2F-12CAAB37CDDC}"/>
              </a:ext>
            </a:extLst>
          </p:cNvPr>
          <p:cNvSpPr/>
          <p:nvPr/>
        </p:nvSpPr>
        <p:spPr>
          <a:xfrm>
            <a:off x="367396" y="1045688"/>
            <a:ext cx="3833093" cy="3051877"/>
          </a:xfrm>
          <a:custGeom>
            <a:avLst/>
            <a:gdLst>
              <a:gd name="connsiteX0" fmla="*/ 1358848 w 5110790"/>
              <a:gd name="connsiteY0" fmla="*/ 3644032 h 4069169"/>
              <a:gd name="connsiteX1" fmla="*/ 1439827 w 5110790"/>
              <a:gd name="connsiteY1" fmla="*/ 3644032 h 4069169"/>
              <a:gd name="connsiteX2" fmla="*/ 1554208 w 5110790"/>
              <a:gd name="connsiteY2" fmla="*/ 3853564 h 4069169"/>
              <a:gd name="connsiteX3" fmla="*/ 1437802 w 5110790"/>
              <a:gd name="connsiteY3" fmla="*/ 4069169 h 4069169"/>
              <a:gd name="connsiteX4" fmla="*/ 1358848 w 5110790"/>
              <a:gd name="connsiteY4" fmla="*/ 4069169 h 4069169"/>
              <a:gd name="connsiteX5" fmla="*/ 1458046 w 5110790"/>
              <a:gd name="connsiteY5" fmla="*/ 3883931 h 4069169"/>
              <a:gd name="connsiteX6" fmla="*/ 1068338 w 5110790"/>
              <a:gd name="connsiteY6" fmla="*/ 3883931 h 4069169"/>
              <a:gd name="connsiteX7" fmla="*/ 1068338 w 5110790"/>
              <a:gd name="connsiteY7" fmla="*/ 3819148 h 4069169"/>
              <a:gd name="connsiteX8" fmla="*/ 1456022 w 5110790"/>
              <a:gd name="connsiteY8" fmla="*/ 3819148 h 4069169"/>
              <a:gd name="connsiteX9" fmla="*/ 3579243 w 5110790"/>
              <a:gd name="connsiteY9" fmla="*/ 3101476 h 4069169"/>
              <a:gd name="connsiteX10" fmla="*/ 3604850 w 5110790"/>
              <a:gd name="connsiteY10" fmla="*/ 3103707 h 4069169"/>
              <a:gd name="connsiteX11" fmla="*/ 3624668 w 5110790"/>
              <a:gd name="connsiteY11" fmla="*/ 3111725 h 4069169"/>
              <a:gd name="connsiteX12" fmla="*/ 3637463 w 5110790"/>
              <a:gd name="connsiteY12" fmla="*/ 3127526 h 4069169"/>
              <a:gd name="connsiteX13" fmla="*/ 3642002 w 5110790"/>
              <a:gd name="connsiteY13" fmla="*/ 3153100 h 4069169"/>
              <a:gd name="connsiteX14" fmla="*/ 3637463 w 5110790"/>
              <a:gd name="connsiteY14" fmla="*/ 3179845 h 4069169"/>
              <a:gd name="connsiteX15" fmla="*/ 3624668 w 5110790"/>
              <a:gd name="connsiteY15" fmla="*/ 3196247 h 4069169"/>
              <a:gd name="connsiteX16" fmla="*/ 3604850 w 5110790"/>
              <a:gd name="connsiteY16" fmla="*/ 3204487 h 4069169"/>
              <a:gd name="connsiteX17" fmla="*/ 3579243 w 5110790"/>
              <a:gd name="connsiteY17" fmla="*/ 3206749 h 4069169"/>
              <a:gd name="connsiteX18" fmla="*/ 3553637 w 5110790"/>
              <a:gd name="connsiteY18" fmla="*/ 3204487 h 4069169"/>
              <a:gd name="connsiteX19" fmla="*/ 3533820 w 5110790"/>
              <a:gd name="connsiteY19" fmla="*/ 3196247 h 4069169"/>
              <a:gd name="connsiteX20" fmla="*/ 3521024 w 5110790"/>
              <a:gd name="connsiteY20" fmla="*/ 3179845 h 4069169"/>
              <a:gd name="connsiteX21" fmla="*/ 3516485 w 5110790"/>
              <a:gd name="connsiteY21" fmla="*/ 3153100 h 4069169"/>
              <a:gd name="connsiteX22" fmla="*/ 3521166 w 5110790"/>
              <a:gd name="connsiteY22" fmla="*/ 3127526 h 4069169"/>
              <a:gd name="connsiteX23" fmla="*/ 3534199 w 5110790"/>
              <a:gd name="connsiteY23" fmla="*/ 3111725 h 4069169"/>
              <a:gd name="connsiteX24" fmla="*/ 3554064 w 5110790"/>
              <a:gd name="connsiteY24" fmla="*/ 3103707 h 4069169"/>
              <a:gd name="connsiteX25" fmla="*/ 1609095 w 5110790"/>
              <a:gd name="connsiteY25" fmla="*/ 3101476 h 4069169"/>
              <a:gd name="connsiteX26" fmla="*/ 1634701 w 5110790"/>
              <a:gd name="connsiteY26" fmla="*/ 3103707 h 4069169"/>
              <a:gd name="connsiteX27" fmla="*/ 1654519 w 5110790"/>
              <a:gd name="connsiteY27" fmla="*/ 3111725 h 4069169"/>
              <a:gd name="connsiteX28" fmla="*/ 1667313 w 5110790"/>
              <a:gd name="connsiteY28" fmla="*/ 3127526 h 4069169"/>
              <a:gd name="connsiteX29" fmla="*/ 1671852 w 5110790"/>
              <a:gd name="connsiteY29" fmla="*/ 3153100 h 4069169"/>
              <a:gd name="connsiteX30" fmla="*/ 1667313 w 5110790"/>
              <a:gd name="connsiteY30" fmla="*/ 3179845 h 4069169"/>
              <a:gd name="connsiteX31" fmla="*/ 1654519 w 5110790"/>
              <a:gd name="connsiteY31" fmla="*/ 3196247 h 4069169"/>
              <a:gd name="connsiteX32" fmla="*/ 1634701 w 5110790"/>
              <a:gd name="connsiteY32" fmla="*/ 3204487 h 4069169"/>
              <a:gd name="connsiteX33" fmla="*/ 1609095 w 5110790"/>
              <a:gd name="connsiteY33" fmla="*/ 3206749 h 4069169"/>
              <a:gd name="connsiteX34" fmla="*/ 1583490 w 5110790"/>
              <a:gd name="connsiteY34" fmla="*/ 3204487 h 4069169"/>
              <a:gd name="connsiteX35" fmla="*/ 1563672 w 5110790"/>
              <a:gd name="connsiteY35" fmla="*/ 3196247 h 4069169"/>
              <a:gd name="connsiteX36" fmla="*/ 1550877 w 5110790"/>
              <a:gd name="connsiteY36" fmla="*/ 3179845 h 4069169"/>
              <a:gd name="connsiteX37" fmla="*/ 1546338 w 5110790"/>
              <a:gd name="connsiteY37" fmla="*/ 3153100 h 4069169"/>
              <a:gd name="connsiteX38" fmla="*/ 1551019 w 5110790"/>
              <a:gd name="connsiteY38" fmla="*/ 3127526 h 4069169"/>
              <a:gd name="connsiteX39" fmla="*/ 1564051 w 5110790"/>
              <a:gd name="connsiteY39" fmla="*/ 3111725 h 4069169"/>
              <a:gd name="connsiteX40" fmla="*/ 1583917 w 5110790"/>
              <a:gd name="connsiteY40" fmla="*/ 3103707 h 4069169"/>
              <a:gd name="connsiteX41" fmla="*/ 3579243 w 5110790"/>
              <a:gd name="connsiteY41" fmla="*/ 2676340 h 4069169"/>
              <a:gd name="connsiteX42" fmla="*/ 3604850 w 5110790"/>
              <a:gd name="connsiteY42" fmla="*/ 2678443 h 4069169"/>
              <a:gd name="connsiteX43" fmla="*/ 3624668 w 5110790"/>
              <a:gd name="connsiteY43" fmla="*/ 2686335 h 4069169"/>
              <a:gd name="connsiteX44" fmla="*/ 3637463 w 5110790"/>
              <a:gd name="connsiteY44" fmla="*/ 2702388 h 4069169"/>
              <a:gd name="connsiteX45" fmla="*/ 3642002 w 5110790"/>
              <a:gd name="connsiteY45" fmla="*/ 2728976 h 4069169"/>
              <a:gd name="connsiteX46" fmla="*/ 3637463 w 5110790"/>
              <a:gd name="connsiteY46" fmla="*/ 2754708 h 4069169"/>
              <a:gd name="connsiteX47" fmla="*/ 3624668 w 5110790"/>
              <a:gd name="connsiteY47" fmla="*/ 2770857 h 4069169"/>
              <a:gd name="connsiteX48" fmla="*/ 3604850 w 5110790"/>
              <a:gd name="connsiteY48" fmla="*/ 2779223 h 4069169"/>
              <a:gd name="connsiteX49" fmla="*/ 3579243 w 5110790"/>
              <a:gd name="connsiteY49" fmla="*/ 2781612 h 4069169"/>
              <a:gd name="connsiteX50" fmla="*/ 3554223 w 5110790"/>
              <a:gd name="connsiteY50" fmla="*/ 2779223 h 4069169"/>
              <a:gd name="connsiteX51" fmla="*/ 3534706 w 5110790"/>
              <a:gd name="connsiteY51" fmla="*/ 2770857 h 4069169"/>
              <a:gd name="connsiteX52" fmla="*/ 3522021 w 5110790"/>
              <a:gd name="connsiteY52" fmla="*/ 2754708 h 4069169"/>
              <a:gd name="connsiteX53" fmla="*/ 3517498 w 5110790"/>
              <a:gd name="connsiteY53" fmla="*/ 2728976 h 4069169"/>
              <a:gd name="connsiteX54" fmla="*/ 3522021 w 5110790"/>
              <a:gd name="connsiteY54" fmla="*/ 2702388 h 4069169"/>
              <a:gd name="connsiteX55" fmla="*/ 3534706 w 5110790"/>
              <a:gd name="connsiteY55" fmla="*/ 2686335 h 4069169"/>
              <a:gd name="connsiteX56" fmla="*/ 3554223 w 5110790"/>
              <a:gd name="connsiteY56" fmla="*/ 2678443 h 4069169"/>
              <a:gd name="connsiteX57" fmla="*/ 1609095 w 5110790"/>
              <a:gd name="connsiteY57" fmla="*/ 2676340 h 4069169"/>
              <a:gd name="connsiteX58" fmla="*/ 1634701 w 5110790"/>
              <a:gd name="connsiteY58" fmla="*/ 2678443 h 4069169"/>
              <a:gd name="connsiteX59" fmla="*/ 1654519 w 5110790"/>
              <a:gd name="connsiteY59" fmla="*/ 2686335 h 4069169"/>
              <a:gd name="connsiteX60" fmla="*/ 1667313 w 5110790"/>
              <a:gd name="connsiteY60" fmla="*/ 2702388 h 4069169"/>
              <a:gd name="connsiteX61" fmla="*/ 1671852 w 5110790"/>
              <a:gd name="connsiteY61" fmla="*/ 2728976 h 4069169"/>
              <a:gd name="connsiteX62" fmla="*/ 1667313 w 5110790"/>
              <a:gd name="connsiteY62" fmla="*/ 2754708 h 4069169"/>
              <a:gd name="connsiteX63" fmla="*/ 1654519 w 5110790"/>
              <a:gd name="connsiteY63" fmla="*/ 2770857 h 4069169"/>
              <a:gd name="connsiteX64" fmla="*/ 1634701 w 5110790"/>
              <a:gd name="connsiteY64" fmla="*/ 2779223 h 4069169"/>
              <a:gd name="connsiteX65" fmla="*/ 1609095 w 5110790"/>
              <a:gd name="connsiteY65" fmla="*/ 2781612 h 4069169"/>
              <a:gd name="connsiteX66" fmla="*/ 1584075 w 5110790"/>
              <a:gd name="connsiteY66" fmla="*/ 2779223 h 4069169"/>
              <a:gd name="connsiteX67" fmla="*/ 1564558 w 5110790"/>
              <a:gd name="connsiteY67" fmla="*/ 2770857 h 4069169"/>
              <a:gd name="connsiteX68" fmla="*/ 1551873 w 5110790"/>
              <a:gd name="connsiteY68" fmla="*/ 2754708 h 4069169"/>
              <a:gd name="connsiteX69" fmla="*/ 1547350 w 5110790"/>
              <a:gd name="connsiteY69" fmla="*/ 2728976 h 4069169"/>
              <a:gd name="connsiteX70" fmla="*/ 1551873 w 5110790"/>
              <a:gd name="connsiteY70" fmla="*/ 2702388 h 4069169"/>
              <a:gd name="connsiteX71" fmla="*/ 1564558 w 5110790"/>
              <a:gd name="connsiteY71" fmla="*/ 2686335 h 4069169"/>
              <a:gd name="connsiteX72" fmla="*/ 1584075 w 5110790"/>
              <a:gd name="connsiteY72" fmla="*/ 2678443 h 4069169"/>
              <a:gd name="connsiteX73" fmla="*/ 2879125 w 5110790"/>
              <a:gd name="connsiteY73" fmla="*/ 2481992 h 4069169"/>
              <a:gd name="connsiteX74" fmla="*/ 2911305 w 5110790"/>
              <a:gd name="connsiteY74" fmla="*/ 2483129 h 4069169"/>
              <a:gd name="connsiteX75" fmla="*/ 2941090 w 5110790"/>
              <a:gd name="connsiteY75" fmla="*/ 2486511 h 4069169"/>
              <a:gd name="connsiteX76" fmla="*/ 2968561 w 5110790"/>
              <a:gd name="connsiteY76" fmla="*/ 2492087 h 4069169"/>
              <a:gd name="connsiteX77" fmla="*/ 2993799 w 5110790"/>
              <a:gd name="connsiteY77" fmla="*/ 2499807 h 4069169"/>
              <a:gd name="connsiteX78" fmla="*/ 3016884 w 5110790"/>
              <a:gd name="connsiteY78" fmla="*/ 2509622 h 4069169"/>
              <a:gd name="connsiteX79" fmla="*/ 3037896 w 5110790"/>
              <a:gd name="connsiteY79" fmla="*/ 2521483 h 4069169"/>
              <a:gd name="connsiteX80" fmla="*/ 3056916 w 5110790"/>
              <a:gd name="connsiteY80" fmla="*/ 2535342 h 4069169"/>
              <a:gd name="connsiteX81" fmla="*/ 3074024 w 5110790"/>
              <a:gd name="connsiteY81" fmla="*/ 2551147 h 4069169"/>
              <a:gd name="connsiteX82" fmla="*/ 3089302 w 5110790"/>
              <a:gd name="connsiteY82" fmla="*/ 2568850 h 4069169"/>
              <a:gd name="connsiteX83" fmla="*/ 3102829 w 5110790"/>
              <a:gd name="connsiteY83" fmla="*/ 2588403 h 4069169"/>
              <a:gd name="connsiteX84" fmla="*/ 3114685 w 5110790"/>
              <a:gd name="connsiteY84" fmla="*/ 2609754 h 4069169"/>
              <a:gd name="connsiteX85" fmla="*/ 3124952 w 5110790"/>
              <a:gd name="connsiteY85" fmla="*/ 2632854 h 4069169"/>
              <a:gd name="connsiteX86" fmla="*/ 3133709 w 5110790"/>
              <a:gd name="connsiteY86" fmla="*/ 2657656 h 4069169"/>
              <a:gd name="connsiteX87" fmla="*/ 3141039 w 5110790"/>
              <a:gd name="connsiteY87" fmla="*/ 2684109 h 4069169"/>
              <a:gd name="connsiteX88" fmla="*/ 3147019 w 5110790"/>
              <a:gd name="connsiteY88" fmla="*/ 2712163 h 4069169"/>
              <a:gd name="connsiteX89" fmla="*/ 3151732 w 5110790"/>
              <a:gd name="connsiteY89" fmla="*/ 2741770 h 4069169"/>
              <a:gd name="connsiteX90" fmla="*/ 3155257 w 5110790"/>
              <a:gd name="connsiteY90" fmla="*/ 2772881 h 4069169"/>
              <a:gd name="connsiteX91" fmla="*/ 3157675 w 5110790"/>
              <a:gd name="connsiteY91" fmla="*/ 2805445 h 4069169"/>
              <a:gd name="connsiteX92" fmla="*/ 3159067 w 5110790"/>
              <a:gd name="connsiteY92" fmla="*/ 2839413 h 4069169"/>
              <a:gd name="connsiteX93" fmla="*/ 3159514 w 5110790"/>
              <a:gd name="connsiteY93" fmla="*/ 2874737 h 4069169"/>
              <a:gd name="connsiteX94" fmla="*/ 3159089 w 5110790"/>
              <a:gd name="connsiteY94" fmla="*/ 2910212 h 4069169"/>
              <a:gd name="connsiteX95" fmla="*/ 3157757 w 5110790"/>
              <a:gd name="connsiteY95" fmla="*/ 2944332 h 4069169"/>
              <a:gd name="connsiteX96" fmla="*/ 3155431 w 5110790"/>
              <a:gd name="connsiteY96" fmla="*/ 2977045 h 4069169"/>
              <a:gd name="connsiteX97" fmla="*/ 3152023 w 5110790"/>
              <a:gd name="connsiteY97" fmla="*/ 3008303 h 4069169"/>
              <a:gd name="connsiteX98" fmla="*/ 3147446 w 5110790"/>
              <a:gd name="connsiteY98" fmla="*/ 3038054 h 4069169"/>
              <a:gd name="connsiteX99" fmla="*/ 3141612 w 5110790"/>
              <a:gd name="connsiteY99" fmla="*/ 3066249 h 4069169"/>
              <a:gd name="connsiteX100" fmla="*/ 3134435 w 5110790"/>
              <a:gd name="connsiteY100" fmla="*/ 3092837 h 4069169"/>
              <a:gd name="connsiteX101" fmla="*/ 3125826 w 5110790"/>
              <a:gd name="connsiteY101" fmla="*/ 3117770 h 4069169"/>
              <a:gd name="connsiteX102" fmla="*/ 3115700 w 5110790"/>
              <a:gd name="connsiteY102" fmla="*/ 3140995 h 4069169"/>
              <a:gd name="connsiteX103" fmla="*/ 3103967 w 5110790"/>
              <a:gd name="connsiteY103" fmla="*/ 3162464 h 4069169"/>
              <a:gd name="connsiteX104" fmla="*/ 3090542 w 5110790"/>
              <a:gd name="connsiteY104" fmla="*/ 3182126 h 4069169"/>
              <a:gd name="connsiteX105" fmla="*/ 3075336 w 5110790"/>
              <a:gd name="connsiteY105" fmla="*/ 3199931 h 4069169"/>
              <a:gd name="connsiteX106" fmla="*/ 3058263 w 5110790"/>
              <a:gd name="connsiteY106" fmla="*/ 3215828 h 4069169"/>
              <a:gd name="connsiteX107" fmla="*/ 3039235 w 5110790"/>
              <a:gd name="connsiteY107" fmla="*/ 3229769 h 4069169"/>
              <a:gd name="connsiteX108" fmla="*/ 3018165 w 5110790"/>
              <a:gd name="connsiteY108" fmla="*/ 3241703 h 4069169"/>
              <a:gd name="connsiteX109" fmla="*/ 2994965 w 5110790"/>
              <a:gd name="connsiteY109" fmla="*/ 3251579 h 4069169"/>
              <a:gd name="connsiteX110" fmla="*/ 2969548 w 5110790"/>
              <a:gd name="connsiteY110" fmla="*/ 3259347 h 4069169"/>
              <a:gd name="connsiteX111" fmla="*/ 2941828 w 5110790"/>
              <a:gd name="connsiteY111" fmla="*/ 3264959 h 4069169"/>
              <a:gd name="connsiteX112" fmla="*/ 2911716 w 5110790"/>
              <a:gd name="connsiteY112" fmla="*/ 3268362 h 4069169"/>
              <a:gd name="connsiteX113" fmla="*/ 2879125 w 5110790"/>
              <a:gd name="connsiteY113" fmla="*/ 3269508 h 4069169"/>
              <a:gd name="connsiteX114" fmla="*/ 2879125 w 5110790"/>
              <a:gd name="connsiteY114" fmla="*/ 3210798 h 4069169"/>
              <a:gd name="connsiteX115" fmla="*/ 2909252 w 5110790"/>
              <a:gd name="connsiteY115" fmla="*/ 3209444 h 4069169"/>
              <a:gd name="connsiteX116" fmla="*/ 2936490 w 5110790"/>
              <a:gd name="connsiteY116" fmla="*/ 3205429 h 4069169"/>
              <a:gd name="connsiteX117" fmla="*/ 2960977 w 5110790"/>
              <a:gd name="connsiteY117" fmla="*/ 3198827 h 4069169"/>
              <a:gd name="connsiteX118" fmla="*/ 2982849 w 5110790"/>
              <a:gd name="connsiteY118" fmla="*/ 3189707 h 4069169"/>
              <a:gd name="connsiteX119" fmla="*/ 3019298 w 5110790"/>
              <a:gd name="connsiteY119" fmla="*/ 3164203 h 4069169"/>
              <a:gd name="connsiteX120" fmla="*/ 3046935 w 5110790"/>
              <a:gd name="connsiteY120" fmla="*/ 3129493 h 4069169"/>
              <a:gd name="connsiteX121" fmla="*/ 3057792 w 5110790"/>
              <a:gd name="connsiteY121" fmla="*/ 3108864 h 4069169"/>
              <a:gd name="connsiteX122" fmla="*/ 3066859 w 5110790"/>
              <a:gd name="connsiteY122" fmla="*/ 3086149 h 4069169"/>
              <a:gd name="connsiteX123" fmla="*/ 3074271 w 5110790"/>
              <a:gd name="connsiteY123" fmla="*/ 3061419 h 4069169"/>
              <a:gd name="connsiteX124" fmla="*/ 3080167 w 5110790"/>
              <a:gd name="connsiteY124" fmla="*/ 3034745 h 4069169"/>
              <a:gd name="connsiteX125" fmla="*/ 3084682 w 5110790"/>
              <a:gd name="connsiteY125" fmla="*/ 3006199 h 4069169"/>
              <a:gd name="connsiteX126" fmla="*/ 3087956 w 5110790"/>
              <a:gd name="connsiteY126" fmla="*/ 2975855 h 4069169"/>
              <a:gd name="connsiteX127" fmla="*/ 3090124 w 5110790"/>
              <a:gd name="connsiteY127" fmla="*/ 2943781 h 4069169"/>
              <a:gd name="connsiteX128" fmla="*/ 3091324 w 5110790"/>
              <a:gd name="connsiteY128" fmla="*/ 2910051 h 4069169"/>
              <a:gd name="connsiteX129" fmla="*/ 3091694 w 5110790"/>
              <a:gd name="connsiteY129" fmla="*/ 2874737 h 4069169"/>
              <a:gd name="connsiteX130" fmla="*/ 3091305 w 5110790"/>
              <a:gd name="connsiteY130" fmla="*/ 2839769 h 4069169"/>
              <a:gd name="connsiteX131" fmla="*/ 3090050 w 5110790"/>
              <a:gd name="connsiteY131" fmla="*/ 2806365 h 4069169"/>
              <a:gd name="connsiteX132" fmla="*/ 3087800 w 5110790"/>
              <a:gd name="connsiteY132" fmla="*/ 2774596 h 4069169"/>
              <a:gd name="connsiteX133" fmla="*/ 3084425 w 5110790"/>
              <a:gd name="connsiteY133" fmla="*/ 2744535 h 4069169"/>
              <a:gd name="connsiteX134" fmla="*/ 3079795 w 5110790"/>
              <a:gd name="connsiteY134" fmla="*/ 2716252 h 4069169"/>
              <a:gd name="connsiteX135" fmla="*/ 3073782 w 5110790"/>
              <a:gd name="connsiteY135" fmla="*/ 2689820 h 4069169"/>
              <a:gd name="connsiteX136" fmla="*/ 3066253 w 5110790"/>
              <a:gd name="connsiteY136" fmla="*/ 2665311 h 4069169"/>
              <a:gd name="connsiteX137" fmla="*/ 3057081 w 5110790"/>
              <a:gd name="connsiteY137" fmla="*/ 2642795 h 4069169"/>
              <a:gd name="connsiteX138" fmla="*/ 3046134 w 5110790"/>
              <a:gd name="connsiteY138" fmla="*/ 2622345 h 4069169"/>
              <a:gd name="connsiteX139" fmla="*/ 3018400 w 5110790"/>
              <a:gd name="connsiteY139" fmla="*/ 2587929 h 4069169"/>
              <a:gd name="connsiteX140" fmla="*/ 2982013 w 5110790"/>
              <a:gd name="connsiteY140" fmla="*/ 2562635 h 4069169"/>
              <a:gd name="connsiteX141" fmla="*/ 2960250 w 5110790"/>
              <a:gd name="connsiteY141" fmla="*/ 2553590 h 4069169"/>
              <a:gd name="connsiteX142" fmla="*/ 2935934 w 5110790"/>
              <a:gd name="connsiteY142" fmla="*/ 2547039 h 4069169"/>
              <a:gd name="connsiteX143" fmla="*/ 2908936 w 5110790"/>
              <a:gd name="connsiteY143" fmla="*/ 2543056 h 4069169"/>
              <a:gd name="connsiteX144" fmla="*/ 2879125 w 5110790"/>
              <a:gd name="connsiteY144" fmla="*/ 2541713 h 4069169"/>
              <a:gd name="connsiteX145" fmla="*/ 2565698 w 5110790"/>
              <a:gd name="connsiteY145" fmla="*/ 2481992 h 4069169"/>
              <a:gd name="connsiteX146" fmla="*/ 2565698 w 5110790"/>
              <a:gd name="connsiteY146" fmla="*/ 2541713 h 4069169"/>
              <a:gd name="connsiteX147" fmla="*/ 2536056 w 5110790"/>
              <a:gd name="connsiteY147" fmla="*/ 2543056 h 4069169"/>
              <a:gd name="connsiteX148" fmla="*/ 2509206 w 5110790"/>
              <a:gd name="connsiteY148" fmla="*/ 2547039 h 4069169"/>
              <a:gd name="connsiteX149" fmla="*/ 2485020 w 5110790"/>
              <a:gd name="connsiteY149" fmla="*/ 2553590 h 4069169"/>
              <a:gd name="connsiteX150" fmla="*/ 2463369 w 5110790"/>
              <a:gd name="connsiteY150" fmla="*/ 2562635 h 4069169"/>
              <a:gd name="connsiteX151" fmla="*/ 2427161 w 5110790"/>
              <a:gd name="connsiteY151" fmla="*/ 2587929 h 4069169"/>
              <a:gd name="connsiteX152" fmla="*/ 2399551 w 5110790"/>
              <a:gd name="connsiteY152" fmla="*/ 2622345 h 4069169"/>
              <a:gd name="connsiteX153" fmla="*/ 2388649 w 5110790"/>
              <a:gd name="connsiteY153" fmla="*/ 2642795 h 4069169"/>
              <a:gd name="connsiteX154" fmla="*/ 2379511 w 5110790"/>
              <a:gd name="connsiteY154" fmla="*/ 2665311 h 4069169"/>
              <a:gd name="connsiteX155" fmla="*/ 2372009 w 5110790"/>
              <a:gd name="connsiteY155" fmla="*/ 2689820 h 4069169"/>
              <a:gd name="connsiteX156" fmla="*/ 2366014 w 5110790"/>
              <a:gd name="connsiteY156" fmla="*/ 2716252 h 4069169"/>
              <a:gd name="connsiteX157" fmla="*/ 2361397 w 5110790"/>
              <a:gd name="connsiteY157" fmla="*/ 2744535 h 4069169"/>
              <a:gd name="connsiteX158" fmla="*/ 2358029 w 5110790"/>
              <a:gd name="connsiteY158" fmla="*/ 2774596 h 4069169"/>
              <a:gd name="connsiteX159" fmla="*/ 2355783 w 5110790"/>
              <a:gd name="connsiteY159" fmla="*/ 2806365 h 4069169"/>
              <a:gd name="connsiteX160" fmla="*/ 2354530 w 5110790"/>
              <a:gd name="connsiteY160" fmla="*/ 2839769 h 4069169"/>
              <a:gd name="connsiteX161" fmla="*/ 2354141 w 5110790"/>
              <a:gd name="connsiteY161" fmla="*/ 2874737 h 4069169"/>
              <a:gd name="connsiteX162" fmla="*/ 2354520 w 5110790"/>
              <a:gd name="connsiteY162" fmla="*/ 2910051 h 4069169"/>
              <a:gd name="connsiteX163" fmla="*/ 2355746 w 5110790"/>
              <a:gd name="connsiteY163" fmla="*/ 2943781 h 4069169"/>
              <a:gd name="connsiteX164" fmla="*/ 2357952 w 5110790"/>
              <a:gd name="connsiteY164" fmla="*/ 2975855 h 4069169"/>
              <a:gd name="connsiteX165" fmla="*/ 2361268 w 5110790"/>
              <a:gd name="connsiteY165" fmla="*/ 3006199 h 4069169"/>
              <a:gd name="connsiteX166" fmla="*/ 2365828 w 5110790"/>
              <a:gd name="connsiteY166" fmla="*/ 3034745 h 4069169"/>
              <a:gd name="connsiteX167" fmla="*/ 2371764 w 5110790"/>
              <a:gd name="connsiteY167" fmla="*/ 3061419 h 4069169"/>
              <a:gd name="connsiteX168" fmla="*/ 2379208 w 5110790"/>
              <a:gd name="connsiteY168" fmla="*/ 3086149 h 4069169"/>
              <a:gd name="connsiteX169" fmla="*/ 2388293 w 5110790"/>
              <a:gd name="connsiteY169" fmla="*/ 3108864 h 4069169"/>
              <a:gd name="connsiteX170" fmla="*/ 2399150 w 5110790"/>
              <a:gd name="connsiteY170" fmla="*/ 3129493 h 4069169"/>
              <a:gd name="connsiteX171" fmla="*/ 2426712 w 5110790"/>
              <a:gd name="connsiteY171" fmla="*/ 3164203 h 4069169"/>
              <a:gd name="connsiteX172" fmla="*/ 2462952 w 5110790"/>
              <a:gd name="connsiteY172" fmla="*/ 3189707 h 4069169"/>
              <a:gd name="connsiteX173" fmla="*/ 2484656 w 5110790"/>
              <a:gd name="connsiteY173" fmla="*/ 3198827 h 4069169"/>
              <a:gd name="connsiteX174" fmla="*/ 2508928 w 5110790"/>
              <a:gd name="connsiteY174" fmla="*/ 3205429 h 4069169"/>
              <a:gd name="connsiteX175" fmla="*/ 2535898 w 5110790"/>
              <a:gd name="connsiteY175" fmla="*/ 3209444 h 4069169"/>
              <a:gd name="connsiteX176" fmla="*/ 2565698 w 5110790"/>
              <a:gd name="connsiteY176" fmla="*/ 3210798 h 4069169"/>
              <a:gd name="connsiteX177" fmla="*/ 2565698 w 5110790"/>
              <a:gd name="connsiteY177" fmla="*/ 3269508 h 4069169"/>
              <a:gd name="connsiteX178" fmla="*/ 2533244 w 5110790"/>
              <a:gd name="connsiteY178" fmla="*/ 3268362 h 4069169"/>
              <a:gd name="connsiteX179" fmla="*/ 2503241 w 5110790"/>
              <a:gd name="connsiteY179" fmla="*/ 3264959 h 4069169"/>
              <a:gd name="connsiteX180" fmla="*/ 2475603 w 5110790"/>
              <a:gd name="connsiteY180" fmla="*/ 3259347 h 4069169"/>
              <a:gd name="connsiteX181" fmla="*/ 2450247 w 5110790"/>
              <a:gd name="connsiteY181" fmla="*/ 3251579 h 4069169"/>
              <a:gd name="connsiteX182" fmla="*/ 2427085 w 5110790"/>
              <a:gd name="connsiteY182" fmla="*/ 3241703 h 4069169"/>
              <a:gd name="connsiteX183" fmla="*/ 2406034 w 5110790"/>
              <a:gd name="connsiteY183" fmla="*/ 3229769 h 4069169"/>
              <a:gd name="connsiteX184" fmla="*/ 2387009 w 5110790"/>
              <a:gd name="connsiteY184" fmla="*/ 3215828 h 4069169"/>
              <a:gd name="connsiteX185" fmla="*/ 2369924 w 5110790"/>
              <a:gd name="connsiteY185" fmla="*/ 3199931 h 4069169"/>
              <a:gd name="connsiteX186" fmla="*/ 2354694 w 5110790"/>
              <a:gd name="connsiteY186" fmla="*/ 3182126 h 4069169"/>
              <a:gd name="connsiteX187" fmla="*/ 2341235 w 5110790"/>
              <a:gd name="connsiteY187" fmla="*/ 3162464 h 4069169"/>
              <a:gd name="connsiteX188" fmla="*/ 2329461 w 5110790"/>
              <a:gd name="connsiteY188" fmla="*/ 3140995 h 4069169"/>
              <a:gd name="connsiteX189" fmla="*/ 2319288 w 5110790"/>
              <a:gd name="connsiteY189" fmla="*/ 3117770 h 4069169"/>
              <a:gd name="connsiteX190" fmla="*/ 2310630 w 5110790"/>
              <a:gd name="connsiteY190" fmla="*/ 3092837 h 4069169"/>
              <a:gd name="connsiteX191" fmla="*/ 2303402 w 5110790"/>
              <a:gd name="connsiteY191" fmla="*/ 3066249 h 4069169"/>
              <a:gd name="connsiteX192" fmla="*/ 2297519 w 5110790"/>
              <a:gd name="connsiteY192" fmla="*/ 3038054 h 4069169"/>
              <a:gd name="connsiteX193" fmla="*/ 2292897 w 5110790"/>
              <a:gd name="connsiteY193" fmla="*/ 3008303 h 4069169"/>
              <a:gd name="connsiteX194" fmla="*/ 2289449 w 5110790"/>
              <a:gd name="connsiteY194" fmla="*/ 2977045 h 4069169"/>
              <a:gd name="connsiteX195" fmla="*/ 2287092 w 5110790"/>
              <a:gd name="connsiteY195" fmla="*/ 2944332 h 4069169"/>
              <a:gd name="connsiteX196" fmla="*/ 2285740 w 5110790"/>
              <a:gd name="connsiteY196" fmla="*/ 2910212 h 4069169"/>
              <a:gd name="connsiteX197" fmla="*/ 2285309 w 5110790"/>
              <a:gd name="connsiteY197" fmla="*/ 2874737 h 4069169"/>
              <a:gd name="connsiteX198" fmla="*/ 2285755 w 5110790"/>
              <a:gd name="connsiteY198" fmla="*/ 2839413 h 4069169"/>
              <a:gd name="connsiteX199" fmla="*/ 2287147 w 5110790"/>
              <a:gd name="connsiteY199" fmla="*/ 2805445 h 4069169"/>
              <a:gd name="connsiteX200" fmla="*/ 2289566 w 5110790"/>
              <a:gd name="connsiteY200" fmla="*/ 2772881 h 4069169"/>
              <a:gd name="connsiteX201" fmla="*/ 2293091 w 5110790"/>
              <a:gd name="connsiteY201" fmla="*/ 2741770 h 4069169"/>
              <a:gd name="connsiteX202" fmla="*/ 2297804 w 5110790"/>
              <a:gd name="connsiteY202" fmla="*/ 2712163 h 4069169"/>
              <a:gd name="connsiteX203" fmla="*/ 2303784 w 5110790"/>
              <a:gd name="connsiteY203" fmla="*/ 2684109 h 4069169"/>
              <a:gd name="connsiteX204" fmla="*/ 2311113 w 5110790"/>
              <a:gd name="connsiteY204" fmla="*/ 2657656 h 4069169"/>
              <a:gd name="connsiteX205" fmla="*/ 2319870 w 5110790"/>
              <a:gd name="connsiteY205" fmla="*/ 2632854 h 4069169"/>
              <a:gd name="connsiteX206" fmla="*/ 2330137 w 5110790"/>
              <a:gd name="connsiteY206" fmla="*/ 2609754 h 4069169"/>
              <a:gd name="connsiteX207" fmla="*/ 2341994 w 5110790"/>
              <a:gd name="connsiteY207" fmla="*/ 2588403 h 4069169"/>
              <a:gd name="connsiteX208" fmla="*/ 2355521 w 5110790"/>
              <a:gd name="connsiteY208" fmla="*/ 2568850 h 4069169"/>
              <a:gd name="connsiteX209" fmla="*/ 2370798 w 5110790"/>
              <a:gd name="connsiteY209" fmla="*/ 2551147 h 4069169"/>
              <a:gd name="connsiteX210" fmla="*/ 2387907 w 5110790"/>
              <a:gd name="connsiteY210" fmla="*/ 2535342 h 4069169"/>
              <a:gd name="connsiteX211" fmla="*/ 2406927 w 5110790"/>
              <a:gd name="connsiteY211" fmla="*/ 2521483 h 4069169"/>
              <a:gd name="connsiteX212" fmla="*/ 2427939 w 5110790"/>
              <a:gd name="connsiteY212" fmla="*/ 2509622 h 4069169"/>
              <a:gd name="connsiteX213" fmla="*/ 2451024 w 5110790"/>
              <a:gd name="connsiteY213" fmla="*/ 2499807 h 4069169"/>
              <a:gd name="connsiteX214" fmla="*/ 2476262 w 5110790"/>
              <a:gd name="connsiteY214" fmla="*/ 2492087 h 4069169"/>
              <a:gd name="connsiteX215" fmla="*/ 2503733 w 5110790"/>
              <a:gd name="connsiteY215" fmla="*/ 2486511 h 4069169"/>
              <a:gd name="connsiteX216" fmla="*/ 2533518 w 5110790"/>
              <a:gd name="connsiteY216" fmla="*/ 2483129 h 4069169"/>
              <a:gd name="connsiteX217" fmla="*/ 4308476 w 5110790"/>
              <a:gd name="connsiteY217" fmla="*/ 2413668 h 4069169"/>
              <a:gd name="connsiteX218" fmla="*/ 4389455 w 5110790"/>
              <a:gd name="connsiteY218" fmla="*/ 2413668 h 4069169"/>
              <a:gd name="connsiteX219" fmla="*/ 4503836 w 5110790"/>
              <a:gd name="connsiteY219" fmla="*/ 2623200 h 4069169"/>
              <a:gd name="connsiteX220" fmla="*/ 4387430 w 5110790"/>
              <a:gd name="connsiteY220" fmla="*/ 2838804 h 4069169"/>
              <a:gd name="connsiteX221" fmla="*/ 4308476 w 5110790"/>
              <a:gd name="connsiteY221" fmla="*/ 2838804 h 4069169"/>
              <a:gd name="connsiteX222" fmla="*/ 4407674 w 5110790"/>
              <a:gd name="connsiteY222" fmla="*/ 2653567 h 4069169"/>
              <a:gd name="connsiteX223" fmla="*/ 4017966 w 5110790"/>
              <a:gd name="connsiteY223" fmla="*/ 2653567 h 4069169"/>
              <a:gd name="connsiteX224" fmla="*/ 4017966 w 5110790"/>
              <a:gd name="connsiteY224" fmla="*/ 2588784 h 4069169"/>
              <a:gd name="connsiteX225" fmla="*/ 4405650 w 5110790"/>
              <a:gd name="connsiteY225" fmla="*/ 2588784 h 4069169"/>
              <a:gd name="connsiteX226" fmla="*/ 2147951 w 5110790"/>
              <a:gd name="connsiteY226" fmla="*/ 2190467 h 4069169"/>
              <a:gd name="connsiteX227" fmla="*/ 2173557 w 5110790"/>
              <a:gd name="connsiteY227" fmla="*/ 2192697 h 4069169"/>
              <a:gd name="connsiteX228" fmla="*/ 2193375 w 5110790"/>
              <a:gd name="connsiteY228" fmla="*/ 2200715 h 4069169"/>
              <a:gd name="connsiteX229" fmla="*/ 2206169 w 5110790"/>
              <a:gd name="connsiteY229" fmla="*/ 2216516 h 4069169"/>
              <a:gd name="connsiteX230" fmla="*/ 2210708 w 5110790"/>
              <a:gd name="connsiteY230" fmla="*/ 2242090 h 4069169"/>
              <a:gd name="connsiteX231" fmla="*/ 2206169 w 5110790"/>
              <a:gd name="connsiteY231" fmla="*/ 2268835 h 4069169"/>
              <a:gd name="connsiteX232" fmla="*/ 2193375 w 5110790"/>
              <a:gd name="connsiteY232" fmla="*/ 2285237 h 4069169"/>
              <a:gd name="connsiteX233" fmla="*/ 2173557 w 5110790"/>
              <a:gd name="connsiteY233" fmla="*/ 2293477 h 4069169"/>
              <a:gd name="connsiteX234" fmla="*/ 2147951 w 5110790"/>
              <a:gd name="connsiteY234" fmla="*/ 2295739 h 4069169"/>
              <a:gd name="connsiteX235" fmla="*/ 2122345 w 5110790"/>
              <a:gd name="connsiteY235" fmla="*/ 2293477 h 4069169"/>
              <a:gd name="connsiteX236" fmla="*/ 2102527 w 5110790"/>
              <a:gd name="connsiteY236" fmla="*/ 2285237 h 4069169"/>
              <a:gd name="connsiteX237" fmla="*/ 2089732 w 5110790"/>
              <a:gd name="connsiteY237" fmla="*/ 2268835 h 4069169"/>
              <a:gd name="connsiteX238" fmla="*/ 2085193 w 5110790"/>
              <a:gd name="connsiteY238" fmla="*/ 2242090 h 4069169"/>
              <a:gd name="connsiteX239" fmla="*/ 2089874 w 5110790"/>
              <a:gd name="connsiteY239" fmla="*/ 2216516 h 4069169"/>
              <a:gd name="connsiteX240" fmla="*/ 2102907 w 5110790"/>
              <a:gd name="connsiteY240" fmla="*/ 2200715 h 4069169"/>
              <a:gd name="connsiteX241" fmla="*/ 2122772 w 5110790"/>
              <a:gd name="connsiteY241" fmla="*/ 2192697 h 4069169"/>
              <a:gd name="connsiteX242" fmla="*/ 784523 w 5110790"/>
              <a:gd name="connsiteY242" fmla="*/ 2190467 h 4069169"/>
              <a:gd name="connsiteX243" fmla="*/ 810129 w 5110790"/>
              <a:gd name="connsiteY243" fmla="*/ 2192697 h 4069169"/>
              <a:gd name="connsiteX244" fmla="*/ 829946 w 5110790"/>
              <a:gd name="connsiteY244" fmla="*/ 2200715 h 4069169"/>
              <a:gd name="connsiteX245" fmla="*/ 842741 w 5110790"/>
              <a:gd name="connsiteY245" fmla="*/ 2216516 h 4069169"/>
              <a:gd name="connsiteX246" fmla="*/ 847281 w 5110790"/>
              <a:gd name="connsiteY246" fmla="*/ 2242090 h 4069169"/>
              <a:gd name="connsiteX247" fmla="*/ 842741 w 5110790"/>
              <a:gd name="connsiteY247" fmla="*/ 2268835 h 4069169"/>
              <a:gd name="connsiteX248" fmla="*/ 829946 w 5110790"/>
              <a:gd name="connsiteY248" fmla="*/ 2285237 h 4069169"/>
              <a:gd name="connsiteX249" fmla="*/ 810129 w 5110790"/>
              <a:gd name="connsiteY249" fmla="*/ 2293477 h 4069169"/>
              <a:gd name="connsiteX250" fmla="*/ 784523 w 5110790"/>
              <a:gd name="connsiteY250" fmla="*/ 2295739 h 4069169"/>
              <a:gd name="connsiteX251" fmla="*/ 758916 w 5110790"/>
              <a:gd name="connsiteY251" fmla="*/ 2293477 h 4069169"/>
              <a:gd name="connsiteX252" fmla="*/ 739099 w 5110790"/>
              <a:gd name="connsiteY252" fmla="*/ 2285237 h 4069169"/>
              <a:gd name="connsiteX253" fmla="*/ 726304 w 5110790"/>
              <a:gd name="connsiteY253" fmla="*/ 2268835 h 4069169"/>
              <a:gd name="connsiteX254" fmla="*/ 721765 w 5110790"/>
              <a:gd name="connsiteY254" fmla="*/ 2242090 h 4069169"/>
              <a:gd name="connsiteX255" fmla="*/ 726446 w 5110790"/>
              <a:gd name="connsiteY255" fmla="*/ 2216516 h 4069169"/>
              <a:gd name="connsiteX256" fmla="*/ 739479 w 5110790"/>
              <a:gd name="connsiteY256" fmla="*/ 2200715 h 4069169"/>
              <a:gd name="connsiteX257" fmla="*/ 759344 w 5110790"/>
              <a:gd name="connsiteY257" fmla="*/ 2192697 h 4069169"/>
              <a:gd name="connsiteX258" fmla="*/ 62758 w 5110790"/>
              <a:gd name="connsiteY258" fmla="*/ 2190467 h 4069169"/>
              <a:gd name="connsiteX259" fmla="*/ 88364 w 5110790"/>
              <a:gd name="connsiteY259" fmla="*/ 2192697 h 4069169"/>
              <a:gd name="connsiteX260" fmla="*/ 108181 w 5110790"/>
              <a:gd name="connsiteY260" fmla="*/ 2200715 h 4069169"/>
              <a:gd name="connsiteX261" fmla="*/ 120977 w 5110790"/>
              <a:gd name="connsiteY261" fmla="*/ 2216516 h 4069169"/>
              <a:gd name="connsiteX262" fmla="*/ 125516 w 5110790"/>
              <a:gd name="connsiteY262" fmla="*/ 2242090 h 4069169"/>
              <a:gd name="connsiteX263" fmla="*/ 120977 w 5110790"/>
              <a:gd name="connsiteY263" fmla="*/ 2268835 h 4069169"/>
              <a:gd name="connsiteX264" fmla="*/ 108181 w 5110790"/>
              <a:gd name="connsiteY264" fmla="*/ 2285237 h 4069169"/>
              <a:gd name="connsiteX265" fmla="*/ 88364 w 5110790"/>
              <a:gd name="connsiteY265" fmla="*/ 2293477 h 4069169"/>
              <a:gd name="connsiteX266" fmla="*/ 62758 w 5110790"/>
              <a:gd name="connsiteY266" fmla="*/ 2295739 h 4069169"/>
              <a:gd name="connsiteX267" fmla="*/ 37151 w 5110790"/>
              <a:gd name="connsiteY267" fmla="*/ 2293477 h 4069169"/>
              <a:gd name="connsiteX268" fmla="*/ 17334 w 5110790"/>
              <a:gd name="connsiteY268" fmla="*/ 2285237 h 4069169"/>
              <a:gd name="connsiteX269" fmla="*/ 4539 w 5110790"/>
              <a:gd name="connsiteY269" fmla="*/ 2268835 h 4069169"/>
              <a:gd name="connsiteX270" fmla="*/ 0 w 5110790"/>
              <a:gd name="connsiteY270" fmla="*/ 2242090 h 4069169"/>
              <a:gd name="connsiteX271" fmla="*/ 4681 w 5110790"/>
              <a:gd name="connsiteY271" fmla="*/ 2216516 h 4069169"/>
              <a:gd name="connsiteX272" fmla="*/ 17713 w 5110790"/>
              <a:gd name="connsiteY272" fmla="*/ 2200715 h 4069169"/>
              <a:gd name="connsiteX273" fmla="*/ 37578 w 5110790"/>
              <a:gd name="connsiteY273" fmla="*/ 2192697 h 4069169"/>
              <a:gd name="connsiteX274" fmla="*/ 4915430 w 5110790"/>
              <a:gd name="connsiteY274" fmla="*/ 1822022 h 4069169"/>
              <a:gd name="connsiteX275" fmla="*/ 4996408 w 5110790"/>
              <a:gd name="connsiteY275" fmla="*/ 1822022 h 4069169"/>
              <a:gd name="connsiteX276" fmla="*/ 5110790 w 5110790"/>
              <a:gd name="connsiteY276" fmla="*/ 2031553 h 4069169"/>
              <a:gd name="connsiteX277" fmla="*/ 4994384 w 5110790"/>
              <a:gd name="connsiteY277" fmla="*/ 2247158 h 4069169"/>
              <a:gd name="connsiteX278" fmla="*/ 4915430 w 5110790"/>
              <a:gd name="connsiteY278" fmla="*/ 2247158 h 4069169"/>
              <a:gd name="connsiteX279" fmla="*/ 5014628 w 5110790"/>
              <a:gd name="connsiteY279" fmla="*/ 2061920 h 4069169"/>
              <a:gd name="connsiteX280" fmla="*/ 4624920 w 5110790"/>
              <a:gd name="connsiteY280" fmla="*/ 2061920 h 4069169"/>
              <a:gd name="connsiteX281" fmla="*/ 4624920 w 5110790"/>
              <a:gd name="connsiteY281" fmla="*/ 1997137 h 4069169"/>
              <a:gd name="connsiteX282" fmla="*/ 5012604 w 5110790"/>
              <a:gd name="connsiteY282" fmla="*/ 1997137 h 4069169"/>
              <a:gd name="connsiteX283" fmla="*/ 2876800 w 5110790"/>
              <a:gd name="connsiteY283" fmla="*/ 1822016 h 4069169"/>
              <a:gd name="connsiteX284" fmla="*/ 2957778 w 5110790"/>
              <a:gd name="connsiteY284" fmla="*/ 1822016 h 4069169"/>
              <a:gd name="connsiteX285" fmla="*/ 3072160 w 5110790"/>
              <a:gd name="connsiteY285" fmla="*/ 2031547 h 4069169"/>
              <a:gd name="connsiteX286" fmla="*/ 2955754 w 5110790"/>
              <a:gd name="connsiteY286" fmla="*/ 2247152 h 4069169"/>
              <a:gd name="connsiteX287" fmla="*/ 2876800 w 5110790"/>
              <a:gd name="connsiteY287" fmla="*/ 2247152 h 4069169"/>
              <a:gd name="connsiteX288" fmla="*/ 2975998 w 5110790"/>
              <a:gd name="connsiteY288" fmla="*/ 2061915 h 4069169"/>
              <a:gd name="connsiteX289" fmla="*/ 2586290 w 5110790"/>
              <a:gd name="connsiteY289" fmla="*/ 2061915 h 4069169"/>
              <a:gd name="connsiteX290" fmla="*/ 2586290 w 5110790"/>
              <a:gd name="connsiteY290" fmla="*/ 1997132 h 4069169"/>
              <a:gd name="connsiteX291" fmla="*/ 2973974 w 5110790"/>
              <a:gd name="connsiteY291" fmla="*/ 1997132 h 4069169"/>
              <a:gd name="connsiteX292" fmla="*/ 1513768 w 5110790"/>
              <a:gd name="connsiteY292" fmla="*/ 1822016 h 4069169"/>
              <a:gd name="connsiteX293" fmla="*/ 1594748 w 5110790"/>
              <a:gd name="connsiteY293" fmla="*/ 1822016 h 4069169"/>
              <a:gd name="connsiteX294" fmla="*/ 1709128 w 5110790"/>
              <a:gd name="connsiteY294" fmla="*/ 2031547 h 4069169"/>
              <a:gd name="connsiteX295" fmla="*/ 1592723 w 5110790"/>
              <a:gd name="connsiteY295" fmla="*/ 2247152 h 4069169"/>
              <a:gd name="connsiteX296" fmla="*/ 1513768 w 5110790"/>
              <a:gd name="connsiteY296" fmla="*/ 2247152 h 4069169"/>
              <a:gd name="connsiteX297" fmla="*/ 1612966 w 5110790"/>
              <a:gd name="connsiteY297" fmla="*/ 2061915 h 4069169"/>
              <a:gd name="connsiteX298" fmla="*/ 1223259 w 5110790"/>
              <a:gd name="connsiteY298" fmla="*/ 2061915 h 4069169"/>
              <a:gd name="connsiteX299" fmla="*/ 1223259 w 5110790"/>
              <a:gd name="connsiteY299" fmla="*/ 1997132 h 4069169"/>
              <a:gd name="connsiteX300" fmla="*/ 1610942 w 5110790"/>
              <a:gd name="connsiteY300" fmla="*/ 1997132 h 4069169"/>
              <a:gd name="connsiteX301" fmla="*/ 2147951 w 5110790"/>
              <a:gd name="connsiteY301" fmla="*/ 1765330 h 4069169"/>
              <a:gd name="connsiteX302" fmla="*/ 2173557 w 5110790"/>
              <a:gd name="connsiteY302" fmla="*/ 1767433 h 4069169"/>
              <a:gd name="connsiteX303" fmla="*/ 2193375 w 5110790"/>
              <a:gd name="connsiteY303" fmla="*/ 1775325 h 4069169"/>
              <a:gd name="connsiteX304" fmla="*/ 2206169 w 5110790"/>
              <a:gd name="connsiteY304" fmla="*/ 1791378 h 4069169"/>
              <a:gd name="connsiteX305" fmla="*/ 2210708 w 5110790"/>
              <a:gd name="connsiteY305" fmla="*/ 1817966 h 4069169"/>
              <a:gd name="connsiteX306" fmla="*/ 2206169 w 5110790"/>
              <a:gd name="connsiteY306" fmla="*/ 1843698 h 4069169"/>
              <a:gd name="connsiteX307" fmla="*/ 2193375 w 5110790"/>
              <a:gd name="connsiteY307" fmla="*/ 1859846 h 4069169"/>
              <a:gd name="connsiteX308" fmla="*/ 2173557 w 5110790"/>
              <a:gd name="connsiteY308" fmla="*/ 1868213 h 4069169"/>
              <a:gd name="connsiteX309" fmla="*/ 2147951 w 5110790"/>
              <a:gd name="connsiteY309" fmla="*/ 1870601 h 4069169"/>
              <a:gd name="connsiteX310" fmla="*/ 2122930 w 5110790"/>
              <a:gd name="connsiteY310" fmla="*/ 1868213 h 4069169"/>
              <a:gd name="connsiteX311" fmla="*/ 2103413 w 5110790"/>
              <a:gd name="connsiteY311" fmla="*/ 1859846 h 4069169"/>
              <a:gd name="connsiteX312" fmla="*/ 2090728 w 5110790"/>
              <a:gd name="connsiteY312" fmla="*/ 1843698 h 4069169"/>
              <a:gd name="connsiteX313" fmla="*/ 2086205 w 5110790"/>
              <a:gd name="connsiteY313" fmla="*/ 1817966 h 4069169"/>
              <a:gd name="connsiteX314" fmla="*/ 2090728 w 5110790"/>
              <a:gd name="connsiteY314" fmla="*/ 1791378 h 4069169"/>
              <a:gd name="connsiteX315" fmla="*/ 2103413 w 5110790"/>
              <a:gd name="connsiteY315" fmla="*/ 1775325 h 4069169"/>
              <a:gd name="connsiteX316" fmla="*/ 2122930 w 5110790"/>
              <a:gd name="connsiteY316" fmla="*/ 1767433 h 4069169"/>
              <a:gd name="connsiteX317" fmla="*/ 784523 w 5110790"/>
              <a:gd name="connsiteY317" fmla="*/ 1765330 h 4069169"/>
              <a:gd name="connsiteX318" fmla="*/ 810129 w 5110790"/>
              <a:gd name="connsiteY318" fmla="*/ 1767433 h 4069169"/>
              <a:gd name="connsiteX319" fmla="*/ 829946 w 5110790"/>
              <a:gd name="connsiteY319" fmla="*/ 1775325 h 4069169"/>
              <a:gd name="connsiteX320" fmla="*/ 842741 w 5110790"/>
              <a:gd name="connsiteY320" fmla="*/ 1791378 h 4069169"/>
              <a:gd name="connsiteX321" fmla="*/ 847281 w 5110790"/>
              <a:gd name="connsiteY321" fmla="*/ 1817966 h 4069169"/>
              <a:gd name="connsiteX322" fmla="*/ 842741 w 5110790"/>
              <a:gd name="connsiteY322" fmla="*/ 1843698 h 4069169"/>
              <a:gd name="connsiteX323" fmla="*/ 829946 w 5110790"/>
              <a:gd name="connsiteY323" fmla="*/ 1859846 h 4069169"/>
              <a:gd name="connsiteX324" fmla="*/ 810129 w 5110790"/>
              <a:gd name="connsiteY324" fmla="*/ 1868213 h 4069169"/>
              <a:gd name="connsiteX325" fmla="*/ 784523 w 5110790"/>
              <a:gd name="connsiteY325" fmla="*/ 1870601 h 4069169"/>
              <a:gd name="connsiteX326" fmla="*/ 759502 w 5110790"/>
              <a:gd name="connsiteY326" fmla="*/ 1868213 h 4069169"/>
              <a:gd name="connsiteX327" fmla="*/ 739984 w 5110790"/>
              <a:gd name="connsiteY327" fmla="*/ 1859846 h 4069169"/>
              <a:gd name="connsiteX328" fmla="*/ 727300 w 5110790"/>
              <a:gd name="connsiteY328" fmla="*/ 1843698 h 4069169"/>
              <a:gd name="connsiteX329" fmla="*/ 722776 w 5110790"/>
              <a:gd name="connsiteY329" fmla="*/ 1817966 h 4069169"/>
              <a:gd name="connsiteX330" fmla="*/ 727300 w 5110790"/>
              <a:gd name="connsiteY330" fmla="*/ 1791378 h 4069169"/>
              <a:gd name="connsiteX331" fmla="*/ 739984 w 5110790"/>
              <a:gd name="connsiteY331" fmla="*/ 1775325 h 4069169"/>
              <a:gd name="connsiteX332" fmla="*/ 759502 w 5110790"/>
              <a:gd name="connsiteY332" fmla="*/ 1767433 h 4069169"/>
              <a:gd name="connsiteX333" fmla="*/ 62758 w 5110790"/>
              <a:gd name="connsiteY333" fmla="*/ 1765330 h 4069169"/>
              <a:gd name="connsiteX334" fmla="*/ 88364 w 5110790"/>
              <a:gd name="connsiteY334" fmla="*/ 1767433 h 4069169"/>
              <a:gd name="connsiteX335" fmla="*/ 108181 w 5110790"/>
              <a:gd name="connsiteY335" fmla="*/ 1775325 h 4069169"/>
              <a:gd name="connsiteX336" fmla="*/ 120977 w 5110790"/>
              <a:gd name="connsiteY336" fmla="*/ 1791378 h 4069169"/>
              <a:gd name="connsiteX337" fmla="*/ 125516 w 5110790"/>
              <a:gd name="connsiteY337" fmla="*/ 1817966 h 4069169"/>
              <a:gd name="connsiteX338" fmla="*/ 120977 w 5110790"/>
              <a:gd name="connsiteY338" fmla="*/ 1843698 h 4069169"/>
              <a:gd name="connsiteX339" fmla="*/ 108181 w 5110790"/>
              <a:gd name="connsiteY339" fmla="*/ 1859846 h 4069169"/>
              <a:gd name="connsiteX340" fmla="*/ 88364 w 5110790"/>
              <a:gd name="connsiteY340" fmla="*/ 1868213 h 4069169"/>
              <a:gd name="connsiteX341" fmla="*/ 62758 w 5110790"/>
              <a:gd name="connsiteY341" fmla="*/ 1870601 h 4069169"/>
              <a:gd name="connsiteX342" fmla="*/ 37736 w 5110790"/>
              <a:gd name="connsiteY342" fmla="*/ 1868213 h 4069169"/>
              <a:gd name="connsiteX343" fmla="*/ 18219 w 5110790"/>
              <a:gd name="connsiteY343" fmla="*/ 1859846 h 4069169"/>
              <a:gd name="connsiteX344" fmla="*/ 5535 w 5110790"/>
              <a:gd name="connsiteY344" fmla="*/ 1843698 h 4069169"/>
              <a:gd name="connsiteX345" fmla="*/ 1012 w 5110790"/>
              <a:gd name="connsiteY345" fmla="*/ 1817966 h 4069169"/>
              <a:gd name="connsiteX346" fmla="*/ 5535 w 5110790"/>
              <a:gd name="connsiteY346" fmla="*/ 1791378 h 4069169"/>
              <a:gd name="connsiteX347" fmla="*/ 18219 w 5110790"/>
              <a:gd name="connsiteY347" fmla="*/ 1775325 h 4069169"/>
              <a:gd name="connsiteX348" fmla="*/ 37736 w 5110790"/>
              <a:gd name="connsiteY348" fmla="*/ 1767433 h 4069169"/>
              <a:gd name="connsiteX349" fmla="*/ 3434660 w 5110790"/>
              <a:gd name="connsiteY349" fmla="*/ 1570981 h 4069169"/>
              <a:gd name="connsiteX350" fmla="*/ 3466840 w 5110790"/>
              <a:gd name="connsiteY350" fmla="*/ 1572118 h 4069169"/>
              <a:gd name="connsiteX351" fmla="*/ 3496625 w 5110790"/>
              <a:gd name="connsiteY351" fmla="*/ 1575500 h 4069169"/>
              <a:gd name="connsiteX352" fmla="*/ 3524096 w 5110790"/>
              <a:gd name="connsiteY352" fmla="*/ 1581076 h 4069169"/>
              <a:gd name="connsiteX353" fmla="*/ 3549334 w 5110790"/>
              <a:gd name="connsiteY353" fmla="*/ 1588796 h 4069169"/>
              <a:gd name="connsiteX354" fmla="*/ 3572418 w 5110790"/>
              <a:gd name="connsiteY354" fmla="*/ 1598611 h 4069169"/>
              <a:gd name="connsiteX355" fmla="*/ 3593431 w 5110790"/>
              <a:gd name="connsiteY355" fmla="*/ 1610473 h 4069169"/>
              <a:gd name="connsiteX356" fmla="*/ 3612450 w 5110790"/>
              <a:gd name="connsiteY356" fmla="*/ 1624331 h 4069169"/>
              <a:gd name="connsiteX357" fmla="*/ 3629559 w 5110790"/>
              <a:gd name="connsiteY357" fmla="*/ 1640136 h 4069169"/>
              <a:gd name="connsiteX358" fmla="*/ 3644837 w 5110790"/>
              <a:gd name="connsiteY358" fmla="*/ 1657839 h 4069169"/>
              <a:gd name="connsiteX359" fmla="*/ 3658363 w 5110790"/>
              <a:gd name="connsiteY359" fmla="*/ 1677391 h 4069169"/>
              <a:gd name="connsiteX360" fmla="*/ 3670219 w 5110790"/>
              <a:gd name="connsiteY360" fmla="*/ 1698743 h 4069169"/>
              <a:gd name="connsiteX361" fmla="*/ 3680486 w 5110790"/>
              <a:gd name="connsiteY361" fmla="*/ 1721844 h 4069169"/>
              <a:gd name="connsiteX362" fmla="*/ 3689244 w 5110790"/>
              <a:gd name="connsiteY362" fmla="*/ 1746646 h 4069169"/>
              <a:gd name="connsiteX363" fmla="*/ 3696573 w 5110790"/>
              <a:gd name="connsiteY363" fmla="*/ 1773098 h 4069169"/>
              <a:gd name="connsiteX364" fmla="*/ 3702553 w 5110790"/>
              <a:gd name="connsiteY364" fmla="*/ 1801152 h 4069169"/>
              <a:gd name="connsiteX365" fmla="*/ 3707266 w 5110790"/>
              <a:gd name="connsiteY365" fmla="*/ 1830760 h 4069169"/>
              <a:gd name="connsiteX366" fmla="*/ 3710792 w 5110790"/>
              <a:gd name="connsiteY366" fmla="*/ 1861870 h 4069169"/>
              <a:gd name="connsiteX367" fmla="*/ 3713210 w 5110790"/>
              <a:gd name="connsiteY367" fmla="*/ 1894434 h 4069169"/>
              <a:gd name="connsiteX368" fmla="*/ 3714602 w 5110790"/>
              <a:gd name="connsiteY368" fmla="*/ 1928402 h 4069169"/>
              <a:gd name="connsiteX369" fmla="*/ 3715048 w 5110790"/>
              <a:gd name="connsiteY369" fmla="*/ 1963726 h 4069169"/>
              <a:gd name="connsiteX370" fmla="*/ 3714624 w 5110790"/>
              <a:gd name="connsiteY370" fmla="*/ 1999201 h 4069169"/>
              <a:gd name="connsiteX371" fmla="*/ 3713292 w 5110790"/>
              <a:gd name="connsiteY371" fmla="*/ 2033321 h 4069169"/>
              <a:gd name="connsiteX372" fmla="*/ 3710966 w 5110790"/>
              <a:gd name="connsiteY372" fmla="*/ 2066034 h 4069169"/>
              <a:gd name="connsiteX373" fmla="*/ 3707557 w 5110790"/>
              <a:gd name="connsiteY373" fmla="*/ 2097292 h 4069169"/>
              <a:gd name="connsiteX374" fmla="*/ 3702980 w 5110790"/>
              <a:gd name="connsiteY374" fmla="*/ 2127043 h 4069169"/>
              <a:gd name="connsiteX375" fmla="*/ 3697147 w 5110790"/>
              <a:gd name="connsiteY375" fmla="*/ 2155238 h 4069169"/>
              <a:gd name="connsiteX376" fmla="*/ 3689969 w 5110790"/>
              <a:gd name="connsiteY376" fmla="*/ 2181827 h 4069169"/>
              <a:gd name="connsiteX377" fmla="*/ 3681361 w 5110790"/>
              <a:gd name="connsiteY377" fmla="*/ 2206759 h 4069169"/>
              <a:gd name="connsiteX378" fmla="*/ 3671234 w 5110790"/>
              <a:gd name="connsiteY378" fmla="*/ 2229984 h 4069169"/>
              <a:gd name="connsiteX379" fmla="*/ 3659502 w 5110790"/>
              <a:gd name="connsiteY379" fmla="*/ 2251453 h 4069169"/>
              <a:gd name="connsiteX380" fmla="*/ 3646077 w 5110790"/>
              <a:gd name="connsiteY380" fmla="*/ 2271115 h 4069169"/>
              <a:gd name="connsiteX381" fmla="*/ 3630871 w 5110790"/>
              <a:gd name="connsiteY381" fmla="*/ 2288919 h 4069169"/>
              <a:gd name="connsiteX382" fmla="*/ 3613798 w 5110790"/>
              <a:gd name="connsiteY382" fmla="*/ 2304817 h 4069169"/>
              <a:gd name="connsiteX383" fmla="*/ 3594769 w 5110790"/>
              <a:gd name="connsiteY383" fmla="*/ 2318758 h 4069169"/>
              <a:gd name="connsiteX384" fmla="*/ 3573700 w 5110790"/>
              <a:gd name="connsiteY384" fmla="*/ 2330691 h 4069169"/>
              <a:gd name="connsiteX385" fmla="*/ 3550500 w 5110790"/>
              <a:gd name="connsiteY385" fmla="*/ 2340567 h 4069169"/>
              <a:gd name="connsiteX386" fmla="*/ 3525083 w 5110790"/>
              <a:gd name="connsiteY386" fmla="*/ 2348336 h 4069169"/>
              <a:gd name="connsiteX387" fmla="*/ 3497363 w 5110790"/>
              <a:gd name="connsiteY387" fmla="*/ 2353947 h 4069169"/>
              <a:gd name="connsiteX388" fmla="*/ 3467251 w 5110790"/>
              <a:gd name="connsiteY388" fmla="*/ 2357351 h 4069169"/>
              <a:gd name="connsiteX389" fmla="*/ 3434660 w 5110790"/>
              <a:gd name="connsiteY389" fmla="*/ 2358496 h 4069169"/>
              <a:gd name="connsiteX390" fmla="*/ 3434660 w 5110790"/>
              <a:gd name="connsiteY390" fmla="*/ 2299787 h 4069169"/>
              <a:gd name="connsiteX391" fmla="*/ 3464787 w 5110790"/>
              <a:gd name="connsiteY391" fmla="*/ 2298433 h 4069169"/>
              <a:gd name="connsiteX392" fmla="*/ 3492025 w 5110790"/>
              <a:gd name="connsiteY392" fmla="*/ 2294418 h 4069169"/>
              <a:gd name="connsiteX393" fmla="*/ 3516511 w 5110790"/>
              <a:gd name="connsiteY393" fmla="*/ 2287816 h 4069169"/>
              <a:gd name="connsiteX394" fmla="*/ 3538383 w 5110790"/>
              <a:gd name="connsiteY394" fmla="*/ 2278696 h 4069169"/>
              <a:gd name="connsiteX395" fmla="*/ 3574832 w 5110790"/>
              <a:gd name="connsiteY395" fmla="*/ 2253193 h 4069169"/>
              <a:gd name="connsiteX396" fmla="*/ 3602470 w 5110790"/>
              <a:gd name="connsiteY396" fmla="*/ 2218482 h 4069169"/>
              <a:gd name="connsiteX397" fmla="*/ 3613327 w 5110790"/>
              <a:gd name="connsiteY397" fmla="*/ 2197853 h 4069169"/>
              <a:gd name="connsiteX398" fmla="*/ 3622393 w 5110790"/>
              <a:gd name="connsiteY398" fmla="*/ 2175138 h 4069169"/>
              <a:gd name="connsiteX399" fmla="*/ 3629805 w 5110790"/>
              <a:gd name="connsiteY399" fmla="*/ 2150408 h 4069169"/>
              <a:gd name="connsiteX400" fmla="*/ 3635701 w 5110790"/>
              <a:gd name="connsiteY400" fmla="*/ 2123734 h 4069169"/>
              <a:gd name="connsiteX401" fmla="*/ 3640217 w 5110790"/>
              <a:gd name="connsiteY401" fmla="*/ 2095189 h 4069169"/>
              <a:gd name="connsiteX402" fmla="*/ 3643490 w 5110790"/>
              <a:gd name="connsiteY402" fmla="*/ 2064844 h 4069169"/>
              <a:gd name="connsiteX403" fmla="*/ 3645659 w 5110790"/>
              <a:gd name="connsiteY403" fmla="*/ 2032771 h 4069169"/>
              <a:gd name="connsiteX404" fmla="*/ 3646859 w 5110790"/>
              <a:gd name="connsiteY404" fmla="*/ 1999041 h 4069169"/>
              <a:gd name="connsiteX405" fmla="*/ 3647229 w 5110790"/>
              <a:gd name="connsiteY405" fmla="*/ 1963726 h 4069169"/>
              <a:gd name="connsiteX406" fmla="*/ 3646839 w 5110790"/>
              <a:gd name="connsiteY406" fmla="*/ 1928758 h 4069169"/>
              <a:gd name="connsiteX407" fmla="*/ 3645584 w 5110790"/>
              <a:gd name="connsiteY407" fmla="*/ 1895355 h 4069169"/>
              <a:gd name="connsiteX408" fmla="*/ 3643335 w 5110790"/>
              <a:gd name="connsiteY408" fmla="*/ 1863586 h 4069169"/>
              <a:gd name="connsiteX409" fmla="*/ 3639960 w 5110790"/>
              <a:gd name="connsiteY409" fmla="*/ 1833525 h 4069169"/>
              <a:gd name="connsiteX410" fmla="*/ 3635330 w 5110790"/>
              <a:gd name="connsiteY410" fmla="*/ 1805242 h 4069169"/>
              <a:gd name="connsiteX411" fmla="*/ 3629316 w 5110790"/>
              <a:gd name="connsiteY411" fmla="*/ 1778810 h 4069169"/>
              <a:gd name="connsiteX412" fmla="*/ 3621788 w 5110790"/>
              <a:gd name="connsiteY412" fmla="*/ 1754300 h 4069169"/>
              <a:gd name="connsiteX413" fmla="*/ 3612615 w 5110790"/>
              <a:gd name="connsiteY413" fmla="*/ 1731785 h 4069169"/>
              <a:gd name="connsiteX414" fmla="*/ 3601669 w 5110790"/>
              <a:gd name="connsiteY414" fmla="*/ 1711335 h 4069169"/>
              <a:gd name="connsiteX415" fmla="*/ 3573935 w 5110790"/>
              <a:gd name="connsiteY415" fmla="*/ 1676919 h 4069169"/>
              <a:gd name="connsiteX416" fmla="*/ 3537548 w 5110790"/>
              <a:gd name="connsiteY416" fmla="*/ 1651625 h 4069169"/>
              <a:gd name="connsiteX417" fmla="*/ 3515784 w 5110790"/>
              <a:gd name="connsiteY417" fmla="*/ 1642579 h 4069169"/>
              <a:gd name="connsiteX418" fmla="*/ 3491469 w 5110790"/>
              <a:gd name="connsiteY418" fmla="*/ 1636029 h 4069169"/>
              <a:gd name="connsiteX419" fmla="*/ 3464471 w 5110790"/>
              <a:gd name="connsiteY419" fmla="*/ 1632046 h 4069169"/>
              <a:gd name="connsiteX420" fmla="*/ 3434660 w 5110790"/>
              <a:gd name="connsiteY420" fmla="*/ 1630702 h 4069169"/>
              <a:gd name="connsiteX421" fmla="*/ 3579243 w 5110790"/>
              <a:gd name="connsiteY421" fmla="*/ 1279461 h 4069169"/>
              <a:gd name="connsiteX422" fmla="*/ 3604850 w 5110790"/>
              <a:gd name="connsiteY422" fmla="*/ 1281691 h 4069169"/>
              <a:gd name="connsiteX423" fmla="*/ 3624668 w 5110790"/>
              <a:gd name="connsiteY423" fmla="*/ 1289709 h 4069169"/>
              <a:gd name="connsiteX424" fmla="*/ 3637463 w 5110790"/>
              <a:gd name="connsiteY424" fmla="*/ 1305510 h 4069169"/>
              <a:gd name="connsiteX425" fmla="*/ 3642002 w 5110790"/>
              <a:gd name="connsiteY425" fmla="*/ 1331085 h 4069169"/>
              <a:gd name="connsiteX426" fmla="*/ 3637463 w 5110790"/>
              <a:gd name="connsiteY426" fmla="*/ 1357829 h 4069169"/>
              <a:gd name="connsiteX427" fmla="*/ 3624668 w 5110790"/>
              <a:gd name="connsiteY427" fmla="*/ 1374231 h 4069169"/>
              <a:gd name="connsiteX428" fmla="*/ 3604850 w 5110790"/>
              <a:gd name="connsiteY428" fmla="*/ 1382471 h 4069169"/>
              <a:gd name="connsiteX429" fmla="*/ 3579243 w 5110790"/>
              <a:gd name="connsiteY429" fmla="*/ 1384733 h 4069169"/>
              <a:gd name="connsiteX430" fmla="*/ 3553637 w 5110790"/>
              <a:gd name="connsiteY430" fmla="*/ 1382471 h 4069169"/>
              <a:gd name="connsiteX431" fmla="*/ 3533820 w 5110790"/>
              <a:gd name="connsiteY431" fmla="*/ 1374231 h 4069169"/>
              <a:gd name="connsiteX432" fmla="*/ 3521024 w 5110790"/>
              <a:gd name="connsiteY432" fmla="*/ 1357829 h 4069169"/>
              <a:gd name="connsiteX433" fmla="*/ 3516485 w 5110790"/>
              <a:gd name="connsiteY433" fmla="*/ 1331085 h 4069169"/>
              <a:gd name="connsiteX434" fmla="*/ 3521166 w 5110790"/>
              <a:gd name="connsiteY434" fmla="*/ 1305510 h 4069169"/>
              <a:gd name="connsiteX435" fmla="*/ 3534199 w 5110790"/>
              <a:gd name="connsiteY435" fmla="*/ 1289709 h 4069169"/>
              <a:gd name="connsiteX436" fmla="*/ 3554064 w 5110790"/>
              <a:gd name="connsiteY436" fmla="*/ 1281691 h 4069169"/>
              <a:gd name="connsiteX437" fmla="*/ 1609095 w 5110790"/>
              <a:gd name="connsiteY437" fmla="*/ 1279455 h 4069169"/>
              <a:gd name="connsiteX438" fmla="*/ 1634701 w 5110790"/>
              <a:gd name="connsiteY438" fmla="*/ 1281685 h 4069169"/>
              <a:gd name="connsiteX439" fmla="*/ 1654519 w 5110790"/>
              <a:gd name="connsiteY439" fmla="*/ 1289703 h 4069169"/>
              <a:gd name="connsiteX440" fmla="*/ 1667313 w 5110790"/>
              <a:gd name="connsiteY440" fmla="*/ 1305504 h 4069169"/>
              <a:gd name="connsiteX441" fmla="*/ 1671852 w 5110790"/>
              <a:gd name="connsiteY441" fmla="*/ 1331078 h 4069169"/>
              <a:gd name="connsiteX442" fmla="*/ 1667313 w 5110790"/>
              <a:gd name="connsiteY442" fmla="*/ 1357823 h 4069169"/>
              <a:gd name="connsiteX443" fmla="*/ 1654519 w 5110790"/>
              <a:gd name="connsiteY443" fmla="*/ 1374224 h 4069169"/>
              <a:gd name="connsiteX444" fmla="*/ 1634701 w 5110790"/>
              <a:gd name="connsiteY444" fmla="*/ 1382465 h 4069169"/>
              <a:gd name="connsiteX445" fmla="*/ 1609095 w 5110790"/>
              <a:gd name="connsiteY445" fmla="*/ 1384726 h 4069169"/>
              <a:gd name="connsiteX446" fmla="*/ 1583489 w 5110790"/>
              <a:gd name="connsiteY446" fmla="*/ 1382465 h 4069169"/>
              <a:gd name="connsiteX447" fmla="*/ 1563671 w 5110790"/>
              <a:gd name="connsiteY447" fmla="*/ 1374224 h 4069169"/>
              <a:gd name="connsiteX448" fmla="*/ 1550877 w 5110790"/>
              <a:gd name="connsiteY448" fmla="*/ 1357823 h 4069169"/>
              <a:gd name="connsiteX449" fmla="*/ 1546337 w 5110790"/>
              <a:gd name="connsiteY449" fmla="*/ 1331078 h 4069169"/>
              <a:gd name="connsiteX450" fmla="*/ 1551018 w 5110790"/>
              <a:gd name="connsiteY450" fmla="*/ 1305504 h 4069169"/>
              <a:gd name="connsiteX451" fmla="*/ 1564051 w 5110790"/>
              <a:gd name="connsiteY451" fmla="*/ 1289703 h 4069169"/>
              <a:gd name="connsiteX452" fmla="*/ 1583916 w 5110790"/>
              <a:gd name="connsiteY452" fmla="*/ 1281685 h 4069169"/>
              <a:gd name="connsiteX453" fmla="*/ 4308476 w 5110790"/>
              <a:gd name="connsiteY453" fmla="*/ 1229360 h 4069169"/>
              <a:gd name="connsiteX454" fmla="*/ 4389455 w 5110790"/>
              <a:gd name="connsiteY454" fmla="*/ 1229360 h 4069169"/>
              <a:gd name="connsiteX455" fmla="*/ 4503836 w 5110790"/>
              <a:gd name="connsiteY455" fmla="*/ 1438891 h 4069169"/>
              <a:gd name="connsiteX456" fmla="*/ 4387430 w 5110790"/>
              <a:gd name="connsiteY456" fmla="*/ 1654496 h 4069169"/>
              <a:gd name="connsiteX457" fmla="*/ 4308476 w 5110790"/>
              <a:gd name="connsiteY457" fmla="*/ 1654496 h 4069169"/>
              <a:gd name="connsiteX458" fmla="*/ 4407674 w 5110790"/>
              <a:gd name="connsiteY458" fmla="*/ 1469259 h 4069169"/>
              <a:gd name="connsiteX459" fmla="*/ 4017966 w 5110790"/>
              <a:gd name="connsiteY459" fmla="*/ 1469259 h 4069169"/>
              <a:gd name="connsiteX460" fmla="*/ 4017966 w 5110790"/>
              <a:gd name="connsiteY460" fmla="*/ 1404475 h 4069169"/>
              <a:gd name="connsiteX461" fmla="*/ 4405650 w 5110790"/>
              <a:gd name="connsiteY461" fmla="*/ 1404475 h 4069169"/>
              <a:gd name="connsiteX462" fmla="*/ 3579243 w 5110790"/>
              <a:gd name="connsiteY462" fmla="*/ 854324 h 4069169"/>
              <a:gd name="connsiteX463" fmla="*/ 3604850 w 5110790"/>
              <a:gd name="connsiteY463" fmla="*/ 856427 h 4069169"/>
              <a:gd name="connsiteX464" fmla="*/ 3624668 w 5110790"/>
              <a:gd name="connsiteY464" fmla="*/ 864320 h 4069169"/>
              <a:gd name="connsiteX465" fmla="*/ 3637463 w 5110790"/>
              <a:gd name="connsiteY465" fmla="*/ 880373 h 4069169"/>
              <a:gd name="connsiteX466" fmla="*/ 3642002 w 5110790"/>
              <a:gd name="connsiteY466" fmla="*/ 906960 h 4069169"/>
              <a:gd name="connsiteX467" fmla="*/ 3637463 w 5110790"/>
              <a:gd name="connsiteY467" fmla="*/ 932693 h 4069169"/>
              <a:gd name="connsiteX468" fmla="*/ 3624668 w 5110790"/>
              <a:gd name="connsiteY468" fmla="*/ 948841 h 4069169"/>
              <a:gd name="connsiteX469" fmla="*/ 3604850 w 5110790"/>
              <a:gd name="connsiteY469" fmla="*/ 957207 h 4069169"/>
              <a:gd name="connsiteX470" fmla="*/ 3579243 w 5110790"/>
              <a:gd name="connsiteY470" fmla="*/ 959596 h 4069169"/>
              <a:gd name="connsiteX471" fmla="*/ 3554223 w 5110790"/>
              <a:gd name="connsiteY471" fmla="*/ 957207 h 4069169"/>
              <a:gd name="connsiteX472" fmla="*/ 3534706 w 5110790"/>
              <a:gd name="connsiteY472" fmla="*/ 948841 h 4069169"/>
              <a:gd name="connsiteX473" fmla="*/ 3522021 w 5110790"/>
              <a:gd name="connsiteY473" fmla="*/ 932693 h 4069169"/>
              <a:gd name="connsiteX474" fmla="*/ 3517498 w 5110790"/>
              <a:gd name="connsiteY474" fmla="*/ 906960 h 4069169"/>
              <a:gd name="connsiteX475" fmla="*/ 3522021 w 5110790"/>
              <a:gd name="connsiteY475" fmla="*/ 880373 h 4069169"/>
              <a:gd name="connsiteX476" fmla="*/ 3534706 w 5110790"/>
              <a:gd name="connsiteY476" fmla="*/ 864320 h 4069169"/>
              <a:gd name="connsiteX477" fmla="*/ 3554223 w 5110790"/>
              <a:gd name="connsiteY477" fmla="*/ 856427 h 4069169"/>
              <a:gd name="connsiteX478" fmla="*/ 1609095 w 5110790"/>
              <a:gd name="connsiteY478" fmla="*/ 854318 h 4069169"/>
              <a:gd name="connsiteX479" fmla="*/ 1634701 w 5110790"/>
              <a:gd name="connsiteY479" fmla="*/ 856421 h 4069169"/>
              <a:gd name="connsiteX480" fmla="*/ 1654519 w 5110790"/>
              <a:gd name="connsiteY480" fmla="*/ 864313 h 4069169"/>
              <a:gd name="connsiteX481" fmla="*/ 1667313 w 5110790"/>
              <a:gd name="connsiteY481" fmla="*/ 880366 h 4069169"/>
              <a:gd name="connsiteX482" fmla="*/ 1671852 w 5110790"/>
              <a:gd name="connsiteY482" fmla="*/ 906953 h 4069169"/>
              <a:gd name="connsiteX483" fmla="*/ 1667313 w 5110790"/>
              <a:gd name="connsiteY483" fmla="*/ 932686 h 4069169"/>
              <a:gd name="connsiteX484" fmla="*/ 1654519 w 5110790"/>
              <a:gd name="connsiteY484" fmla="*/ 948834 h 4069169"/>
              <a:gd name="connsiteX485" fmla="*/ 1634701 w 5110790"/>
              <a:gd name="connsiteY485" fmla="*/ 957201 h 4069169"/>
              <a:gd name="connsiteX486" fmla="*/ 1609095 w 5110790"/>
              <a:gd name="connsiteY486" fmla="*/ 959589 h 4069169"/>
              <a:gd name="connsiteX487" fmla="*/ 1584074 w 5110790"/>
              <a:gd name="connsiteY487" fmla="*/ 957201 h 4069169"/>
              <a:gd name="connsiteX488" fmla="*/ 1564557 w 5110790"/>
              <a:gd name="connsiteY488" fmla="*/ 948834 h 4069169"/>
              <a:gd name="connsiteX489" fmla="*/ 1551872 w 5110790"/>
              <a:gd name="connsiteY489" fmla="*/ 932686 h 4069169"/>
              <a:gd name="connsiteX490" fmla="*/ 1547349 w 5110790"/>
              <a:gd name="connsiteY490" fmla="*/ 906953 h 4069169"/>
              <a:gd name="connsiteX491" fmla="*/ 1551872 w 5110790"/>
              <a:gd name="connsiteY491" fmla="*/ 880366 h 4069169"/>
              <a:gd name="connsiteX492" fmla="*/ 1564557 w 5110790"/>
              <a:gd name="connsiteY492" fmla="*/ 864313 h 4069169"/>
              <a:gd name="connsiteX493" fmla="*/ 1584074 w 5110790"/>
              <a:gd name="connsiteY493" fmla="*/ 856421 h 4069169"/>
              <a:gd name="connsiteX494" fmla="*/ 2879125 w 5110790"/>
              <a:gd name="connsiteY494" fmla="*/ 659976 h 4069169"/>
              <a:gd name="connsiteX495" fmla="*/ 2911305 w 5110790"/>
              <a:gd name="connsiteY495" fmla="*/ 661113 h 4069169"/>
              <a:gd name="connsiteX496" fmla="*/ 2941090 w 5110790"/>
              <a:gd name="connsiteY496" fmla="*/ 664495 h 4069169"/>
              <a:gd name="connsiteX497" fmla="*/ 2968561 w 5110790"/>
              <a:gd name="connsiteY497" fmla="*/ 670071 h 4069169"/>
              <a:gd name="connsiteX498" fmla="*/ 2993799 w 5110790"/>
              <a:gd name="connsiteY498" fmla="*/ 677791 h 4069169"/>
              <a:gd name="connsiteX499" fmla="*/ 3016884 w 5110790"/>
              <a:gd name="connsiteY499" fmla="*/ 687607 h 4069169"/>
              <a:gd name="connsiteX500" fmla="*/ 3037896 w 5110790"/>
              <a:gd name="connsiteY500" fmla="*/ 699468 h 4069169"/>
              <a:gd name="connsiteX501" fmla="*/ 3056916 w 5110790"/>
              <a:gd name="connsiteY501" fmla="*/ 713326 h 4069169"/>
              <a:gd name="connsiteX502" fmla="*/ 3074024 w 5110790"/>
              <a:gd name="connsiteY502" fmla="*/ 729131 h 4069169"/>
              <a:gd name="connsiteX503" fmla="*/ 3089302 w 5110790"/>
              <a:gd name="connsiteY503" fmla="*/ 746834 h 4069169"/>
              <a:gd name="connsiteX504" fmla="*/ 3102829 w 5110790"/>
              <a:gd name="connsiteY504" fmla="*/ 766386 h 4069169"/>
              <a:gd name="connsiteX505" fmla="*/ 3114685 w 5110790"/>
              <a:gd name="connsiteY505" fmla="*/ 787738 h 4069169"/>
              <a:gd name="connsiteX506" fmla="*/ 3124952 w 5110790"/>
              <a:gd name="connsiteY506" fmla="*/ 810839 h 4069169"/>
              <a:gd name="connsiteX507" fmla="*/ 3133709 w 5110790"/>
              <a:gd name="connsiteY507" fmla="*/ 835640 h 4069169"/>
              <a:gd name="connsiteX508" fmla="*/ 3141039 w 5110790"/>
              <a:gd name="connsiteY508" fmla="*/ 862093 h 4069169"/>
              <a:gd name="connsiteX509" fmla="*/ 3147019 w 5110790"/>
              <a:gd name="connsiteY509" fmla="*/ 890147 h 4069169"/>
              <a:gd name="connsiteX510" fmla="*/ 3151732 w 5110790"/>
              <a:gd name="connsiteY510" fmla="*/ 919755 h 4069169"/>
              <a:gd name="connsiteX511" fmla="*/ 3155257 w 5110790"/>
              <a:gd name="connsiteY511" fmla="*/ 950865 h 4069169"/>
              <a:gd name="connsiteX512" fmla="*/ 3157675 w 5110790"/>
              <a:gd name="connsiteY512" fmla="*/ 983429 h 4069169"/>
              <a:gd name="connsiteX513" fmla="*/ 3159067 w 5110790"/>
              <a:gd name="connsiteY513" fmla="*/ 1017397 h 4069169"/>
              <a:gd name="connsiteX514" fmla="*/ 3159514 w 5110790"/>
              <a:gd name="connsiteY514" fmla="*/ 1052721 h 4069169"/>
              <a:gd name="connsiteX515" fmla="*/ 3159089 w 5110790"/>
              <a:gd name="connsiteY515" fmla="*/ 1088196 h 4069169"/>
              <a:gd name="connsiteX516" fmla="*/ 3157757 w 5110790"/>
              <a:gd name="connsiteY516" fmla="*/ 1122316 h 4069169"/>
              <a:gd name="connsiteX517" fmla="*/ 3155431 w 5110790"/>
              <a:gd name="connsiteY517" fmla="*/ 1155029 h 4069169"/>
              <a:gd name="connsiteX518" fmla="*/ 3152023 w 5110790"/>
              <a:gd name="connsiteY518" fmla="*/ 1186287 h 4069169"/>
              <a:gd name="connsiteX519" fmla="*/ 3147446 w 5110790"/>
              <a:gd name="connsiteY519" fmla="*/ 1216038 h 4069169"/>
              <a:gd name="connsiteX520" fmla="*/ 3141612 w 5110790"/>
              <a:gd name="connsiteY520" fmla="*/ 1244233 h 4069169"/>
              <a:gd name="connsiteX521" fmla="*/ 3134435 w 5110790"/>
              <a:gd name="connsiteY521" fmla="*/ 1270822 h 4069169"/>
              <a:gd name="connsiteX522" fmla="*/ 3125826 w 5110790"/>
              <a:gd name="connsiteY522" fmla="*/ 1295754 h 4069169"/>
              <a:gd name="connsiteX523" fmla="*/ 3115700 w 5110790"/>
              <a:gd name="connsiteY523" fmla="*/ 1318979 h 4069169"/>
              <a:gd name="connsiteX524" fmla="*/ 3103967 w 5110790"/>
              <a:gd name="connsiteY524" fmla="*/ 1340448 h 4069169"/>
              <a:gd name="connsiteX525" fmla="*/ 3090542 w 5110790"/>
              <a:gd name="connsiteY525" fmla="*/ 1360110 h 4069169"/>
              <a:gd name="connsiteX526" fmla="*/ 3075336 w 5110790"/>
              <a:gd name="connsiteY526" fmla="*/ 1377914 h 4069169"/>
              <a:gd name="connsiteX527" fmla="*/ 3058263 w 5110790"/>
              <a:gd name="connsiteY527" fmla="*/ 1393812 h 4069169"/>
              <a:gd name="connsiteX528" fmla="*/ 3039235 w 5110790"/>
              <a:gd name="connsiteY528" fmla="*/ 1407753 h 4069169"/>
              <a:gd name="connsiteX529" fmla="*/ 3018165 w 5110790"/>
              <a:gd name="connsiteY529" fmla="*/ 1419686 h 4069169"/>
              <a:gd name="connsiteX530" fmla="*/ 2994965 w 5110790"/>
              <a:gd name="connsiteY530" fmla="*/ 1429562 h 4069169"/>
              <a:gd name="connsiteX531" fmla="*/ 2969548 w 5110790"/>
              <a:gd name="connsiteY531" fmla="*/ 1437331 h 4069169"/>
              <a:gd name="connsiteX532" fmla="*/ 2941828 w 5110790"/>
              <a:gd name="connsiteY532" fmla="*/ 1442942 h 4069169"/>
              <a:gd name="connsiteX533" fmla="*/ 2911716 w 5110790"/>
              <a:gd name="connsiteY533" fmla="*/ 1446346 h 4069169"/>
              <a:gd name="connsiteX534" fmla="*/ 2879125 w 5110790"/>
              <a:gd name="connsiteY534" fmla="*/ 1447491 h 4069169"/>
              <a:gd name="connsiteX535" fmla="*/ 2879125 w 5110790"/>
              <a:gd name="connsiteY535" fmla="*/ 1388782 h 4069169"/>
              <a:gd name="connsiteX536" fmla="*/ 2909252 w 5110790"/>
              <a:gd name="connsiteY536" fmla="*/ 1387428 h 4069169"/>
              <a:gd name="connsiteX537" fmla="*/ 2936490 w 5110790"/>
              <a:gd name="connsiteY537" fmla="*/ 1383413 h 4069169"/>
              <a:gd name="connsiteX538" fmla="*/ 2960977 w 5110790"/>
              <a:gd name="connsiteY538" fmla="*/ 1376811 h 4069169"/>
              <a:gd name="connsiteX539" fmla="*/ 2982849 w 5110790"/>
              <a:gd name="connsiteY539" fmla="*/ 1367691 h 4069169"/>
              <a:gd name="connsiteX540" fmla="*/ 3019298 w 5110790"/>
              <a:gd name="connsiteY540" fmla="*/ 1342188 h 4069169"/>
              <a:gd name="connsiteX541" fmla="*/ 3046935 w 5110790"/>
              <a:gd name="connsiteY541" fmla="*/ 1307477 h 4069169"/>
              <a:gd name="connsiteX542" fmla="*/ 3057792 w 5110790"/>
              <a:gd name="connsiteY542" fmla="*/ 1286848 h 4069169"/>
              <a:gd name="connsiteX543" fmla="*/ 3066859 w 5110790"/>
              <a:gd name="connsiteY543" fmla="*/ 1264133 h 4069169"/>
              <a:gd name="connsiteX544" fmla="*/ 3074271 w 5110790"/>
              <a:gd name="connsiteY544" fmla="*/ 1239402 h 4069169"/>
              <a:gd name="connsiteX545" fmla="*/ 3080167 w 5110790"/>
              <a:gd name="connsiteY545" fmla="*/ 1212729 h 4069169"/>
              <a:gd name="connsiteX546" fmla="*/ 3084682 w 5110790"/>
              <a:gd name="connsiteY546" fmla="*/ 1184184 h 4069169"/>
              <a:gd name="connsiteX547" fmla="*/ 3087956 w 5110790"/>
              <a:gd name="connsiteY547" fmla="*/ 1153838 h 4069169"/>
              <a:gd name="connsiteX548" fmla="*/ 3090124 w 5110790"/>
              <a:gd name="connsiteY548" fmla="*/ 1121765 h 4069169"/>
              <a:gd name="connsiteX549" fmla="*/ 3091324 w 5110790"/>
              <a:gd name="connsiteY549" fmla="*/ 1088036 h 4069169"/>
              <a:gd name="connsiteX550" fmla="*/ 3091694 w 5110790"/>
              <a:gd name="connsiteY550" fmla="*/ 1052721 h 4069169"/>
              <a:gd name="connsiteX551" fmla="*/ 3091305 w 5110790"/>
              <a:gd name="connsiteY551" fmla="*/ 1017753 h 4069169"/>
              <a:gd name="connsiteX552" fmla="*/ 3090050 w 5110790"/>
              <a:gd name="connsiteY552" fmla="*/ 984350 h 4069169"/>
              <a:gd name="connsiteX553" fmla="*/ 3087800 w 5110790"/>
              <a:gd name="connsiteY553" fmla="*/ 952581 h 4069169"/>
              <a:gd name="connsiteX554" fmla="*/ 3084425 w 5110790"/>
              <a:gd name="connsiteY554" fmla="*/ 922520 h 4069169"/>
              <a:gd name="connsiteX555" fmla="*/ 3079795 w 5110790"/>
              <a:gd name="connsiteY555" fmla="*/ 894237 h 4069169"/>
              <a:gd name="connsiteX556" fmla="*/ 3073782 w 5110790"/>
              <a:gd name="connsiteY556" fmla="*/ 867805 h 4069169"/>
              <a:gd name="connsiteX557" fmla="*/ 3066253 w 5110790"/>
              <a:gd name="connsiteY557" fmla="*/ 843295 h 4069169"/>
              <a:gd name="connsiteX558" fmla="*/ 3057081 w 5110790"/>
              <a:gd name="connsiteY558" fmla="*/ 820780 h 4069169"/>
              <a:gd name="connsiteX559" fmla="*/ 3046134 w 5110790"/>
              <a:gd name="connsiteY559" fmla="*/ 800330 h 4069169"/>
              <a:gd name="connsiteX560" fmla="*/ 3018400 w 5110790"/>
              <a:gd name="connsiteY560" fmla="*/ 765914 h 4069169"/>
              <a:gd name="connsiteX561" fmla="*/ 2982013 w 5110790"/>
              <a:gd name="connsiteY561" fmla="*/ 740620 h 4069169"/>
              <a:gd name="connsiteX562" fmla="*/ 2960250 w 5110790"/>
              <a:gd name="connsiteY562" fmla="*/ 731574 h 4069169"/>
              <a:gd name="connsiteX563" fmla="*/ 2935934 w 5110790"/>
              <a:gd name="connsiteY563" fmla="*/ 725024 h 4069169"/>
              <a:gd name="connsiteX564" fmla="*/ 2908936 w 5110790"/>
              <a:gd name="connsiteY564" fmla="*/ 721041 h 4069169"/>
              <a:gd name="connsiteX565" fmla="*/ 2879125 w 5110790"/>
              <a:gd name="connsiteY565" fmla="*/ 719697 h 4069169"/>
              <a:gd name="connsiteX566" fmla="*/ 2565698 w 5110790"/>
              <a:gd name="connsiteY566" fmla="*/ 659976 h 4069169"/>
              <a:gd name="connsiteX567" fmla="*/ 2565698 w 5110790"/>
              <a:gd name="connsiteY567" fmla="*/ 719697 h 4069169"/>
              <a:gd name="connsiteX568" fmla="*/ 2536056 w 5110790"/>
              <a:gd name="connsiteY568" fmla="*/ 721041 h 4069169"/>
              <a:gd name="connsiteX569" fmla="*/ 2509206 w 5110790"/>
              <a:gd name="connsiteY569" fmla="*/ 725024 h 4069169"/>
              <a:gd name="connsiteX570" fmla="*/ 2485020 w 5110790"/>
              <a:gd name="connsiteY570" fmla="*/ 731574 h 4069169"/>
              <a:gd name="connsiteX571" fmla="*/ 2463369 w 5110790"/>
              <a:gd name="connsiteY571" fmla="*/ 740620 h 4069169"/>
              <a:gd name="connsiteX572" fmla="*/ 2427161 w 5110790"/>
              <a:gd name="connsiteY572" fmla="*/ 765914 h 4069169"/>
              <a:gd name="connsiteX573" fmla="*/ 2399551 w 5110790"/>
              <a:gd name="connsiteY573" fmla="*/ 800330 h 4069169"/>
              <a:gd name="connsiteX574" fmla="*/ 2388649 w 5110790"/>
              <a:gd name="connsiteY574" fmla="*/ 820780 h 4069169"/>
              <a:gd name="connsiteX575" fmla="*/ 2379511 w 5110790"/>
              <a:gd name="connsiteY575" fmla="*/ 843295 h 4069169"/>
              <a:gd name="connsiteX576" fmla="*/ 2372009 w 5110790"/>
              <a:gd name="connsiteY576" fmla="*/ 867805 h 4069169"/>
              <a:gd name="connsiteX577" fmla="*/ 2366014 w 5110790"/>
              <a:gd name="connsiteY577" fmla="*/ 894237 h 4069169"/>
              <a:gd name="connsiteX578" fmla="*/ 2361397 w 5110790"/>
              <a:gd name="connsiteY578" fmla="*/ 922520 h 4069169"/>
              <a:gd name="connsiteX579" fmla="*/ 2358029 w 5110790"/>
              <a:gd name="connsiteY579" fmla="*/ 952581 h 4069169"/>
              <a:gd name="connsiteX580" fmla="*/ 2355783 w 5110790"/>
              <a:gd name="connsiteY580" fmla="*/ 984350 h 4069169"/>
              <a:gd name="connsiteX581" fmla="*/ 2354530 w 5110790"/>
              <a:gd name="connsiteY581" fmla="*/ 1017753 h 4069169"/>
              <a:gd name="connsiteX582" fmla="*/ 2354141 w 5110790"/>
              <a:gd name="connsiteY582" fmla="*/ 1052721 h 4069169"/>
              <a:gd name="connsiteX583" fmla="*/ 2354520 w 5110790"/>
              <a:gd name="connsiteY583" fmla="*/ 1088036 h 4069169"/>
              <a:gd name="connsiteX584" fmla="*/ 2355746 w 5110790"/>
              <a:gd name="connsiteY584" fmla="*/ 1121765 h 4069169"/>
              <a:gd name="connsiteX585" fmla="*/ 2357952 w 5110790"/>
              <a:gd name="connsiteY585" fmla="*/ 1153838 h 4069169"/>
              <a:gd name="connsiteX586" fmla="*/ 2361268 w 5110790"/>
              <a:gd name="connsiteY586" fmla="*/ 1184184 h 4069169"/>
              <a:gd name="connsiteX587" fmla="*/ 2365828 w 5110790"/>
              <a:gd name="connsiteY587" fmla="*/ 1212729 h 4069169"/>
              <a:gd name="connsiteX588" fmla="*/ 2371764 w 5110790"/>
              <a:gd name="connsiteY588" fmla="*/ 1239402 h 4069169"/>
              <a:gd name="connsiteX589" fmla="*/ 2379208 w 5110790"/>
              <a:gd name="connsiteY589" fmla="*/ 1264133 h 4069169"/>
              <a:gd name="connsiteX590" fmla="*/ 2388293 w 5110790"/>
              <a:gd name="connsiteY590" fmla="*/ 1286848 h 4069169"/>
              <a:gd name="connsiteX591" fmla="*/ 2399150 w 5110790"/>
              <a:gd name="connsiteY591" fmla="*/ 1307477 h 4069169"/>
              <a:gd name="connsiteX592" fmla="*/ 2426712 w 5110790"/>
              <a:gd name="connsiteY592" fmla="*/ 1342188 h 4069169"/>
              <a:gd name="connsiteX593" fmla="*/ 2462952 w 5110790"/>
              <a:gd name="connsiteY593" fmla="*/ 1367691 h 4069169"/>
              <a:gd name="connsiteX594" fmla="*/ 2484656 w 5110790"/>
              <a:gd name="connsiteY594" fmla="*/ 1376811 h 4069169"/>
              <a:gd name="connsiteX595" fmla="*/ 2508928 w 5110790"/>
              <a:gd name="connsiteY595" fmla="*/ 1383413 h 4069169"/>
              <a:gd name="connsiteX596" fmla="*/ 2535898 w 5110790"/>
              <a:gd name="connsiteY596" fmla="*/ 1387428 h 4069169"/>
              <a:gd name="connsiteX597" fmla="*/ 2565698 w 5110790"/>
              <a:gd name="connsiteY597" fmla="*/ 1388782 h 4069169"/>
              <a:gd name="connsiteX598" fmla="*/ 2565698 w 5110790"/>
              <a:gd name="connsiteY598" fmla="*/ 1447491 h 4069169"/>
              <a:gd name="connsiteX599" fmla="*/ 2533244 w 5110790"/>
              <a:gd name="connsiteY599" fmla="*/ 1446346 h 4069169"/>
              <a:gd name="connsiteX600" fmla="*/ 2503241 w 5110790"/>
              <a:gd name="connsiteY600" fmla="*/ 1442942 h 4069169"/>
              <a:gd name="connsiteX601" fmla="*/ 2475603 w 5110790"/>
              <a:gd name="connsiteY601" fmla="*/ 1437331 h 4069169"/>
              <a:gd name="connsiteX602" fmla="*/ 2450247 w 5110790"/>
              <a:gd name="connsiteY602" fmla="*/ 1429562 h 4069169"/>
              <a:gd name="connsiteX603" fmla="*/ 2427085 w 5110790"/>
              <a:gd name="connsiteY603" fmla="*/ 1419686 h 4069169"/>
              <a:gd name="connsiteX604" fmla="*/ 2406034 w 5110790"/>
              <a:gd name="connsiteY604" fmla="*/ 1407753 h 4069169"/>
              <a:gd name="connsiteX605" fmla="*/ 2387009 w 5110790"/>
              <a:gd name="connsiteY605" fmla="*/ 1393812 h 4069169"/>
              <a:gd name="connsiteX606" fmla="*/ 2369924 w 5110790"/>
              <a:gd name="connsiteY606" fmla="*/ 1377914 h 4069169"/>
              <a:gd name="connsiteX607" fmla="*/ 2354694 w 5110790"/>
              <a:gd name="connsiteY607" fmla="*/ 1360110 h 4069169"/>
              <a:gd name="connsiteX608" fmla="*/ 2341235 w 5110790"/>
              <a:gd name="connsiteY608" fmla="*/ 1340448 h 4069169"/>
              <a:gd name="connsiteX609" fmla="*/ 2329461 w 5110790"/>
              <a:gd name="connsiteY609" fmla="*/ 1318979 h 4069169"/>
              <a:gd name="connsiteX610" fmla="*/ 2319288 w 5110790"/>
              <a:gd name="connsiteY610" fmla="*/ 1295754 h 4069169"/>
              <a:gd name="connsiteX611" fmla="*/ 2310630 w 5110790"/>
              <a:gd name="connsiteY611" fmla="*/ 1270822 h 4069169"/>
              <a:gd name="connsiteX612" fmla="*/ 2303402 w 5110790"/>
              <a:gd name="connsiteY612" fmla="*/ 1244233 h 4069169"/>
              <a:gd name="connsiteX613" fmla="*/ 2297519 w 5110790"/>
              <a:gd name="connsiteY613" fmla="*/ 1216038 h 4069169"/>
              <a:gd name="connsiteX614" fmla="*/ 2292897 w 5110790"/>
              <a:gd name="connsiteY614" fmla="*/ 1186287 h 4069169"/>
              <a:gd name="connsiteX615" fmla="*/ 2289449 w 5110790"/>
              <a:gd name="connsiteY615" fmla="*/ 1155029 h 4069169"/>
              <a:gd name="connsiteX616" fmla="*/ 2287092 w 5110790"/>
              <a:gd name="connsiteY616" fmla="*/ 1122316 h 4069169"/>
              <a:gd name="connsiteX617" fmla="*/ 2285740 w 5110790"/>
              <a:gd name="connsiteY617" fmla="*/ 1088196 h 4069169"/>
              <a:gd name="connsiteX618" fmla="*/ 2285309 w 5110790"/>
              <a:gd name="connsiteY618" fmla="*/ 1052721 h 4069169"/>
              <a:gd name="connsiteX619" fmla="*/ 2285755 w 5110790"/>
              <a:gd name="connsiteY619" fmla="*/ 1017397 h 4069169"/>
              <a:gd name="connsiteX620" fmla="*/ 2287147 w 5110790"/>
              <a:gd name="connsiteY620" fmla="*/ 983429 h 4069169"/>
              <a:gd name="connsiteX621" fmla="*/ 2289566 w 5110790"/>
              <a:gd name="connsiteY621" fmla="*/ 950865 h 4069169"/>
              <a:gd name="connsiteX622" fmla="*/ 2293091 w 5110790"/>
              <a:gd name="connsiteY622" fmla="*/ 919755 h 4069169"/>
              <a:gd name="connsiteX623" fmla="*/ 2297804 w 5110790"/>
              <a:gd name="connsiteY623" fmla="*/ 890147 h 4069169"/>
              <a:gd name="connsiteX624" fmla="*/ 2303784 w 5110790"/>
              <a:gd name="connsiteY624" fmla="*/ 862093 h 4069169"/>
              <a:gd name="connsiteX625" fmla="*/ 2311113 w 5110790"/>
              <a:gd name="connsiteY625" fmla="*/ 835640 h 4069169"/>
              <a:gd name="connsiteX626" fmla="*/ 2319870 w 5110790"/>
              <a:gd name="connsiteY626" fmla="*/ 810839 h 4069169"/>
              <a:gd name="connsiteX627" fmla="*/ 2330137 w 5110790"/>
              <a:gd name="connsiteY627" fmla="*/ 787738 h 4069169"/>
              <a:gd name="connsiteX628" fmla="*/ 2341994 w 5110790"/>
              <a:gd name="connsiteY628" fmla="*/ 766386 h 4069169"/>
              <a:gd name="connsiteX629" fmla="*/ 2355521 w 5110790"/>
              <a:gd name="connsiteY629" fmla="*/ 746834 h 4069169"/>
              <a:gd name="connsiteX630" fmla="*/ 2370798 w 5110790"/>
              <a:gd name="connsiteY630" fmla="*/ 729131 h 4069169"/>
              <a:gd name="connsiteX631" fmla="*/ 2387907 w 5110790"/>
              <a:gd name="connsiteY631" fmla="*/ 713326 h 4069169"/>
              <a:gd name="connsiteX632" fmla="*/ 2406927 w 5110790"/>
              <a:gd name="connsiteY632" fmla="*/ 699468 h 4069169"/>
              <a:gd name="connsiteX633" fmla="*/ 2427939 w 5110790"/>
              <a:gd name="connsiteY633" fmla="*/ 687607 h 4069169"/>
              <a:gd name="connsiteX634" fmla="*/ 2451024 w 5110790"/>
              <a:gd name="connsiteY634" fmla="*/ 677791 h 4069169"/>
              <a:gd name="connsiteX635" fmla="*/ 2476262 w 5110790"/>
              <a:gd name="connsiteY635" fmla="*/ 670071 h 4069169"/>
              <a:gd name="connsiteX636" fmla="*/ 2503733 w 5110790"/>
              <a:gd name="connsiteY636" fmla="*/ 664495 h 4069169"/>
              <a:gd name="connsiteX637" fmla="*/ 2533518 w 5110790"/>
              <a:gd name="connsiteY637" fmla="*/ 661113 h 4069169"/>
              <a:gd name="connsiteX638" fmla="*/ 1358847 w 5110790"/>
              <a:gd name="connsiteY638" fmla="*/ 0 h 4069169"/>
              <a:gd name="connsiteX639" fmla="*/ 1439826 w 5110790"/>
              <a:gd name="connsiteY639" fmla="*/ 0 h 4069169"/>
              <a:gd name="connsiteX640" fmla="*/ 1554207 w 5110790"/>
              <a:gd name="connsiteY640" fmla="*/ 209532 h 4069169"/>
              <a:gd name="connsiteX641" fmla="*/ 1437801 w 5110790"/>
              <a:gd name="connsiteY641" fmla="*/ 425136 h 4069169"/>
              <a:gd name="connsiteX642" fmla="*/ 1358847 w 5110790"/>
              <a:gd name="connsiteY642" fmla="*/ 425136 h 4069169"/>
              <a:gd name="connsiteX643" fmla="*/ 1458045 w 5110790"/>
              <a:gd name="connsiteY643" fmla="*/ 239899 h 4069169"/>
              <a:gd name="connsiteX644" fmla="*/ 1068337 w 5110790"/>
              <a:gd name="connsiteY644" fmla="*/ 239899 h 4069169"/>
              <a:gd name="connsiteX645" fmla="*/ 1068337 w 5110790"/>
              <a:gd name="connsiteY645" fmla="*/ 175116 h 4069169"/>
              <a:gd name="connsiteX646" fmla="*/ 1456021 w 5110790"/>
              <a:gd name="connsiteY646" fmla="*/ 175116 h 4069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Lst>
            <a:rect l="l" t="t" r="r" b="b"/>
            <a:pathLst>
              <a:path w="5110790" h="4069169">
                <a:moveTo>
                  <a:pt x="1358848" y="3644032"/>
                </a:moveTo>
                <a:lnTo>
                  <a:pt x="1439827" y="3644032"/>
                </a:lnTo>
                <a:lnTo>
                  <a:pt x="1554208" y="3853564"/>
                </a:lnTo>
                <a:lnTo>
                  <a:pt x="1437802" y="4069169"/>
                </a:lnTo>
                <a:lnTo>
                  <a:pt x="1358848" y="4069169"/>
                </a:lnTo>
                <a:lnTo>
                  <a:pt x="1458046" y="3883931"/>
                </a:lnTo>
                <a:lnTo>
                  <a:pt x="1068338" y="3883931"/>
                </a:lnTo>
                <a:lnTo>
                  <a:pt x="1068338" y="3819148"/>
                </a:lnTo>
                <a:lnTo>
                  <a:pt x="1456022" y="3819148"/>
                </a:lnTo>
                <a:close/>
                <a:moveTo>
                  <a:pt x="3579243" y="3101476"/>
                </a:moveTo>
                <a:lnTo>
                  <a:pt x="3604850" y="3103707"/>
                </a:lnTo>
                <a:lnTo>
                  <a:pt x="3624668" y="3111725"/>
                </a:lnTo>
                <a:lnTo>
                  <a:pt x="3637463" y="3127526"/>
                </a:lnTo>
                <a:lnTo>
                  <a:pt x="3642002" y="3153100"/>
                </a:lnTo>
                <a:lnTo>
                  <a:pt x="3637463" y="3179845"/>
                </a:lnTo>
                <a:lnTo>
                  <a:pt x="3624668" y="3196247"/>
                </a:lnTo>
                <a:lnTo>
                  <a:pt x="3604850" y="3204487"/>
                </a:lnTo>
                <a:lnTo>
                  <a:pt x="3579243" y="3206749"/>
                </a:lnTo>
                <a:lnTo>
                  <a:pt x="3553637" y="3204487"/>
                </a:lnTo>
                <a:lnTo>
                  <a:pt x="3533820" y="3196247"/>
                </a:lnTo>
                <a:lnTo>
                  <a:pt x="3521024" y="3179845"/>
                </a:lnTo>
                <a:lnTo>
                  <a:pt x="3516485" y="3153100"/>
                </a:lnTo>
                <a:lnTo>
                  <a:pt x="3521166" y="3127526"/>
                </a:lnTo>
                <a:lnTo>
                  <a:pt x="3534199" y="3111725"/>
                </a:lnTo>
                <a:lnTo>
                  <a:pt x="3554064" y="3103707"/>
                </a:lnTo>
                <a:close/>
                <a:moveTo>
                  <a:pt x="1609095" y="3101476"/>
                </a:moveTo>
                <a:lnTo>
                  <a:pt x="1634701" y="3103707"/>
                </a:lnTo>
                <a:lnTo>
                  <a:pt x="1654519" y="3111725"/>
                </a:lnTo>
                <a:lnTo>
                  <a:pt x="1667313" y="3127526"/>
                </a:lnTo>
                <a:lnTo>
                  <a:pt x="1671852" y="3153100"/>
                </a:lnTo>
                <a:lnTo>
                  <a:pt x="1667313" y="3179845"/>
                </a:lnTo>
                <a:lnTo>
                  <a:pt x="1654519" y="3196247"/>
                </a:lnTo>
                <a:lnTo>
                  <a:pt x="1634701" y="3204487"/>
                </a:lnTo>
                <a:lnTo>
                  <a:pt x="1609095" y="3206749"/>
                </a:lnTo>
                <a:lnTo>
                  <a:pt x="1583490" y="3204487"/>
                </a:lnTo>
                <a:lnTo>
                  <a:pt x="1563672" y="3196247"/>
                </a:lnTo>
                <a:lnTo>
                  <a:pt x="1550877" y="3179845"/>
                </a:lnTo>
                <a:lnTo>
                  <a:pt x="1546338" y="3153100"/>
                </a:lnTo>
                <a:lnTo>
                  <a:pt x="1551019" y="3127526"/>
                </a:lnTo>
                <a:lnTo>
                  <a:pt x="1564051" y="3111725"/>
                </a:lnTo>
                <a:lnTo>
                  <a:pt x="1583917" y="3103707"/>
                </a:lnTo>
                <a:close/>
                <a:moveTo>
                  <a:pt x="3579243" y="2676340"/>
                </a:moveTo>
                <a:lnTo>
                  <a:pt x="3604850" y="2678443"/>
                </a:lnTo>
                <a:lnTo>
                  <a:pt x="3624668" y="2686335"/>
                </a:lnTo>
                <a:lnTo>
                  <a:pt x="3637463" y="2702388"/>
                </a:lnTo>
                <a:lnTo>
                  <a:pt x="3642002" y="2728976"/>
                </a:lnTo>
                <a:lnTo>
                  <a:pt x="3637463" y="2754708"/>
                </a:lnTo>
                <a:lnTo>
                  <a:pt x="3624668" y="2770857"/>
                </a:lnTo>
                <a:lnTo>
                  <a:pt x="3604850" y="2779223"/>
                </a:lnTo>
                <a:lnTo>
                  <a:pt x="3579243" y="2781612"/>
                </a:lnTo>
                <a:lnTo>
                  <a:pt x="3554223" y="2779223"/>
                </a:lnTo>
                <a:lnTo>
                  <a:pt x="3534706" y="2770857"/>
                </a:lnTo>
                <a:lnTo>
                  <a:pt x="3522021" y="2754708"/>
                </a:lnTo>
                <a:lnTo>
                  <a:pt x="3517498" y="2728976"/>
                </a:lnTo>
                <a:lnTo>
                  <a:pt x="3522021" y="2702388"/>
                </a:lnTo>
                <a:lnTo>
                  <a:pt x="3534706" y="2686335"/>
                </a:lnTo>
                <a:lnTo>
                  <a:pt x="3554223" y="2678443"/>
                </a:lnTo>
                <a:close/>
                <a:moveTo>
                  <a:pt x="1609095" y="2676340"/>
                </a:moveTo>
                <a:lnTo>
                  <a:pt x="1634701" y="2678443"/>
                </a:lnTo>
                <a:lnTo>
                  <a:pt x="1654519" y="2686335"/>
                </a:lnTo>
                <a:lnTo>
                  <a:pt x="1667313" y="2702388"/>
                </a:lnTo>
                <a:lnTo>
                  <a:pt x="1671852" y="2728976"/>
                </a:lnTo>
                <a:lnTo>
                  <a:pt x="1667313" y="2754708"/>
                </a:lnTo>
                <a:lnTo>
                  <a:pt x="1654519" y="2770857"/>
                </a:lnTo>
                <a:lnTo>
                  <a:pt x="1634701" y="2779223"/>
                </a:lnTo>
                <a:lnTo>
                  <a:pt x="1609095" y="2781612"/>
                </a:lnTo>
                <a:lnTo>
                  <a:pt x="1584075" y="2779223"/>
                </a:lnTo>
                <a:lnTo>
                  <a:pt x="1564558" y="2770857"/>
                </a:lnTo>
                <a:lnTo>
                  <a:pt x="1551873" y="2754708"/>
                </a:lnTo>
                <a:lnTo>
                  <a:pt x="1547350" y="2728976"/>
                </a:lnTo>
                <a:lnTo>
                  <a:pt x="1551873" y="2702388"/>
                </a:lnTo>
                <a:lnTo>
                  <a:pt x="1564558" y="2686335"/>
                </a:lnTo>
                <a:lnTo>
                  <a:pt x="1584075" y="2678443"/>
                </a:lnTo>
                <a:close/>
                <a:moveTo>
                  <a:pt x="2879125" y="2481992"/>
                </a:moveTo>
                <a:lnTo>
                  <a:pt x="2911305" y="2483129"/>
                </a:lnTo>
                <a:lnTo>
                  <a:pt x="2941090" y="2486511"/>
                </a:lnTo>
                <a:lnTo>
                  <a:pt x="2968561" y="2492087"/>
                </a:lnTo>
                <a:lnTo>
                  <a:pt x="2993799" y="2499807"/>
                </a:lnTo>
                <a:lnTo>
                  <a:pt x="3016884" y="2509622"/>
                </a:lnTo>
                <a:lnTo>
                  <a:pt x="3037896" y="2521483"/>
                </a:lnTo>
                <a:lnTo>
                  <a:pt x="3056916" y="2535342"/>
                </a:lnTo>
                <a:lnTo>
                  <a:pt x="3074024" y="2551147"/>
                </a:lnTo>
                <a:lnTo>
                  <a:pt x="3089302" y="2568850"/>
                </a:lnTo>
                <a:lnTo>
                  <a:pt x="3102829" y="2588403"/>
                </a:lnTo>
                <a:lnTo>
                  <a:pt x="3114685" y="2609754"/>
                </a:lnTo>
                <a:lnTo>
                  <a:pt x="3124952" y="2632854"/>
                </a:lnTo>
                <a:lnTo>
                  <a:pt x="3133709" y="2657656"/>
                </a:lnTo>
                <a:lnTo>
                  <a:pt x="3141039" y="2684109"/>
                </a:lnTo>
                <a:lnTo>
                  <a:pt x="3147019" y="2712163"/>
                </a:lnTo>
                <a:lnTo>
                  <a:pt x="3151732" y="2741770"/>
                </a:lnTo>
                <a:lnTo>
                  <a:pt x="3155257" y="2772881"/>
                </a:lnTo>
                <a:lnTo>
                  <a:pt x="3157675" y="2805445"/>
                </a:lnTo>
                <a:lnTo>
                  <a:pt x="3159067" y="2839413"/>
                </a:lnTo>
                <a:lnTo>
                  <a:pt x="3159514" y="2874737"/>
                </a:lnTo>
                <a:lnTo>
                  <a:pt x="3159089" y="2910212"/>
                </a:lnTo>
                <a:lnTo>
                  <a:pt x="3157757" y="2944332"/>
                </a:lnTo>
                <a:lnTo>
                  <a:pt x="3155431" y="2977045"/>
                </a:lnTo>
                <a:lnTo>
                  <a:pt x="3152023" y="3008303"/>
                </a:lnTo>
                <a:lnTo>
                  <a:pt x="3147446" y="3038054"/>
                </a:lnTo>
                <a:lnTo>
                  <a:pt x="3141612" y="3066249"/>
                </a:lnTo>
                <a:lnTo>
                  <a:pt x="3134435" y="3092837"/>
                </a:lnTo>
                <a:lnTo>
                  <a:pt x="3125826" y="3117770"/>
                </a:lnTo>
                <a:lnTo>
                  <a:pt x="3115700" y="3140995"/>
                </a:lnTo>
                <a:lnTo>
                  <a:pt x="3103967" y="3162464"/>
                </a:lnTo>
                <a:lnTo>
                  <a:pt x="3090542" y="3182126"/>
                </a:lnTo>
                <a:lnTo>
                  <a:pt x="3075336" y="3199931"/>
                </a:lnTo>
                <a:lnTo>
                  <a:pt x="3058263" y="3215828"/>
                </a:lnTo>
                <a:lnTo>
                  <a:pt x="3039235" y="3229769"/>
                </a:lnTo>
                <a:lnTo>
                  <a:pt x="3018165" y="3241703"/>
                </a:lnTo>
                <a:lnTo>
                  <a:pt x="2994965" y="3251579"/>
                </a:lnTo>
                <a:lnTo>
                  <a:pt x="2969548" y="3259347"/>
                </a:lnTo>
                <a:lnTo>
                  <a:pt x="2941828" y="3264959"/>
                </a:lnTo>
                <a:lnTo>
                  <a:pt x="2911716" y="3268362"/>
                </a:lnTo>
                <a:lnTo>
                  <a:pt x="2879125" y="3269508"/>
                </a:lnTo>
                <a:lnTo>
                  <a:pt x="2879125" y="3210798"/>
                </a:lnTo>
                <a:lnTo>
                  <a:pt x="2909252" y="3209444"/>
                </a:lnTo>
                <a:lnTo>
                  <a:pt x="2936490" y="3205429"/>
                </a:lnTo>
                <a:lnTo>
                  <a:pt x="2960977" y="3198827"/>
                </a:lnTo>
                <a:lnTo>
                  <a:pt x="2982849" y="3189707"/>
                </a:lnTo>
                <a:lnTo>
                  <a:pt x="3019298" y="3164203"/>
                </a:lnTo>
                <a:lnTo>
                  <a:pt x="3046935" y="3129493"/>
                </a:lnTo>
                <a:lnTo>
                  <a:pt x="3057792" y="3108864"/>
                </a:lnTo>
                <a:lnTo>
                  <a:pt x="3066859" y="3086149"/>
                </a:lnTo>
                <a:lnTo>
                  <a:pt x="3074271" y="3061419"/>
                </a:lnTo>
                <a:lnTo>
                  <a:pt x="3080167" y="3034745"/>
                </a:lnTo>
                <a:lnTo>
                  <a:pt x="3084682" y="3006199"/>
                </a:lnTo>
                <a:lnTo>
                  <a:pt x="3087956" y="2975855"/>
                </a:lnTo>
                <a:lnTo>
                  <a:pt x="3090124" y="2943781"/>
                </a:lnTo>
                <a:lnTo>
                  <a:pt x="3091324" y="2910051"/>
                </a:lnTo>
                <a:lnTo>
                  <a:pt x="3091694" y="2874737"/>
                </a:lnTo>
                <a:lnTo>
                  <a:pt x="3091305" y="2839769"/>
                </a:lnTo>
                <a:lnTo>
                  <a:pt x="3090050" y="2806365"/>
                </a:lnTo>
                <a:lnTo>
                  <a:pt x="3087800" y="2774596"/>
                </a:lnTo>
                <a:lnTo>
                  <a:pt x="3084425" y="2744535"/>
                </a:lnTo>
                <a:lnTo>
                  <a:pt x="3079795" y="2716252"/>
                </a:lnTo>
                <a:lnTo>
                  <a:pt x="3073782" y="2689820"/>
                </a:lnTo>
                <a:lnTo>
                  <a:pt x="3066253" y="2665311"/>
                </a:lnTo>
                <a:lnTo>
                  <a:pt x="3057081" y="2642795"/>
                </a:lnTo>
                <a:lnTo>
                  <a:pt x="3046134" y="2622345"/>
                </a:lnTo>
                <a:lnTo>
                  <a:pt x="3018400" y="2587929"/>
                </a:lnTo>
                <a:lnTo>
                  <a:pt x="2982013" y="2562635"/>
                </a:lnTo>
                <a:lnTo>
                  <a:pt x="2960250" y="2553590"/>
                </a:lnTo>
                <a:lnTo>
                  <a:pt x="2935934" y="2547039"/>
                </a:lnTo>
                <a:lnTo>
                  <a:pt x="2908936" y="2543056"/>
                </a:lnTo>
                <a:lnTo>
                  <a:pt x="2879125" y="2541713"/>
                </a:lnTo>
                <a:close/>
                <a:moveTo>
                  <a:pt x="2565698" y="2481992"/>
                </a:moveTo>
                <a:lnTo>
                  <a:pt x="2565698" y="2541713"/>
                </a:lnTo>
                <a:lnTo>
                  <a:pt x="2536056" y="2543056"/>
                </a:lnTo>
                <a:lnTo>
                  <a:pt x="2509206" y="2547039"/>
                </a:lnTo>
                <a:lnTo>
                  <a:pt x="2485020" y="2553590"/>
                </a:lnTo>
                <a:lnTo>
                  <a:pt x="2463369" y="2562635"/>
                </a:lnTo>
                <a:lnTo>
                  <a:pt x="2427161" y="2587929"/>
                </a:lnTo>
                <a:lnTo>
                  <a:pt x="2399551" y="2622345"/>
                </a:lnTo>
                <a:lnTo>
                  <a:pt x="2388649" y="2642795"/>
                </a:lnTo>
                <a:lnTo>
                  <a:pt x="2379511" y="2665311"/>
                </a:lnTo>
                <a:lnTo>
                  <a:pt x="2372009" y="2689820"/>
                </a:lnTo>
                <a:lnTo>
                  <a:pt x="2366014" y="2716252"/>
                </a:lnTo>
                <a:lnTo>
                  <a:pt x="2361397" y="2744535"/>
                </a:lnTo>
                <a:lnTo>
                  <a:pt x="2358029" y="2774596"/>
                </a:lnTo>
                <a:lnTo>
                  <a:pt x="2355783" y="2806365"/>
                </a:lnTo>
                <a:lnTo>
                  <a:pt x="2354530" y="2839769"/>
                </a:lnTo>
                <a:lnTo>
                  <a:pt x="2354141" y="2874737"/>
                </a:lnTo>
                <a:lnTo>
                  <a:pt x="2354520" y="2910051"/>
                </a:lnTo>
                <a:lnTo>
                  <a:pt x="2355746" y="2943781"/>
                </a:lnTo>
                <a:lnTo>
                  <a:pt x="2357952" y="2975855"/>
                </a:lnTo>
                <a:lnTo>
                  <a:pt x="2361268" y="3006199"/>
                </a:lnTo>
                <a:lnTo>
                  <a:pt x="2365828" y="3034745"/>
                </a:lnTo>
                <a:lnTo>
                  <a:pt x="2371764" y="3061419"/>
                </a:lnTo>
                <a:lnTo>
                  <a:pt x="2379208" y="3086149"/>
                </a:lnTo>
                <a:lnTo>
                  <a:pt x="2388293" y="3108864"/>
                </a:lnTo>
                <a:lnTo>
                  <a:pt x="2399150" y="3129493"/>
                </a:lnTo>
                <a:lnTo>
                  <a:pt x="2426712" y="3164203"/>
                </a:lnTo>
                <a:lnTo>
                  <a:pt x="2462952" y="3189707"/>
                </a:lnTo>
                <a:lnTo>
                  <a:pt x="2484656" y="3198827"/>
                </a:lnTo>
                <a:lnTo>
                  <a:pt x="2508928" y="3205429"/>
                </a:lnTo>
                <a:lnTo>
                  <a:pt x="2535898" y="3209444"/>
                </a:lnTo>
                <a:lnTo>
                  <a:pt x="2565698" y="3210798"/>
                </a:lnTo>
                <a:lnTo>
                  <a:pt x="2565698" y="3269508"/>
                </a:lnTo>
                <a:lnTo>
                  <a:pt x="2533244" y="3268362"/>
                </a:lnTo>
                <a:lnTo>
                  <a:pt x="2503241" y="3264959"/>
                </a:lnTo>
                <a:lnTo>
                  <a:pt x="2475603" y="3259347"/>
                </a:lnTo>
                <a:lnTo>
                  <a:pt x="2450247" y="3251579"/>
                </a:lnTo>
                <a:lnTo>
                  <a:pt x="2427085" y="3241703"/>
                </a:lnTo>
                <a:lnTo>
                  <a:pt x="2406034" y="3229769"/>
                </a:lnTo>
                <a:lnTo>
                  <a:pt x="2387009" y="3215828"/>
                </a:lnTo>
                <a:lnTo>
                  <a:pt x="2369924" y="3199931"/>
                </a:lnTo>
                <a:lnTo>
                  <a:pt x="2354694" y="3182126"/>
                </a:lnTo>
                <a:lnTo>
                  <a:pt x="2341235" y="3162464"/>
                </a:lnTo>
                <a:lnTo>
                  <a:pt x="2329461" y="3140995"/>
                </a:lnTo>
                <a:lnTo>
                  <a:pt x="2319288" y="3117770"/>
                </a:lnTo>
                <a:lnTo>
                  <a:pt x="2310630" y="3092837"/>
                </a:lnTo>
                <a:lnTo>
                  <a:pt x="2303402" y="3066249"/>
                </a:lnTo>
                <a:lnTo>
                  <a:pt x="2297519" y="3038054"/>
                </a:lnTo>
                <a:lnTo>
                  <a:pt x="2292897" y="3008303"/>
                </a:lnTo>
                <a:lnTo>
                  <a:pt x="2289449" y="2977045"/>
                </a:lnTo>
                <a:lnTo>
                  <a:pt x="2287092" y="2944332"/>
                </a:lnTo>
                <a:lnTo>
                  <a:pt x="2285740" y="2910212"/>
                </a:lnTo>
                <a:lnTo>
                  <a:pt x="2285309" y="2874737"/>
                </a:lnTo>
                <a:lnTo>
                  <a:pt x="2285755" y="2839413"/>
                </a:lnTo>
                <a:lnTo>
                  <a:pt x="2287147" y="2805445"/>
                </a:lnTo>
                <a:lnTo>
                  <a:pt x="2289566" y="2772881"/>
                </a:lnTo>
                <a:lnTo>
                  <a:pt x="2293091" y="2741770"/>
                </a:lnTo>
                <a:lnTo>
                  <a:pt x="2297804" y="2712163"/>
                </a:lnTo>
                <a:lnTo>
                  <a:pt x="2303784" y="2684109"/>
                </a:lnTo>
                <a:lnTo>
                  <a:pt x="2311113" y="2657656"/>
                </a:lnTo>
                <a:lnTo>
                  <a:pt x="2319870" y="2632854"/>
                </a:lnTo>
                <a:lnTo>
                  <a:pt x="2330137" y="2609754"/>
                </a:lnTo>
                <a:lnTo>
                  <a:pt x="2341994" y="2588403"/>
                </a:lnTo>
                <a:lnTo>
                  <a:pt x="2355521" y="2568850"/>
                </a:lnTo>
                <a:lnTo>
                  <a:pt x="2370798" y="2551147"/>
                </a:lnTo>
                <a:lnTo>
                  <a:pt x="2387907" y="2535342"/>
                </a:lnTo>
                <a:lnTo>
                  <a:pt x="2406927" y="2521483"/>
                </a:lnTo>
                <a:lnTo>
                  <a:pt x="2427939" y="2509622"/>
                </a:lnTo>
                <a:lnTo>
                  <a:pt x="2451024" y="2499807"/>
                </a:lnTo>
                <a:lnTo>
                  <a:pt x="2476262" y="2492087"/>
                </a:lnTo>
                <a:lnTo>
                  <a:pt x="2503733" y="2486511"/>
                </a:lnTo>
                <a:lnTo>
                  <a:pt x="2533518" y="2483129"/>
                </a:lnTo>
                <a:close/>
                <a:moveTo>
                  <a:pt x="4308476" y="2413668"/>
                </a:moveTo>
                <a:lnTo>
                  <a:pt x="4389455" y="2413668"/>
                </a:lnTo>
                <a:lnTo>
                  <a:pt x="4503836" y="2623200"/>
                </a:lnTo>
                <a:lnTo>
                  <a:pt x="4387430" y="2838804"/>
                </a:lnTo>
                <a:lnTo>
                  <a:pt x="4308476" y="2838804"/>
                </a:lnTo>
                <a:lnTo>
                  <a:pt x="4407674" y="2653567"/>
                </a:lnTo>
                <a:lnTo>
                  <a:pt x="4017966" y="2653567"/>
                </a:lnTo>
                <a:lnTo>
                  <a:pt x="4017966" y="2588784"/>
                </a:lnTo>
                <a:lnTo>
                  <a:pt x="4405650" y="2588784"/>
                </a:lnTo>
                <a:close/>
                <a:moveTo>
                  <a:pt x="2147951" y="2190467"/>
                </a:moveTo>
                <a:lnTo>
                  <a:pt x="2173557" y="2192697"/>
                </a:lnTo>
                <a:lnTo>
                  <a:pt x="2193375" y="2200715"/>
                </a:lnTo>
                <a:lnTo>
                  <a:pt x="2206169" y="2216516"/>
                </a:lnTo>
                <a:lnTo>
                  <a:pt x="2210708" y="2242090"/>
                </a:lnTo>
                <a:lnTo>
                  <a:pt x="2206169" y="2268835"/>
                </a:lnTo>
                <a:lnTo>
                  <a:pt x="2193375" y="2285237"/>
                </a:lnTo>
                <a:lnTo>
                  <a:pt x="2173557" y="2293477"/>
                </a:lnTo>
                <a:lnTo>
                  <a:pt x="2147951" y="2295739"/>
                </a:lnTo>
                <a:lnTo>
                  <a:pt x="2122345" y="2293477"/>
                </a:lnTo>
                <a:lnTo>
                  <a:pt x="2102527" y="2285237"/>
                </a:lnTo>
                <a:lnTo>
                  <a:pt x="2089732" y="2268835"/>
                </a:lnTo>
                <a:lnTo>
                  <a:pt x="2085193" y="2242090"/>
                </a:lnTo>
                <a:lnTo>
                  <a:pt x="2089874" y="2216516"/>
                </a:lnTo>
                <a:lnTo>
                  <a:pt x="2102907" y="2200715"/>
                </a:lnTo>
                <a:lnTo>
                  <a:pt x="2122772" y="2192697"/>
                </a:lnTo>
                <a:close/>
                <a:moveTo>
                  <a:pt x="784523" y="2190467"/>
                </a:moveTo>
                <a:lnTo>
                  <a:pt x="810129" y="2192697"/>
                </a:lnTo>
                <a:lnTo>
                  <a:pt x="829946" y="2200715"/>
                </a:lnTo>
                <a:lnTo>
                  <a:pt x="842741" y="2216516"/>
                </a:lnTo>
                <a:lnTo>
                  <a:pt x="847281" y="2242090"/>
                </a:lnTo>
                <a:lnTo>
                  <a:pt x="842741" y="2268835"/>
                </a:lnTo>
                <a:lnTo>
                  <a:pt x="829946" y="2285237"/>
                </a:lnTo>
                <a:lnTo>
                  <a:pt x="810129" y="2293477"/>
                </a:lnTo>
                <a:lnTo>
                  <a:pt x="784523" y="2295739"/>
                </a:lnTo>
                <a:lnTo>
                  <a:pt x="758916" y="2293477"/>
                </a:lnTo>
                <a:lnTo>
                  <a:pt x="739099" y="2285237"/>
                </a:lnTo>
                <a:lnTo>
                  <a:pt x="726304" y="2268835"/>
                </a:lnTo>
                <a:lnTo>
                  <a:pt x="721765" y="2242090"/>
                </a:lnTo>
                <a:lnTo>
                  <a:pt x="726446" y="2216516"/>
                </a:lnTo>
                <a:lnTo>
                  <a:pt x="739479" y="2200715"/>
                </a:lnTo>
                <a:lnTo>
                  <a:pt x="759344" y="2192697"/>
                </a:lnTo>
                <a:close/>
                <a:moveTo>
                  <a:pt x="62758" y="2190467"/>
                </a:moveTo>
                <a:lnTo>
                  <a:pt x="88364" y="2192697"/>
                </a:lnTo>
                <a:lnTo>
                  <a:pt x="108181" y="2200715"/>
                </a:lnTo>
                <a:lnTo>
                  <a:pt x="120977" y="2216516"/>
                </a:lnTo>
                <a:lnTo>
                  <a:pt x="125516" y="2242090"/>
                </a:lnTo>
                <a:lnTo>
                  <a:pt x="120977" y="2268835"/>
                </a:lnTo>
                <a:lnTo>
                  <a:pt x="108181" y="2285237"/>
                </a:lnTo>
                <a:lnTo>
                  <a:pt x="88364" y="2293477"/>
                </a:lnTo>
                <a:lnTo>
                  <a:pt x="62758" y="2295739"/>
                </a:lnTo>
                <a:lnTo>
                  <a:pt x="37151" y="2293477"/>
                </a:lnTo>
                <a:lnTo>
                  <a:pt x="17334" y="2285237"/>
                </a:lnTo>
                <a:lnTo>
                  <a:pt x="4539" y="2268835"/>
                </a:lnTo>
                <a:lnTo>
                  <a:pt x="0" y="2242090"/>
                </a:lnTo>
                <a:lnTo>
                  <a:pt x="4681" y="2216516"/>
                </a:lnTo>
                <a:lnTo>
                  <a:pt x="17713" y="2200715"/>
                </a:lnTo>
                <a:lnTo>
                  <a:pt x="37578" y="2192697"/>
                </a:lnTo>
                <a:close/>
                <a:moveTo>
                  <a:pt x="4915430" y="1822022"/>
                </a:moveTo>
                <a:lnTo>
                  <a:pt x="4996408" y="1822022"/>
                </a:lnTo>
                <a:lnTo>
                  <a:pt x="5110790" y="2031553"/>
                </a:lnTo>
                <a:lnTo>
                  <a:pt x="4994384" y="2247158"/>
                </a:lnTo>
                <a:lnTo>
                  <a:pt x="4915430" y="2247158"/>
                </a:lnTo>
                <a:lnTo>
                  <a:pt x="5014628" y="2061920"/>
                </a:lnTo>
                <a:lnTo>
                  <a:pt x="4624920" y="2061920"/>
                </a:lnTo>
                <a:lnTo>
                  <a:pt x="4624920" y="1997137"/>
                </a:lnTo>
                <a:lnTo>
                  <a:pt x="5012604" y="1997137"/>
                </a:lnTo>
                <a:close/>
                <a:moveTo>
                  <a:pt x="2876800" y="1822016"/>
                </a:moveTo>
                <a:lnTo>
                  <a:pt x="2957778" y="1822016"/>
                </a:lnTo>
                <a:lnTo>
                  <a:pt x="3072160" y="2031547"/>
                </a:lnTo>
                <a:lnTo>
                  <a:pt x="2955754" y="2247152"/>
                </a:lnTo>
                <a:lnTo>
                  <a:pt x="2876800" y="2247152"/>
                </a:lnTo>
                <a:lnTo>
                  <a:pt x="2975998" y="2061915"/>
                </a:lnTo>
                <a:lnTo>
                  <a:pt x="2586290" y="2061915"/>
                </a:lnTo>
                <a:lnTo>
                  <a:pt x="2586290" y="1997132"/>
                </a:lnTo>
                <a:lnTo>
                  <a:pt x="2973974" y="1997132"/>
                </a:lnTo>
                <a:close/>
                <a:moveTo>
                  <a:pt x="1513768" y="1822016"/>
                </a:moveTo>
                <a:lnTo>
                  <a:pt x="1594748" y="1822016"/>
                </a:lnTo>
                <a:lnTo>
                  <a:pt x="1709128" y="2031547"/>
                </a:lnTo>
                <a:lnTo>
                  <a:pt x="1592723" y="2247152"/>
                </a:lnTo>
                <a:lnTo>
                  <a:pt x="1513768" y="2247152"/>
                </a:lnTo>
                <a:lnTo>
                  <a:pt x="1612966" y="2061915"/>
                </a:lnTo>
                <a:lnTo>
                  <a:pt x="1223259" y="2061915"/>
                </a:lnTo>
                <a:lnTo>
                  <a:pt x="1223259" y="1997132"/>
                </a:lnTo>
                <a:lnTo>
                  <a:pt x="1610942" y="1997132"/>
                </a:lnTo>
                <a:close/>
                <a:moveTo>
                  <a:pt x="2147951" y="1765330"/>
                </a:moveTo>
                <a:lnTo>
                  <a:pt x="2173557" y="1767433"/>
                </a:lnTo>
                <a:lnTo>
                  <a:pt x="2193375" y="1775325"/>
                </a:lnTo>
                <a:lnTo>
                  <a:pt x="2206169" y="1791378"/>
                </a:lnTo>
                <a:lnTo>
                  <a:pt x="2210708" y="1817966"/>
                </a:lnTo>
                <a:lnTo>
                  <a:pt x="2206169" y="1843698"/>
                </a:lnTo>
                <a:lnTo>
                  <a:pt x="2193375" y="1859846"/>
                </a:lnTo>
                <a:lnTo>
                  <a:pt x="2173557" y="1868213"/>
                </a:lnTo>
                <a:lnTo>
                  <a:pt x="2147951" y="1870601"/>
                </a:lnTo>
                <a:lnTo>
                  <a:pt x="2122930" y="1868213"/>
                </a:lnTo>
                <a:lnTo>
                  <a:pt x="2103413" y="1859846"/>
                </a:lnTo>
                <a:lnTo>
                  <a:pt x="2090728" y="1843698"/>
                </a:lnTo>
                <a:lnTo>
                  <a:pt x="2086205" y="1817966"/>
                </a:lnTo>
                <a:lnTo>
                  <a:pt x="2090728" y="1791378"/>
                </a:lnTo>
                <a:lnTo>
                  <a:pt x="2103413" y="1775325"/>
                </a:lnTo>
                <a:lnTo>
                  <a:pt x="2122930" y="1767433"/>
                </a:lnTo>
                <a:close/>
                <a:moveTo>
                  <a:pt x="784523" y="1765330"/>
                </a:moveTo>
                <a:lnTo>
                  <a:pt x="810129" y="1767433"/>
                </a:lnTo>
                <a:lnTo>
                  <a:pt x="829946" y="1775325"/>
                </a:lnTo>
                <a:lnTo>
                  <a:pt x="842741" y="1791378"/>
                </a:lnTo>
                <a:lnTo>
                  <a:pt x="847281" y="1817966"/>
                </a:lnTo>
                <a:lnTo>
                  <a:pt x="842741" y="1843698"/>
                </a:lnTo>
                <a:lnTo>
                  <a:pt x="829946" y="1859846"/>
                </a:lnTo>
                <a:lnTo>
                  <a:pt x="810129" y="1868213"/>
                </a:lnTo>
                <a:lnTo>
                  <a:pt x="784523" y="1870601"/>
                </a:lnTo>
                <a:lnTo>
                  <a:pt x="759502" y="1868213"/>
                </a:lnTo>
                <a:lnTo>
                  <a:pt x="739984" y="1859846"/>
                </a:lnTo>
                <a:lnTo>
                  <a:pt x="727300" y="1843698"/>
                </a:lnTo>
                <a:lnTo>
                  <a:pt x="722776" y="1817966"/>
                </a:lnTo>
                <a:lnTo>
                  <a:pt x="727300" y="1791378"/>
                </a:lnTo>
                <a:lnTo>
                  <a:pt x="739984" y="1775325"/>
                </a:lnTo>
                <a:lnTo>
                  <a:pt x="759502" y="1767433"/>
                </a:lnTo>
                <a:close/>
                <a:moveTo>
                  <a:pt x="62758" y="1765330"/>
                </a:moveTo>
                <a:lnTo>
                  <a:pt x="88364" y="1767433"/>
                </a:lnTo>
                <a:lnTo>
                  <a:pt x="108181" y="1775325"/>
                </a:lnTo>
                <a:lnTo>
                  <a:pt x="120977" y="1791378"/>
                </a:lnTo>
                <a:lnTo>
                  <a:pt x="125516" y="1817966"/>
                </a:lnTo>
                <a:lnTo>
                  <a:pt x="120977" y="1843698"/>
                </a:lnTo>
                <a:lnTo>
                  <a:pt x="108181" y="1859846"/>
                </a:lnTo>
                <a:lnTo>
                  <a:pt x="88364" y="1868213"/>
                </a:lnTo>
                <a:lnTo>
                  <a:pt x="62758" y="1870601"/>
                </a:lnTo>
                <a:lnTo>
                  <a:pt x="37736" y="1868213"/>
                </a:lnTo>
                <a:lnTo>
                  <a:pt x="18219" y="1859846"/>
                </a:lnTo>
                <a:lnTo>
                  <a:pt x="5535" y="1843698"/>
                </a:lnTo>
                <a:lnTo>
                  <a:pt x="1012" y="1817966"/>
                </a:lnTo>
                <a:lnTo>
                  <a:pt x="5535" y="1791378"/>
                </a:lnTo>
                <a:lnTo>
                  <a:pt x="18219" y="1775325"/>
                </a:lnTo>
                <a:lnTo>
                  <a:pt x="37736" y="1767433"/>
                </a:lnTo>
                <a:close/>
                <a:moveTo>
                  <a:pt x="3434660" y="1570981"/>
                </a:moveTo>
                <a:lnTo>
                  <a:pt x="3466840" y="1572118"/>
                </a:lnTo>
                <a:lnTo>
                  <a:pt x="3496625" y="1575500"/>
                </a:lnTo>
                <a:lnTo>
                  <a:pt x="3524096" y="1581076"/>
                </a:lnTo>
                <a:lnTo>
                  <a:pt x="3549334" y="1588796"/>
                </a:lnTo>
                <a:lnTo>
                  <a:pt x="3572418" y="1598611"/>
                </a:lnTo>
                <a:lnTo>
                  <a:pt x="3593431" y="1610473"/>
                </a:lnTo>
                <a:lnTo>
                  <a:pt x="3612450" y="1624331"/>
                </a:lnTo>
                <a:lnTo>
                  <a:pt x="3629559" y="1640136"/>
                </a:lnTo>
                <a:lnTo>
                  <a:pt x="3644837" y="1657839"/>
                </a:lnTo>
                <a:lnTo>
                  <a:pt x="3658363" y="1677391"/>
                </a:lnTo>
                <a:lnTo>
                  <a:pt x="3670219" y="1698743"/>
                </a:lnTo>
                <a:lnTo>
                  <a:pt x="3680486" y="1721844"/>
                </a:lnTo>
                <a:lnTo>
                  <a:pt x="3689244" y="1746646"/>
                </a:lnTo>
                <a:lnTo>
                  <a:pt x="3696573" y="1773098"/>
                </a:lnTo>
                <a:lnTo>
                  <a:pt x="3702553" y="1801152"/>
                </a:lnTo>
                <a:lnTo>
                  <a:pt x="3707266" y="1830760"/>
                </a:lnTo>
                <a:lnTo>
                  <a:pt x="3710792" y="1861870"/>
                </a:lnTo>
                <a:lnTo>
                  <a:pt x="3713210" y="1894434"/>
                </a:lnTo>
                <a:lnTo>
                  <a:pt x="3714602" y="1928402"/>
                </a:lnTo>
                <a:lnTo>
                  <a:pt x="3715048" y="1963726"/>
                </a:lnTo>
                <a:lnTo>
                  <a:pt x="3714624" y="1999201"/>
                </a:lnTo>
                <a:lnTo>
                  <a:pt x="3713292" y="2033321"/>
                </a:lnTo>
                <a:lnTo>
                  <a:pt x="3710966" y="2066034"/>
                </a:lnTo>
                <a:lnTo>
                  <a:pt x="3707557" y="2097292"/>
                </a:lnTo>
                <a:lnTo>
                  <a:pt x="3702980" y="2127043"/>
                </a:lnTo>
                <a:lnTo>
                  <a:pt x="3697147" y="2155238"/>
                </a:lnTo>
                <a:lnTo>
                  <a:pt x="3689969" y="2181827"/>
                </a:lnTo>
                <a:lnTo>
                  <a:pt x="3681361" y="2206759"/>
                </a:lnTo>
                <a:lnTo>
                  <a:pt x="3671234" y="2229984"/>
                </a:lnTo>
                <a:lnTo>
                  <a:pt x="3659502" y="2251453"/>
                </a:lnTo>
                <a:lnTo>
                  <a:pt x="3646077" y="2271115"/>
                </a:lnTo>
                <a:lnTo>
                  <a:pt x="3630871" y="2288919"/>
                </a:lnTo>
                <a:lnTo>
                  <a:pt x="3613798" y="2304817"/>
                </a:lnTo>
                <a:lnTo>
                  <a:pt x="3594769" y="2318758"/>
                </a:lnTo>
                <a:lnTo>
                  <a:pt x="3573700" y="2330691"/>
                </a:lnTo>
                <a:lnTo>
                  <a:pt x="3550500" y="2340567"/>
                </a:lnTo>
                <a:lnTo>
                  <a:pt x="3525083" y="2348336"/>
                </a:lnTo>
                <a:lnTo>
                  <a:pt x="3497363" y="2353947"/>
                </a:lnTo>
                <a:lnTo>
                  <a:pt x="3467251" y="2357351"/>
                </a:lnTo>
                <a:lnTo>
                  <a:pt x="3434660" y="2358496"/>
                </a:lnTo>
                <a:lnTo>
                  <a:pt x="3434660" y="2299787"/>
                </a:lnTo>
                <a:lnTo>
                  <a:pt x="3464787" y="2298433"/>
                </a:lnTo>
                <a:lnTo>
                  <a:pt x="3492025" y="2294418"/>
                </a:lnTo>
                <a:lnTo>
                  <a:pt x="3516511" y="2287816"/>
                </a:lnTo>
                <a:lnTo>
                  <a:pt x="3538383" y="2278696"/>
                </a:lnTo>
                <a:lnTo>
                  <a:pt x="3574832" y="2253193"/>
                </a:lnTo>
                <a:lnTo>
                  <a:pt x="3602470" y="2218482"/>
                </a:lnTo>
                <a:lnTo>
                  <a:pt x="3613327" y="2197853"/>
                </a:lnTo>
                <a:lnTo>
                  <a:pt x="3622393" y="2175138"/>
                </a:lnTo>
                <a:lnTo>
                  <a:pt x="3629805" y="2150408"/>
                </a:lnTo>
                <a:lnTo>
                  <a:pt x="3635701" y="2123734"/>
                </a:lnTo>
                <a:lnTo>
                  <a:pt x="3640217" y="2095189"/>
                </a:lnTo>
                <a:lnTo>
                  <a:pt x="3643490" y="2064844"/>
                </a:lnTo>
                <a:lnTo>
                  <a:pt x="3645659" y="2032771"/>
                </a:lnTo>
                <a:lnTo>
                  <a:pt x="3646859" y="1999041"/>
                </a:lnTo>
                <a:lnTo>
                  <a:pt x="3647229" y="1963726"/>
                </a:lnTo>
                <a:lnTo>
                  <a:pt x="3646839" y="1928758"/>
                </a:lnTo>
                <a:lnTo>
                  <a:pt x="3645584" y="1895355"/>
                </a:lnTo>
                <a:lnTo>
                  <a:pt x="3643335" y="1863586"/>
                </a:lnTo>
                <a:lnTo>
                  <a:pt x="3639960" y="1833525"/>
                </a:lnTo>
                <a:lnTo>
                  <a:pt x="3635330" y="1805242"/>
                </a:lnTo>
                <a:lnTo>
                  <a:pt x="3629316" y="1778810"/>
                </a:lnTo>
                <a:lnTo>
                  <a:pt x="3621788" y="1754300"/>
                </a:lnTo>
                <a:lnTo>
                  <a:pt x="3612615" y="1731785"/>
                </a:lnTo>
                <a:lnTo>
                  <a:pt x="3601669" y="1711335"/>
                </a:lnTo>
                <a:lnTo>
                  <a:pt x="3573935" y="1676919"/>
                </a:lnTo>
                <a:lnTo>
                  <a:pt x="3537548" y="1651625"/>
                </a:lnTo>
                <a:lnTo>
                  <a:pt x="3515784" y="1642579"/>
                </a:lnTo>
                <a:lnTo>
                  <a:pt x="3491469" y="1636029"/>
                </a:lnTo>
                <a:lnTo>
                  <a:pt x="3464471" y="1632046"/>
                </a:lnTo>
                <a:lnTo>
                  <a:pt x="3434660" y="1630702"/>
                </a:lnTo>
                <a:close/>
                <a:moveTo>
                  <a:pt x="3579243" y="1279461"/>
                </a:moveTo>
                <a:lnTo>
                  <a:pt x="3604850" y="1281691"/>
                </a:lnTo>
                <a:lnTo>
                  <a:pt x="3624668" y="1289709"/>
                </a:lnTo>
                <a:lnTo>
                  <a:pt x="3637463" y="1305510"/>
                </a:lnTo>
                <a:lnTo>
                  <a:pt x="3642002" y="1331085"/>
                </a:lnTo>
                <a:lnTo>
                  <a:pt x="3637463" y="1357829"/>
                </a:lnTo>
                <a:lnTo>
                  <a:pt x="3624668" y="1374231"/>
                </a:lnTo>
                <a:lnTo>
                  <a:pt x="3604850" y="1382471"/>
                </a:lnTo>
                <a:lnTo>
                  <a:pt x="3579243" y="1384733"/>
                </a:lnTo>
                <a:lnTo>
                  <a:pt x="3553637" y="1382471"/>
                </a:lnTo>
                <a:lnTo>
                  <a:pt x="3533820" y="1374231"/>
                </a:lnTo>
                <a:lnTo>
                  <a:pt x="3521024" y="1357829"/>
                </a:lnTo>
                <a:lnTo>
                  <a:pt x="3516485" y="1331085"/>
                </a:lnTo>
                <a:lnTo>
                  <a:pt x="3521166" y="1305510"/>
                </a:lnTo>
                <a:lnTo>
                  <a:pt x="3534199" y="1289709"/>
                </a:lnTo>
                <a:lnTo>
                  <a:pt x="3554064" y="1281691"/>
                </a:lnTo>
                <a:close/>
                <a:moveTo>
                  <a:pt x="1609095" y="1279455"/>
                </a:moveTo>
                <a:lnTo>
                  <a:pt x="1634701" y="1281685"/>
                </a:lnTo>
                <a:lnTo>
                  <a:pt x="1654519" y="1289703"/>
                </a:lnTo>
                <a:lnTo>
                  <a:pt x="1667313" y="1305504"/>
                </a:lnTo>
                <a:lnTo>
                  <a:pt x="1671852" y="1331078"/>
                </a:lnTo>
                <a:lnTo>
                  <a:pt x="1667313" y="1357823"/>
                </a:lnTo>
                <a:lnTo>
                  <a:pt x="1654519" y="1374224"/>
                </a:lnTo>
                <a:lnTo>
                  <a:pt x="1634701" y="1382465"/>
                </a:lnTo>
                <a:lnTo>
                  <a:pt x="1609095" y="1384726"/>
                </a:lnTo>
                <a:lnTo>
                  <a:pt x="1583489" y="1382465"/>
                </a:lnTo>
                <a:lnTo>
                  <a:pt x="1563671" y="1374224"/>
                </a:lnTo>
                <a:lnTo>
                  <a:pt x="1550877" y="1357823"/>
                </a:lnTo>
                <a:lnTo>
                  <a:pt x="1546337" y="1331078"/>
                </a:lnTo>
                <a:lnTo>
                  <a:pt x="1551018" y="1305504"/>
                </a:lnTo>
                <a:lnTo>
                  <a:pt x="1564051" y="1289703"/>
                </a:lnTo>
                <a:lnTo>
                  <a:pt x="1583916" y="1281685"/>
                </a:lnTo>
                <a:close/>
                <a:moveTo>
                  <a:pt x="4308476" y="1229360"/>
                </a:moveTo>
                <a:lnTo>
                  <a:pt x="4389455" y="1229360"/>
                </a:lnTo>
                <a:lnTo>
                  <a:pt x="4503836" y="1438891"/>
                </a:lnTo>
                <a:lnTo>
                  <a:pt x="4387430" y="1654496"/>
                </a:lnTo>
                <a:lnTo>
                  <a:pt x="4308476" y="1654496"/>
                </a:lnTo>
                <a:lnTo>
                  <a:pt x="4407674" y="1469259"/>
                </a:lnTo>
                <a:lnTo>
                  <a:pt x="4017966" y="1469259"/>
                </a:lnTo>
                <a:lnTo>
                  <a:pt x="4017966" y="1404475"/>
                </a:lnTo>
                <a:lnTo>
                  <a:pt x="4405650" y="1404475"/>
                </a:lnTo>
                <a:close/>
                <a:moveTo>
                  <a:pt x="3579243" y="854324"/>
                </a:moveTo>
                <a:lnTo>
                  <a:pt x="3604850" y="856427"/>
                </a:lnTo>
                <a:lnTo>
                  <a:pt x="3624668" y="864320"/>
                </a:lnTo>
                <a:lnTo>
                  <a:pt x="3637463" y="880373"/>
                </a:lnTo>
                <a:lnTo>
                  <a:pt x="3642002" y="906960"/>
                </a:lnTo>
                <a:lnTo>
                  <a:pt x="3637463" y="932693"/>
                </a:lnTo>
                <a:lnTo>
                  <a:pt x="3624668" y="948841"/>
                </a:lnTo>
                <a:lnTo>
                  <a:pt x="3604850" y="957207"/>
                </a:lnTo>
                <a:lnTo>
                  <a:pt x="3579243" y="959596"/>
                </a:lnTo>
                <a:lnTo>
                  <a:pt x="3554223" y="957207"/>
                </a:lnTo>
                <a:lnTo>
                  <a:pt x="3534706" y="948841"/>
                </a:lnTo>
                <a:lnTo>
                  <a:pt x="3522021" y="932693"/>
                </a:lnTo>
                <a:lnTo>
                  <a:pt x="3517498" y="906960"/>
                </a:lnTo>
                <a:lnTo>
                  <a:pt x="3522021" y="880373"/>
                </a:lnTo>
                <a:lnTo>
                  <a:pt x="3534706" y="864320"/>
                </a:lnTo>
                <a:lnTo>
                  <a:pt x="3554223" y="856427"/>
                </a:lnTo>
                <a:close/>
                <a:moveTo>
                  <a:pt x="1609095" y="854318"/>
                </a:moveTo>
                <a:lnTo>
                  <a:pt x="1634701" y="856421"/>
                </a:lnTo>
                <a:lnTo>
                  <a:pt x="1654519" y="864313"/>
                </a:lnTo>
                <a:lnTo>
                  <a:pt x="1667313" y="880366"/>
                </a:lnTo>
                <a:lnTo>
                  <a:pt x="1671852" y="906953"/>
                </a:lnTo>
                <a:lnTo>
                  <a:pt x="1667313" y="932686"/>
                </a:lnTo>
                <a:lnTo>
                  <a:pt x="1654519" y="948834"/>
                </a:lnTo>
                <a:lnTo>
                  <a:pt x="1634701" y="957201"/>
                </a:lnTo>
                <a:lnTo>
                  <a:pt x="1609095" y="959589"/>
                </a:lnTo>
                <a:lnTo>
                  <a:pt x="1584074" y="957201"/>
                </a:lnTo>
                <a:lnTo>
                  <a:pt x="1564557" y="948834"/>
                </a:lnTo>
                <a:lnTo>
                  <a:pt x="1551872" y="932686"/>
                </a:lnTo>
                <a:lnTo>
                  <a:pt x="1547349" y="906953"/>
                </a:lnTo>
                <a:lnTo>
                  <a:pt x="1551872" y="880366"/>
                </a:lnTo>
                <a:lnTo>
                  <a:pt x="1564557" y="864313"/>
                </a:lnTo>
                <a:lnTo>
                  <a:pt x="1584074" y="856421"/>
                </a:lnTo>
                <a:close/>
                <a:moveTo>
                  <a:pt x="2879125" y="659976"/>
                </a:moveTo>
                <a:lnTo>
                  <a:pt x="2911305" y="661113"/>
                </a:lnTo>
                <a:lnTo>
                  <a:pt x="2941090" y="664495"/>
                </a:lnTo>
                <a:lnTo>
                  <a:pt x="2968561" y="670071"/>
                </a:lnTo>
                <a:lnTo>
                  <a:pt x="2993799" y="677791"/>
                </a:lnTo>
                <a:lnTo>
                  <a:pt x="3016884" y="687607"/>
                </a:lnTo>
                <a:lnTo>
                  <a:pt x="3037896" y="699468"/>
                </a:lnTo>
                <a:lnTo>
                  <a:pt x="3056916" y="713326"/>
                </a:lnTo>
                <a:lnTo>
                  <a:pt x="3074024" y="729131"/>
                </a:lnTo>
                <a:lnTo>
                  <a:pt x="3089302" y="746834"/>
                </a:lnTo>
                <a:lnTo>
                  <a:pt x="3102829" y="766386"/>
                </a:lnTo>
                <a:lnTo>
                  <a:pt x="3114685" y="787738"/>
                </a:lnTo>
                <a:lnTo>
                  <a:pt x="3124952" y="810839"/>
                </a:lnTo>
                <a:lnTo>
                  <a:pt x="3133709" y="835640"/>
                </a:lnTo>
                <a:lnTo>
                  <a:pt x="3141039" y="862093"/>
                </a:lnTo>
                <a:lnTo>
                  <a:pt x="3147019" y="890147"/>
                </a:lnTo>
                <a:lnTo>
                  <a:pt x="3151732" y="919755"/>
                </a:lnTo>
                <a:lnTo>
                  <a:pt x="3155257" y="950865"/>
                </a:lnTo>
                <a:lnTo>
                  <a:pt x="3157675" y="983429"/>
                </a:lnTo>
                <a:lnTo>
                  <a:pt x="3159067" y="1017397"/>
                </a:lnTo>
                <a:lnTo>
                  <a:pt x="3159514" y="1052721"/>
                </a:lnTo>
                <a:lnTo>
                  <a:pt x="3159089" y="1088196"/>
                </a:lnTo>
                <a:lnTo>
                  <a:pt x="3157757" y="1122316"/>
                </a:lnTo>
                <a:lnTo>
                  <a:pt x="3155431" y="1155029"/>
                </a:lnTo>
                <a:lnTo>
                  <a:pt x="3152023" y="1186287"/>
                </a:lnTo>
                <a:lnTo>
                  <a:pt x="3147446" y="1216038"/>
                </a:lnTo>
                <a:lnTo>
                  <a:pt x="3141612" y="1244233"/>
                </a:lnTo>
                <a:lnTo>
                  <a:pt x="3134435" y="1270822"/>
                </a:lnTo>
                <a:lnTo>
                  <a:pt x="3125826" y="1295754"/>
                </a:lnTo>
                <a:lnTo>
                  <a:pt x="3115700" y="1318979"/>
                </a:lnTo>
                <a:lnTo>
                  <a:pt x="3103967" y="1340448"/>
                </a:lnTo>
                <a:lnTo>
                  <a:pt x="3090542" y="1360110"/>
                </a:lnTo>
                <a:lnTo>
                  <a:pt x="3075336" y="1377914"/>
                </a:lnTo>
                <a:lnTo>
                  <a:pt x="3058263" y="1393812"/>
                </a:lnTo>
                <a:lnTo>
                  <a:pt x="3039235" y="1407753"/>
                </a:lnTo>
                <a:lnTo>
                  <a:pt x="3018165" y="1419686"/>
                </a:lnTo>
                <a:lnTo>
                  <a:pt x="2994965" y="1429562"/>
                </a:lnTo>
                <a:lnTo>
                  <a:pt x="2969548" y="1437331"/>
                </a:lnTo>
                <a:lnTo>
                  <a:pt x="2941828" y="1442942"/>
                </a:lnTo>
                <a:lnTo>
                  <a:pt x="2911716" y="1446346"/>
                </a:lnTo>
                <a:lnTo>
                  <a:pt x="2879125" y="1447491"/>
                </a:lnTo>
                <a:lnTo>
                  <a:pt x="2879125" y="1388782"/>
                </a:lnTo>
                <a:lnTo>
                  <a:pt x="2909252" y="1387428"/>
                </a:lnTo>
                <a:lnTo>
                  <a:pt x="2936490" y="1383413"/>
                </a:lnTo>
                <a:lnTo>
                  <a:pt x="2960977" y="1376811"/>
                </a:lnTo>
                <a:lnTo>
                  <a:pt x="2982849" y="1367691"/>
                </a:lnTo>
                <a:lnTo>
                  <a:pt x="3019298" y="1342188"/>
                </a:lnTo>
                <a:lnTo>
                  <a:pt x="3046935" y="1307477"/>
                </a:lnTo>
                <a:lnTo>
                  <a:pt x="3057792" y="1286848"/>
                </a:lnTo>
                <a:lnTo>
                  <a:pt x="3066859" y="1264133"/>
                </a:lnTo>
                <a:lnTo>
                  <a:pt x="3074271" y="1239402"/>
                </a:lnTo>
                <a:lnTo>
                  <a:pt x="3080167" y="1212729"/>
                </a:lnTo>
                <a:lnTo>
                  <a:pt x="3084682" y="1184184"/>
                </a:lnTo>
                <a:lnTo>
                  <a:pt x="3087956" y="1153838"/>
                </a:lnTo>
                <a:lnTo>
                  <a:pt x="3090124" y="1121765"/>
                </a:lnTo>
                <a:lnTo>
                  <a:pt x="3091324" y="1088036"/>
                </a:lnTo>
                <a:lnTo>
                  <a:pt x="3091694" y="1052721"/>
                </a:lnTo>
                <a:lnTo>
                  <a:pt x="3091305" y="1017753"/>
                </a:lnTo>
                <a:lnTo>
                  <a:pt x="3090050" y="984350"/>
                </a:lnTo>
                <a:lnTo>
                  <a:pt x="3087800" y="952581"/>
                </a:lnTo>
                <a:lnTo>
                  <a:pt x="3084425" y="922520"/>
                </a:lnTo>
                <a:lnTo>
                  <a:pt x="3079795" y="894237"/>
                </a:lnTo>
                <a:lnTo>
                  <a:pt x="3073782" y="867805"/>
                </a:lnTo>
                <a:lnTo>
                  <a:pt x="3066253" y="843295"/>
                </a:lnTo>
                <a:lnTo>
                  <a:pt x="3057081" y="820780"/>
                </a:lnTo>
                <a:lnTo>
                  <a:pt x="3046134" y="800330"/>
                </a:lnTo>
                <a:lnTo>
                  <a:pt x="3018400" y="765914"/>
                </a:lnTo>
                <a:lnTo>
                  <a:pt x="2982013" y="740620"/>
                </a:lnTo>
                <a:lnTo>
                  <a:pt x="2960250" y="731574"/>
                </a:lnTo>
                <a:lnTo>
                  <a:pt x="2935934" y="725024"/>
                </a:lnTo>
                <a:lnTo>
                  <a:pt x="2908936" y="721041"/>
                </a:lnTo>
                <a:lnTo>
                  <a:pt x="2879125" y="719697"/>
                </a:lnTo>
                <a:close/>
                <a:moveTo>
                  <a:pt x="2565698" y="659976"/>
                </a:moveTo>
                <a:lnTo>
                  <a:pt x="2565698" y="719697"/>
                </a:lnTo>
                <a:lnTo>
                  <a:pt x="2536056" y="721041"/>
                </a:lnTo>
                <a:lnTo>
                  <a:pt x="2509206" y="725024"/>
                </a:lnTo>
                <a:lnTo>
                  <a:pt x="2485020" y="731574"/>
                </a:lnTo>
                <a:lnTo>
                  <a:pt x="2463369" y="740620"/>
                </a:lnTo>
                <a:lnTo>
                  <a:pt x="2427161" y="765914"/>
                </a:lnTo>
                <a:lnTo>
                  <a:pt x="2399551" y="800330"/>
                </a:lnTo>
                <a:lnTo>
                  <a:pt x="2388649" y="820780"/>
                </a:lnTo>
                <a:lnTo>
                  <a:pt x="2379511" y="843295"/>
                </a:lnTo>
                <a:lnTo>
                  <a:pt x="2372009" y="867805"/>
                </a:lnTo>
                <a:lnTo>
                  <a:pt x="2366014" y="894237"/>
                </a:lnTo>
                <a:lnTo>
                  <a:pt x="2361397" y="922520"/>
                </a:lnTo>
                <a:lnTo>
                  <a:pt x="2358029" y="952581"/>
                </a:lnTo>
                <a:lnTo>
                  <a:pt x="2355783" y="984350"/>
                </a:lnTo>
                <a:lnTo>
                  <a:pt x="2354530" y="1017753"/>
                </a:lnTo>
                <a:lnTo>
                  <a:pt x="2354141" y="1052721"/>
                </a:lnTo>
                <a:lnTo>
                  <a:pt x="2354520" y="1088036"/>
                </a:lnTo>
                <a:lnTo>
                  <a:pt x="2355746" y="1121765"/>
                </a:lnTo>
                <a:lnTo>
                  <a:pt x="2357952" y="1153838"/>
                </a:lnTo>
                <a:lnTo>
                  <a:pt x="2361268" y="1184184"/>
                </a:lnTo>
                <a:lnTo>
                  <a:pt x="2365828" y="1212729"/>
                </a:lnTo>
                <a:lnTo>
                  <a:pt x="2371764" y="1239402"/>
                </a:lnTo>
                <a:lnTo>
                  <a:pt x="2379208" y="1264133"/>
                </a:lnTo>
                <a:lnTo>
                  <a:pt x="2388293" y="1286848"/>
                </a:lnTo>
                <a:lnTo>
                  <a:pt x="2399150" y="1307477"/>
                </a:lnTo>
                <a:lnTo>
                  <a:pt x="2426712" y="1342188"/>
                </a:lnTo>
                <a:lnTo>
                  <a:pt x="2462952" y="1367691"/>
                </a:lnTo>
                <a:lnTo>
                  <a:pt x="2484656" y="1376811"/>
                </a:lnTo>
                <a:lnTo>
                  <a:pt x="2508928" y="1383413"/>
                </a:lnTo>
                <a:lnTo>
                  <a:pt x="2535898" y="1387428"/>
                </a:lnTo>
                <a:lnTo>
                  <a:pt x="2565698" y="1388782"/>
                </a:lnTo>
                <a:lnTo>
                  <a:pt x="2565698" y="1447491"/>
                </a:lnTo>
                <a:lnTo>
                  <a:pt x="2533244" y="1446346"/>
                </a:lnTo>
                <a:lnTo>
                  <a:pt x="2503241" y="1442942"/>
                </a:lnTo>
                <a:lnTo>
                  <a:pt x="2475603" y="1437331"/>
                </a:lnTo>
                <a:lnTo>
                  <a:pt x="2450247" y="1429562"/>
                </a:lnTo>
                <a:lnTo>
                  <a:pt x="2427085" y="1419686"/>
                </a:lnTo>
                <a:lnTo>
                  <a:pt x="2406034" y="1407753"/>
                </a:lnTo>
                <a:lnTo>
                  <a:pt x="2387009" y="1393812"/>
                </a:lnTo>
                <a:lnTo>
                  <a:pt x="2369924" y="1377914"/>
                </a:lnTo>
                <a:lnTo>
                  <a:pt x="2354694" y="1360110"/>
                </a:lnTo>
                <a:lnTo>
                  <a:pt x="2341235" y="1340448"/>
                </a:lnTo>
                <a:lnTo>
                  <a:pt x="2329461" y="1318979"/>
                </a:lnTo>
                <a:lnTo>
                  <a:pt x="2319288" y="1295754"/>
                </a:lnTo>
                <a:lnTo>
                  <a:pt x="2310630" y="1270822"/>
                </a:lnTo>
                <a:lnTo>
                  <a:pt x="2303402" y="1244233"/>
                </a:lnTo>
                <a:lnTo>
                  <a:pt x="2297519" y="1216038"/>
                </a:lnTo>
                <a:lnTo>
                  <a:pt x="2292897" y="1186287"/>
                </a:lnTo>
                <a:lnTo>
                  <a:pt x="2289449" y="1155029"/>
                </a:lnTo>
                <a:lnTo>
                  <a:pt x="2287092" y="1122316"/>
                </a:lnTo>
                <a:lnTo>
                  <a:pt x="2285740" y="1088196"/>
                </a:lnTo>
                <a:lnTo>
                  <a:pt x="2285309" y="1052721"/>
                </a:lnTo>
                <a:lnTo>
                  <a:pt x="2285755" y="1017397"/>
                </a:lnTo>
                <a:lnTo>
                  <a:pt x="2287147" y="983429"/>
                </a:lnTo>
                <a:lnTo>
                  <a:pt x="2289566" y="950865"/>
                </a:lnTo>
                <a:lnTo>
                  <a:pt x="2293091" y="919755"/>
                </a:lnTo>
                <a:lnTo>
                  <a:pt x="2297804" y="890147"/>
                </a:lnTo>
                <a:lnTo>
                  <a:pt x="2303784" y="862093"/>
                </a:lnTo>
                <a:lnTo>
                  <a:pt x="2311113" y="835640"/>
                </a:lnTo>
                <a:lnTo>
                  <a:pt x="2319870" y="810839"/>
                </a:lnTo>
                <a:lnTo>
                  <a:pt x="2330137" y="787738"/>
                </a:lnTo>
                <a:lnTo>
                  <a:pt x="2341994" y="766386"/>
                </a:lnTo>
                <a:lnTo>
                  <a:pt x="2355521" y="746834"/>
                </a:lnTo>
                <a:lnTo>
                  <a:pt x="2370798" y="729131"/>
                </a:lnTo>
                <a:lnTo>
                  <a:pt x="2387907" y="713326"/>
                </a:lnTo>
                <a:lnTo>
                  <a:pt x="2406927" y="699468"/>
                </a:lnTo>
                <a:lnTo>
                  <a:pt x="2427939" y="687607"/>
                </a:lnTo>
                <a:lnTo>
                  <a:pt x="2451024" y="677791"/>
                </a:lnTo>
                <a:lnTo>
                  <a:pt x="2476262" y="670071"/>
                </a:lnTo>
                <a:lnTo>
                  <a:pt x="2503733" y="664495"/>
                </a:lnTo>
                <a:lnTo>
                  <a:pt x="2533518" y="661113"/>
                </a:lnTo>
                <a:close/>
                <a:moveTo>
                  <a:pt x="1358847" y="0"/>
                </a:moveTo>
                <a:lnTo>
                  <a:pt x="1439826" y="0"/>
                </a:lnTo>
                <a:lnTo>
                  <a:pt x="1554207" y="209532"/>
                </a:lnTo>
                <a:lnTo>
                  <a:pt x="1437801" y="425136"/>
                </a:lnTo>
                <a:lnTo>
                  <a:pt x="1358847" y="425136"/>
                </a:lnTo>
                <a:lnTo>
                  <a:pt x="1458045" y="239899"/>
                </a:lnTo>
                <a:lnTo>
                  <a:pt x="1068337" y="239899"/>
                </a:lnTo>
                <a:lnTo>
                  <a:pt x="1068337" y="175116"/>
                </a:lnTo>
                <a:lnTo>
                  <a:pt x="1456021" y="175116"/>
                </a:lnTo>
                <a:close/>
              </a:path>
            </a:pathLst>
          </a:custGeom>
          <a:solidFill>
            <a:srgbClr val="4D7836"/>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784042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reaker F">
    <p:bg>
      <p:bgRef idx="1001">
        <a:schemeClr val="bg1"/>
      </p:bgRef>
    </p:bg>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dirty="0"/>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dirty="0"/>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87C710D9-C93F-423E-B535-622B5249ACB1}" type="datetime2">
              <a:rPr lang="da-DK" smtClean="0"/>
              <a:t>11. december 2025</a:t>
            </a:fld>
            <a:endParaRPr lang="da-DK" dirty="0"/>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dirty="0"/>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dirty="0"/>
          </a:p>
        </p:txBody>
      </p:sp>
      <p:sp>
        <p:nvSpPr>
          <p:cNvPr id="29" name="Mikro grafik 1">
            <a:extLst>
              <a:ext uri="{FF2B5EF4-FFF2-40B4-BE49-F238E27FC236}">
                <a16:creationId xmlns:a16="http://schemas.microsoft.com/office/drawing/2014/main" id="{64436394-C531-6AC2-FF2F-12CAAB37CDDC}"/>
              </a:ext>
            </a:extLst>
          </p:cNvPr>
          <p:cNvSpPr/>
          <p:nvPr/>
        </p:nvSpPr>
        <p:spPr>
          <a:xfrm>
            <a:off x="367396" y="1045688"/>
            <a:ext cx="3833093" cy="3051877"/>
          </a:xfrm>
          <a:custGeom>
            <a:avLst/>
            <a:gdLst>
              <a:gd name="connsiteX0" fmla="*/ 1358848 w 5110790"/>
              <a:gd name="connsiteY0" fmla="*/ 3644032 h 4069169"/>
              <a:gd name="connsiteX1" fmla="*/ 1439827 w 5110790"/>
              <a:gd name="connsiteY1" fmla="*/ 3644032 h 4069169"/>
              <a:gd name="connsiteX2" fmla="*/ 1554208 w 5110790"/>
              <a:gd name="connsiteY2" fmla="*/ 3853564 h 4069169"/>
              <a:gd name="connsiteX3" fmla="*/ 1437802 w 5110790"/>
              <a:gd name="connsiteY3" fmla="*/ 4069169 h 4069169"/>
              <a:gd name="connsiteX4" fmla="*/ 1358848 w 5110790"/>
              <a:gd name="connsiteY4" fmla="*/ 4069169 h 4069169"/>
              <a:gd name="connsiteX5" fmla="*/ 1458046 w 5110790"/>
              <a:gd name="connsiteY5" fmla="*/ 3883931 h 4069169"/>
              <a:gd name="connsiteX6" fmla="*/ 1068338 w 5110790"/>
              <a:gd name="connsiteY6" fmla="*/ 3883931 h 4069169"/>
              <a:gd name="connsiteX7" fmla="*/ 1068338 w 5110790"/>
              <a:gd name="connsiteY7" fmla="*/ 3819148 h 4069169"/>
              <a:gd name="connsiteX8" fmla="*/ 1456022 w 5110790"/>
              <a:gd name="connsiteY8" fmla="*/ 3819148 h 4069169"/>
              <a:gd name="connsiteX9" fmla="*/ 3579243 w 5110790"/>
              <a:gd name="connsiteY9" fmla="*/ 3101476 h 4069169"/>
              <a:gd name="connsiteX10" fmla="*/ 3604850 w 5110790"/>
              <a:gd name="connsiteY10" fmla="*/ 3103707 h 4069169"/>
              <a:gd name="connsiteX11" fmla="*/ 3624668 w 5110790"/>
              <a:gd name="connsiteY11" fmla="*/ 3111725 h 4069169"/>
              <a:gd name="connsiteX12" fmla="*/ 3637463 w 5110790"/>
              <a:gd name="connsiteY12" fmla="*/ 3127526 h 4069169"/>
              <a:gd name="connsiteX13" fmla="*/ 3642002 w 5110790"/>
              <a:gd name="connsiteY13" fmla="*/ 3153100 h 4069169"/>
              <a:gd name="connsiteX14" fmla="*/ 3637463 w 5110790"/>
              <a:gd name="connsiteY14" fmla="*/ 3179845 h 4069169"/>
              <a:gd name="connsiteX15" fmla="*/ 3624668 w 5110790"/>
              <a:gd name="connsiteY15" fmla="*/ 3196247 h 4069169"/>
              <a:gd name="connsiteX16" fmla="*/ 3604850 w 5110790"/>
              <a:gd name="connsiteY16" fmla="*/ 3204487 h 4069169"/>
              <a:gd name="connsiteX17" fmla="*/ 3579243 w 5110790"/>
              <a:gd name="connsiteY17" fmla="*/ 3206749 h 4069169"/>
              <a:gd name="connsiteX18" fmla="*/ 3553637 w 5110790"/>
              <a:gd name="connsiteY18" fmla="*/ 3204487 h 4069169"/>
              <a:gd name="connsiteX19" fmla="*/ 3533820 w 5110790"/>
              <a:gd name="connsiteY19" fmla="*/ 3196247 h 4069169"/>
              <a:gd name="connsiteX20" fmla="*/ 3521024 w 5110790"/>
              <a:gd name="connsiteY20" fmla="*/ 3179845 h 4069169"/>
              <a:gd name="connsiteX21" fmla="*/ 3516485 w 5110790"/>
              <a:gd name="connsiteY21" fmla="*/ 3153100 h 4069169"/>
              <a:gd name="connsiteX22" fmla="*/ 3521166 w 5110790"/>
              <a:gd name="connsiteY22" fmla="*/ 3127526 h 4069169"/>
              <a:gd name="connsiteX23" fmla="*/ 3534199 w 5110790"/>
              <a:gd name="connsiteY23" fmla="*/ 3111725 h 4069169"/>
              <a:gd name="connsiteX24" fmla="*/ 3554064 w 5110790"/>
              <a:gd name="connsiteY24" fmla="*/ 3103707 h 4069169"/>
              <a:gd name="connsiteX25" fmla="*/ 1609095 w 5110790"/>
              <a:gd name="connsiteY25" fmla="*/ 3101476 h 4069169"/>
              <a:gd name="connsiteX26" fmla="*/ 1634701 w 5110790"/>
              <a:gd name="connsiteY26" fmla="*/ 3103707 h 4069169"/>
              <a:gd name="connsiteX27" fmla="*/ 1654519 w 5110790"/>
              <a:gd name="connsiteY27" fmla="*/ 3111725 h 4069169"/>
              <a:gd name="connsiteX28" fmla="*/ 1667313 w 5110790"/>
              <a:gd name="connsiteY28" fmla="*/ 3127526 h 4069169"/>
              <a:gd name="connsiteX29" fmla="*/ 1671852 w 5110790"/>
              <a:gd name="connsiteY29" fmla="*/ 3153100 h 4069169"/>
              <a:gd name="connsiteX30" fmla="*/ 1667313 w 5110790"/>
              <a:gd name="connsiteY30" fmla="*/ 3179845 h 4069169"/>
              <a:gd name="connsiteX31" fmla="*/ 1654519 w 5110790"/>
              <a:gd name="connsiteY31" fmla="*/ 3196247 h 4069169"/>
              <a:gd name="connsiteX32" fmla="*/ 1634701 w 5110790"/>
              <a:gd name="connsiteY32" fmla="*/ 3204487 h 4069169"/>
              <a:gd name="connsiteX33" fmla="*/ 1609095 w 5110790"/>
              <a:gd name="connsiteY33" fmla="*/ 3206749 h 4069169"/>
              <a:gd name="connsiteX34" fmla="*/ 1583490 w 5110790"/>
              <a:gd name="connsiteY34" fmla="*/ 3204487 h 4069169"/>
              <a:gd name="connsiteX35" fmla="*/ 1563672 w 5110790"/>
              <a:gd name="connsiteY35" fmla="*/ 3196247 h 4069169"/>
              <a:gd name="connsiteX36" fmla="*/ 1550877 w 5110790"/>
              <a:gd name="connsiteY36" fmla="*/ 3179845 h 4069169"/>
              <a:gd name="connsiteX37" fmla="*/ 1546338 w 5110790"/>
              <a:gd name="connsiteY37" fmla="*/ 3153100 h 4069169"/>
              <a:gd name="connsiteX38" fmla="*/ 1551019 w 5110790"/>
              <a:gd name="connsiteY38" fmla="*/ 3127526 h 4069169"/>
              <a:gd name="connsiteX39" fmla="*/ 1564051 w 5110790"/>
              <a:gd name="connsiteY39" fmla="*/ 3111725 h 4069169"/>
              <a:gd name="connsiteX40" fmla="*/ 1583917 w 5110790"/>
              <a:gd name="connsiteY40" fmla="*/ 3103707 h 4069169"/>
              <a:gd name="connsiteX41" fmla="*/ 3579243 w 5110790"/>
              <a:gd name="connsiteY41" fmla="*/ 2676340 h 4069169"/>
              <a:gd name="connsiteX42" fmla="*/ 3604850 w 5110790"/>
              <a:gd name="connsiteY42" fmla="*/ 2678443 h 4069169"/>
              <a:gd name="connsiteX43" fmla="*/ 3624668 w 5110790"/>
              <a:gd name="connsiteY43" fmla="*/ 2686335 h 4069169"/>
              <a:gd name="connsiteX44" fmla="*/ 3637463 w 5110790"/>
              <a:gd name="connsiteY44" fmla="*/ 2702388 h 4069169"/>
              <a:gd name="connsiteX45" fmla="*/ 3642002 w 5110790"/>
              <a:gd name="connsiteY45" fmla="*/ 2728976 h 4069169"/>
              <a:gd name="connsiteX46" fmla="*/ 3637463 w 5110790"/>
              <a:gd name="connsiteY46" fmla="*/ 2754708 h 4069169"/>
              <a:gd name="connsiteX47" fmla="*/ 3624668 w 5110790"/>
              <a:gd name="connsiteY47" fmla="*/ 2770857 h 4069169"/>
              <a:gd name="connsiteX48" fmla="*/ 3604850 w 5110790"/>
              <a:gd name="connsiteY48" fmla="*/ 2779223 h 4069169"/>
              <a:gd name="connsiteX49" fmla="*/ 3579243 w 5110790"/>
              <a:gd name="connsiteY49" fmla="*/ 2781612 h 4069169"/>
              <a:gd name="connsiteX50" fmla="*/ 3554223 w 5110790"/>
              <a:gd name="connsiteY50" fmla="*/ 2779223 h 4069169"/>
              <a:gd name="connsiteX51" fmla="*/ 3534706 w 5110790"/>
              <a:gd name="connsiteY51" fmla="*/ 2770857 h 4069169"/>
              <a:gd name="connsiteX52" fmla="*/ 3522021 w 5110790"/>
              <a:gd name="connsiteY52" fmla="*/ 2754708 h 4069169"/>
              <a:gd name="connsiteX53" fmla="*/ 3517498 w 5110790"/>
              <a:gd name="connsiteY53" fmla="*/ 2728976 h 4069169"/>
              <a:gd name="connsiteX54" fmla="*/ 3522021 w 5110790"/>
              <a:gd name="connsiteY54" fmla="*/ 2702388 h 4069169"/>
              <a:gd name="connsiteX55" fmla="*/ 3534706 w 5110790"/>
              <a:gd name="connsiteY55" fmla="*/ 2686335 h 4069169"/>
              <a:gd name="connsiteX56" fmla="*/ 3554223 w 5110790"/>
              <a:gd name="connsiteY56" fmla="*/ 2678443 h 4069169"/>
              <a:gd name="connsiteX57" fmla="*/ 1609095 w 5110790"/>
              <a:gd name="connsiteY57" fmla="*/ 2676340 h 4069169"/>
              <a:gd name="connsiteX58" fmla="*/ 1634701 w 5110790"/>
              <a:gd name="connsiteY58" fmla="*/ 2678443 h 4069169"/>
              <a:gd name="connsiteX59" fmla="*/ 1654519 w 5110790"/>
              <a:gd name="connsiteY59" fmla="*/ 2686335 h 4069169"/>
              <a:gd name="connsiteX60" fmla="*/ 1667313 w 5110790"/>
              <a:gd name="connsiteY60" fmla="*/ 2702388 h 4069169"/>
              <a:gd name="connsiteX61" fmla="*/ 1671852 w 5110790"/>
              <a:gd name="connsiteY61" fmla="*/ 2728976 h 4069169"/>
              <a:gd name="connsiteX62" fmla="*/ 1667313 w 5110790"/>
              <a:gd name="connsiteY62" fmla="*/ 2754708 h 4069169"/>
              <a:gd name="connsiteX63" fmla="*/ 1654519 w 5110790"/>
              <a:gd name="connsiteY63" fmla="*/ 2770857 h 4069169"/>
              <a:gd name="connsiteX64" fmla="*/ 1634701 w 5110790"/>
              <a:gd name="connsiteY64" fmla="*/ 2779223 h 4069169"/>
              <a:gd name="connsiteX65" fmla="*/ 1609095 w 5110790"/>
              <a:gd name="connsiteY65" fmla="*/ 2781612 h 4069169"/>
              <a:gd name="connsiteX66" fmla="*/ 1584075 w 5110790"/>
              <a:gd name="connsiteY66" fmla="*/ 2779223 h 4069169"/>
              <a:gd name="connsiteX67" fmla="*/ 1564558 w 5110790"/>
              <a:gd name="connsiteY67" fmla="*/ 2770857 h 4069169"/>
              <a:gd name="connsiteX68" fmla="*/ 1551873 w 5110790"/>
              <a:gd name="connsiteY68" fmla="*/ 2754708 h 4069169"/>
              <a:gd name="connsiteX69" fmla="*/ 1547350 w 5110790"/>
              <a:gd name="connsiteY69" fmla="*/ 2728976 h 4069169"/>
              <a:gd name="connsiteX70" fmla="*/ 1551873 w 5110790"/>
              <a:gd name="connsiteY70" fmla="*/ 2702388 h 4069169"/>
              <a:gd name="connsiteX71" fmla="*/ 1564558 w 5110790"/>
              <a:gd name="connsiteY71" fmla="*/ 2686335 h 4069169"/>
              <a:gd name="connsiteX72" fmla="*/ 1584075 w 5110790"/>
              <a:gd name="connsiteY72" fmla="*/ 2678443 h 4069169"/>
              <a:gd name="connsiteX73" fmla="*/ 2879125 w 5110790"/>
              <a:gd name="connsiteY73" fmla="*/ 2481992 h 4069169"/>
              <a:gd name="connsiteX74" fmla="*/ 2911305 w 5110790"/>
              <a:gd name="connsiteY74" fmla="*/ 2483129 h 4069169"/>
              <a:gd name="connsiteX75" fmla="*/ 2941090 w 5110790"/>
              <a:gd name="connsiteY75" fmla="*/ 2486511 h 4069169"/>
              <a:gd name="connsiteX76" fmla="*/ 2968561 w 5110790"/>
              <a:gd name="connsiteY76" fmla="*/ 2492087 h 4069169"/>
              <a:gd name="connsiteX77" fmla="*/ 2993799 w 5110790"/>
              <a:gd name="connsiteY77" fmla="*/ 2499807 h 4069169"/>
              <a:gd name="connsiteX78" fmla="*/ 3016884 w 5110790"/>
              <a:gd name="connsiteY78" fmla="*/ 2509622 h 4069169"/>
              <a:gd name="connsiteX79" fmla="*/ 3037896 w 5110790"/>
              <a:gd name="connsiteY79" fmla="*/ 2521483 h 4069169"/>
              <a:gd name="connsiteX80" fmla="*/ 3056916 w 5110790"/>
              <a:gd name="connsiteY80" fmla="*/ 2535342 h 4069169"/>
              <a:gd name="connsiteX81" fmla="*/ 3074024 w 5110790"/>
              <a:gd name="connsiteY81" fmla="*/ 2551147 h 4069169"/>
              <a:gd name="connsiteX82" fmla="*/ 3089302 w 5110790"/>
              <a:gd name="connsiteY82" fmla="*/ 2568850 h 4069169"/>
              <a:gd name="connsiteX83" fmla="*/ 3102829 w 5110790"/>
              <a:gd name="connsiteY83" fmla="*/ 2588403 h 4069169"/>
              <a:gd name="connsiteX84" fmla="*/ 3114685 w 5110790"/>
              <a:gd name="connsiteY84" fmla="*/ 2609754 h 4069169"/>
              <a:gd name="connsiteX85" fmla="*/ 3124952 w 5110790"/>
              <a:gd name="connsiteY85" fmla="*/ 2632854 h 4069169"/>
              <a:gd name="connsiteX86" fmla="*/ 3133709 w 5110790"/>
              <a:gd name="connsiteY86" fmla="*/ 2657656 h 4069169"/>
              <a:gd name="connsiteX87" fmla="*/ 3141039 w 5110790"/>
              <a:gd name="connsiteY87" fmla="*/ 2684109 h 4069169"/>
              <a:gd name="connsiteX88" fmla="*/ 3147019 w 5110790"/>
              <a:gd name="connsiteY88" fmla="*/ 2712163 h 4069169"/>
              <a:gd name="connsiteX89" fmla="*/ 3151732 w 5110790"/>
              <a:gd name="connsiteY89" fmla="*/ 2741770 h 4069169"/>
              <a:gd name="connsiteX90" fmla="*/ 3155257 w 5110790"/>
              <a:gd name="connsiteY90" fmla="*/ 2772881 h 4069169"/>
              <a:gd name="connsiteX91" fmla="*/ 3157675 w 5110790"/>
              <a:gd name="connsiteY91" fmla="*/ 2805445 h 4069169"/>
              <a:gd name="connsiteX92" fmla="*/ 3159067 w 5110790"/>
              <a:gd name="connsiteY92" fmla="*/ 2839413 h 4069169"/>
              <a:gd name="connsiteX93" fmla="*/ 3159514 w 5110790"/>
              <a:gd name="connsiteY93" fmla="*/ 2874737 h 4069169"/>
              <a:gd name="connsiteX94" fmla="*/ 3159089 w 5110790"/>
              <a:gd name="connsiteY94" fmla="*/ 2910212 h 4069169"/>
              <a:gd name="connsiteX95" fmla="*/ 3157757 w 5110790"/>
              <a:gd name="connsiteY95" fmla="*/ 2944332 h 4069169"/>
              <a:gd name="connsiteX96" fmla="*/ 3155431 w 5110790"/>
              <a:gd name="connsiteY96" fmla="*/ 2977045 h 4069169"/>
              <a:gd name="connsiteX97" fmla="*/ 3152023 w 5110790"/>
              <a:gd name="connsiteY97" fmla="*/ 3008303 h 4069169"/>
              <a:gd name="connsiteX98" fmla="*/ 3147446 w 5110790"/>
              <a:gd name="connsiteY98" fmla="*/ 3038054 h 4069169"/>
              <a:gd name="connsiteX99" fmla="*/ 3141612 w 5110790"/>
              <a:gd name="connsiteY99" fmla="*/ 3066249 h 4069169"/>
              <a:gd name="connsiteX100" fmla="*/ 3134435 w 5110790"/>
              <a:gd name="connsiteY100" fmla="*/ 3092837 h 4069169"/>
              <a:gd name="connsiteX101" fmla="*/ 3125826 w 5110790"/>
              <a:gd name="connsiteY101" fmla="*/ 3117770 h 4069169"/>
              <a:gd name="connsiteX102" fmla="*/ 3115700 w 5110790"/>
              <a:gd name="connsiteY102" fmla="*/ 3140995 h 4069169"/>
              <a:gd name="connsiteX103" fmla="*/ 3103967 w 5110790"/>
              <a:gd name="connsiteY103" fmla="*/ 3162464 h 4069169"/>
              <a:gd name="connsiteX104" fmla="*/ 3090542 w 5110790"/>
              <a:gd name="connsiteY104" fmla="*/ 3182126 h 4069169"/>
              <a:gd name="connsiteX105" fmla="*/ 3075336 w 5110790"/>
              <a:gd name="connsiteY105" fmla="*/ 3199931 h 4069169"/>
              <a:gd name="connsiteX106" fmla="*/ 3058263 w 5110790"/>
              <a:gd name="connsiteY106" fmla="*/ 3215828 h 4069169"/>
              <a:gd name="connsiteX107" fmla="*/ 3039235 w 5110790"/>
              <a:gd name="connsiteY107" fmla="*/ 3229769 h 4069169"/>
              <a:gd name="connsiteX108" fmla="*/ 3018165 w 5110790"/>
              <a:gd name="connsiteY108" fmla="*/ 3241703 h 4069169"/>
              <a:gd name="connsiteX109" fmla="*/ 2994965 w 5110790"/>
              <a:gd name="connsiteY109" fmla="*/ 3251579 h 4069169"/>
              <a:gd name="connsiteX110" fmla="*/ 2969548 w 5110790"/>
              <a:gd name="connsiteY110" fmla="*/ 3259347 h 4069169"/>
              <a:gd name="connsiteX111" fmla="*/ 2941828 w 5110790"/>
              <a:gd name="connsiteY111" fmla="*/ 3264959 h 4069169"/>
              <a:gd name="connsiteX112" fmla="*/ 2911716 w 5110790"/>
              <a:gd name="connsiteY112" fmla="*/ 3268362 h 4069169"/>
              <a:gd name="connsiteX113" fmla="*/ 2879125 w 5110790"/>
              <a:gd name="connsiteY113" fmla="*/ 3269508 h 4069169"/>
              <a:gd name="connsiteX114" fmla="*/ 2879125 w 5110790"/>
              <a:gd name="connsiteY114" fmla="*/ 3210798 h 4069169"/>
              <a:gd name="connsiteX115" fmla="*/ 2909252 w 5110790"/>
              <a:gd name="connsiteY115" fmla="*/ 3209444 h 4069169"/>
              <a:gd name="connsiteX116" fmla="*/ 2936490 w 5110790"/>
              <a:gd name="connsiteY116" fmla="*/ 3205429 h 4069169"/>
              <a:gd name="connsiteX117" fmla="*/ 2960977 w 5110790"/>
              <a:gd name="connsiteY117" fmla="*/ 3198827 h 4069169"/>
              <a:gd name="connsiteX118" fmla="*/ 2982849 w 5110790"/>
              <a:gd name="connsiteY118" fmla="*/ 3189707 h 4069169"/>
              <a:gd name="connsiteX119" fmla="*/ 3019298 w 5110790"/>
              <a:gd name="connsiteY119" fmla="*/ 3164203 h 4069169"/>
              <a:gd name="connsiteX120" fmla="*/ 3046935 w 5110790"/>
              <a:gd name="connsiteY120" fmla="*/ 3129493 h 4069169"/>
              <a:gd name="connsiteX121" fmla="*/ 3057792 w 5110790"/>
              <a:gd name="connsiteY121" fmla="*/ 3108864 h 4069169"/>
              <a:gd name="connsiteX122" fmla="*/ 3066859 w 5110790"/>
              <a:gd name="connsiteY122" fmla="*/ 3086149 h 4069169"/>
              <a:gd name="connsiteX123" fmla="*/ 3074271 w 5110790"/>
              <a:gd name="connsiteY123" fmla="*/ 3061419 h 4069169"/>
              <a:gd name="connsiteX124" fmla="*/ 3080167 w 5110790"/>
              <a:gd name="connsiteY124" fmla="*/ 3034745 h 4069169"/>
              <a:gd name="connsiteX125" fmla="*/ 3084682 w 5110790"/>
              <a:gd name="connsiteY125" fmla="*/ 3006199 h 4069169"/>
              <a:gd name="connsiteX126" fmla="*/ 3087956 w 5110790"/>
              <a:gd name="connsiteY126" fmla="*/ 2975855 h 4069169"/>
              <a:gd name="connsiteX127" fmla="*/ 3090124 w 5110790"/>
              <a:gd name="connsiteY127" fmla="*/ 2943781 h 4069169"/>
              <a:gd name="connsiteX128" fmla="*/ 3091324 w 5110790"/>
              <a:gd name="connsiteY128" fmla="*/ 2910051 h 4069169"/>
              <a:gd name="connsiteX129" fmla="*/ 3091694 w 5110790"/>
              <a:gd name="connsiteY129" fmla="*/ 2874737 h 4069169"/>
              <a:gd name="connsiteX130" fmla="*/ 3091305 w 5110790"/>
              <a:gd name="connsiteY130" fmla="*/ 2839769 h 4069169"/>
              <a:gd name="connsiteX131" fmla="*/ 3090050 w 5110790"/>
              <a:gd name="connsiteY131" fmla="*/ 2806365 h 4069169"/>
              <a:gd name="connsiteX132" fmla="*/ 3087800 w 5110790"/>
              <a:gd name="connsiteY132" fmla="*/ 2774596 h 4069169"/>
              <a:gd name="connsiteX133" fmla="*/ 3084425 w 5110790"/>
              <a:gd name="connsiteY133" fmla="*/ 2744535 h 4069169"/>
              <a:gd name="connsiteX134" fmla="*/ 3079795 w 5110790"/>
              <a:gd name="connsiteY134" fmla="*/ 2716252 h 4069169"/>
              <a:gd name="connsiteX135" fmla="*/ 3073782 w 5110790"/>
              <a:gd name="connsiteY135" fmla="*/ 2689820 h 4069169"/>
              <a:gd name="connsiteX136" fmla="*/ 3066253 w 5110790"/>
              <a:gd name="connsiteY136" fmla="*/ 2665311 h 4069169"/>
              <a:gd name="connsiteX137" fmla="*/ 3057081 w 5110790"/>
              <a:gd name="connsiteY137" fmla="*/ 2642795 h 4069169"/>
              <a:gd name="connsiteX138" fmla="*/ 3046134 w 5110790"/>
              <a:gd name="connsiteY138" fmla="*/ 2622345 h 4069169"/>
              <a:gd name="connsiteX139" fmla="*/ 3018400 w 5110790"/>
              <a:gd name="connsiteY139" fmla="*/ 2587929 h 4069169"/>
              <a:gd name="connsiteX140" fmla="*/ 2982013 w 5110790"/>
              <a:gd name="connsiteY140" fmla="*/ 2562635 h 4069169"/>
              <a:gd name="connsiteX141" fmla="*/ 2960250 w 5110790"/>
              <a:gd name="connsiteY141" fmla="*/ 2553590 h 4069169"/>
              <a:gd name="connsiteX142" fmla="*/ 2935934 w 5110790"/>
              <a:gd name="connsiteY142" fmla="*/ 2547039 h 4069169"/>
              <a:gd name="connsiteX143" fmla="*/ 2908936 w 5110790"/>
              <a:gd name="connsiteY143" fmla="*/ 2543056 h 4069169"/>
              <a:gd name="connsiteX144" fmla="*/ 2879125 w 5110790"/>
              <a:gd name="connsiteY144" fmla="*/ 2541713 h 4069169"/>
              <a:gd name="connsiteX145" fmla="*/ 2565698 w 5110790"/>
              <a:gd name="connsiteY145" fmla="*/ 2481992 h 4069169"/>
              <a:gd name="connsiteX146" fmla="*/ 2565698 w 5110790"/>
              <a:gd name="connsiteY146" fmla="*/ 2541713 h 4069169"/>
              <a:gd name="connsiteX147" fmla="*/ 2536056 w 5110790"/>
              <a:gd name="connsiteY147" fmla="*/ 2543056 h 4069169"/>
              <a:gd name="connsiteX148" fmla="*/ 2509206 w 5110790"/>
              <a:gd name="connsiteY148" fmla="*/ 2547039 h 4069169"/>
              <a:gd name="connsiteX149" fmla="*/ 2485020 w 5110790"/>
              <a:gd name="connsiteY149" fmla="*/ 2553590 h 4069169"/>
              <a:gd name="connsiteX150" fmla="*/ 2463369 w 5110790"/>
              <a:gd name="connsiteY150" fmla="*/ 2562635 h 4069169"/>
              <a:gd name="connsiteX151" fmla="*/ 2427161 w 5110790"/>
              <a:gd name="connsiteY151" fmla="*/ 2587929 h 4069169"/>
              <a:gd name="connsiteX152" fmla="*/ 2399551 w 5110790"/>
              <a:gd name="connsiteY152" fmla="*/ 2622345 h 4069169"/>
              <a:gd name="connsiteX153" fmla="*/ 2388649 w 5110790"/>
              <a:gd name="connsiteY153" fmla="*/ 2642795 h 4069169"/>
              <a:gd name="connsiteX154" fmla="*/ 2379511 w 5110790"/>
              <a:gd name="connsiteY154" fmla="*/ 2665311 h 4069169"/>
              <a:gd name="connsiteX155" fmla="*/ 2372009 w 5110790"/>
              <a:gd name="connsiteY155" fmla="*/ 2689820 h 4069169"/>
              <a:gd name="connsiteX156" fmla="*/ 2366014 w 5110790"/>
              <a:gd name="connsiteY156" fmla="*/ 2716252 h 4069169"/>
              <a:gd name="connsiteX157" fmla="*/ 2361397 w 5110790"/>
              <a:gd name="connsiteY157" fmla="*/ 2744535 h 4069169"/>
              <a:gd name="connsiteX158" fmla="*/ 2358029 w 5110790"/>
              <a:gd name="connsiteY158" fmla="*/ 2774596 h 4069169"/>
              <a:gd name="connsiteX159" fmla="*/ 2355783 w 5110790"/>
              <a:gd name="connsiteY159" fmla="*/ 2806365 h 4069169"/>
              <a:gd name="connsiteX160" fmla="*/ 2354530 w 5110790"/>
              <a:gd name="connsiteY160" fmla="*/ 2839769 h 4069169"/>
              <a:gd name="connsiteX161" fmla="*/ 2354141 w 5110790"/>
              <a:gd name="connsiteY161" fmla="*/ 2874737 h 4069169"/>
              <a:gd name="connsiteX162" fmla="*/ 2354520 w 5110790"/>
              <a:gd name="connsiteY162" fmla="*/ 2910051 h 4069169"/>
              <a:gd name="connsiteX163" fmla="*/ 2355746 w 5110790"/>
              <a:gd name="connsiteY163" fmla="*/ 2943781 h 4069169"/>
              <a:gd name="connsiteX164" fmla="*/ 2357952 w 5110790"/>
              <a:gd name="connsiteY164" fmla="*/ 2975855 h 4069169"/>
              <a:gd name="connsiteX165" fmla="*/ 2361268 w 5110790"/>
              <a:gd name="connsiteY165" fmla="*/ 3006199 h 4069169"/>
              <a:gd name="connsiteX166" fmla="*/ 2365828 w 5110790"/>
              <a:gd name="connsiteY166" fmla="*/ 3034745 h 4069169"/>
              <a:gd name="connsiteX167" fmla="*/ 2371764 w 5110790"/>
              <a:gd name="connsiteY167" fmla="*/ 3061419 h 4069169"/>
              <a:gd name="connsiteX168" fmla="*/ 2379208 w 5110790"/>
              <a:gd name="connsiteY168" fmla="*/ 3086149 h 4069169"/>
              <a:gd name="connsiteX169" fmla="*/ 2388293 w 5110790"/>
              <a:gd name="connsiteY169" fmla="*/ 3108864 h 4069169"/>
              <a:gd name="connsiteX170" fmla="*/ 2399150 w 5110790"/>
              <a:gd name="connsiteY170" fmla="*/ 3129493 h 4069169"/>
              <a:gd name="connsiteX171" fmla="*/ 2426712 w 5110790"/>
              <a:gd name="connsiteY171" fmla="*/ 3164203 h 4069169"/>
              <a:gd name="connsiteX172" fmla="*/ 2462952 w 5110790"/>
              <a:gd name="connsiteY172" fmla="*/ 3189707 h 4069169"/>
              <a:gd name="connsiteX173" fmla="*/ 2484656 w 5110790"/>
              <a:gd name="connsiteY173" fmla="*/ 3198827 h 4069169"/>
              <a:gd name="connsiteX174" fmla="*/ 2508928 w 5110790"/>
              <a:gd name="connsiteY174" fmla="*/ 3205429 h 4069169"/>
              <a:gd name="connsiteX175" fmla="*/ 2535898 w 5110790"/>
              <a:gd name="connsiteY175" fmla="*/ 3209444 h 4069169"/>
              <a:gd name="connsiteX176" fmla="*/ 2565698 w 5110790"/>
              <a:gd name="connsiteY176" fmla="*/ 3210798 h 4069169"/>
              <a:gd name="connsiteX177" fmla="*/ 2565698 w 5110790"/>
              <a:gd name="connsiteY177" fmla="*/ 3269508 h 4069169"/>
              <a:gd name="connsiteX178" fmla="*/ 2533244 w 5110790"/>
              <a:gd name="connsiteY178" fmla="*/ 3268362 h 4069169"/>
              <a:gd name="connsiteX179" fmla="*/ 2503241 w 5110790"/>
              <a:gd name="connsiteY179" fmla="*/ 3264959 h 4069169"/>
              <a:gd name="connsiteX180" fmla="*/ 2475603 w 5110790"/>
              <a:gd name="connsiteY180" fmla="*/ 3259347 h 4069169"/>
              <a:gd name="connsiteX181" fmla="*/ 2450247 w 5110790"/>
              <a:gd name="connsiteY181" fmla="*/ 3251579 h 4069169"/>
              <a:gd name="connsiteX182" fmla="*/ 2427085 w 5110790"/>
              <a:gd name="connsiteY182" fmla="*/ 3241703 h 4069169"/>
              <a:gd name="connsiteX183" fmla="*/ 2406034 w 5110790"/>
              <a:gd name="connsiteY183" fmla="*/ 3229769 h 4069169"/>
              <a:gd name="connsiteX184" fmla="*/ 2387009 w 5110790"/>
              <a:gd name="connsiteY184" fmla="*/ 3215828 h 4069169"/>
              <a:gd name="connsiteX185" fmla="*/ 2369924 w 5110790"/>
              <a:gd name="connsiteY185" fmla="*/ 3199931 h 4069169"/>
              <a:gd name="connsiteX186" fmla="*/ 2354694 w 5110790"/>
              <a:gd name="connsiteY186" fmla="*/ 3182126 h 4069169"/>
              <a:gd name="connsiteX187" fmla="*/ 2341235 w 5110790"/>
              <a:gd name="connsiteY187" fmla="*/ 3162464 h 4069169"/>
              <a:gd name="connsiteX188" fmla="*/ 2329461 w 5110790"/>
              <a:gd name="connsiteY188" fmla="*/ 3140995 h 4069169"/>
              <a:gd name="connsiteX189" fmla="*/ 2319288 w 5110790"/>
              <a:gd name="connsiteY189" fmla="*/ 3117770 h 4069169"/>
              <a:gd name="connsiteX190" fmla="*/ 2310630 w 5110790"/>
              <a:gd name="connsiteY190" fmla="*/ 3092837 h 4069169"/>
              <a:gd name="connsiteX191" fmla="*/ 2303402 w 5110790"/>
              <a:gd name="connsiteY191" fmla="*/ 3066249 h 4069169"/>
              <a:gd name="connsiteX192" fmla="*/ 2297519 w 5110790"/>
              <a:gd name="connsiteY192" fmla="*/ 3038054 h 4069169"/>
              <a:gd name="connsiteX193" fmla="*/ 2292897 w 5110790"/>
              <a:gd name="connsiteY193" fmla="*/ 3008303 h 4069169"/>
              <a:gd name="connsiteX194" fmla="*/ 2289449 w 5110790"/>
              <a:gd name="connsiteY194" fmla="*/ 2977045 h 4069169"/>
              <a:gd name="connsiteX195" fmla="*/ 2287092 w 5110790"/>
              <a:gd name="connsiteY195" fmla="*/ 2944332 h 4069169"/>
              <a:gd name="connsiteX196" fmla="*/ 2285740 w 5110790"/>
              <a:gd name="connsiteY196" fmla="*/ 2910212 h 4069169"/>
              <a:gd name="connsiteX197" fmla="*/ 2285309 w 5110790"/>
              <a:gd name="connsiteY197" fmla="*/ 2874737 h 4069169"/>
              <a:gd name="connsiteX198" fmla="*/ 2285755 w 5110790"/>
              <a:gd name="connsiteY198" fmla="*/ 2839413 h 4069169"/>
              <a:gd name="connsiteX199" fmla="*/ 2287147 w 5110790"/>
              <a:gd name="connsiteY199" fmla="*/ 2805445 h 4069169"/>
              <a:gd name="connsiteX200" fmla="*/ 2289566 w 5110790"/>
              <a:gd name="connsiteY200" fmla="*/ 2772881 h 4069169"/>
              <a:gd name="connsiteX201" fmla="*/ 2293091 w 5110790"/>
              <a:gd name="connsiteY201" fmla="*/ 2741770 h 4069169"/>
              <a:gd name="connsiteX202" fmla="*/ 2297804 w 5110790"/>
              <a:gd name="connsiteY202" fmla="*/ 2712163 h 4069169"/>
              <a:gd name="connsiteX203" fmla="*/ 2303784 w 5110790"/>
              <a:gd name="connsiteY203" fmla="*/ 2684109 h 4069169"/>
              <a:gd name="connsiteX204" fmla="*/ 2311113 w 5110790"/>
              <a:gd name="connsiteY204" fmla="*/ 2657656 h 4069169"/>
              <a:gd name="connsiteX205" fmla="*/ 2319870 w 5110790"/>
              <a:gd name="connsiteY205" fmla="*/ 2632854 h 4069169"/>
              <a:gd name="connsiteX206" fmla="*/ 2330137 w 5110790"/>
              <a:gd name="connsiteY206" fmla="*/ 2609754 h 4069169"/>
              <a:gd name="connsiteX207" fmla="*/ 2341994 w 5110790"/>
              <a:gd name="connsiteY207" fmla="*/ 2588403 h 4069169"/>
              <a:gd name="connsiteX208" fmla="*/ 2355521 w 5110790"/>
              <a:gd name="connsiteY208" fmla="*/ 2568850 h 4069169"/>
              <a:gd name="connsiteX209" fmla="*/ 2370798 w 5110790"/>
              <a:gd name="connsiteY209" fmla="*/ 2551147 h 4069169"/>
              <a:gd name="connsiteX210" fmla="*/ 2387907 w 5110790"/>
              <a:gd name="connsiteY210" fmla="*/ 2535342 h 4069169"/>
              <a:gd name="connsiteX211" fmla="*/ 2406927 w 5110790"/>
              <a:gd name="connsiteY211" fmla="*/ 2521483 h 4069169"/>
              <a:gd name="connsiteX212" fmla="*/ 2427939 w 5110790"/>
              <a:gd name="connsiteY212" fmla="*/ 2509622 h 4069169"/>
              <a:gd name="connsiteX213" fmla="*/ 2451024 w 5110790"/>
              <a:gd name="connsiteY213" fmla="*/ 2499807 h 4069169"/>
              <a:gd name="connsiteX214" fmla="*/ 2476262 w 5110790"/>
              <a:gd name="connsiteY214" fmla="*/ 2492087 h 4069169"/>
              <a:gd name="connsiteX215" fmla="*/ 2503733 w 5110790"/>
              <a:gd name="connsiteY215" fmla="*/ 2486511 h 4069169"/>
              <a:gd name="connsiteX216" fmla="*/ 2533518 w 5110790"/>
              <a:gd name="connsiteY216" fmla="*/ 2483129 h 4069169"/>
              <a:gd name="connsiteX217" fmla="*/ 4308476 w 5110790"/>
              <a:gd name="connsiteY217" fmla="*/ 2413668 h 4069169"/>
              <a:gd name="connsiteX218" fmla="*/ 4389455 w 5110790"/>
              <a:gd name="connsiteY218" fmla="*/ 2413668 h 4069169"/>
              <a:gd name="connsiteX219" fmla="*/ 4503836 w 5110790"/>
              <a:gd name="connsiteY219" fmla="*/ 2623200 h 4069169"/>
              <a:gd name="connsiteX220" fmla="*/ 4387430 w 5110790"/>
              <a:gd name="connsiteY220" fmla="*/ 2838804 h 4069169"/>
              <a:gd name="connsiteX221" fmla="*/ 4308476 w 5110790"/>
              <a:gd name="connsiteY221" fmla="*/ 2838804 h 4069169"/>
              <a:gd name="connsiteX222" fmla="*/ 4407674 w 5110790"/>
              <a:gd name="connsiteY222" fmla="*/ 2653567 h 4069169"/>
              <a:gd name="connsiteX223" fmla="*/ 4017966 w 5110790"/>
              <a:gd name="connsiteY223" fmla="*/ 2653567 h 4069169"/>
              <a:gd name="connsiteX224" fmla="*/ 4017966 w 5110790"/>
              <a:gd name="connsiteY224" fmla="*/ 2588784 h 4069169"/>
              <a:gd name="connsiteX225" fmla="*/ 4405650 w 5110790"/>
              <a:gd name="connsiteY225" fmla="*/ 2588784 h 4069169"/>
              <a:gd name="connsiteX226" fmla="*/ 2147951 w 5110790"/>
              <a:gd name="connsiteY226" fmla="*/ 2190467 h 4069169"/>
              <a:gd name="connsiteX227" fmla="*/ 2173557 w 5110790"/>
              <a:gd name="connsiteY227" fmla="*/ 2192697 h 4069169"/>
              <a:gd name="connsiteX228" fmla="*/ 2193375 w 5110790"/>
              <a:gd name="connsiteY228" fmla="*/ 2200715 h 4069169"/>
              <a:gd name="connsiteX229" fmla="*/ 2206169 w 5110790"/>
              <a:gd name="connsiteY229" fmla="*/ 2216516 h 4069169"/>
              <a:gd name="connsiteX230" fmla="*/ 2210708 w 5110790"/>
              <a:gd name="connsiteY230" fmla="*/ 2242090 h 4069169"/>
              <a:gd name="connsiteX231" fmla="*/ 2206169 w 5110790"/>
              <a:gd name="connsiteY231" fmla="*/ 2268835 h 4069169"/>
              <a:gd name="connsiteX232" fmla="*/ 2193375 w 5110790"/>
              <a:gd name="connsiteY232" fmla="*/ 2285237 h 4069169"/>
              <a:gd name="connsiteX233" fmla="*/ 2173557 w 5110790"/>
              <a:gd name="connsiteY233" fmla="*/ 2293477 h 4069169"/>
              <a:gd name="connsiteX234" fmla="*/ 2147951 w 5110790"/>
              <a:gd name="connsiteY234" fmla="*/ 2295739 h 4069169"/>
              <a:gd name="connsiteX235" fmla="*/ 2122345 w 5110790"/>
              <a:gd name="connsiteY235" fmla="*/ 2293477 h 4069169"/>
              <a:gd name="connsiteX236" fmla="*/ 2102527 w 5110790"/>
              <a:gd name="connsiteY236" fmla="*/ 2285237 h 4069169"/>
              <a:gd name="connsiteX237" fmla="*/ 2089732 w 5110790"/>
              <a:gd name="connsiteY237" fmla="*/ 2268835 h 4069169"/>
              <a:gd name="connsiteX238" fmla="*/ 2085193 w 5110790"/>
              <a:gd name="connsiteY238" fmla="*/ 2242090 h 4069169"/>
              <a:gd name="connsiteX239" fmla="*/ 2089874 w 5110790"/>
              <a:gd name="connsiteY239" fmla="*/ 2216516 h 4069169"/>
              <a:gd name="connsiteX240" fmla="*/ 2102907 w 5110790"/>
              <a:gd name="connsiteY240" fmla="*/ 2200715 h 4069169"/>
              <a:gd name="connsiteX241" fmla="*/ 2122772 w 5110790"/>
              <a:gd name="connsiteY241" fmla="*/ 2192697 h 4069169"/>
              <a:gd name="connsiteX242" fmla="*/ 784523 w 5110790"/>
              <a:gd name="connsiteY242" fmla="*/ 2190467 h 4069169"/>
              <a:gd name="connsiteX243" fmla="*/ 810129 w 5110790"/>
              <a:gd name="connsiteY243" fmla="*/ 2192697 h 4069169"/>
              <a:gd name="connsiteX244" fmla="*/ 829946 w 5110790"/>
              <a:gd name="connsiteY244" fmla="*/ 2200715 h 4069169"/>
              <a:gd name="connsiteX245" fmla="*/ 842741 w 5110790"/>
              <a:gd name="connsiteY245" fmla="*/ 2216516 h 4069169"/>
              <a:gd name="connsiteX246" fmla="*/ 847281 w 5110790"/>
              <a:gd name="connsiteY246" fmla="*/ 2242090 h 4069169"/>
              <a:gd name="connsiteX247" fmla="*/ 842741 w 5110790"/>
              <a:gd name="connsiteY247" fmla="*/ 2268835 h 4069169"/>
              <a:gd name="connsiteX248" fmla="*/ 829946 w 5110790"/>
              <a:gd name="connsiteY248" fmla="*/ 2285237 h 4069169"/>
              <a:gd name="connsiteX249" fmla="*/ 810129 w 5110790"/>
              <a:gd name="connsiteY249" fmla="*/ 2293477 h 4069169"/>
              <a:gd name="connsiteX250" fmla="*/ 784523 w 5110790"/>
              <a:gd name="connsiteY250" fmla="*/ 2295739 h 4069169"/>
              <a:gd name="connsiteX251" fmla="*/ 758916 w 5110790"/>
              <a:gd name="connsiteY251" fmla="*/ 2293477 h 4069169"/>
              <a:gd name="connsiteX252" fmla="*/ 739099 w 5110790"/>
              <a:gd name="connsiteY252" fmla="*/ 2285237 h 4069169"/>
              <a:gd name="connsiteX253" fmla="*/ 726304 w 5110790"/>
              <a:gd name="connsiteY253" fmla="*/ 2268835 h 4069169"/>
              <a:gd name="connsiteX254" fmla="*/ 721765 w 5110790"/>
              <a:gd name="connsiteY254" fmla="*/ 2242090 h 4069169"/>
              <a:gd name="connsiteX255" fmla="*/ 726446 w 5110790"/>
              <a:gd name="connsiteY255" fmla="*/ 2216516 h 4069169"/>
              <a:gd name="connsiteX256" fmla="*/ 739479 w 5110790"/>
              <a:gd name="connsiteY256" fmla="*/ 2200715 h 4069169"/>
              <a:gd name="connsiteX257" fmla="*/ 759344 w 5110790"/>
              <a:gd name="connsiteY257" fmla="*/ 2192697 h 4069169"/>
              <a:gd name="connsiteX258" fmla="*/ 62758 w 5110790"/>
              <a:gd name="connsiteY258" fmla="*/ 2190467 h 4069169"/>
              <a:gd name="connsiteX259" fmla="*/ 88364 w 5110790"/>
              <a:gd name="connsiteY259" fmla="*/ 2192697 h 4069169"/>
              <a:gd name="connsiteX260" fmla="*/ 108181 w 5110790"/>
              <a:gd name="connsiteY260" fmla="*/ 2200715 h 4069169"/>
              <a:gd name="connsiteX261" fmla="*/ 120977 w 5110790"/>
              <a:gd name="connsiteY261" fmla="*/ 2216516 h 4069169"/>
              <a:gd name="connsiteX262" fmla="*/ 125516 w 5110790"/>
              <a:gd name="connsiteY262" fmla="*/ 2242090 h 4069169"/>
              <a:gd name="connsiteX263" fmla="*/ 120977 w 5110790"/>
              <a:gd name="connsiteY263" fmla="*/ 2268835 h 4069169"/>
              <a:gd name="connsiteX264" fmla="*/ 108181 w 5110790"/>
              <a:gd name="connsiteY264" fmla="*/ 2285237 h 4069169"/>
              <a:gd name="connsiteX265" fmla="*/ 88364 w 5110790"/>
              <a:gd name="connsiteY265" fmla="*/ 2293477 h 4069169"/>
              <a:gd name="connsiteX266" fmla="*/ 62758 w 5110790"/>
              <a:gd name="connsiteY266" fmla="*/ 2295739 h 4069169"/>
              <a:gd name="connsiteX267" fmla="*/ 37151 w 5110790"/>
              <a:gd name="connsiteY267" fmla="*/ 2293477 h 4069169"/>
              <a:gd name="connsiteX268" fmla="*/ 17334 w 5110790"/>
              <a:gd name="connsiteY268" fmla="*/ 2285237 h 4069169"/>
              <a:gd name="connsiteX269" fmla="*/ 4539 w 5110790"/>
              <a:gd name="connsiteY269" fmla="*/ 2268835 h 4069169"/>
              <a:gd name="connsiteX270" fmla="*/ 0 w 5110790"/>
              <a:gd name="connsiteY270" fmla="*/ 2242090 h 4069169"/>
              <a:gd name="connsiteX271" fmla="*/ 4681 w 5110790"/>
              <a:gd name="connsiteY271" fmla="*/ 2216516 h 4069169"/>
              <a:gd name="connsiteX272" fmla="*/ 17713 w 5110790"/>
              <a:gd name="connsiteY272" fmla="*/ 2200715 h 4069169"/>
              <a:gd name="connsiteX273" fmla="*/ 37578 w 5110790"/>
              <a:gd name="connsiteY273" fmla="*/ 2192697 h 4069169"/>
              <a:gd name="connsiteX274" fmla="*/ 4915430 w 5110790"/>
              <a:gd name="connsiteY274" fmla="*/ 1822022 h 4069169"/>
              <a:gd name="connsiteX275" fmla="*/ 4996408 w 5110790"/>
              <a:gd name="connsiteY275" fmla="*/ 1822022 h 4069169"/>
              <a:gd name="connsiteX276" fmla="*/ 5110790 w 5110790"/>
              <a:gd name="connsiteY276" fmla="*/ 2031553 h 4069169"/>
              <a:gd name="connsiteX277" fmla="*/ 4994384 w 5110790"/>
              <a:gd name="connsiteY277" fmla="*/ 2247158 h 4069169"/>
              <a:gd name="connsiteX278" fmla="*/ 4915430 w 5110790"/>
              <a:gd name="connsiteY278" fmla="*/ 2247158 h 4069169"/>
              <a:gd name="connsiteX279" fmla="*/ 5014628 w 5110790"/>
              <a:gd name="connsiteY279" fmla="*/ 2061920 h 4069169"/>
              <a:gd name="connsiteX280" fmla="*/ 4624920 w 5110790"/>
              <a:gd name="connsiteY280" fmla="*/ 2061920 h 4069169"/>
              <a:gd name="connsiteX281" fmla="*/ 4624920 w 5110790"/>
              <a:gd name="connsiteY281" fmla="*/ 1997137 h 4069169"/>
              <a:gd name="connsiteX282" fmla="*/ 5012604 w 5110790"/>
              <a:gd name="connsiteY282" fmla="*/ 1997137 h 4069169"/>
              <a:gd name="connsiteX283" fmla="*/ 2876800 w 5110790"/>
              <a:gd name="connsiteY283" fmla="*/ 1822016 h 4069169"/>
              <a:gd name="connsiteX284" fmla="*/ 2957778 w 5110790"/>
              <a:gd name="connsiteY284" fmla="*/ 1822016 h 4069169"/>
              <a:gd name="connsiteX285" fmla="*/ 3072160 w 5110790"/>
              <a:gd name="connsiteY285" fmla="*/ 2031547 h 4069169"/>
              <a:gd name="connsiteX286" fmla="*/ 2955754 w 5110790"/>
              <a:gd name="connsiteY286" fmla="*/ 2247152 h 4069169"/>
              <a:gd name="connsiteX287" fmla="*/ 2876800 w 5110790"/>
              <a:gd name="connsiteY287" fmla="*/ 2247152 h 4069169"/>
              <a:gd name="connsiteX288" fmla="*/ 2975998 w 5110790"/>
              <a:gd name="connsiteY288" fmla="*/ 2061915 h 4069169"/>
              <a:gd name="connsiteX289" fmla="*/ 2586290 w 5110790"/>
              <a:gd name="connsiteY289" fmla="*/ 2061915 h 4069169"/>
              <a:gd name="connsiteX290" fmla="*/ 2586290 w 5110790"/>
              <a:gd name="connsiteY290" fmla="*/ 1997132 h 4069169"/>
              <a:gd name="connsiteX291" fmla="*/ 2973974 w 5110790"/>
              <a:gd name="connsiteY291" fmla="*/ 1997132 h 4069169"/>
              <a:gd name="connsiteX292" fmla="*/ 1513768 w 5110790"/>
              <a:gd name="connsiteY292" fmla="*/ 1822016 h 4069169"/>
              <a:gd name="connsiteX293" fmla="*/ 1594748 w 5110790"/>
              <a:gd name="connsiteY293" fmla="*/ 1822016 h 4069169"/>
              <a:gd name="connsiteX294" fmla="*/ 1709128 w 5110790"/>
              <a:gd name="connsiteY294" fmla="*/ 2031547 h 4069169"/>
              <a:gd name="connsiteX295" fmla="*/ 1592723 w 5110790"/>
              <a:gd name="connsiteY295" fmla="*/ 2247152 h 4069169"/>
              <a:gd name="connsiteX296" fmla="*/ 1513768 w 5110790"/>
              <a:gd name="connsiteY296" fmla="*/ 2247152 h 4069169"/>
              <a:gd name="connsiteX297" fmla="*/ 1612966 w 5110790"/>
              <a:gd name="connsiteY297" fmla="*/ 2061915 h 4069169"/>
              <a:gd name="connsiteX298" fmla="*/ 1223259 w 5110790"/>
              <a:gd name="connsiteY298" fmla="*/ 2061915 h 4069169"/>
              <a:gd name="connsiteX299" fmla="*/ 1223259 w 5110790"/>
              <a:gd name="connsiteY299" fmla="*/ 1997132 h 4069169"/>
              <a:gd name="connsiteX300" fmla="*/ 1610942 w 5110790"/>
              <a:gd name="connsiteY300" fmla="*/ 1997132 h 4069169"/>
              <a:gd name="connsiteX301" fmla="*/ 2147951 w 5110790"/>
              <a:gd name="connsiteY301" fmla="*/ 1765330 h 4069169"/>
              <a:gd name="connsiteX302" fmla="*/ 2173557 w 5110790"/>
              <a:gd name="connsiteY302" fmla="*/ 1767433 h 4069169"/>
              <a:gd name="connsiteX303" fmla="*/ 2193375 w 5110790"/>
              <a:gd name="connsiteY303" fmla="*/ 1775325 h 4069169"/>
              <a:gd name="connsiteX304" fmla="*/ 2206169 w 5110790"/>
              <a:gd name="connsiteY304" fmla="*/ 1791378 h 4069169"/>
              <a:gd name="connsiteX305" fmla="*/ 2210708 w 5110790"/>
              <a:gd name="connsiteY305" fmla="*/ 1817966 h 4069169"/>
              <a:gd name="connsiteX306" fmla="*/ 2206169 w 5110790"/>
              <a:gd name="connsiteY306" fmla="*/ 1843698 h 4069169"/>
              <a:gd name="connsiteX307" fmla="*/ 2193375 w 5110790"/>
              <a:gd name="connsiteY307" fmla="*/ 1859846 h 4069169"/>
              <a:gd name="connsiteX308" fmla="*/ 2173557 w 5110790"/>
              <a:gd name="connsiteY308" fmla="*/ 1868213 h 4069169"/>
              <a:gd name="connsiteX309" fmla="*/ 2147951 w 5110790"/>
              <a:gd name="connsiteY309" fmla="*/ 1870601 h 4069169"/>
              <a:gd name="connsiteX310" fmla="*/ 2122930 w 5110790"/>
              <a:gd name="connsiteY310" fmla="*/ 1868213 h 4069169"/>
              <a:gd name="connsiteX311" fmla="*/ 2103413 w 5110790"/>
              <a:gd name="connsiteY311" fmla="*/ 1859846 h 4069169"/>
              <a:gd name="connsiteX312" fmla="*/ 2090728 w 5110790"/>
              <a:gd name="connsiteY312" fmla="*/ 1843698 h 4069169"/>
              <a:gd name="connsiteX313" fmla="*/ 2086205 w 5110790"/>
              <a:gd name="connsiteY313" fmla="*/ 1817966 h 4069169"/>
              <a:gd name="connsiteX314" fmla="*/ 2090728 w 5110790"/>
              <a:gd name="connsiteY314" fmla="*/ 1791378 h 4069169"/>
              <a:gd name="connsiteX315" fmla="*/ 2103413 w 5110790"/>
              <a:gd name="connsiteY315" fmla="*/ 1775325 h 4069169"/>
              <a:gd name="connsiteX316" fmla="*/ 2122930 w 5110790"/>
              <a:gd name="connsiteY316" fmla="*/ 1767433 h 4069169"/>
              <a:gd name="connsiteX317" fmla="*/ 784523 w 5110790"/>
              <a:gd name="connsiteY317" fmla="*/ 1765330 h 4069169"/>
              <a:gd name="connsiteX318" fmla="*/ 810129 w 5110790"/>
              <a:gd name="connsiteY318" fmla="*/ 1767433 h 4069169"/>
              <a:gd name="connsiteX319" fmla="*/ 829946 w 5110790"/>
              <a:gd name="connsiteY319" fmla="*/ 1775325 h 4069169"/>
              <a:gd name="connsiteX320" fmla="*/ 842741 w 5110790"/>
              <a:gd name="connsiteY320" fmla="*/ 1791378 h 4069169"/>
              <a:gd name="connsiteX321" fmla="*/ 847281 w 5110790"/>
              <a:gd name="connsiteY321" fmla="*/ 1817966 h 4069169"/>
              <a:gd name="connsiteX322" fmla="*/ 842741 w 5110790"/>
              <a:gd name="connsiteY322" fmla="*/ 1843698 h 4069169"/>
              <a:gd name="connsiteX323" fmla="*/ 829946 w 5110790"/>
              <a:gd name="connsiteY323" fmla="*/ 1859846 h 4069169"/>
              <a:gd name="connsiteX324" fmla="*/ 810129 w 5110790"/>
              <a:gd name="connsiteY324" fmla="*/ 1868213 h 4069169"/>
              <a:gd name="connsiteX325" fmla="*/ 784523 w 5110790"/>
              <a:gd name="connsiteY325" fmla="*/ 1870601 h 4069169"/>
              <a:gd name="connsiteX326" fmla="*/ 759502 w 5110790"/>
              <a:gd name="connsiteY326" fmla="*/ 1868213 h 4069169"/>
              <a:gd name="connsiteX327" fmla="*/ 739984 w 5110790"/>
              <a:gd name="connsiteY327" fmla="*/ 1859846 h 4069169"/>
              <a:gd name="connsiteX328" fmla="*/ 727300 w 5110790"/>
              <a:gd name="connsiteY328" fmla="*/ 1843698 h 4069169"/>
              <a:gd name="connsiteX329" fmla="*/ 722776 w 5110790"/>
              <a:gd name="connsiteY329" fmla="*/ 1817966 h 4069169"/>
              <a:gd name="connsiteX330" fmla="*/ 727300 w 5110790"/>
              <a:gd name="connsiteY330" fmla="*/ 1791378 h 4069169"/>
              <a:gd name="connsiteX331" fmla="*/ 739984 w 5110790"/>
              <a:gd name="connsiteY331" fmla="*/ 1775325 h 4069169"/>
              <a:gd name="connsiteX332" fmla="*/ 759502 w 5110790"/>
              <a:gd name="connsiteY332" fmla="*/ 1767433 h 4069169"/>
              <a:gd name="connsiteX333" fmla="*/ 62758 w 5110790"/>
              <a:gd name="connsiteY333" fmla="*/ 1765330 h 4069169"/>
              <a:gd name="connsiteX334" fmla="*/ 88364 w 5110790"/>
              <a:gd name="connsiteY334" fmla="*/ 1767433 h 4069169"/>
              <a:gd name="connsiteX335" fmla="*/ 108181 w 5110790"/>
              <a:gd name="connsiteY335" fmla="*/ 1775325 h 4069169"/>
              <a:gd name="connsiteX336" fmla="*/ 120977 w 5110790"/>
              <a:gd name="connsiteY336" fmla="*/ 1791378 h 4069169"/>
              <a:gd name="connsiteX337" fmla="*/ 125516 w 5110790"/>
              <a:gd name="connsiteY337" fmla="*/ 1817966 h 4069169"/>
              <a:gd name="connsiteX338" fmla="*/ 120977 w 5110790"/>
              <a:gd name="connsiteY338" fmla="*/ 1843698 h 4069169"/>
              <a:gd name="connsiteX339" fmla="*/ 108181 w 5110790"/>
              <a:gd name="connsiteY339" fmla="*/ 1859846 h 4069169"/>
              <a:gd name="connsiteX340" fmla="*/ 88364 w 5110790"/>
              <a:gd name="connsiteY340" fmla="*/ 1868213 h 4069169"/>
              <a:gd name="connsiteX341" fmla="*/ 62758 w 5110790"/>
              <a:gd name="connsiteY341" fmla="*/ 1870601 h 4069169"/>
              <a:gd name="connsiteX342" fmla="*/ 37736 w 5110790"/>
              <a:gd name="connsiteY342" fmla="*/ 1868213 h 4069169"/>
              <a:gd name="connsiteX343" fmla="*/ 18219 w 5110790"/>
              <a:gd name="connsiteY343" fmla="*/ 1859846 h 4069169"/>
              <a:gd name="connsiteX344" fmla="*/ 5535 w 5110790"/>
              <a:gd name="connsiteY344" fmla="*/ 1843698 h 4069169"/>
              <a:gd name="connsiteX345" fmla="*/ 1012 w 5110790"/>
              <a:gd name="connsiteY345" fmla="*/ 1817966 h 4069169"/>
              <a:gd name="connsiteX346" fmla="*/ 5535 w 5110790"/>
              <a:gd name="connsiteY346" fmla="*/ 1791378 h 4069169"/>
              <a:gd name="connsiteX347" fmla="*/ 18219 w 5110790"/>
              <a:gd name="connsiteY347" fmla="*/ 1775325 h 4069169"/>
              <a:gd name="connsiteX348" fmla="*/ 37736 w 5110790"/>
              <a:gd name="connsiteY348" fmla="*/ 1767433 h 4069169"/>
              <a:gd name="connsiteX349" fmla="*/ 3434660 w 5110790"/>
              <a:gd name="connsiteY349" fmla="*/ 1570981 h 4069169"/>
              <a:gd name="connsiteX350" fmla="*/ 3466840 w 5110790"/>
              <a:gd name="connsiteY350" fmla="*/ 1572118 h 4069169"/>
              <a:gd name="connsiteX351" fmla="*/ 3496625 w 5110790"/>
              <a:gd name="connsiteY351" fmla="*/ 1575500 h 4069169"/>
              <a:gd name="connsiteX352" fmla="*/ 3524096 w 5110790"/>
              <a:gd name="connsiteY352" fmla="*/ 1581076 h 4069169"/>
              <a:gd name="connsiteX353" fmla="*/ 3549334 w 5110790"/>
              <a:gd name="connsiteY353" fmla="*/ 1588796 h 4069169"/>
              <a:gd name="connsiteX354" fmla="*/ 3572418 w 5110790"/>
              <a:gd name="connsiteY354" fmla="*/ 1598611 h 4069169"/>
              <a:gd name="connsiteX355" fmla="*/ 3593431 w 5110790"/>
              <a:gd name="connsiteY355" fmla="*/ 1610473 h 4069169"/>
              <a:gd name="connsiteX356" fmla="*/ 3612450 w 5110790"/>
              <a:gd name="connsiteY356" fmla="*/ 1624331 h 4069169"/>
              <a:gd name="connsiteX357" fmla="*/ 3629559 w 5110790"/>
              <a:gd name="connsiteY357" fmla="*/ 1640136 h 4069169"/>
              <a:gd name="connsiteX358" fmla="*/ 3644837 w 5110790"/>
              <a:gd name="connsiteY358" fmla="*/ 1657839 h 4069169"/>
              <a:gd name="connsiteX359" fmla="*/ 3658363 w 5110790"/>
              <a:gd name="connsiteY359" fmla="*/ 1677391 h 4069169"/>
              <a:gd name="connsiteX360" fmla="*/ 3670219 w 5110790"/>
              <a:gd name="connsiteY360" fmla="*/ 1698743 h 4069169"/>
              <a:gd name="connsiteX361" fmla="*/ 3680486 w 5110790"/>
              <a:gd name="connsiteY361" fmla="*/ 1721844 h 4069169"/>
              <a:gd name="connsiteX362" fmla="*/ 3689244 w 5110790"/>
              <a:gd name="connsiteY362" fmla="*/ 1746646 h 4069169"/>
              <a:gd name="connsiteX363" fmla="*/ 3696573 w 5110790"/>
              <a:gd name="connsiteY363" fmla="*/ 1773098 h 4069169"/>
              <a:gd name="connsiteX364" fmla="*/ 3702553 w 5110790"/>
              <a:gd name="connsiteY364" fmla="*/ 1801152 h 4069169"/>
              <a:gd name="connsiteX365" fmla="*/ 3707266 w 5110790"/>
              <a:gd name="connsiteY365" fmla="*/ 1830760 h 4069169"/>
              <a:gd name="connsiteX366" fmla="*/ 3710792 w 5110790"/>
              <a:gd name="connsiteY366" fmla="*/ 1861870 h 4069169"/>
              <a:gd name="connsiteX367" fmla="*/ 3713210 w 5110790"/>
              <a:gd name="connsiteY367" fmla="*/ 1894434 h 4069169"/>
              <a:gd name="connsiteX368" fmla="*/ 3714602 w 5110790"/>
              <a:gd name="connsiteY368" fmla="*/ 1928402 h 4069169"/>
              <a:gd name="connsiteX369" fmla="*/ 3715048 w 5110790"/>
              <a:gd name="connsiteY369" fmla="*/ 1963726 h 4069169"/>
              <a:gd name="connsiteX370" fmla="*/ 3714624 w 5110790"/>
              <a:gd name="connsiteY370" fmla="*/ 1999201 h 4069169"/>
              <a:gd name="connsiteX371" fmla="*/ 3713292 w 5110790"/>
              <a:gd name="connsiteY371" fmla="*/ 2033321 h 4069169"/>
              <a:gd name="connsiteX372" fmla="*/ 3710966 w 5110790"/>
              <a:gd name="connsiteY372" fmla="*/ 2066034 h 4069169"/>
              <a:gd name="connsiteX373" fmla="*/ 3707557 w 5110790"/>
              <a:gd name="connsiteY373" fmla="*/ 2097292 h 4069169"/>
              <a:gd name="connsiteX374" fmla="*/ 3702980 w 5110790"/>
              <a:gd name="connsiteY374" fmla="*/ 2127043 h 4069169"/>
              <a:gd name="connsiteX375" fmla="*/ 3697147 w 5110790"/>
              <a:gd name="connsiteY375" fmla="*/ 2155238 h 4069169"/>
              <a:gd name="connsiteX376" fmla="*/ 3689969 w 5110790"/>
              <a:gd name="connsiteY376" fmla="*/ 2181827 h 4069169"/>
              <a:gd name="connsiteX377" fmla="*/ 3681361 w 5110790"/>
              <a:gd name="connsiteY377" fmla="*/ 2206759 h 4069169"/>
              <a:gd name="connsiteX378" fmla="*/ 3671234 w 5110790"/>
              <a:gd name="connsiteY378" fmla="*/ 2229984 h 4069169"/>
              <a:gd name="connsiteX379" fmla="*/ 3659502 w 5110790"/>
              <a:gd name="connsiteY379" fmla="*/ 2251453 h 4069169"/>
              <a:gd name="connsiteX380" fmla="*/ 3646077 w 5110790"/>
              <a:gd name="connsiteY380" fmla="*/ 2271115 h 4069169"/>
              <a:gd name="connsiteX381" fmla="*/ 3630871 w 5110790"/>
              <a:gd name="connsiteY381" fmla="*/ 2288919 h 4069169"/>
              <a:gd name="connsiteX382" fmla="*/ 3613798 w 5110790"/>
              <a:gd name="connsiteY382" fmla="*/ 2304817 h 4069169"/>
              <a:gd name="connsiteX383" fmla="*/ 3594769 w 5110790"/>
              <a:gd name="connsiteY383" fmla="*/ 2318758 h 4069169"/>
              <a:gd name="connsiteX384" fmla="*/ 3573700 w 5110790"/>
              <a:gd name="connsiteY384" fmla="*/ 2330691 h 4069169"/>
              <a:gd name="connsiteX385" fmla="*/ 3550500 w 5110790"/>
              <a:gd name="connsiteY385" fmla="*/ 2340567 h 4069169"/>
              <a:gd name="connsiteX386" fmla="*/ 3525083 w 5110790"/>
              <a:gd name="connsiteY386" fmla="*/ 2348336 h 4069169"/>
              <a:gd name="connsiteX387" fmla="*/ 3497363 w 5110790"/>
              <a:gd name="connsiteY387" fmla="*/ 2353947 h 4069169"/>
              <a:gd name="connsiteX388" fmla="*/ 3467251 w 5110790"/>
              <a:gd name="connsiteY388" fmla="*/ 2357351 h 4069169"/>
              <a:gd name="connsiteX389" fmla="*/ 3434660 w 5110790"/>
              <a:gd name="connsiteY389" fmla="*/ 2358496 h 4069169"/>
              <a:gd name="connsiteX390" fmla="*/ 3434660 w 5110790"/>
              <a:gd name="connsiteY390" fmla="*/ 2299787 h 4069169"/>
              <a:gd name="connsiteX391" fmla="*/ 3464787 w 5110790"/>
              <a:gd name="connsiteY391" fmla="*/ 2298433 h 4069169"/>
              <a:gd name="connsiteX392" fmla="*/ 3492025 w 5110790"/>
              <a:gd name="connsiteY392" fmla="*/ 2294418 h 4069169"/>
              <a:gd name="connsiteX393" fmla="*/ 3516511 w 5110790"/>
              <a:gd name="connsiteY393" fmla="*/ 2287816 h 4069169"/>
              <a:gd name="connsiteX394" fmla="*/ 3538383 w 5110790"/>
              <a:gd name="connsiteY394" fmla="*/ 2278696 h 4069169"/>
              <a:gd name="connsiteX395" fmla="*/ 3574832 w 5110790"/>
              <a:gd name="connsiteY395" fmla="*/ 2253193 h 4069169"/>
              <a:gd name="connsiteX396" fmla="*/ 3602470 w 5110790"/>
              <a:gd name="connsiteY396" fmla="*/ 2218482 h 4069169"/>
              <a:gd name="connsiteX397" fmla="*/ 3613327 w 5110790"/>
              <a:gd name="connsiteY397" fmla="*/ 2197853 h 4069169"/>
              <a:gd name="connsiteX398" fmla="*/ 3622393 w 5110790"/>
              <a:gd name="connsiteY398" fmla="*/ 2175138 h 4069169"/>
              <a:gd name="connsiteX399" fmla="*/ 3629805 w 5110790"/>
              <a:gd name="connsiteY399" fmla="*/ 2150408 h 4069169"/>
              <a:gd name="connsiteX400" fmla="*/ 3635701 w 5110790"/>
              <a:gd name="connsiteY400" fmla="*/ 2123734 h 4069169"/>
              <a:gd name="connsiteX401" fmla="*/ 3640217 w 5110790"/>
              <a:gd name="connsiteY401" fmla="*/ 2095189 h 4069169"/>
              <a:gd name="connsiteX402" fmla="*/ 3643490 w 5110790"/>
              <a:gd name="connsiteY402" fmla="*/ 2064844 h 4069169"/>
              <a:gd name="connsiteX403" fmla="*/ 3645659 w 5110790"/>
              <a:gd name="connsiteY403" fmla="*/ 2032771 h 4069169"/>
              <a:gd name="connsiteX404" fmla="*/ 3646859 w 5110790"/>
              <a:gd name="connsiteY404" fmla="*/ 1999041 h 4069169"/>
              <a:gd name="connsiteX405" fmla="*/ 3647229 w 5110790"/>
              <a:gd name="connsiteY405" fmla="*/ 1963726 h 4069169"/>
              <a:gd name="connsiteX406" fmla="*/ 3646839 w 5110790"/>
              <a:gd name="connsiteY406" fmla="*/ 1928758 h 4069169"/>
              <a:gd name="connsiteX407" fmla="*/ 3645584 w 5110790"/>
              <a:gd name="connsiteY407" fmla="*/ 1895355 h 4069169"/>
              <a:gd name="connsiteX408" fmla="*/ 3643335 w 5110790"/>
              <a:gd name="connsiteY408" fmla="*/ 1863586 h 4069169"/>
              <a:gd name="connsiteX409" fmla="*/ 3639960 w 5110790"/>
              <a:gd name="connsiteY409" fmla="*/ 1833525 h 4069169"/>
              <a:gd name="connsiteX410" fmla="*/ 3635330 w 5110790"/>
              <a:gd name="connsiteY410" fmla="*/ 1805242 h 4069169"/>
              <a:gd name="connsiteX411" fmla="*/ 3629316 w 5110790"/>
              <a:gd name="connsiteY411" fmla="*/ 1778810 h 4069169"/>
              <a:gd name="connsiteX412" fmla="*/ 3621788 w 5110790"/>
              <a:gd name="connsiteY412" fmla="*/ 1754300 h 4069169"/>
              <a:gd name="connsiteX413" fmla="*/ 3612615 w 5110790"/>
              <a:gd name="connsiteY413" fmla="*/ 1731785 h 4069169"/>
              <a:gd name="connsiteX414" fmla="*/ 3601669 w 5110790"/>
              <a:gd name="connsiteY414" fmla="*/ 1711335 h 4069169"/>
              <a:gd name="connsiteX415" fmla="*/ 3573935 w 5110790"/>
              <a:gd name="connsiteY415" fmla="*/ 1676919 h 4069169"/>
              <a:gd name="connsiteX416" fmla="*/ 3537548 w 5110790"/>
              <a:gd name="connsiteY416" fmla="*/ 1651625 h 4069169"/>
              <a:gd name="connsiteX417" fmla="*/ 3515784 w 5110790"/>
              <a:gd name="connsiteY417" fmla="*/ 1642579 h 4069169"/>
              <a:gd name="connsiteX418" fmla="*/ 3491469 w 5110790"/>
              <a:gd name="connsiteY418" fmla="*/ 1636029 h 4069169"/>
              <a:gd name="connsiteX419" fmla="*/ 3464471 w 5110790"/>
              <a:gd name="connsiteY419" fmla="*/ 1632046 h 4069169"/>
              <a:gd name="connsiteX420" fmla="*/ 3434660 w 5110790"/>
              <a:gd name="connsiteY420" fmla="*/ 1630702 h 4069169"/>
              <a:gd name="connsiteX421" fmla="*/ 3579243 w 5110790"/>
              <a:gd name="connsiteY421" fmla="*/ 1279461 h 4069169"/>
              <a:gd name="connsiteX422" fmla="*/ 3604850 w 5110790"/>
              <a:gd name="connsiteY422" fmla="*/ 1281691 h 4069169"/>
              <a:gd name="connsiteX423" fmla="*/ 3624668 w 5110790"/>
              <a:gd name="connsiteY423" fmla="*/ 1289709 h 4069169"/>
              <a:gd name="connsiteX424" fmla="*/ 3637463 w 5110790"/>
              <a:gd name="connsiteY424" fmla="*/ 1305510 h 4069169"/>
              <a:gd name="connsiteX425" fmla="*/ 3642002 w 5110790"/>
              <a:gd name="connsiteY425" fmla="*/ 1331085 h 4069169"/>
              <a:gd name="connsiteX426" fmla="*/ 3637463 w 5110790"/>
              <a:gd name="connsiteY426" fmla="*/ 1357829 h 4069169"/>
              <a:gd name="connsiteX427" fmla="*/ 3624668 w 5110790"/>
              <a:gd name="connsiteY427" fmla="*/ 1374231 h 4069169"/>
              <a:gd name="connsiteX428" fmla="*/ 3604850 w 5110790"/>
              <a:gd name="connsiteY428" fmla="*/ 1382471 h 4069169"/>
              <a:gd name="connsiteX429" fmla="*/ 3579243 w 5110790"/>
              <a:gd name="connsiteY429" fmla="*/ 1384733 h 4069169"/>
              <a:gd name="connsiteX430" fmla="*/ 3553637 w 5110790"/>
              <a:gd name="connsiteY430" fmla="*/ 1382471 h 4069169"/>
              <a:gd name="connsiteX431" fmla="*/ 3533820 w 5110790"/>
              <a:gd name="connsiteY431" fmla="*/ 1374231 h 4069169"/>
              <a:gd name="connsiteX432" fmla="*/ 3521024 w 5110790"/>
              <a:gd name="connsiteY432" fmla="*/ 1357829 h 4069169"/>
              <a:gd name="connsiteX433" fmla="*/ 3516485 w 5110790"/>
              <a:gd name="connsiteY433" fmla="*/ 1331085 h 4069169"/>
              <a:gd name="connsiteX434" fmla="*/ 3521166 w 5110790"/>
              <a:gd name="connsiteY434" fmla="*/ 1305510 h 4069169"/>
              <a:gd name="connsiteX435" fmla="*/ 3534199 w 5110790"/>
              <a:gd name="connsiteY435" fmla="*/ 1289709 h 4069169"/>
              <a:gd name="connsiteX436" fmla="*/ 3554064 w 5110790"/>
              <a:gd name="connsiteY436" fmla="*/ 1281691 h 4069169"/>
              <a:gd name="connsiteX437" fmla="*/ 1609095 w 5110790"/>
              <a:gd name="connsiteY437" fmla="*/ 1279455 h 4069169"/>
              <a:gd name="connsiteX438" fmla="*/ 1634701 w 5110790"/>
              <a:gd name="connsiteY438" fmla="*/ 1281685 h 4069169"/>
              <a:gd name="connsiteX439" fmla="*/ 1654519 w 5110790"/>
              <a:gd name="connsiteY439" fmla="*/ 1289703 h 4069169"/>
              <a:gd name="connsiteX440" fmla="*/ 1667313 w 5110790"/>
              <a:gd name="connsiteY440" fmla="*/ 1305504 h 4069169"/>
              <a:gd name="connsiteX441" fmla="*/ 1671852 w 5110790"/>
              <a:gd name="connsiteY441" fmla="*/ 1331078 h 4069169"/>
              <a:gd name="connsiteX442" fmla="*/ 1667313 w 5110790"/>
              <a:gd name="connsiteY442" fmla="*/ 1357823 h 4069169"/>
              <a:gd name="connsiteX443" fmla="*/ 1654519 w 5110790"/>
              <a:gd name="connsiteY443" fmla="*/ 1374224 h 4069169"/>
              <a:gd name="connsiteX444" fmla="*/ 1634701 w 5110790"/>
              <a:gd name="connsiteY444" fmla="*/ 1382465 h 4069169"/>
              <a:gd name="connsiteX445" fmla="*/ 1609095 w 5110790"/>
              <a:gd name="connsiteY445" fmla="*/ 1384726 h 4069169"/>
              <a:gd name="connsiteX446" fmla="*/ 1583489 w 5110790"/>
              <a:gd name="connsiteY446" fmla="*/ 1382465 h 4069169"/>
              <a:gd name="connsiteX447" fmla="*/ 1563671 w 5110790"/>
              <a:gd name="connsiteY447" fmla="*/ 1374224 h 4069169"/>
              <a:gd name="connsiteX448" fmla="*/ 1550877 w 5110790"/>
              <a:gd name="connsiteY448" fmla="*/ 1357823 h 4069169"/>
              <a:gd name="connsiteX449" fmla="*/ 1546337 w 5110790"/>
              <a:gd name="connsiteY449" fmla="*/ 1331078 h 4069169"/>
              <a:gd name="connsiteX450" fmla="*/ 1551018 w 5110790"/>
              <a:gd name="connsiteY450" fmla="*/ 1305504 h 4069169"/>
              <a:gd name="connsiteX451" fmla="*/ 1564051 w 5110790"/>
              <a:gd name="connsiteY451" fmla="*/ 1289703 h 4069169"/>
              <a:gd name="connsiteX452" fmla="*/ 1583916 w 5110790"/>
              <a:gd name="connsiteY452" fmla="*/ 1281685 h 4069169"/>
              <a:gd name="connsiteX453" fmla="*/ 4308476 w 5110790"/>
              <a:gd name="connsiteY453" fmla="*/ 1229360 h 4069169"/>
              <a:gd name="connsiteX454" fmla="*/ 4389455 w 5110790"/>
              <a:gd name="connsiteY454" fmla="*/ 1229360 h 4069169"/>
              <a:gd name="connsiteX455" fmla="*/ 4503836 w 5110790"/>
              <a:gd name="connsiteY455" fmla="*/ 1438891 h 4069169"/>
              <a:gd name="connsiteX456" fmla="*/ 4387430 w 5110790"/>
              <a:gd name="connsiteY456" fmla="*/ 1654496 h 4069169"/>
              <a:gd name="connsiteX457" fmla="*/ 4308476 w 5110790"/>
              <a:gd name="connsiteY457" fmla="*/ 1654496 h 4069169"/>
              <a:gd name="connsiteX458" fmla="*/ 4407674 w 5110790"/>
              <a:gd name="connsiteY458" fmla="*/ 1469259 h 4069169"/>
              <a:gd name="connsiteX459" fmla="*/ 4017966 w 5110790"/>
              <a:gd name="connsiteY459" fmla="*/ 1469259 h 4069169"/>
              <a:gd name="connsiteX460" fmla="*/ 4017966 w 5110790"/>
              <a:gd name="connsiteY460" fmla="*/ 1404475 h 4069169"/>
              <a:gd name="connsiteX461" fmla="*/ 4405650 w 5110790"/>
              <a:gd name="connsiteY461" fmla="*/ 1404475 h 4069169"/>
              <a:gd name="connsiteX462" fmla="*/ 3579243 w 5110790"/>
              <a:gd name="connsiteY462" fmla="*/ 854324 h 4069169"/>
              <a:gd name="connsiteX463" fmla="*/ 3604850 w 5110790"/>
              <a:gd name="connsiteY463" fmla="*/ 856427 h 4069169"/>
              <a:gd name="connsiteX464" fmla="*/ 3624668 w 5110790"/>
              <a:gd name="connsiteY464" fmla="*/ 864320 h 4069169"/>
              <a:gd name="connsiteX465" fmla="*/ 3637463 w 5110790"/>
              <a:gd name="connsiteY465" fmla="*/ 880373 h 4069169"/>
              <a:gd name="connsiteX466" fmla="*/ 3642002 w 5110790"/>
              <a:gd name="connsiteY466" fmla="*/ 906960 h 4069169"/>
              <a:gd name="connsiteX467" fmla="*/ 3637463 w 5110790"/>
              <a:gd name="connsiteY467" fmla="*/ 932693 h 4069169"/>
              <a:gd name="connsiteX468" fmla="*/ 3624668 w 5110790"/>
              <a:gd name="connsiteY468" fmla="*/ 948841 h 4069169"/>
              <a:gd name="connsiteX469" fmla="*/ 3604850 w 5110790"/>
              <a:gd name="connsiteY469" fmla="*/ 957207 h 4069169"/>
              <a:gd name="connsiteX470" fmla="*/ 3579243 w 5110790"/>
              <a:gd name="connsiteY470" fmla="*/ 959596 h 4069169"/>
              <a:gd name="connsiteX471" fmla="*/ 3554223 w 5110790"/>
              <a:gd name="connsiteY471" fmla="*/ 957207 h 4069169"/>
              <a:gd name="connsiteX472" fmla="*/ 3534706 w 5110790"/>
              <a:gd name="connsiteY472" fmla="*/ 948841 h 4069169"/>
              <a:gd name="connsiteX473" fmla="*/ 3522021 w 5110790"/>
              <a:gd name="connsiteY473" fmla="*/ 932693 h 4069169"/>
              <a:gd name="connsiteX474" fmla="*/ 3517498 w 5110790"/>
              <a:gd name="connsiteY474" fmla="*/ 906960 h 4069169"/>
              <a:gd name="connsiteX475" fmla="*/ 3522021 w 5110790"/>
              <a:gd name="connsiteY475" fmla="*/ 880373 h 4069169"/>
              <a:gd name="connsiteX476" fmla="*/ 3534706 w 5110790"/>
              <a:gd name="connsiteY476" fmla="*/ 864320 h 4069169"/>
              <a:gd name="connsiteX477" fmla="*/ 3554223 w 5110790"/>
              <a:gd name="connsiteY477" fmla="*/ 856427 h 4069169"/>
              <a:gd name="connsiteX478" fmla="*/ 1609095 w 5110790"/>
              <a:gd name="connsiteY478" fmla="*/ 854318 h 4069169"/>
              <a:gd name="connsiteX479" fmla="*/ 1634701 w 5110790"/>
              <a:gd name="connsiteY479" fmla="*/ 856421 h 4069169"/>
              <a:gd name="connsiteX480" fmla="*/ 1654519 w 5110790"/>
              <a:gd name="connsiteY480" fmla="*/ 864313 h 4069169"/>
              <a:gd name="connsiteX481" fmla="*/ 1667313 w 5110790"/>
              <a:gd name="connsiteY481" fmla="*/ 880366 h 4069169"/>
              <a:gd name="connsiteX482" fmla="*/ 1671852 w 5110790"/>
              <a:gd name="connsiteY482" fmla="*/ 906953 h 4069169"/>
              <a:gd name="connsiteX483" fmla="*/ 1667313 w 5110790"/>
              <a:gd name="connsiteY483" fmla="*/ 932686 h 4069169"/>
              <a:gd name="connsiteX484" fmla="*/ 1654519 w 5110790"/>
              <a:gd name="connsiteY484" fmla="*/ 948834 h 4069169"/>
              <a:gd name="connsiteX485" fmla="*/ 1634701 w 5110790"/>
              <a:gd name="connsiteY485" fmla="*/ 957201 h 4069169"/>
              <a:gd name="connsiteX486" fmla="*/ 1609095 w 5110790"/>
              <a:gd name="connsiteY486" fmla="*/ 959589 h 4069169"/>
              <a:gd name="connsiteX487" fmla="*/ 1584074 w 5110790"/>
              <a:gd name="connsiteY487" fmla="*/ 957201 h 4069169"/>
              <a:gd name="connsiteX488" fmla="*/ 1564557 w 5110790"/>
              <a:gd name="connsiteY488" fmla="*/ 948834 h 4069169"/>
              <a:gd name="connsiteX489" fmla="*/ 1551872 w 5110790"/>
              <a:gd name="connsiteY489" fmla="*/ 932686 h 4069169"/>
              <a:gd name="connsiteX490" fmla="*/ 1547349 w 5110790"/>
              <a:gd name="connsiteY490" fmla="*/ 906953 h 4069169"/>
              <a:gd name="connsiteX491" fmla="*/ 1551872 w 5110790"/>
              <a:gd name="connsiteY491" fmla="*/ 880366 h 4069169"/>
              <a:gd name="connsiteX492" fmla="*/ 1564557 w 5110790"/>
              <a:gd name="connsiteY492" fmla="*/ 864313 h 4069169"/>
              <a:gd name="connsiteX493" fmla="*/ 1584074 w 5110790"/>
              <a:gd name="connsiteY493" fmla="*/ 856421 h 4069169"/>
              <a:gd name="connsiteX494" fmla="*/ 2879125 w 5110790"/>
              <a:gd name="connsiteY494" fmla="*/ 659976 h 4069169"/>
              <a:gd name="connsiteX495" fmla="*/ 2911305 w 5110790"/>
              <a:gd name="connsiteY495" fmla="*/ 661113 h 4069169"/>
              <a:gd name="connsiteX496" fmla="*/ 2941090 w 5110790"/>
              <a:gd name="connsiteY496" fmla="*/ 664495 h 4069169"/>
              <a:gd name="connsiteX497" fmla="*/ 2968561 w 5110790"/>
              <a:gd name="connsiteY497" fmla="*/ 670071 h 4069169"/>
              <a:gd name="connsiteX498" fmla="*/ 2993799 w 5110790"/>
              <a:gd name="connsiteY498" fmla="*/ 677791 h 4069169"/>
              <a:gd name="connsiteX499" fmla="*/ 3016884 w 5110790"/>
              <a:gd name="connsiteY499" fmla="*/ 687607 h 4069169"/>
              <a:gd name="connsiteX500" fmla="*/ 3037896 w 5110790"/>
              <a:gd name="connsiteY500" fmla="*/ 699468 h 4069169"/>
              <a:gd name="connsiteX501" fmla="*/ 3056916 w 5110790"/>
              <a:gd name="connsiteY501" fmla="*/ 713326 h 4069169"/>
              <a:gd name="connsiteX502" fmla="*/ 3074024 w 5110790"/>
              <a:gd name="connsiteY502" fmla="*/ 729131 h 4069169"/>
              <a:gd name="connsiteX503" fmla="*/ 3089302 w 5110790"/>
              <a:gd name="connsiteY503" fmla="*/ 746834 h 4069169"/>
              <a:gd name="connsiteX504" fmla="*/ 3102829 w 5110790"/>
              <a:gd name="connsiteY504" fmla="*/ 766386 h 4069169"/>
              <a:gd name="connsiteX505" fmla="*/ 3114685 w 5110790"/>
              <a:gd name="connsiteY505" fmla="*/ 787738 h 4069169"/>
              <a:gd name="connsiteX506" fmla="*/ 3124952 w 5110790"/>
              <a:gd name="connsiteY506" fmla="*/ 810839 h 4069169"/>
              <a:gd name="connsiteX507" fmla="*/ 3133709 w 5110790"/>
              <a:gd name="connsiteY507" fmla="*/ 835640 h 4069169"/>
              <a:gd name="connsiteX508" fmla="*/ 3141039 w 5110790"/>
              <a:gd name="connsiteY508" fmla="*/ 862093 h 4069169"/>
              <a:gd name="connsiteX509" fmla="*/ 3147019 w 5110790"/>
              <a:gd name="connsiteY509" fmla="*/ 890147 h 4069169"/>
              <a:gd name="connsiteX510" fmla="*/ 3151732 w 5110790"/>
              <a:gd name="connsiteY510" fmla="*/ 919755 h 4069169"/>
              <a:gd name="connsiteX511" fmla="*/ 3155257 w 5110790"/>
              <a:gd name="connsiteY511" fmla="*/ 950865 h 4069169"/>
              <a:gd name="connsiteX512" fmla="*/ 3157675 w 5110790"/>
              <a:gd name="connsiteY512" fmla="*/ 983429 h 4069169"/>
              <a:gd name="connsiteX513" fmla="*/ 3159067 w 5110790"/>
              <a:gd name="connsiteY513" fmla="*/ 1017397 h 4069169"/>
              <a:gd name="connsiteX514" fmla="*/ 3159514 w 5110790"/>
              <a:gd name="connsiteY514" fmla="*/ 1052721 h 4069169"/>
              <a:gd name="connsiteX515" fmla="*/ 3159089 w 5110790"/>
              <a:gd name="connsiteY515" fmla="*/ 1088196 h 4069169"/>
              <a:gd name="connsiteX516" fmla="*/ 3157757 w 5110790"/>
              <a:gd name="connsiteY516" fmla="*/ 1122316 h 4069169"/>
              <a:gd name="connsiteX517" fmla="*/ 3155431 w 5110790"/>
              <a:gd name="connsiteY517" fmla="*/ 1155029 h 4069169"/>
              <a:gd name="connsiteX518" fmla="*/ 3152023 w 5110790"/>
              <a:gd name="connsiteY518" fmla="*/ 1186287 h 4069169"/>
              <a:gd name="connsiteX519" fmla="*/ 3147446 w 5110790"/>
              <a:gd name="connsiteY519" fmla="*/ 1216038 h 4069169"/>
              <a:gd name="connsiteX520" fmla="*/ 3141612 w 5110790"/>
              <a:gd name="connsiteY520" fmla="*/ 1244233 h 4069169"/>
              <a:gd name="connsiteX521" fmla="*/ 3134435 w 5110790"/>
              <a:gd name="connsiteY521" fmla="*/ 1270822 h 4069169"/>
              <a:gd name="connsiteX522" fmla="*/ 3125826 w 5110790"/>
              <a:gd name="connsiteY522" fmla="*/ 1295754 h 4069169"/>
              <a:gd name="connsiteX523" fmla="*/ 3115700 w 5110790"/>
              <a:gd name="connsiteY523" fmla="*/ 1318979 h 4069169"/>
              <a:gd name="connsiteX524" fmla="*/ 3103967 w 5110790"/>
              <a:gd name="connsiteY524" fmla="*/ 1340448 h 4069169"/>
              <a:gd name="connsiteX525" fmla="*/ 3090542 w 5110790"/>
              <a:gd name="connsiteY525" fmla="*/ 1360110 h 4069169"/>
              <a:gd name="connsiteX526" fmla="*/ 3075336 w 5110790"/>
              <a:gd name="connsiteY526" fmla="*/ 1377914 h 4069169"/>
              <a:gd name="connsiteX527" fmla="*/ 3058263 w 5110790"/>
              <a:gd name="connsiteY527" fmla="*/ 1393812 h 4069169"/>
              <a:gd name="connsiteX528" fmla="*/ 3039235 w 5110790"/>
              <a:gd name="connsiteY528" fmla="*/ 1407753 h 4069169"/>
              <a:gd name="connsiteX529" fmla="*/ 3018165 w 5110790"/>
              <a:gd name="connsiteY529" fmla="*/ 1419686 h 4069169"/>
              <a:gd name="connsiteX530" fmla="*/ 2994965 w 5110790"/>
              <a:gd name="connsiteY530" fmla="*/ 1429562 h 4069169"/>
              <a:gd name="connsiteX531" fmla="*/ 2969548 w 5110790"/>
              <a:gd name="connsiteY531" fmla="*/ 1437331 h 4069169"/>
              <a:gd name="connsiteX532" fmla="*/ 2941828 w 5110790"/>
              <a:gd name="connsiteY532" fmla="*/ 1442942 h 4069169"/>
              <a:gd name="connsiteX533" fmla="*/ 2911716 w 5110790"/>
              <a:gd name="connsiteY533" fmla="*/ 1446346 h 4069169"/>
              <a:gd name="connsiteX534" fmla="*/ 2879125 w 5110790"/>
              <a:gd name="connsiteY534" fmla="*/ 1447491 h 4069169"/>
              <a:gd name="connsiteX535" fmla="*/ 2879125 w 5110790"/>
              <a:gd name="connsiteY535" fmla="*/ 1388782 h 4069169"/>
              <a:gd name="connsiteX536" fmla="*/ 2909252 w 5110790"/>
              <a:gd name="connsiteY536" fmla="*/ 1387428 h 4069169"/>
              <a:gd name="connsiteX537" fmla="*/ 2936490 w 5110790"/>
              <a:gd name="connsiteY537" fmla="*/ 1383413 h 4069169"/>
              <a:gd name="connsiteX538" fmla="*/ 2960977 w 5110790"/>
              <a:gd name="connsiteY538" fmla="*/ 1376811 h 4069169"/>
              <a:gd name="connsiteX539" fmla="*/ 2982849 w 5110790"/>
              <a:gd name="connsiteY539" fmla="*/ 1367691 h 4069169"/>
              <a:gd name="connsiteX540" fmla="*/ 3019298 w 5110790"/>
              <a:gd name="connsiteY540" fmla="*/ 1342188 h 4069169"/>
              <a:gd name="connsiteX541" fmla="*/ 3046935 w 5110790"/>
              <a:gd name="connsiteY541" fmla="*/ 1307477 h 4069169"/>
              <a:gd name="connsiteX542" fmla="*/ 3057792 w 5110790"/>
              <a:gd name="connsiteY542" fmla="*/ 1286848 h 4069169"/>
              <a:gd name="connsiteX543" fmla="*/ 3066859 w 5110790"/>
              <a:gd name="connsiteY543" fmla="*/ 1264133 h 4069169"/>
              <a:gd name="connsiteX544" fmla="*/ 3074271 w 5110790"/>
              <a:gd name="connsiteY544" fmla="*/ 1239402 h 4069169"/>
              <a:gd name="connsiteX545" fmla="*/ 3080167 w 5110790"/>
              <a:gd name="connsiteY545" fmla="*/ 1212729 h 4069169"/>
              <a:gd name="connsiteX546" fmla="*/ 3084682 w 5110790"/>
              <a:gd name="connsiteY546" fmla="*/ 1184184 h 4069169"/>
              <a:gd name="connsiteX547" fmla="*/ 3087956 w 5110790"/>
              <a:gd name="connsiteY547" fmla="*/ 1153838 h 4069169"/>
              <a:gd name="connsiteX548" fmla="*/ 3090124 w 5110790"/>
              <a:gd name="connsiteY548" fmla="*/ 1121765 h 4069169"/>
              <a:gd name="connsiteX549" fmla="*/ 3091324 w 5110790"/>
              <a:gd name="connsiteY549" fmla="*/ 1088036 h 4069169"/>
              <a:gd name="connsiteX550" fmla="*/ 3091694 w 5110790"/>
              <a:gd name="connsiteY550" fmla="*/ 1052721 h 4069169"/>
              <a:gd name="connsiteX551" fmla="*/ 3091305 w 5110790"/>
              <a:gd name="connsiteY551" fmla="*/ 1017753 h 4069169"/>
              <a:gd name="connsiteX552" fmla="*/ 3090050 w 5110790"/>
              <a:gd name="connsiteY552" fmla="*/ 984350 h 4069169"/>
              <a:gd name="connsiteX553" fmla="*/ 3087800 w 5110790"/>
              <a:gd name="connsiteY553" fmla="*/ 952581 h 4069169"/>
              <a:gd name="connsiteX554" fmla="*/ 3084425 w 5110790"/>
              <a:gd name="connsiteY554" fmla="*/ 922520 h 4069169"/>
              <a:gd name="connsiteX555" fmla="*/ 3079795 w 5110790"/>
              <a:gd name="connsiteY555" fmla="*/ 894237 h 4069169"/>
              <a:gd name="connsiteX556" fmla="*/ 3073782 w 5110790"/>
              <a:gd name="connsiteY556" fmla="*/ 867805 h 4069169"/>
              <a:gd name="connsiteX557" fmla="*/ 3066253 w 5110790"/>
              <a:gd name="connsiteY557" fmla="*/ 843295 h 4069169"/>
              <a:gd name="connsiteX558" fmla="*/ 3057081 w 5110790"/>
              <a:gd name="connsiteY558" fmla="*/ 820780 h 4069169"/>
              <a:gd name="connsiteX559" fmla="*/ 3046134 w 5110790"/>
              <a:gd name="connsiteY559" fmla="*/ 800330 h 4069169"/>
              <a:gd name="connsiteX560" fmla="*/ 3018400 w 5110790"/>
              <a:gd name="connsiteY560" fmla="*/ 765914 h 4069169"/>
              <a:gd name="connsiteX561" fmla="*/ 2982013 w 5110790"/>
              <a:gd name="connsiteY561" fmla="*/ 740620 h 4069169"/>
              <a:gd name="connsiteX562" fmla="*/ 2960250 w 5110790"/>
              <a:gd name="connsiteY562" fmla="*/ 731574 h 4069169"/>
              <a:gd name="connsiteX563" fmla="*/ 2935934 w 5110790"/>
              <a:gd name="connsiteY563" fmla="*/ 725024 h 4069169"/>
              <a:gd name="connsiteX564" fmla="*/ 2908936 w 5110790"/>
              <a:gd name="connsiteY564" fmla="*/ 721041 h 4069169"/>
              <a:gd name="connsiteX565" fmla="*/ 2879125 w 5110790"/>
              <a:gd name="connsiteY565" fmla="*/ 719697 h 4069169"/>
              <a:gd name="connsiteX566" fmla="*/ 2565698 w 5110790"/>
              <a:gd name="connsiteY566" fmla="*/ 659976 h 4069169"/>
              <a:gd name="connsiteX567" fmla="*/ 2565698 w 5110790"/>
              <a:gd name="connsiteY567" fmla="*/ 719697 h 4069169"/>
              <a:gd name="connsiteX568" fmla="*/ 2536056 w 5110790"/>
              <a:gd name="connsiteY568" fmla="*/ 721041 h 4069169"/>
              <a:gd name="connsiteX569" fmla="*/ 2509206 w 5110790"/>
              <a:gd name="connsiteY569" fmla="*/ 725024 h 4069169"/>
              <a:gd name="connsiteX570" fmla="*/ 2485020 w 5110790"/>
              <a:gd name="connsiteY570" fmla="*/ 731574 h 4069169"/>
              <a:gd name="connsiteX571" fmla="*/ 2463369 w 5110790"/>
              <a:gd name="connsiteY571" fmla="*/ 740620 h 4069169"/>
              <a:gd name="connsiteX572" fmla="*/ 2427161 w 5110790"/>
              <a:gd name="connsiteY572" fmla="*/ 765914 h 4069169"/>
              <a:gd name="connsiteX573" fmla="*/ 2399551 w 5110790"/>
              <a:gd name="connsiteY573" fmla="*/ 800330 h 4069169"/>
              <a:gd name="connsiteX574" fmla="*/ 2388649 w 5110790"/>
              <a:gd name="connsiteY574" fmla="*/ 820780 h 4069169"/>
              <a:gd name="connsiteX575" fmla="*/ 2379511 w 5110790"/>
              <a:gd name="connsiteY575" fmla="*/ 843295 h 4069169"/>
              <a:gd name="connsiteX576" fmla="*/ 2372009 w 5110790"/>
              <a:gd name="connsiteY576" fmla="*/ 867805 h 4069169"/>
              <a:gd name="connsiteX577" fmla="*/ 2366014 w 5110790"/>
              <a:gd name="connsiteY577" fmla="*/ 894237 h 4069169"/>
              <a:gd name="connsiteX578" fmla="*/ 2361397 w 5110790"/>
              <a:gd name="connsiteY578" fmla="*/ 922520 h 4069169"/>
              <a:gd name="connsiteX579" fmla="*/ 2358029 w 5110790"/>
              <a:gd name="connsiteY579" fmla="*/ 952581 h 4069169"/>
              <a:gd name="connsiteX580" fmla="*/ 2355783 w 5110790"/>
              <a:gd name="connsiteY580" fmla="*/ 984350 h 4069169"/>
              <a:gd name="connsiteX581" fmla="*/ 2354530 w 5110790"/>
              <a:gd name="connsiteY581" fmla="*/ 1017753 h 4069169"/>
              <a:gd name="connsiteX582" fmla="*/ 2354141 w 5110790"/>
              <a:gd name="connsiteY582" fmla="*/ 1052721 h 4069169"/>
              <a:gd name="connsiteX583" fmla="*/ 2354520 w 5110790"/>
              <a:gd name="connsiteY583" fmla="*/ 1088036 h 4069169"/>
              <a:gd name="connsiteX584" fmla="*/ 2355746 w 5110790"/>
              <a:gd name="connsiteY584" fmla="*/ 1121765 h 4069169"/>
              <a:gd name="connsiteX585" fmla="*/ 2357952 w 5110790"/>
              <a:gd name="connsiteY585" fmla="*/ 1153838 h 4069169"/>
              <a:gd name="connsiteX586" fmla="*/ 2361268 w 5110790"/>
              <a:gd name="connsiteY586" fmla="*/ 1184184 h 4069169"/>
              <a:gd name="connsiteX587" fmla="*/ 2365828 w 5110790"/>
              <a:gd name="connsiteY587" fmla="*/ 1212729 h 4069169"/>
              <a:gd name="connsiteX588" fmla="*/ 2371764 w 5110790"/>
              <a:gd name="connsiteY588" fmla="*/ 1239402 h 4069169"/>
              <a:gd name="connsiteX589" fmla="*/ 2379208 w 5110790"/>
              <a:gd name="connsiteY589" fmla="*/ 1264133 h 4069169"/>
              <a:gd name="connsiteX590" fmla="*/ 2388293 w 5110790"/>
              <a:gd name="connsiteY590" fmla="*/ 1286848 h 4069169"/>
              <a:gd name="connsiteX591" fmla="*/ 2399150 w 5110790"/>
              <a:gd name="connsiteY591" fmla="*/ 1307477 h 4069169"/>
              <a:gd name="connsiteX592" fmla="*/ 2426712 w 5110790"/>
              <a:gd name="connsiteY592" fmla="*/ 1342188 h 4069169"/>
              <a:gd name="connsiteX593" fmla="*/ 2462952 w 5110790"/>
              <a:gd name="connsiteY593" fmla="*/ 1367691 h 4069169"/>
              <a:gd name="connsiteX594" fmla="*/ 2484656 w 5110790"/>
              <a:gd name="connsiteY594" fmla="*/ 1376811 h 4069169"/>
              <a:gd name="connsiteX595" fmla="*/ 2508928 w 5110790"/>
              <a:gd name="connsiteY595" fmla="*/ 1383413 h 4069169"/>
              <a:gd name="connsiteX596" fmla="*/ 2535898 w 5110790"/>
              <a:gd name="connsiteY596" fmla="*/ 1387428 h 4069169"/>
              <a:gd name="connsiteX597" fmla="*/ 2565698 w 5110790"/>
              <a:gd name="connsiteY597" fmla="*/ 1388782 h 4069169"/>
              <a:gd name="connsiteX598" fmla="*/ 2565698 w 5110790"/>
              <a:gd name="connsiteY598" fmla="*/ 1447491 h 4069169"/>
              <a:gd name="connsiteX599" fmla="*/ 2533244 w 5110790"/>
              <a:gd name="connsiteY599" fmla="*/ 1446346 h 4069169"/>
              <a:gd name="connsiteX600" fmla="*/ 2503241 w 5110790"/>
              <a:gd name="connsiteY600" fmla="*/ 1442942 h 4069169"/>
              <a:gd name="connsiteX601" fmla="*/ 2475603 w 5110790"/>
              <a:gd name="connsiteY601" fmla="*/ 1437331 h 4069169"/>
              <a:gd name="connsiteX602" fmla="*/ 2450247 w 5110790"/>
              <a:gd name="connsiteY602" fmla="*/ 1429562 h 4069169"/>
              <a:gd name="connsiteX603" fmla="*/ 2427085 w 5110790"/>
              <a:gd name="connsiteY603" fmla="*/ 1419686 h 4069169"/>
              <a:gd name="connsiteX604" fmla="*/ 2406034 w 5110790"/>
              <a:gd name="connsiteY604" fmla="*/ 1407753 h 4069169"/>
              <a:gd name="connsiteX605" fmla="*/ 2387009 w 5110790"/>
              <a:gd name="connsiteY605" fmla="*/ 1393812 h 4069169"/>
              <a:gd name="connsiteX606" fmla="*/ 2369924 w 5110790"/>
              <a:gd name="connsiteY606" fmla="*/ 1377914 h 4069169"/>
              <a:gd name="connsiteX607" fmla="*/ 2354694 w 5110790"/>
              <a:gd name="connsiteY607" fmla="*/ 1360110 h 4069169"/>
              <a:gd name="connsiteX608" fmla="*/ 2341235 w 5110790"/>
              <a:gd name="connsiteY608" fmla="*/ 1340448 h 4069169"/>
              <a:gd name="connsiteX609" fmla="*/ 2329461 w 5110790"/>
              <a:gd name="connsiteY609" fmla="*/ 1318979 h 4069169"/>
              <a:gd name="connsiteX610" fmla="*/ 2319288 w 5110790"/>
              <a:gd name="connsiteY610" fmla="*/ 1295754 h 4069169"/>
              <a:gd name="connsiteX611" fmla="*/ 2310630 w 5110790"/>
              <a:gd name="connsiteY611" fmla="*/ 1270822 h 4069169"/>
              <a:gd name="connsiteX612" fmla="*/ 2303402 w 5110790"/>
              <a:gd name="connsiteY612" fmla="*/ 1244233 h 4069169"/>
              <a:gd name="connsiteX613" fmla="*/ 2297519 w 5110790"/>
              <a:gd name="connsiteY613" fmla="*/ 1216038 h 4069169"/>
              <a:gd name="connsiteX614" fmla="*/ 2292897 w 5110790"/>
              <a:gd name="connsiteY614" fmla="*/ 1186287 h 4069169"/>
              <a:gd name="connsiteX615" fmla="*/ 2289449 w 5110790"/>
              <a:gd name="connsiteY615" fmla="*/ 1155029 h 4069169"/>
              <a:gd name="connsiteX616" fmla="*/ 2287092 w 5110790"/>
              <a:gd name="connsiteY616" fmla="*/ 1122316 h 4069169"/>
              <a:gd name="connsiteX617" fmla="*/ 2285740 w 5110790"/>
              <a:gd name="connsiteY617" fmla="*/ 1088196 h 4069169"/>
              <a:gd name="connsiteX618" fmla="*/ 2285309 w 5110790"/>
              <a:gd name="connsiteY618" fmla="*/ 1052721 h 4069169"/>
              <a:gd name="connsiteX619" fmla="*/ 2285755 w 5110790"/>
              <a:gd name="connsiteY619" fmla="*/ 1017397 h 4069169"/>
              <a:gd name="connsiteX620" fmla="*/ 2287147 w 5110790"/>
              <a:gd name="connsiteY620" fmla="*/ 983429 h 4069169"/>
              <a:gd name="connsiteX621" fmla="*/ 2289566 w 5110790"/>
              <a:gd name="connsiteY621" fmla="*/ 950865 h 4069169"/>
              <a:gd name="connsiteX622" fmla="*/ 2293091 w 5110790"/>
              <a:gd name="connsiteY622" fmla="*/ 919755 h 4069169"/>
              <a:gd name="connsiteX623" fmla="*/ 2297804 w 5110790"/>
              <a:gd name="connsiteY623" fmla="*/ 890147 h 4069169"/>
              <a:gd name="connsiteX624" fmla="*/ 2303784 w 5110790"/>
              <a:gd name="connsiteY624" fmla="*/ 862093 h 4069169"/>
              <a:gd name="connsiteX625" fmla="*/ 2311113 w 5110790"/>
              <a:gd name="connsiteY625" fmla="*/ 835640 h 4069169"/>
              <a:gd name="connsiteX626" fmla="*/ 2319870 w 5110790"/>
              <a:gd name="connsiteY626" fmla="*/ 810839 h 4069169"/>
              <a:gd name="connsiteX627" fmla="*/ 2330137 w 5110790"/>
              <a:gd name="connsiteY627" fmla="*/ 787738 h 4069169"/>
              <a:gd name="connsiteX628" fmla="*/ 2341994 w 5110790"/>
              <a:gd name="connsiteY628" fmla="*/ 766386 h 4069169"/>
              <a:gd name="connsiteX629" fmla="*/ 2355521 w 5110790"/>
              <a:gd name="connsiteY629" fmla="*/ 746834 h 4069169"/>
              <a:gd name="connsiteX630" fmla="*/ 2370798 w 5110790"/>
              <a:gd name="connsiteY630" fmla="*/ 729131 h 4069169"/>
              <a:gd name="connsiteX631" fmla="*/ 2387907 w 5110790"/>
              <a:gd name="connsiteY631" fmla="*/ 713326 h 4069169"/>
              <a:gd name="connsiteX632" fmla="*/ 2406927 w 5110790"/>
              <a:gd name="connsiteY632" fmla="*/ 699468 h 4069169"/>
              <a:gd name="connsiteX633" fmla="*/ 2427939 w 5110790"/>
              <a:gd name="connsiteY633" fmla="*/ 687607 h 4069169"/>
              <a:gd name="connsiteX634" fmla="*/ 2451024 w 5110790"/>
              <a:gd name="connsiteY634" fmla="*/ 677791 h 4069169"/>
              <a:gd name="connsiteX635" fmla="*/ 2476262 w 5110790"/>
              <a:gd name="connsiteY635" fmla="*/ 670071 h 4069169"/>
              <a:gd name="connsiteX636" fmla="*/ 2503733 w 5110790"/>
              <a:gd name="connsiteY636" fmla="*/ 664495 h 4069169"/>
              <a:gd name="connsiteX637" fmla="*/ 2533518 w 5110790"/>
              <a:gd name="connsiteY637" fmla="*/ 661113 h 4069169"/>
              <a:gd name="connsiteX638" fmla="*/ 1358847 w 5110790"/>
              <a:gd name="connsiteY638" fmla="*/ 0 h 4069169"/>
              <a:gd name="connsiteX639" fmla="*/ 1439826 w 5110790"/>
              <a:gd name="connsiteY639" fmla="*/ 0 h 4069169"/>
              <a:gd name="connsiteX640" fmla="*/ 1554207 w 5110790"/>
              <a:gd name="connsiteY640" fmla="*/ 209532 h 4069169"/>
              <a:gd name="connsiteX641" fmla="*/ 1437801 w 5110790"/>
              <a:gd name="connsiteY641" fmla="*/ 425136 h 4069169"/>
              <a:gd name="connsiteX642" fmla="*/ 1358847 w 5110790"/>
              <a:gd name="connsiteY642" fmla="*/ 425136 h 4069169"/>
              <a:gd name="connsiteX643" fmla="*/ 1458045 w 5110790"/>
              <a:gd name="connsiteY643" fmla="*/ 239899 h 4069169"/>
              <a:gd name="connsiteX644" fmla="*/ 1068337 w 5110790"/>
              <a:gd name="connsiteY644" fmla="*/ 239899 h 4069169"/>
              <a:gd name="connsiteX645" fmla="*/ 1068337 w 5110790"/>
              <a:gd name="connsiteY645" fmla="*/ 175116 h 4069169"/>
              <a:gd name="connsiteX646" fmla="*/ 1456021 w 5110790"/>
              <a:gd name="connsiteY646" fmla="*/ 175116 h 4069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Lst>
            <a:rect l="l" t="t" r="r" b="b"/>
            <a:pathLst>
              <a:path w="5110790" h="4069169">
                <a:moveTo>
                  <a:pt x="1358848" y="3644032"/>
                </a:moveTo>
                <a:lnTo>
                  <a:pt x="1439827" y="3644032"/>
                </a:lnTo>
                <a:lnTo>
                  <a:pt x="1554208" y="3853564"/>
                </a:lnTo>
                <a:lnTo>
                  <a:pt x="1437802" y="4069169"/>
                </a:lnTo>
                <a:lnTo>
                  <a:pt x="1358848" y="4069169"/>
                </a:lnTo>
                <a:lnTo>
                  <a:pt x="1458046" y="3883931"/>
                </a:lnTo>
                <a:lnTo>
                  <a:pt x="1068338" y="3883931"/>
                </a:lnTo>
                <a:lnTo>
                  <a:pt x="1068338" y="3819148"/>
                </a:lnTo>
                <a:lnTo>
                  <a:pt x="1456022" y="3819148"/>
                </a:lnTo>
                <a:close/>
                <a:moveTo>
                  <a:pt x="3579243" y="3101476"/>
                </a:moveTo>
                <a:lnTo>
                  <a:pt x="3604850" y="3103707"/>
                </a:lnTo>
                <a:lnTo>
                  <a:pt x="3624668" y="3111725"/>
                </a:lnTo>
                <a:lnTo>
                  <a:pt x="3637463" y="3127526"/>
                </a:lnTo>
                <a:lnTo>
                  <a:pt x="3642002" y="3153100"/>
                </a:lnTo>
                <a:lnTo>
                  <a:pt x="3637463" y="3179845"/>
                </a:lnTo>
                <a:lnTo>
                  <a:pt x="3624668" y="3196247"/>
                </a:lnTo>
                <a:lnTo>
                  <a:pt x="3604850" y="3204487"/>
                </a:lnTo>
                <a:lnTo>
                  <a:pt x="3579243" y="3206749"/>
                </a:lnTo>
                <a:lnTo>
                  <a:pt x="3553637" y="3204487"/>
                </a:lnTo>
                <a:lnTo>
                  <a:pt x="3533820" y="3196247"/>
                </a:lnTo>
                <a:lnTo>
                  <a:pt x="3521024" y="3179845"/>
                </a:lnTo>
                <a:lnTo>
                  <a:pt x="3516485" y="3153100"/>
                </a:lnTo>
                <a:lnTo>
                  <a:pt x="3521166" y="3127526"/>
                </a:lnTo>
                <a:lnTo>
                  <a:pt x="3534199" y="3111725"/>
                </a:lnTo>
                <a:lnTo>
                  <a:pt x="3554064" y="3103707"/>
                </a:lnTo>
                <a:close/>
                <a:moveTo>
                  <a:pt x="1609095" y="3101476"/>
                </a:moveTo>
                <a:lnTo>
                  <a:pt x="1634701" y="3103707"/>
                </a:lnTo>
                <a:lnTo>
                  <a:pt x="1654519" y="3111725"/>
                </a:lnTo>
                <a:lnTo>
                  <a:pt x="1667313" y="3127526"/>
                </a:lnTo>
                <a:lnTo>
                  <a:pt x="1671852" y="3153100"/>
                </a:lnTo>
                <a:lnTo>
                  <a:pt x="1667313" y="3179845"/>
                </a:lnTo>
                <a:lnTo>
                  <a:pt x="1654519" y="3196247"/>
                </a:lnTo>
                <a:lnTo>
                  <a:pt x="1634701" y="3204487"/>
                </a:lnTo>
                <a:lnTo>
                  <a:pt x="1609095" y="3206749"/>
                </a:lnTo>
                <a:lnTo>
                  <a:pt x="1583490" y="3204487"/>
                </a:lnTo>
                <a:lnTo>
                  <a:pt x="1563672" y="3196247"/>
                </a:lnTo>
                <a:lnTo>
                  <a:pt x="1550877" y="3179845"/>
                </a:lnTo>
                <a:lnTo>
                  <a:pt x="1546338" y="3153100"/>
                </a:lnTo>
                <a:lnTo>
                  <a:pt x="1551019" y="3127526"/>
                </a:lnTo>
                <a:lnTo>
                  <a:pt x="1564051" y="3111725"/>
                </a:lnTo>
                <a:lnTo>
                  <a:pt x="1583917" y="3103707"/>
                </a:lnTo>
                <a:close/>
                <a:moveTo>
                  <a:pt x="3579243" y="2676340"/>
                </a:moveTo>
                <a:lnTo>
                  <a:pt x="3604850" y="2678443"/>
                </a:lnTo>
                <a:lnTo>
                  <a:pt x="3624668" y="2686335"/>
                </a:lnTo>
                <a:lnTo>
                  <a:pt x="3637463" y="2702388"/>
                </a:lnTo>
                <a:lnTo>
                  <a:pt x="3642002" y="2728976"/>
                </a:lnTo>
                <a:lnTo>
                  <a:pt x="3637463" y="2754708"/>
                </a:lnTo>
                <a:lnTo>
                  <a:pt x="3624668" y="2770857"/>
                </a:lnTo>
                <a:lnTo>
                  <a:pt x="3604850" y="2779223"/>
                </a:lnTo>
                <a:lnTo>
                  <a:pt x="3579243" y="2781612"/>
                </a:lnTo>
                <a:lnTo>
                  <a:pt x="3554223" y="2779223"/>
                </a:lnTo>
                <a:lnTo>
                  <a:pt x="3534706" y="2770857"/>
                </a:lnTo>
                <a:lnTo>
                  <a:pt x="3522021" y="2754708"/>
                </a:lnTo>
                <a:lnTo>
                  <a:pt x="3517498" y="2728976"/>
                </a:lnTo>
                <a:lnTo>
                  <a:pt x="3522021" y="2702388"/>
                </a:lnTo>
                <a:lnTo>
                  <a:pt x="3534706" y="2686335"/>
                </a:lnTo>
                <a:lnTo>
                  <a:pt x="3554223" y="2678443"/>
                </a:lnTo>
                <a:close/>
                <a:moveTo>
                  <a:pt x="1609095" y="2676340"/>
                </a:moveTo>
                <a:lnTo>
                  <a:pt x="1634701" y="2678443"/>
                </a:lnTo>
                <a:lnTo>
                  <a:pt x="1654519" y="2686335"/>
                </a:lnTo>
                <a:lnTo>
                  <a:pt x="1667313" y="2702388"/>
                </a:lnTo>
                <a:lnTo>
                  <a:pt x="1671852" y="2728976"/>
                </a:lnTo>
                <a:lnTo>
                  <a:pt x="1667313" y="2754708"/>
                </a:lnTo>
                <a:lnTo>
                  <a:pt x="1654519" y="2770857"/>
                </a:lnTo>
                <a:lnTo>
                  <a:pt x="1634701" y="2779223"/>
                </a:lnTo>
                <a:lnTo>
                  <a:pt x="1609095" y="2781612"/>
                </a:lnTo>
                <a:lnTo>
                  <a:pt x="1584075" y="2779223"/>
                </a:lnTo>
                <a:lnTo>
                  <a:pt x="1564558" y="2770857"/>
                </a:lnTo>
                <a:lnTo>
                  <a:pt x="1551873" y="2754708"/>
                </a:lnTo>
                <a:lnTo>
                  <a:pt x="1547350" y="2728976"/>
                </a:lnTo>
                <a:lnTo>
                  <a:pt x="1551873" y="2702388"/>
                </a:lnTo>
                <a:lnTo>
                  <a:pt x="1564558" y="2686335"/>
                </a:lnTo>
                <a:lnTo>
                  <a:pt x="1584075" y="2678443"/>
                </a:lnTo>
                <a:close/>
                <a:moveTo>
                  <a:pt x="2879125" y="2481992"/>
                </a:moveTo>
                <a:lnTo>
                  <a:pt x="2911305" y="2483129"/>
                </a:lnTo>
                <a:lnTo>
                  <a:pt x="2941090" y="2486511"/>
                </a:lnTo>
                <a:lnTo>
                  <a:pt x="2968561" y="2492087"/>
                </a:lnTo>
                <a:lnTo>
                  <a:pt x="2993799" y="2499807"/>
                </a:lnTo>
                <a:lnTo>
                  <a:pt x="3016884" y="2509622"/>
                </a:lnTo>
                <a:lnTo>
                  <a:pt x="3037896" y="2521483"/>
                </a:lnTo>
                <a:lnTo>
                  <a:pt x="3056916" y="2535342"/>
                </a:lnTo>
                <a:lnTo>
                  <a:pt x="3074024" y="2551147"/>
                </a:lnTo>
                <a:lnTo>
                  <a:pt x="3089302" y="2568850"/>
                </a:lnTo>
                <a:lnTo>
                  <a:pt x="3102829" y="2588403"/>
                </a:lnTo>
                <a:lnTo>
                  <a:pt x="3114685" y="2609754"/>
                </a:lnTo>
                <a:lnTo>
                  <a:pt x="3124952" y="2632854"/>
                </a:lnTo>
                <a:lnTo>
                  <a:pt x="3133709" y="2657656"/>
                </a:lnTo>
                <a:lnTo>
                  <a:pt x="3141039" y="2684109"/>
                </a:lnTo>
                <a:lnTo>
                  <a:pt x="3147019" y="2712163"/>
                </a:lnTo>
                <a:lnTo>
                  <a:pt x="3151732" y="2741770"/>
                </a:lnTo>
                <a:lnTo>
                  <a:pt x="3155257" y="2772881"/>
                </a:lnTo>
                <a:lnTo>
                  <a:pt x="3157675" y="2805445"/>
                </a:lnTo>
                <a:lnTo>
                  <a:pt x="3159067" y="2839413"/>
                </a:lnTo>
                <a:lnTo>
                  <a:pt x="3159514" y="2874737"/>
                </a:lnTo>
                <a:lnTo>
                  <a:pt x="3159089" y="2910212"/>
                </a:lnTo>
                <a:lnTo>
                  <a:pt x="3157757" y="2944332"/>
                </a:lnTo>
                <a:lnTo>
                  <a:pt x="3155431" y="2977045"/>
                </a:lnTo>
                <a:lnTo>
                  <a:pt x="3152023" y="3008303"/>
                </a:lnTo>
                <a:lnTo>
                  <a:pt x="3147446" y="3038054"/>
                </a:lnTo>
                <a:lnTo>
                  <a:pt x="3141612" y="3066249"/>
                </a:lnTo>
                <a:lnTo>
                  <a:pt x="3134435" y="3092837"/>
                </a:lnTo>
                <a:lnTo>
                  <a:pt x="3125826" y="3117770"/>
                </a:lnTo>
                <a:lnTo>
                  <a:pt x="3115700" y="3140995"/>
                </a:lnTo>
                <a:lnTo>
                  <a:pt x="3103967" y="3162464"/>
                </a:lnTo>
                <a:lnTo>
                  <a:pt x="3090542" y="3182126"/>
                </a:lnTo>
                <a:lnTo>
                  <a:pt x="3075336" y="3199931"/>
                </a:lnTo>
                <a:lnTo>
                  <a:pt x="3058263" y="3215828"/>
                </a:lnTo>
                <a:lnTo>
                  <a:pt x="3039235" y="3229769"/>
                </a:lnTo>
                <a:lnTo>
                  <a:pt x="3018165" y="3241703"/>
                </a:lnTo>
                <a:lnTo>
                  <a:pt x="2994965" y="3251579"/>
                </a:lnTo>
                <a:lnTo>
                  <a:pt x="2969548" y="3259347"/>
                </a:lnTo>
                <a:lnTo>
                  <a:pt x="2941828" y="3264959"/>
                </a:lnTo>
                <a:lnTo>
                  <a:pt x="2911716" y="3268362"/>
                </a:lnTo>
                <a:lnTo>
                  <a:pt x="2879125" y="3269508"/>
                </a:lnTo>
                <a:lnTo>
                  <a:pt x="2879125" y="3210798"/>
                </a:lnTo>
                <a:lnTo>
                  <a:pt x="2909252" y="3209444"/>
                </a:lnTo>
                <a:lnTo>
                  <a:pt x="2936490" y="3205429"/>
                </a:lnTo>
                <a:lnTo>
                  <a:pt x="2960977" y="3198827"/>
                </a:lnTo>
                <a:lnTo>
                  <a:pt x="2982849" y="3189707"/>
                </a:lnTo>
                <a:lnTo>
                  <a:pt x="3019298" y="3164203"/>
                </a:lnTo>
                <a:lnTo>
                  <a:pt x="3046935" y="3129493"/>
                </a:lnTo>
                <a:lnTo>
                  <a:pt x="3057792" y="3108864"/>
                </a:lnTo>
                <a:lnTo>
                  <a:pt x="3066859" y="3086149"/>
                </a:lnTo>
                <a:lnTo>
                  <a:pt x="3074271" y="3061419"/>
                </a:lnTo>
                <a:lnTo>
                  <a:pt x="3080167" y="3034745"/>
                </a:lnTo>
                <a:lnTo>
                  <a:pt x="3084682" y="3006199"/>
                </a:lnTo>
                <a:lnTo>
                  <a:pt x="3087956" y="2975855"/>
                </a:lnTo>
                <a:lnTo>
                  <a:pt x="3090124" y="2943781"/>
                </a:lnTo>
                <a:lnTo>
                  <a:pt x="3091324" y="2910051"/>
                </a:lnTo>
                <a:lnTo>
                  <a:pt x="3091694" y="2874737"/>
                </a:lnTo>
                <a:lnTo>
                  <a:pt x="3091305" y="2839769"/>
                </a:lnTo>
                <a:lnTo>
                  <a:pt x="3090050" y="2806365"/>
                </a:lnTo>
                <a:lnTo>
                  <a:pt x="3087800" y="2774596"/>
                </a:lnTo>
                <a:lnTo>
                  <a:pt x="3084425" y="2744535"/>
                </a:lnTo>
                <a:lnTo>
                  <a:pt x="3079795" y="2716252"/>
                </a:lnTo>
                <a:lnTo>
                  <a:pt x="3073782" y="2689820"/>
                </a:lnTo>
                <a:lnTo>
                  <a:pt x="3066253" y="2665311"/>
                </a:lnTo>
                <a:lnTo>
                  <a:pt x="3057081" y="2642795"/>
                </a:lnTo>
                <a:lnTo>
                  <a:pt x="3046134" y="2622345"/>
                </a:lnTo>
                <a:lnTo>
                  <a:pt x="3018400" y="2587929"/>
                </a:lnTo>
                <a:lnTo>
                  <a:pt x="2982013" y="2562635"/>
                </a:lnTo>
                <a:lnTo>
                  <a:pt x="2960250" y="2553590"/>
                </a:lnTo>
                <a:lnTo>
                  <a:pt x="2935934" y="2547039"/>
                </a:lnTo>
                <a:lnTo>
                  <a:pt x="2908936" y="2543056"/>
                </a:lnTo>
                <a:lnTo>
                  <a:pt x="2879125" y="2541713"/>
                </a:lnTo>
                <a:close/>
                <a:moveTo>
                  <a:pt x="2565698" y="2481992"/>
                </a:moveTo>
                <a:lnTo>
                  <a:pt x="2565698" y="2541713"/>
                </a:lnTo>
                <a:lnTo>
                  <a:pt x="2536056" y="2543056"/>
                </a:lnTo>
                <a:lnTo>
                  <a:pt x="2509206" y="2547039"/>
                </a:lnTo>
                <a:lnTo>
                  <a:pt x="2485020" y="2553590"/>
                </a:lnTo>
                <a:lnTo>
                  <a:pt x="2463369" y="2562635"/>
                </a:lnTo>
                <a:lnTo>
                  <a:pt x="2427161" y="2587929"/>
                </a:lnTo>
                <a:lnTo>
                  <a:pt x="2399551" y="2622345"/>
                </a:lnTo>
                <a:lnTo>
                  <a:pt x="2388649" y="2642795"/>
                </a:lnTo>
                <a:lnTo>
                  <a:pt x="2379511" y="2665311"/>
                </a:lnTo>
                <a:lnTo>
                  <a:pt x="2372009" y="2689820"/>
                </a:lnTo>
                <a:lnTo>
                  <a:pt x="2366014" y="2716252"/>
                </a:lnTo>
                <a:lnTo>
                  <a:pt x="2361397" y="2744535"/>
                </a:lnTo>
                <a:lnTo>
                  <a:pt x="2358029" y="2774596"/>
                </a:lnTo>
                <a:lnTo>
                  <a:pt x="2355783" y="2806365"/>
                </a:lnTo>
                <a:lnTo>
                  <a:pt x="2354530" y="2839769"/>
                </a:lnTo>
                <a:lnTo>
                  <a:pt x="2354141" y="2874737"/>
                </a:lnTo>
                <a:lnTo>
                  <a:pt x="2354520" y="2910051"/>
                </a:lnTo>
                <a:lnTo>
                  <a:pt x="2355746" y="2943781"/>
                </a:lnTo>
                <a:lnTo>
                  <a:pt x="2357952" y="2975855"/>
                </a:lnTo>
                <a:lnTo>
                  <a:pt x="2361268" y="3006199"/>
                </a:lnTo>
                <a:lnTo>
                  <a:pt x="2365828" y="3034745"/>
                </a:lnTo>
                <a:lnTo>
                  <a:pt x="2371764" y="3061419"/>
                </a:lnTo>
                <a:lnTo>
                  <a:pt x="2379208" y="3086149"/>
                </a:lnTo>
                <a:lnTo>
                  <a:pt x="2388293" y="3108864"/>
                </a:lnTo>
                <a:lnTo>
                  <a:pt x="2399150" y="3129493"/>
                </a:lnTo>
                <a:lnTo>
                  <a:pt x="2426712" y="3164203"/>
                </a:lnTo>
                <a:lnTo>
                  <a:pt x="2462952" y="3189707"/>
                </a:lnTo>
                <a:lnTo>
                  <a:pt x="2484656" y="3198827"/>
                </a:lnTo>
                <a:lnTo>
                  <a:pt x="2508928" y="3205429"/>
                </a:lnTo>
                <a:lnTo>
                  <a:pt x="2535898" y="3209444"/>
                </a:lnTo>
                <a:lnTo>
                  <a:pt x="2565698" y="3210798"/>
                </a:lnTo>
                <a:lnTo>
                  <a:pt x="2565698" y="3269508"/>
                </a:lnTo>
                <a:lnTo>
                  <a:pt x="2533244" y="3268362"/>
                </a:lnTo>
                <a:lnTo>
                  <a:pt x="2503241" y="3264959"/>
                </a:lnTo>
                <a:lnTo>
                  <a:pt x="2475603" y="3259347"/>
                </a:lnTo>
                <a:lnTo>
                  <a:pt x="2450247" y="3251579"/>
                </a:lnTo>
                <a:lnTo>
                  <a:pt x="2427085" y="3241703"/>
                </a:lnTo>
                <a:lnTo>
                  <a:pt x="2406034" y="3229769"/>
                </a:lnTo>
                <a:lnTo>
                  <a:pt x="2387009" y="3215828"/>
                </a:lnTo>
                <a:lnTo>
                  <a:pt x="2369924" y="3199931"/>
                </a:lnTo>
                <a:lnTo>
                  <a:pt x="2354694" y="3182126"/>
                </a:lnTo>
                <a:lnTo>
                  <a:pt x="2341235" y="3162464"/>
                </a:lnTo>
                <a:lnTo>
                  <a:pt x="2329461" y="3140995"/>
                </a:lnTo>
                <a:lnTo>
                  <a:pt x="2319288" y="3117770"/>
                </a:lnTo>
                <a:lnTo>
                  <a:pt x="2310630" y="3092837"/>
                </a:lnTo>
                <a:lnTo>
                  <a:pt x="2303402" y="3066249"/>
                </a:lnTo>
                <a:lnTo>
                  <a:pt x="2297519" y="3038054"/>
                </a:lnTo>
                <a:lnTo>
                  <a:pt x="2292897" y="3008303"/>
                </a:lnTo>
                <a:lnTo>
                  <a:pt x="2289449" y="2977045"/>
                </a:lnTo>
                <a:lnTo>
                  <a:pt x="2287092" y="2944332"/>
                </a:lnTo>
                <a:lnTo>
                  <a:pt x="2285740" y="2910212"/>
                </a:lnTo>
                <a:lnTo>
                  <a:pt x="2285309" y="2874737"/>
                </a:lnTo>
                <a:lnTo>
                  <a:pt x="2285755" y="2839413"/>
                </a:lnTo>
                <a:lnTo>
                  <a:pt x="2287147" y="2805445"/>
                </a:lnTo>
                <a:lnTo>
                  <a:pt x="2289566" y="2772881"/>
                </a:lnTo>
                <a:lnTo>
                  <a:pt x="2293091" y="2741770"/>
                </a:lnTo>
                <a:lnTo>
                  <a:pt x="2297804" y="2712163"/>
                </a:lnTo>
                <a:lnTo>
                  <a:pt x="2303784" y="2684109"/>
                </a:lnTo>
                <a:lnTo>
                  <a:pt x="2311113" y="2657656"/>
                </a:lnTo>
                <a:lnTo>
                  <a:pt x="2319870" y="2632854"/>
                </a:lnTo>
                <a:lnTo>
                  <a:pt x="2330137" y="2609754"/>
                </a:lnTo>
                <a:lnTo>
                  <a:pt x="2341994" y="2588403"/>
                </a:lnTo>
                <a:lnTo>
                  <a:pt x="2355521" y="2568850"/>
                </a:lnTo>
                <a:lnTo>
                  <a:pt x="2370798" y="2551147"/>
                </a:lnTo>
                <a:lnTo>
                  <a:pt x="2387907" y="2535342"/>
                </a:lnTo>
                <a:lnTo>
                  <a:pt x="2406927" y="2521483"/>
                </a:lnTo>
                <a:lnTo>
                  <a:pt x="2427939" y="2509622"/>
                </a:lnTo>
                <a:lnTo>
                  <a:pt x="2451024" y="2499807"/>
                </a:lnTo>
                <a:lnTo>
                  <a:pt x="2476262" y="2492087"/>
                </a:lnTo>
                <a:lnTo>
                  <a:pt x="2503733" y="2486511"/>
                </a:lnTo>
                <a:lnTo>
                  <a:pt x="2533518" y="2483129"/>
                </a:lnTo>
                <a:close/>
                <a:moveTo>
                  <a:pt x="4308476" y="2413668"/>
                </a:moveTo>
                <a:lnTo>
                  <a:pt x="4389455" y="2413668"/>
                </a:lnTo>
                <a:lnTo>
                  <a:pt x="4503836" y="2623200"/>
                </a:lnTo>
                <a:lnTo>
                  <a:pt x="4387430" y="2838804"/>
                </a:lnTo>
                <a:lnTo>
                  <a:pt x="4308476" y="2838804"/>
                </a:lnTo>
                <a:lnTo>
                  <a:pt x="4407674" y="2653567"/>
                </a:lnTo>
                <a:lnTo>
                  <a:pt x="4017966" y="2653567"/>
                </a:lnTo>
                <a:lnTo>
                  <a:pt x="4017966" y="2588784"/>
                </a:lnTo>
                <a:lnTo>
                  <a:pt x="4405650" y="2588784"/>
                </a:lnTo>
                <a:close/>
                <a:moveTo>
                  <a:pt x="2147951" y="2190467"/>
                </a:moveTo>
                <a:lnTo>
                  <a:pt x="2173557" y="2192697"/>
                </a:lnTo>
                <a:lnTo>
                  <a:pt x="2193375" y="2200715"/>
                </a:lnTo>
                <a:lnTo>
                  <a:pt x="2206169" y="2216516"/>
                </a:lnTo>
                <a:lnTo>
                  <a:pt x="2210708" y="2242090"/>
                </a:lnTo>
                <a:lnTo>
                  <a:pt x="2206169" y="2268835"/>
                </a:lnTo>
                <a:lnTo>
                  <a:pt x="2193375" y="2285237"/>
                </a:lnTo>
                <a:lnTo>
                  <a:pt x="2173557" y="2293477"/>
                </a:lnTo>
                <a:lnTo>
                  <a:pt x="2147951" y="2295739"/>
                </a:lnTo>
                <a:lnTo>
                  <a:pt x="2122345" y="2293477"/>
                </a:lnTo>
                <a:lnTo>
                  <a:pt x="2102527" y="2285237"/>
                </a:lnTo>
                <a:lnTo>
                  <a:pt x="2089732" y="2268835"/>
                </a:lnTo>
                <a:lnTo>
                  <a:pt x="2085193" y="2242090"/>
                </a:lnTo>
                <a:lnTo>
                  <a:pt x="2089874" y="2216516"/>
                </a:lnTo>
                <a:lnTo>
                  <a:pt x="2102907" y="2200715"/>
                </a:lnTo>
                <a:lnTo>
                  <a:pt x="2122772" y="2192697"/>
                </a:lnTo>
                <a:close/>
                <a:moveTo>
                  <a:pt x="784523" y="2190467"/>
                </a:moveTo>
                <a:lnTo>
                  <a:pt x="810129" y="2192697"/>
                </a:lnTo>
                <a:lnTo>
                  <a:pt x="829946" y="2200715"/>
                </a:lnTo>
                <a:lnTo>
                  <a:pt x="842741" y="2216516"/>
                </a:lnTo>
                <a:lnTo>
                  <a:pt x="847281" y="2242090"/>
                </a:lnTo>
                <a:lnTo>
                  <a:pt x="842741" y="2268835"/>
                </a:lnTo>
                <a:lnTo>
                  <a:pt x="829946" y="2285237"/>
                </a:lnTo>
                <a:lnTo>
                  <a:pt x="810129" y="2293477"/>
                </a:lnTo>
                <a:lnTo>
                  <a:pt x="784523" y="2295739"/>
                </a:lnTo>
                <a:lnTo>
                  <a:pt x="758916" y="2293477"/>
                </a:lnTo>
                <a:lnTo>
                  <a:pt x="739099" y="2285237"/>
                </a:lnTo>
                <a:lnTo>
                  <a:pt x="726304" y="2268835"/>
                </a:lnTo>
                <a:lnTo>
                  <a:pt x="721765" y="2242090"/>
                </a:lnTo>
                <a:lnTo>
                  <a:pt x="726446" y="2216516"/>
                </a:lnTo>
                <a:lnTo>
                  <a:pt x="739479" y="2200715"/>
                </a:lnTo>
                <a:lnTo>
                  <a:pt x="759344" y="2192697"/>
                </a:lnTo>
                <a:close/>
                <a:moveTo>
                  <a:pt x="62758" y="2190467"/>
                </a:moveTo>
                <a:lnTo>
                  <a:pt x="88364" y="2192697"/>
                </a:lnTo>
                <a:lnTo>
                  <a:pt x="108181" y="2200715"/>
                </a:lnTo>
                <a:lnTo>
                  <a:pt x="120977" y="2216516"/>
                </a:lnTo>
                <a:lnTo>
                  <a:pt x="125516" y="2242090"/>
                </a:lnTo>
                <a:lnTo>
                  <a:pt x="120977" y="2268835"/>
                </a:lnTo>
                <a:lnTo>
                  <a:pt x="108181" y="2285237"/>
                </a:lnTo>
                <a:lnTo>
                  <a:pt x="88364" y="2293477"/>
                </a:lnTo>
                <a:lnTo>
                  <a:pt x="62758" y="2295739"/>
                </a:lnTo>
                <a:lnTo>
                  <a:pt x="37151" y="2293477"/>
                </a:lnTo>
                <a:lnTo>
                  <a:pt x="17334" y="2285237"/>
                </a:lnTo>
                <a:lnTo>
                  <a:pt x="4539" y="2268835"/>
                </a:lnTo>
                <a:lnTo>
                  <a:pt x="0" y="2242090"/>
                </a:lnTo>
                <a:lnTo>
                  <a:pt x="4681" y="2216516"/>
                </a:lnTo>
                <a:lnTo>
                  <a:pt x="17713" y="2200715"/>
                </a:lnTo>
                <a:lnTo>
                  <a:pt x="37578" y="2192697"/>
                </a:lnTo>
                <a:close/>
                <a:moveTo>
                  <a:pt x="4915430" y="1822022"/>
                </a:moveTo>
                <a:lnTo>
                  <a:pt x="4996408" y="1822022"/>
                </a:lnTo>
                <a:lnTo>
                  <a:pt x="5110790" y="2031553"/>
                </a:lnTo>
                <a:lnTo>
                  <a:pt x="4994384" y="2247158"/>
                </a:lnTo>
                <a:lnTo>
                  <a:pt x="4915430" y="2247158"/>
                </a:lnTo>
                <a:lnTo>
                  <a:pt x="5014628" y="2061920"/>
                </a:lnTo>
                <a:lnTo>
                  <a:pt x="4624920" y="2061920"/>
                </a:lnTo>
                <a:lnTo>
                  <a:pt x="4624920" y="1997137"/>
                </a:lnTo>
                <a:lnTo>
                  <a:pt x="5012604" y="1997137"/>
                </a:lnTo>
                <a:close/>
                <a:moveTo>
                  <a:pt x="2876800" y="1822016"/>
                </a:moveTo>
                <a:lnTo>
                  <a:pt x="2957778" y="1822016"/>
                </a:lnTo>
                <a:lnTo>
                  <a:pt x="3072160" y="2031547"/>
                </a:lnTo>
                <a:lnTo>
                  <a:pt x="2955754" y="2247152"/>
                </a:lnTo>
                <a:lnTo>
                  <a:pt x="2876800" y="2247152"/>
                </a:lnTo>
                <a:lnTo>
                  <a:pt x="2975998" y="2061915"/>
                </a:lnTo>
                <a:lnTo>
                  <a:pt x="2586290" y="2061915"/>
                </a:lnTo>
                <a:lnTo>
                  <a:pt x="2586290" y="1997132"/>
                </a:lnTo>
                <a:lnTo>
                  <a:pt x="2973974" y="1997132"/>
                </a:lnTo>
                <a:close/>
                <a:moveTo>
                  <a:pt x="1513768" y="1822016"/>
                </a:moveTo>
                <a:lnTo>
                  <a:pt x="1594748" y="1822016"/>
                </a:lnTo>
                <a:lnTo>
                  <a:pt x="1709128" y="2031547"/>
                </a:lnTo>
                <a:lnTo>
                  <a:pt x="1592723" y="2247152"/>
                </a:lnTo>
                <a:lnTo>
                  <a:pt x="1513768" y="2247152"/>
                </a:lnTo>
                <a:lnTo>
                  <a:pt x="1612966" y="2061915"/>
                </a:lnTo>
                <a:lnTo>
                  <a:pt x="1223259" y="2061915"/>
                </a:lnTo>
                <a:lnTo>
                  <a:pt x="1223259" y="1997132"/>
                </a:lnTo>
                <a:lnTo>
                  <a:pt x="1610942" y="1997132"/>
                </a:lnTo>
                <a:close/>
                <a:moveTo>
                  <a:pt x="2147951" y="1765330"/>
                </a:moveTo>
                <a:lnTo>
                  <a:pt x="2173557" y="1767433"/>
                </a:lnTo>
                <a:lnTo>
                  <a:pt x="2193375" y="1775325"/>
                </a:lnTo>
                <a:lnTo>
                  <a:pt x="2206169" y="1791378"/>
                </a:lnTo>
                <a:lnTo>
                  <a:pt x="2210708" y="1817966"/>
                </a:lnTo>
                <a:lnTo>
                  <a:pt x="2206169" y="1843698"/>
                </a:lnTo>
                <a:lnTo>
                  <a:pt x="2193375" y="1859846"/>
                </a:lnTo>
                <a:lnTo>
                  <a:pt x="2173557" y="1868213"/>
                </a:lnTo>
                <a:lnTo>
                  <a:pt x="2147951" y="1870601"/>
                </a:lnTo>
                <a:lnTo>
                  <a:pt x="2122930" y="1868213"/>
                </a:lnTo>
                <a:lnTo>
                  <a:pt x="2103413" y="1859846"/>
                </a:lnTo>
                <a:lnTo>
                  <a:pt x="2090728" y="1843698"/>
                </a:lnTo>
                <a:lnTo>
                  <a:pt x="2086205" y="1817966"/>
                </a:lnTo>
                <a:lnTo>
                  <a:pt x="2090728" y="1791378"/>
                </a:lnTo>
                <a:lnTo>
                  <a:pt x="2103413" y="1775325"/>
                </a:lnTo>
                <a:lnTo>
                  <a:pt x="2122930" y="1767433"/>
                </a:lnTo>
                <a:close/>
                <a:moveTo>
                  <a:pt x="784523" y="1765330"/>
                </a:moveTo>
                <a:lnTo>
                  <a:pt x="810129" y="1767433"/>
                </a:lnTo>
                <a:lnTo>
                  <a:pt x="829946" y="1775325"/>
                </a:lnTo>
                <a:lnTo>
                  <a:pt x="842741" y="1791378"/>
                </a:lnTo>
                <a:lnTo>
                  <a:pt x="847281" y="1817966"/>
                </a:lnTo>
                <a:lnTo>
                  <a:pt x="842741" y="1843698"/>
                </a:lnTo>
                <a:lnTo>
                  <a:pt x="829946" y="1859846"/>
                </a:lnTo>
                <a:lnTo>
                  <a:pt x="810129" y="1868213"/>
                </a:lnTo>
                <a:lnTo>
                  <a:pt x="784523" y="1870601"/>
                </a:lnTo>
                <a:lnTo>
                  <a:pt x="759502" y="1868213"/>
                </a:lnTo>
                <a:lnTo>
                  <a:pt x="739984" y="1859846"/>
                </a:lnTo>
                <a:lnTo>
                  <a:pt x="727300" y="1843698"/>
                </a:lnTo>
                <a:lnTo>
                  <a:pt x="722776" y="1817966"/>
                </a:lnTo>
                <a:lnTo>
                  <a:pt x="727300" y="1791378"/>
                </a:lnTo>
                <a:lnTo>
                  <a:pt x="739984" y="1775325"/>
                </a:lnTo>
                <a:lnTo>
                  <a:pt x="759502" y="1767433"/>
                </a:lnTo>
                <a:close/>
                <a:moveTo>
                  <a:pt x="62758" y="1765330"/>
                </a:moveTo>
                <a:lnTo>
                  <a:pt x="88364" y="1767433"/>
                </a:lnTo>
                <a:lnTo>
                  <a:pt x="108181" y="1775325"/>
                </a:lnTo>
                <a:lnTo>
                  <a:pt x="120977" y="1791378"/>
                </a:lnTo>
                <a:lnTo>
                  <a:pt x="125516" y="1817966"/>
                </a:lnTo>
                <a:lnTo>
                  <a:pt x="120977" y="1843698"/>
                </a:lnTo>
                <a:lnTo>
                  <a:pt x="108181" y="1859846"/>
                </a:lnTo>
                <a:lnTo>
                  <a:pt x="88364" y="1868213"/>
                </a:lnTo>
                <a:lnTo>
                  <a:pt x="62758" y="1870601"/>
                </a:lnTo>
                <a:lnTo>
                  <a:pt x="37736" y="1868213"/>
                </a:lnTo>
                <a:lnTo>
                  <a:pt x="18219" y="1859846"/>
                </a:lnTo>
                <a:lnTo>
                  <a:pt x="5535" y="1843698"/>
                </a:lnTo>
                <a:lnTo>
                  <a:pt x="1012" y="1817966"/>
                </a:lnTo>
                <a:lnTo>
                  <a:pt x="5535" y="1791378"/>
                </a:lnTo>
                <a:lnTo>
                  <a:pt x="18219" y="1775325"/>
                </a:lnTo>
                <a:lnTo>
                  <a:pt x="37736" y="1767433"/>
                </a:lnTo>
                <a:close/>
                <a:moveTo>
                  <a:pt x="3434660" y="1570981"/>
                </a:moveTo>
                <a:lnTo>
                  <a:pt x="3466840" y="1572118"/>
                </a:lnTo>
                <a:lnTo>
                  <a:pt x="3496625" y="1575500"/>
                </a:lnTo>
                <a:lnTo>
                  <a:pt x="3524096" y="1581076"/>
                </a:lnTo>
                <a:lnTo>
                  <a:pt x="3549334" y="1588796"/>
                </a:lnTo>
                <a:lnTo>
                  <a:pt x="3572418" y="1598611"/>
                </a:lnTo>
                <a:lnTo>
                  <a:pt x="3593431" y="1610473"/>
                </a:lnTo>
                <a:lnTo>
                  <a:pt x="3612450" y="1624331"/>
                </a:lnTo>
                <a:lnTo>
                  <a:pt x="3629559" y="1640136"/>
                </a:lnTo>
                <a:lnTo>
                  <a:pt x="3644837" y="1657839"/>
                </a:lnTo>
                <a:lnTo>
                  <a:pt x="3658363" y="1677391"/>
                </a:lnTo>
                <a:lnTo>
                  <a:pt x="3670219" y="1698743"/>
                </a:lnTo>
                <a:lnTo>
                  <a:pt x="3680486" y="1721844"/>
                </a:lnTo>
                <a:lnTo>
                  <a:pt x="3689244" y="1746646"/>
                </a:lnTo>
                <a:lnTo>
                  <a:pt x="3696573" y="1773098"/>
                </a:lnTo>
                <a:lnTo>
                  <a:pt x="3702553" y="1801152"/>
                </a:lnTo>
                <a:lnTo>
                  <a:pt x="3707266" y="1830760"/>
                </a:lnTo>
                <a:lnTo>
                  <a:pt x="3710792" y="1861870"/>
                </a:lnTo>
                <a:lnTo>
                  <a:pt x="3713210" y="1894434"/>
                </a:lnTo>
                <a:lnTo>
                  <a:pt x="3714602" y="1928402"/>
                </a:lnTo>
                <a:lnTo>
                  <a:pt x="3715048" y="1963726"/>
                </a:lnTo>
                <a:lnTo>
                  <a:pt x="3714624" y="1999201"/>
                </a:lnTo>
                <a:lnTo>
                  <a:pt x="3713292" y="2033321"/>
                </a:lnTo>
                <a:lnTo>
                  <a:pt x="3710966" y="2066034"/>
                </a:lnTo>
                <a:lnTo>
                  <a:pt x="3707557" y="2097292"/>
                </a:lnTo>
                <a:lnTo>
                  <a:pt x="3702980" y="2127043"/>
                </a:lnTo>
                <a:lnTo>
                  <a:pt x="3697147" y="2155238"/>
                </a:lnTo>
                <a:lnTo>
                  <a:pt x="3689969" y="2181827"/>
                </a:lnTo>
                <a:lnTo>
                  <a:pt x="3681361" y="2206759"/>
                </a:lnTo>
                <a:lnTo>
                  <a:pt x="3671234" y="2229984"/>
                </a:lnTo>
                <a:lnTo>
                  <a:pt x="3659502" y="2251453"/>
                </a:lnTo>
                <a:lnTo>
                  <a:pt x="3646077" y="2271115"/>
                </a:lnTo>
                <a:lnTo>
                  <a:pt x="3630871" y="2288919"/>
                </a:lnTo>
                <a:lnTo>
                  <a:pt x="3613798" y="2304817"/>
                </a:lnTo>
                <a:lnTo>
                  <a:pt x="3594769" y="2318758"/>
                </a:lnTo>
                <a:lnTo>
                  <a:pt x="3573700" y="2330691"/>
                </a:lnTo>
                <a:lnTo>
                  <a:pt x="3550500" y="2340567"/>
                </a:lnTo>
                <a:lnTo>
                  <a:pt x="3525083" y="2348336"/>
                </a:lnTo>
                <a:lnTo>
                  <a:pt x="3497363" y="2353947"/>
                </a:lnTo>
                <a:lnTo>
                  <a:pt x="3467251" y="2357351"/>
                </a:lnTo>
                <a:lnTo>
                  <a:pt x="3434660" y="2358496"/>
                </a:lnTo>
                <a:lnTo>
                  <a:pt x="3434660" y="2299787"/>
                </a:lnTo>
                <a:lnTo>
                  <a:pt x="3464787" y="2298433"/>
                </a:lnTo>
                <a:lnTo>
                  <a:pt x="3492025" y="2294418"/>
                </a:lnTo>
                <a:lnTo>
                  <a:pt x="3516511" y="2287816"/>
                </a:lnTo>
                <a:lnTo>
                  <a:pt x="3538383" y="2278696"/>
                </a:lnTo>
                <a:lnTo>
                  <a:pt x="3574832" y="2253193"/>
                </a:lnTo>
                <a:lnTo>
                  <a:pt x="3602470" y="2218482"/>
                </a:lnTo>
                <a:lnTo>
                  <a:pt x="3613327" y="2197853"/>
                </a:lnTo>
                <a:lnTo>
                  <a:pt x="3622393" y="2175138"/>
                </a:lnTo>
                <a:lnTo>
                  <a:pt x="3629805" y="2150408"/>
                </a:lnTo>
                <a:lnTo>
                  <a:pt x="3635701" y="2123734"/>
                </a:lnTo>
                <a:lnTo>
                  <a:pt x="3640217" y="2095189"/>
                </a:lnTo>
                <a:lnTo>
                  <a:pt x="3643490" y="2064844"/>
                </a:lnTo>
                <a:lnTo>
                  <a:pt x="3645659" y="2032771"/>
                </a:lnTo>
                <a:lnTo>
                  <a:pt x="3646859" y="1999041"/>
                </a:lnTo>
                <a:lnTo>
                  <a:pt x="3647229" y="1963726"/>
                </a:lnTo>
                <a:lnTo>
                  <a:pt x="3646839" y="1928758"/>
                </a:lnTo>
                <a:lnTo>
                  <a:pt x="3645584" y="1895355"/>
                </a:lnTo>
                <a:lnTo>
                  <a:pt x="3643335" y="1863586"/>
                </a:lnTo>
                <a:lnTo>
                  <a:pt x="3639960" y="1833525"/>
                </a:lnTo>
                <a:lnTo>
                  <a:pt x="3635330" y="1805242"/>
                </a:lnTo>
                <a:lnTo>
                  <a:pt x="3629316" y="1778810"/>
                </a:lnTo>
                <a:lnTo>
                  <a:pt x="3621788" y="1754300"/>
                </a:lnTo>
                <a:lnTo>
                  <a:pt x="3612615" y="1731785"/>
                </a:lnTo>
                <a:lnTo>
                  <a:pt x="3601669" y="1711335"/>
                </a:lnTo>
                <a:lnTo>
                  <a:pt x="3573935" y="1676919"/>
                </a:lnTo>
                <a:lnTo>
                  <a:pt x="3537548" y="1651625"/>
                </a:lnTo>
                <a:lnTo>
                  <a:pt x="3515784" y="1642579"/>
                </a:lnTo>
                <a:lnTo>
                  <a:pt x="3491469" y="1636029"/>
                </a:lnTo>
                <a:lnTo>
                  <a:pt x="3464471" y="1632046"/>
                </a:lnTo>
                <a:lnTo>
                  <a:pt x="3434660" y="1630702"/>
                </a:lnTo>
                <a:close/>
                <a:moveTo>
                  <a:pt x="3579243" y="1279461"/>
                </a:moveTo>
                <a:lnTo>
                  <a:pt x="3604850" y="1281691"/>
                </a:lnTo>
                <a:lnTo>
                  <a:pt x="3624668" y="1289709"/>
                </a:lnTo>
                <a:lnTo>
                  <a:pt x="3637463" y="1305510"/>
                </a:lnTo>
                <a:lnTo>
                  <a:pt x="3642002" y="1331085"/>
                </a:lnTo>
                <a:lnTo>
                  <a:pt x="3637463" y="1357829"/>
                </a:lnTo>
                <a:lnTo>
                  <a:pt x="3624668" y="1374231"/>
                </a:lnTo>
                <a:lnTo>
                  <a:pt x="3604850" y="1382471"/>
                </a:lnTo>
                <a:lnTo>
                  <a:pt x="3579243" y="1384733"/>
                </a:lnTo>
                <a:lnTo>
                  <a:pt x="3553637" y="1382471"/>
                </a:lnTo>
                <a:lnTo>
                  <a:pt x="3533820" y="1374231"/>
                </a:lnTo>
                <a:lnTo>
                  <a:pt x="3521024" y="1357829"/>
                </a:lnTo>
                <a:lnTo>
                  <a:pt x="3516485" y="1331085"/>
                </a:lnTo>
                <a:lnTo>
                  <a:pt x="3521166" y="1305510"/>
                </a:lnTo>
                <a:lnTo>
                  <a:pt x="3534199" y="1289709"/>
                </a:lnTo>
                <a:lnTo>
                  <a:pt x="3554064" y="1281691"/>
                </a:lnTo>
                <a:close/>
                <a:moveTo>
                  <a:pt x="1609095" y="1279455"/>
                </a:moveTo>
                <a:lnTo>
                  <a:pt x="1634701" y="1281685"/>
                </a:lnTo>
                <a:lnTo>
                  <a:pt x="1654519" y="1289703"/>
                </a:lnTo>
                <a:lnTo>
                  <a:pt x="1667313" y="1305504"/>
                </a:lnTo>
                <a:lnTo>
                  <a:pt x="1671852" y="1331078"/>
                </a:lnTo>
                <a:lnTo>
                  <a:pt x="1667313" y="1357823"/>
                </a:lnTo>
                <a:lnTo>
                  <a:pt x="1654519" y="1374224"/>
                </a:lnTo>
                <a:lnTo>
                  <a:pt x="1634701" y="1382465"/>
                </a:lnTo>
                <a:lnTo>
                  <a:pt x="1609095" y="1384726"/>
                </a:lnTo>
                <a:lnTo>
                  <a:pt x="1583489" y="1382465"/>
                </a:lnTo>
                <a:lnTo>
                  <a:pt x="1563671" y="1374224"/>
                </a:lnTo>
                <a:lnTo>
                  <a:pt x="1550877" y="1357823"/>
                </a:lnTo>
                <a:lnTo>
                  <a:pt x="1546337" y="1331078"/>
                </a:lnTo>
                <a:lnTo>
                  <a:pt x="1551018" y="1305504"/>
                </a:lnTo>
                <a:lnTo>
                  <a:pt x="1564051" y="1289703"/>
                </a:lnTo>
                <a:lnTo>
                  <a:pt x="1583916" y="1281685"/>
                </a:lnTo>
                <a:close/>
                <a:moveTo>
                  <a:pt x="4308476" y="1229360"/>
                </a:moveTo>
                <a:lnTo>
                  <a:pt x="4389455" y="1229360"/>
                </a:lnTo>
                <a:lnTo>
                  <a:pt x="4503836" y="1438891"/>
                </a:lnTo>
                <a:lnTo>
                  <a:pt x="4387430" y="1654496"/>
                </a:lnTo>
                <a:lnTo>
                  <a:pt x="4308476" y="1654496"/>
                </a:lnTo>
                <a:lnTo>
                  <a:pt x="4407674" y="1469259"/>
                </a:lnTo>
                <a:lnTo>
                  <a:pt x="4017966" y="1469259"/>
                </a:lnTo>
                <a:lnTo>
                  <a:pt x="4017966" y="1404475"/>
                </a:lnTo>
                <a:lnTo>
                  <a:pt x="4405650" y="1404475"/>
                </a:lnTo>
                <a:close/>
                <a:moveTo>
                  <a:pt x="3579243" y="854324"/>
                </a:moveTo>
                <a:lnTo>
                  <a:pt x="3604850" y="856427"/>
                </a:lnTo>
                <a:lnTo>
                  <a:pt x="3624668" y="864320"/>
                </a:lnTo>
                <a:lnTo>
                  <a:pt x="3637463" y="880373"/>
                </a:lnTo>
                <a:lnTo>
                  <a:pt x="3642002" y="906960"/>
                </a:lnTo>
                <a:lnTo>
                  <a:pt x="3637463" y="932693"/>
                </a:lnTo>
                <a:lnTo>
                  <a:pt x="3624668" y="948841"/>
                </a:lnTo>
                <a:lnTo>
                  <a:pt x="3604850" y="957207"/>
                </a:lnTo>
                <a:lnTo>
                  <a:pt x="3579243" y="959596"/>
                </a:lnTo>
                <a:lnTo>
                  <a:pt x="3554223" y="957207"/>
                </a:lnTo>
                <a:lnTo>
                  <a:pt x="3534706" y="948841"/>
                </a:lnTo>
                <a:lnTo>
                  <a:pt x="3522021" y="932693"/>
                </a:lnTo>
                <a:lnTo>
                  <a:pt x="3517498" y="906960"/>
                </a:lnTo>
                <a:lnTo>
                  <a:pt x="3522021" y="880373"/>
                </a:lnTo>
                <a:lnTo>
                  <a:pt x="3534706" y="864320"/>
                </a:lnTo>
                <a:lnTo>
                  <a:pt x="3554223" y="856427"/>
                </a:lnTo>
                <a:close/>
                <a:moveTo>
                  <a:pt x="1609095" y="854318"/>
                </a:moveTo>
                <a:lnTo>
                  <a:pt x="1634701" y="856421"/>
                </a:lnTo>
                <a:lnTo>
                  <a:pt x="1654519" y="864313"/>
                </a:lnTo>
                <a:lnTo>
                  <a:pt x="1667313" y="880366"/>
                </a:lnTo>
                <a:lnTo>
                  <a:pt x="1671852" y="906953"/>
                </a:lnTo>
                <a:lnTo>
                  <a:pt x="1667313" y="932686"/>
                </a:lnTo>
                <a:lnTo>
                  <a:pt x="1654519" y="948834"/>
                </a:lnTo>
                <a:lnTo>
                  <a:pt x="1634701" y="957201"/>
                </a:lnTo>
                <a:lnTo>
                  <a:pt x="1609095" y="959589"/>
                </a:lnTo>
                <a:lnTo>
                  <a:pt x="1584074" y="957201"/>
                </a:lnTo>
                <a:lnTo>
                  <a:pt x="1564557" y="948834"/>
                </a:lnTo>
                <a:lnTo>
                  <a:pt x="1551872" y="932686"/>
                </a:lnTo>
                <a:lnTo>
                  <a:pt x="1547349" y="906953"/>
                </a:lnTo>
                <a:lnTo>
                  <a:pt x="1551872" y="880366"/>
                </a:lnTo>
                <a:lnTo>
                  <a:pt x="1564557" y="864313"/>
                </a:lnTo>
                <a:lnTo>
                  <a:pt x="1584074" y="856421"/>
                </a:lnTo>
                <a:close/>
                <a:moveTo>
                  <a:pt x="2879125" y="659976"/>
                </a:moveTo>
                <a:lnTo>
                  <a:pt x="2911305" y="661113"/>
                </a:lnTo>
                <a:lnTo>
                  <a:pt x="2941090" y="664495"/>
                </a:lnTo>
                <a:lnTo>
                  <a:pt x="2968561" y="670071"/>
                </a:lnTo>
                <a:lnTo>
                  <a:pt x="2993799" y="677791"/>
                </a:lnTo>
                <a:lnTo>
                  <a:pt x="3016884" y="687607"/>
                </a:lnTo>
                <a:lnTo>
                  <a:pt x="3037896" y="699468"/>
                </a:lnTo>
                <a:lnTo>
                  <a:pt x="3056916" y="713326"/>
                </a:lnTo>
                <a:lnTo>
                  <a:pt x="3074024" y="729131"/>
                </a:lnTo>
                <a:lnTo>
                  <a:pt x="3089302" y="746834"/>
                </a:lnTo>
                <a:lnTo>
                  <a:pt x="3102829" y="766386"/>
                </a:lnTo>
                <a:lnTo>
                  <a:pt x="3114685" y="787738"/>
                </a:lnTo>
                <a:lnTo>
                  <a:pt x="3124952" y="810839"/>
                </a:lnTo>
                <a:lnTo>
                  <a:pt x="3133709" y="835640"/>
                </a:lnTo>
                <a:lnTo>
                  <a:pt x="3141039" y="862093"/>
                </a:lnTo>
                <a:lnTo>
                  <a:pt x="3147019" y="890147"/>
                </a:lnTo>
                <a:lnTo>
                  <a:pt x="3151732" y="919755"/>
                </a:lnTo>
                <a:lnTo>
                  <a:pt x="3155257" y="950865"/>
                </a:lnTo>
                <a:lnTo>
                  <a:pt x="3157675" y="983429"/>
                </a:lnTo>
                <a:lnTo>
                  <a:pt x="3159067" y="1017397"/>
                </a:lnTo>
                <a:lnTo>
                  <a:pt x="3159514" y="1052721"/>
                </a:lnTo>
                <a:lnTo>
                  <a:pt x="3159089" y="1088196"/>
                </a:lnTo>
                <a:lnTo>
                  <a:pt x="3157757" y="1122316"/>
                </a:lnTo>
                <a:lnTo>
                  <a:pt x="3155431" y="1155029"/>
                </a:lnTo>
                <a:lnTo>
                  <a:pt x="3152023" y="1186287"/>
                </a:lnTo>
                <a:lnTo>
                  <a:pt x="3147446" y="1216038"/>
                </a:lnTo>
                <a:lnTo>
                  <a:pt x="3141612" y="1244233"/>
                </a:lnTo>
                <a:lnTo>
                  <a:pt x="3134435" y="1270822"/>
                </a:lnTo>
                <a:lnTo>
                  <a:pt x="3125826" y="1295754"/>
                </a:lnTo>
                <a:lnTo>
                  <a:pt x="3115700" y="1318979"/>
                </a:lnTo>
                <a:lnTo>
                  <a:pt x="3103967" y="1340448"/>
                </a:lnTo>
                <a:lnTo>
                  <a:pt x="3090542" y="1360110"/>
                </a:lnTo>
                <a:lnTo>
                  <a:pt x="3075336" y="1377914"/>
                </a:lnTo>
                <a:lnTo>
                  <a:pt x="3058263" y="1393812"/>
                </a:lnTo>
                <a:lnTo>
                  <a:pt x="3039235" y="1407753"/>
                </a:lnTo>
                <a:lnTo>
                  <a:pt x="3018165" y="1419686"/>
                </a:lnTo>
                <a:lnTo>
                  <a:pt x="2994965" y="1429562"/>
                </a:lnTo>
                <a:lnTo>
                  <a:pt x="2969548" y="1437331"/>
                </a:lnTo>
                <a:lnTo>
                  <a:pt x="2941828" y="1442942"/>
                </a:lnTo>
                <a:lnTo>
                  <a:pt x="2911716" y="1446346"/>
                </a:lnTo>
                <a:lnTo>
                  <a:pt x="2879125" y="1447491"/>
                </a:lnTo>
                <a:lnTo>
                  <a:pt x="2879125" y="1388782"/>
                </a:lnTo>
                <a:lnTo>
                  <a:pt x="2909252" y="1387428"/>
                </a:lnTo>
                <a:lnTo>
                  <a:pt x="2936490" y="1383413"/>
                </a:lnTo>
                <a:lnTo>
                  <a:pt x="2960977" y="1376811"/>
                </a:lnTo>
                <a:lnTo>
                  <a:pt x="2982849" y="1367691"/>
                </a:lnTo>
                <a:lnTo>
                  <a:pt x="3019298" y="1342188"/>
                </a:lnTo>
                <a:lnTo>
                  <a:pt x="3046935" y="1307477"/>
                </a:lnTo>
                <a:lnTo>
                  <a:pt x="3057792" y="1286848"/>
                </a:lnTo>
                <a:lnTo>
                  <a:pt x="3066859" y="1264133"/>
                </a:lnTo>
                <a:lnTo>
                  <a:pt x="3074271" y="1239402"/>
                </a:lnTo>
                <a:lnTo>
                  <a:pt x="3080167" y="1212729"/>
                </a:lnTo>
                <a:lnTo>
                  <a:pt x="3084682" y="1184184"/>
                </a:lnTo>
                <a:lnTo>
                  <a:pt x="3087956" y="1153838"/>
                </a:lnTo>
                <a:lnTo>
                  <a:pt x="3090124" y="1121765"/>
                </a:lnTo>
                <a:lnTo>
                  <a:pt x="3091324" y="1088036"/>
                </a:lnTo>
                <a:lnTo>
                  <a:pt x="3091694" y="1052721"/>
                </a:lnTo>
                <a:lnTo>
                  <a:pt x="3091305" y="1017753"/>
                </a:lnTo>
                <a:lnTo>
                  <a:pt x="3090050" y="984350"/>
                </a:lnTo>
                <a:lnTo>
                  <a:pt x="3087800" y="952581"/>
                </a:lnTo>
                <a:lnTo>
                  <a:pt x="3084425" y="922520"/>
                </a:lnTo>
                <a:lnTo>
                  <a:pt x="3079795" y="894237"/>
                </a:lnTo>
                <a:lnTo>
                  <a:pt x="3073782" y="867805"/>
                </a:lnTo>
                <a:lnTo>
                  <a:pt x="3066253" y="843295"/>
                </a:lnTo>
                <a:lnTo>
                  <a:pt x="3057081" y="820780"/>
                </a:lnTo>
                <a:lnTo>
                  <a:pt x="3046134" y="800330"/>
                </a:lnTo>
                <a:lnTo>
                  <a:pt x="3018400" y="765914"/>
                </a:lnTo>
                <a:lnTo>
                  <a:pt x="2982013" y="740620"/>
                </a:lnTo>
                <a:lnTo>
                  <a:pt x="2960250" y="731574"/>
                </a:lnTo>
                <a:lnTo>
                  <a:pt x="2935934" y="725024"/>
                </a:lnTo>
                <a:lnTo>
                  <a:pt x="2908936" y="721041"/>
                </a:lnTo>
                <a:lnTo>
                  <a:pt x="2879125" y="719697"/>
                </a:lnTo>
                <a:close/>
                <a:moveTo>
                  <a:pt x="2565698" y="659976"/>
                </a:moveTo>
                <a:lnTo>
                  <a:pt x="2565698" y="719697"/>
                </a:lnTo>
                <a:lnTo>
                  <a:pt x="2536056" y="721041"/>
                </a:lnTo>
                <a:lnTo>
                  <a:pt x="2509206" y="725024"/>
                </a:lnTo>
                <a:lnTo>
                  <a:pt x="2485020" y="731574"/>
                </a:lnTo>
                <a:lnTo>
                  <a:pt x="2463369" y="740620"/>
                </a:lnTo>
                <a:lnTo>
                  <a:pt x="2427161" y="765914"/>
                </a:lnTo>
                <a:lnTo>
                  <a:pt x="2399551" y="800330"/>
                </a:lnTo>
                <a:lnTo>
                  <a:pt x="2388649" y="820780"/>
                </a:lnTo>
                <a:lnTo>
                  <a:pt x="2379511" y="843295"/>
                </a:lnTo>
                <a:lnTo>
                  <a:pt x="2372009" y="867805"/>
                </a:lnTo>
                <a:lnTo>
                  <a:pt x="2366014" y="894237"/>
                </a:lnTo>
                <a:lnTo>
                  <a:pt x="2361397" y="922520"/>
                </a:lnTo>
                <a:lnTo>
                  <a:pt x="2358029" y="952581"/>
                </a:lnTo>
                <a:lnTo>
                  <a:pt x="2355783" y="984350"/>
                </a:lnTo>
                <a:lnTo>
                  <a:pt x="2354530" y="1017753"/>
                </a:lnTo>
                <a:lnTo>
                  <a:pt x="2354141" y="1052721"/>
                </a:lnTo>
                <a:lnTo>
                  <a:pt x="2354520" y="1088036"/>
                </a:lnTo>
                <a:lnTo>
                  <a:pt x="2355746" y="1121765"/>
                </a:lnTo>
                <a:lnTo>
                  <a:pt x="2357952" y="1153838"/>
                </a:lnTo>
                <a:lnTo>
                  <a:pt x="2361268" y="1184184"/>
                </a:lnTo>
                <a:lnTo>
                  <a:pt x="2365828" y="1212729"/>
                </a:lnTo>
                <a:lnTo>
                  <a:pt x="2371764" y="1239402"/>
                </a:lnTo>
                <a:lnTo>
                  <a:pt x="2379208" y="1264133"/>
                </a:lnTo>
                <a:lnTo>
                  <a:pt x="2388293" y="1286848"/>
                </a:lnTo>
                <a:lnTo>
                  <a:pt x="2399150" y="1307477"/>
                </a:lnTo>
                <a:lnTo>
                  <a:pt x="2426712" y="1342188"/>
                </a:lnTo>
                <a:lnTo>
                  <a:pt x="2462952" y="1367691"/>
                </a:lnTo>
                <a:lnTo>
                  <a:pt x="2484656" y="1376811"/>
                </a:lnTo>
                <a:lnTo>
                  <a:pt x="2508928" y="1383413"/>
                </a:lnTo>
                <a:lnTo>
                  <a:pt x="2535898" y="1387428"/>
                </a:lnTo>
                <a:lnTo>
                  <a:pt x="2565698" y="1388782"/>
                </a:lnTo>
                <a:lnTo>
                  <a:pt x="2565698" y="1447491"/>
                </a:lnTo>
                <a:lnTo>
                  <a:pt x="2533244" y="1446346"/>
                </a:lnTo>
                <a:lnTo>
                  <a:pt x="2503241" y="1442942"/>
                </a:lnTo>
                <a:lnTo>
                  <a:pt x="2475603" y="1437331"/>
                </a:lnTo>
                <a:lnTo>
                  <a:pt x="2450247" y="1429562"/>
                </a:lnTo>
                <a:lnTo>
                  <a:pt x="2427085" y="1419686"/>
                </a:lnTo>
                <a:lnTo>
                  <a:pt x="2406034" y="1407753"/>
                </a:lnTo>
                <a:lnTo>
                  <a:pt x="2387009" y="1393812"/>
                </a:lnTo>
                <a:lnTo>
                  <a:pt x="2369924" y="1377914"/>
                </a:lnTo>
                <a:lnTo>
                  <a:pt x="2354694" y="1360110"/>
                </a:lnTo>
                <a:lnTo>
                  <a:pt x="2341235" y="1340448"/>
                </a:lnTo>
                <a:lnTo>
                  <a:pt x="2329461" y="1318979"/>
                </a:lnTo>
                <a:lnTo>
                  <a:pt x="2319288" y="1295754"/>
                </a:lnTo>
                <a:lnTo>
                  <a:pt x="2310630" y="1270822"/>
                </a:lnTo>
                <a:lnTo>
                  <a:pt x="2303402" y="1244233"/>
                </a:lnTo>
                <a:lnTo>
                  <a:pt x="2297519" y="1216038"/>
                </a:lnTo>
                <a:lnTo>
                  <a:pt x="2292897" y="1186287"/>
                </a:lnTo>
                <a:lnTo>
                  <a:pt x="2289449" y="1155029"/>
                </a:lnTo>
                <a:lnTo>
                  <a:pt x="2287092" y="1122316"/>
                </a:lnTo>
                <a:lnTo>
                  <a:pt x="2285740" y="1088196"/>
                </a:lnTo>
                <a:lnTo>
                  <a:pt x="2285309" y="1052721"/>
                </a:lnTo>
                <a:lnTo>
                  <a:pt x="2285755" y="1017397"/>
                </a:lnTo>
                <a:lnTo>
                  <a:pt x="2287147" y="983429"/>
                </a:lnTo>
                <a:lnTo>
                  <a:pt x="2289566" y="950865"/>
                </a:lnTo>
                <a:lnTo>
                  <a:pt x="2293091" y="919755"/>
                </a:lnTo>
                <a:lnTo>
                  <a:pt x="2297804" y="890147"/>
                </a:lnTo>
                <a:lnTo>
                  <a:pt x="2303784" y="862093"/>
                </a:lnTo>
                <a:lnTo>
                  <a:pt x="2311113" y="835640"/>
                </a:lnTo>
                <a:lnTo>
                  <a:pt x="2319870" y="810839"/>
                </a:lnTo>
                <a:lnTo>
                  <a:pt x="2330137" y="787738"/>
                </a:lnTo>
                <a:lnTo>
                  <a:pt x="2341994" y="766386"/>
                </a:lnTo>
                <a:lnTo>
                  <a:pt x="2355521" y="746834"/>
                </a:lnTo>
                <a:lnTo>
                  <a:pt x="2370798" y="729131"/>
                </a:lnTo>
                <a:lnTo>
                  <a:pt x="2387907" y="713326"/>
                </a:lnTo>
                <a:lnTo>
                  <a:pt x="2406927" y="699468"/>
                </a:lnTo>
                <a:lnTo>
                  <a:pt x="2427939" y="687607"/>
                </a:lnTo>
                <a:lnTo>
                  <a:pt x="2451024" y="677791"/>
                </a:lnTo>
                <a:lnTo>
                  <a:pt x="2476262" y="670071"/>
                </a:lnTo>
                <a:lnTo>
                  <a:pt x="2503733" y="664495"/>
                </a:lnTo>
                <a:lnTo>
                  <a:pt x="2533518" y="661113"/>
                </a:lnTo>
                <a:close/>
                <a:moveTo>
                  <a:pt x="1358847" y="0"/>
                </a:moveTo>
                <a:lnTo>
                  <a:pt x="1439826" y="0"/>
                </a:lnTo>
                <a:lnTo>
                  <a:pt x="1554207" y="209532"/>
                </a:lnTo>
                <a:lnTo>
                  <a:pt x="1437801" y="425136"/>
                </a:lnTo>
                <a:lnTo>
                  <a:pt x="1358847" y="425136"/>
                </a:lnTo>
                <a:lnTo>
                  <a:pt x="1458045" y="239899"/>
                </a:lnTo>
                <a:lnTo>
                  <a:pt x="1068337" y="239899"/>
                </a:lnTo>
                <a:lnTo>
                  <a:pt x="1068337" y="175116"/>
                </a:lnTo>
                <a:lnTo>
                  <a:pt x="1456021" y="175116"/>
                </a:lnTo>
                <a:close/>
              </a:path>
            </a:pathLst>
          </a:custGeom>
          <a:solidFill>
            <a:srgbClr val="88C66D"/>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469829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reaker G">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rgbClr val="21212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dirty="0"/>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rgbClr val="212121"/>
                </a:solidFill>
              </a:defRPr>
            </a:lvl1pPr>
          </a:lstStyle>
          <a:p>
            <a:r>
              <a:rPr lang="da-DK" dirty="0"/>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rgbClr val="212121"/>
                </a:solidFill>
              </a:defRPr>
            </a:lvl1pPr>
          </a:lstStyle>
          <a:p>
            <a:fld id="{7326C215-F3F2-4DB9-8B13-8FADB0ABB2EE}" type="datetime2">
              <a:rPr lang="da-DK" smtClean="0"/>
              <a:pPr/>
              <a:t>11. december 2025</a:t>
            </a:fld>
            <a:endParaRPr lang="da-DK" dirty="0"/>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rgbClr val="212121"/>
                </a:solidFill>
              </a:defRPr>
            </a:lvl1pPr>
          </a:lstStyle>
          <a:p>
            <a:r>
              <a:rPr lang="da-DK" dirty="0"/>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rgbClr val="212121"/>
                </a:solidFill>
              </a:defRPr>
            </a:lvl1pPr>
          </a:lstStyle>
          <a:p>
            <a:fld id="{24C8C45C-947F-4981-8B3F-4F32E973C901}" type="slidenum">
              <a:rPr lang="da-DK" smtClean="0"/>
              <a:pPr/>
              <a:t>‹nr.›</a:t>
            </a:fld>
            <a:endParaRPr lang="da-DK" dirty="0"/>
          </a:p>
        </p:txBody>
      </p:sp>
      <p:sp>
        <p:nvSpPr>
          <p:cNvPr id="6" name="Mikro grafik 1">
            <a:extLst>
              <a:ext uri="{FF2B5EF4-FFF2-40B4-BE49-F238E27FC236}">
                <a16:creationId xmlns:a16="http://schemas.microsoft.com/office/drawing/2014/main" id="{6CC62A60-7680-83DC-FF01-8D34130F5DA8}"/>
              </a:ext>
            </a:extLst>
          </p:cNvPr>
          <p:cNvSpPr/>
          <p:nvPr userDrawn="1"/>
        </p:nvSpPr>
        <p:spPr>
          <a:xfrm>
            <a:off x="346105" y="1028469"/>
            <a:ext cx="3864836" cy="3086563"/>
          </a:xfrm>
          <a:custGeom>
            <a:avLst/>
            <a:gdLst>
              <a:gd name="connsiteX0" fmla="*/ 8393513 w 8497013"/>
              <a:gd name="connsiteY0" fmla="*/ 6508832 h 6785945"/>
              <a:gd name="connsiteX1" fmla="*/ 8435743 w 8497013"/>
              <a:gd name="connsiteY1" fmla="*/ 6512510 h 6785945"/>
              <a:gd name="connsiteX2" fmla="*/ 8468426 w 8497013"/>
              <a:gd name="connsiteY2" fmla="*/ 6525734 h 6785945"/>
              <a:gd name="connsiteX3" fmla="*/ 8489527 w 8497013"/>
              <a:gd name="connsiteY3" fmla="*/ 6551791 h 6785945"/>
              <a:gd name="connsiteX4" fmla="*/ 8497013 w 8497013"/>
              <a:gd name="connsiteY4" fmla="*/ 6593969 h 6785945"/>
              <a:gd name="connsiteX5" fmla="*/ 8489527 w 8497013"/>
              <a:gd name="connsiteY5" fmla="*/ 6638076 h 6785945"/>
              <a:gd name="connsiteX6" fmla="*/ 8468426 w 8497013"/>
              <a:gd name="connsiteY6" fmla="*/ 6665125 h 6785945"/>
              <a:gd name="connsiteX7" fmla="*/ 8435743 w 8497013"/>
              <a:gd name="connsiteY7" fmla="*/ 6678715 h 6785945"/>
              <a:gd name="connsiteX8" fmla="*/ 8393513 w 8497013"/>
              <a:gd name="connsiteY8" fmla="*/ 6682444 h 6785945"/>
              <a:gd name="connsiteX9" fmla="*/ 8351283 w 8497013"/>
              <a:gd name="connsiteY9" fmla="*/ 6678715 h 6785945"/>
              <a:gd name="connsiteX10" fmla="*/ 8318600 w 8497013"/>
              <a:gd name="connsiteY10" fmla="*/ 6665125 h 6785945"/>
              <a:gd name="connsiteX11" fmla="*/ 8297498 w 8497013"/>
              <a:gd name="connsiteY11" fmla="*/ 6638076 h 6785945"/>
              <a:gd name="connsiteX12" fmla="*/ 8290013 w 8497013"/>
              <a:gd name="connsiteY12" fmla="*/ 6593969 h 6785945"/>
              <a:gd name="connsiteX13" fmla="*/ 8297733 w 8497013"/>
              <a:gd name="connsiteY13" fmla="*/ 6551791 h 6785945"/>
              <a:gd name="connsiteX14" fmla="*/ 8319226 w 8497013"/>
              <a:gd name="connsiteY14" fmla="*/ 6525734 h 6785945"/>
              <a:gd name="connsiteX15" fmla="*/ 8351987 w 8497013"/>
              <a:gd name="connsiteY15" fmla="*/ 6512510 h 6785945"/>
              <a:gd name="connsiteX16" fmla="*/ 5162785 w 8497013"/>
              <a:gd name="connsiteY16" fmla="*/ 6508832 h 6785945"/>
              <a:gd name="connsiteX17" fmla="*/ 5205015 w 8497013"/>
              <a:gd name="connsiteY17" fmla="*/ 6512510 h 6785945"/>
              <a:gd name="connsiteX18" fmla="*/ 5237697 w 8497013"/>
              <a:gd name="connsiteY18" fmla="*/ 6525734 h 6785945"/>
              <a:gd name="connsiteX19" fmla="*/ 5258799 w 8497013"/>
              <a:gd name="connsiteY19" fmla="*/ 6551791 h 6785945"/>
              <a:gd name="connsiteX20" fmla="*/ 5266284 w 8497013"/>
              <a:gd name="connsiteY20" fmla="*/ 6593969 h 6785945"/>
              <a:gd name="connsiteX21" fmla="*/ 5258799 w 8497013"/>
              <a:gd name="connsiteY21" fmla="*/ 6638076 h 6785945"/>
              <a:gd name="connsiteX22" fmla="*/ 5237697 w 8497013"/>
              <a:gd name="connsiteY22" fmla="*/ 6665125 h 6785945"/>
              <a:gd name="connsiteX23" fmla="*/ 5205015 w 8497013"/>
              <a:gd name="connsiteY23" fmla="*/ 6678715 h 6785945"/>
              <a:gd name="connsiteX24" fmla="*/ 5162785 w 8497013"/>
              <a:gd name="connsiteY24" fmla="*/ 6682444 h 6785945"/>
              <a:gd name="connsiteX25" fmla="*/ 5120555 w 8497013"/>
              <a:gd name="connsiteY25" fmla="*/ 6678715 h 6785945"/>
              <a:gd name="connsiteX26" fmla="*/ 5087872 w 8497013"/>
              <a:gd name="connsiteY26" fmla="*/ 6665125 h 6785945"/>
              <a:gd name="connsiteX27" fmla="*/ 5066771 w 8497013"/>
              <a:gd name="connsiteY27" fmla="*/ 6638076 h 6785945"/>
              <a:gd name="connsiteX28" fmla="*/ 5059285 w 8497013"/>
              <a:gd name="connsiteY28" fmla="*/ 6593969 h 6785945"/>
              <a:gd name="connsiteX29" fmla="*/ 5067005 w 8497013"/>
              <a:gd name="connsiteY29" fmla="*/ 6551791 h 6785945"/>
              <a:gd name="connsiteX30" fmla="*/ 5088499 w 8497013"/>
              <a:gd name="connsiteY30" fmla="*/ 6525734 h 6785945"/>
              <a:gd name="connsiteX31" fmla="*/ 5121260 w 8497013"/>
              <a:gd name="connsiteY31" fmla="*/ 6512510 h 6785945"/>
              <a:gd name="connsiteX32" fmla="*/ 6674635 w 8497013"/>
              <a:gd name="connsiteY32" fmla="*/ 6508827 h 6785945"/>
              <a:gd name="connsiteX33" fmla="*/ 6881636 w 8497013"/>
              <a:gd name="connsiteY33" fmla="*/ 6508827 h 6785945"/>
              <a:gd name="connsiteX34" fmla="*/ 6881636 w 8497013"/>
              <a:gd name="connsiteY34" fmla="*/ 6682440 h 6785945"/>
              <a:gd name="connsiteX35" fmla="*/ 6674635 w 8497013"/>
              <a:gd name="connsiteY35" fmla="*/ 6682440 h 6785945"/>
              <a:gd name="connsiteX36" fmla="*/ 1511898 w 8497013"/>
              <a:gd name="connsiteY36" fmla="*/ 6358592 h 6785945"/>
              <a:gd name="connsiteX37" fmla="*/ 2416689 w 8497013"/>
              <a:gd name="connsiteY37" fmla="*/ 6358592 h 6785945"/>
              <a:gd name="connsiteX38" fmla="*/ 2416689 w 8497013"/>
              <a:gd name="connsiteY38" fmla="*/ 6465429 h 6785945"/>
              <a:gd name="connsiteX39" fmla="*/ 1511898 w 8497013"/>
              <a:gd name="connsiteY39" fmla="*/ 6465429 h 6785945"/>
              <a:gd name="connsiteX40" fmla="*/ 0 w 8497013"/>
              <a:gd name="connsiteY40" fmla="*/ 6358592 h 6785945"/>
              <a:gd name="connsiteX41" fmla="*/ 904792 w 8497013"/>
              <a:gd name="connsiteY41" fmla="*/ 6358592 h 6785945"/>
              <a:gd name="connsiteX42" fmla="*/ 904792 w 8497013"/>
              <a:gd name="connsiteY42" fmla="*/ 6465429 h 6785945"/>
              <a:gd name="connsiteX43" fmla="*/ 0 w 8497013"/>
              <a:gd name="connsiteY43" fmla="*/ 6465429 h 6785945"/>
              <a:gd name="connsiteX44" fmla="*/ 1511898 w 8497013"/>
              <a:gd name="connsiteY44" fmla="*/ 6009695 h 6785945"/>
              <a:gd name="connsiteX45" fmla="*/ 2416689 w 8497013"/>
              <a:gd name="connsiteY45" fmla="*/ 6009695 h 6785945"/>
              <a:gd name="connsiteX46" fmla="*/ 2416689 w 8497013"/>
              <a:gd name="connsiteY46" fmla="*/ 6116533 h 6785945"/>
              <a:gd name="connsiteX47" fmla="*/ 1511898 w 8497013"/>
              <a:gd name="connsiteY47" fmla="*/ 6116533 h 6785945"/>
              <a:gd name="connsiteX48" fmla="*/ 0 w 8497013"/>
              <a:gd name="connsiteY48" fmla="*/ 6009695 h 6785945"/>
              <a:gd name="connsiteX49" fmla="*/ 904792 w 8497013"/>
              <a:gd name="connsiteY49" fmla="*/ 6009695 h 6785945"/>
              <a:gd name="connsiteX50" fmla="*/ 904792 w 8497013"/>
              <a:gd name="connsiteY50" fmla="*/ 6116533 h 6785945"/>
              <a:gd name="connsiteX51" fmla="*/ 0 w 8497013"/>
              <a:gd name="connsiteY51" fmla="*/ 6116533 h 6785945"/>
              <a:gd name="connsiteX52" fmla="*/ 8393513 w 8497013"/>
              <a:gd name="connsiteY52" fmla="*/ 5807701 h 6785945"/>
              <a:gd name="connsiteX53" fmla="*/ 8435743 w 8497013"/>
              <a:gd name="connsiteY53" fmla="*/ 5811170 h 6785945"/>
              <a:gd name="connsiteX54" fmla="*/ 8468426 w 8497013"/>
              <a:gd name="connsiteY54" fmla="*/ 5824185 h 6785945"/>
              <a:gd name="connsiteX55" fmla="*/ 8489527 w 8497013"/>
              <a:gd name="connsiteY55" fmla="*/ 5850660 h 6785945"/>
              <a:gd name="connsiteX56" fmla="*/ 8497013 w 8497013"/>
              <a:gd name="connsiteY56" fmla="*/ 5894506 h 6785945"/>
              <a:gd name="connsiteX57" fmla="*/ 8489527 w 8497013"/>
              <a:gd name="connsiteY57" fmla="*/ 5936945 h 6785945"/>
              <a:gd name="connsiteX58" fmla="*/ 8468426 w 8497013"/>
              <a:gd name="connsiteY58" fmla="*/ 5963576 h 6785945"/>
              <a:gd name="connsiteX59" fmla="*/ 8435743 w 8497013"/>
              <a:gd name="connsiteY59" fmla="*/ 5977374 h 6785945"/>
              <a:gd name="connsiteX60" fmla="*/ 8393513 w 8497013"/>
              <a:gd name="connsiteY60" fmla="*/ 5981313 h 6785945"/>
              <a:gd name="connsiteX61" fmla="*/ 8352248 w 8497013"/>
              <a:gd name="connsiteY61" fmla="*/ 5977374 h 6785945"/>
              <a:gd name="connsiteX62" fmla="*/ 8320060 w 8497013"/>
              <a:gd name="connsiteY62" fmla="*/ 5963576 h 6785945"/>
              <a:gd name="connsiteX63" fmla="*/ 8299141 w 8497013"/>
              <a:gd name="connsiteY63" fmla="*/ 5936945 h 6785945"/>
              <a:gd name="connsiteX64" fmla="*/ 8291681 w 8497013"/>
              <a:gd name="connsiteY64" fmla="*/ 5894506 h 6785945"/>
              <a:gd name="connsiteX65" fmla="*/ 8299141 w 8497013"/>
              <a:gd name="connsiteY65" fmla="*/ 5850660 h 6785945"/>
              <a:gd name="connsiteX66" fmla="*/ 8320060 w 8497013"/>
              <a:gd name="connsiteY66" fmla="*/ 5824185 h 6785945"/>
              <a:gd name="connsiteX67" fmla="*/ 8352248 w 8497013"/>
              <a:gd name="connsiteY67" fmla="*/ 5811170 h 6785945"/>
              <a:gd name="connsiteX68" fmla="*/ 5162785 w 8497013"/>
              <a:gd name="connsiteY68" fmla="*/ 5807701 h 6785945"/>
              <a:gd name="connsiteX69" fmla="*/ 5205015 w 8497013"/>
              <a:gd name="connsiteY69" fmla="*/ 5811170 h 6785945"/>
              <a:gd name="connsiteX70" fmla="*/ 5237697 w 8497013"/>
              <a:gd name="connsiteY70" fmla="*/ 5824185 h 6785945"/>
              <a:gd name="connsiteX71" fmla="*/ 5258799 w 8497013"/>
              <a:gd name="connsiteY71" fmla="*/ 5850660 h 6785945"/>
              <a:gd name="connsiteX72" fmla="*/ 5266284 w 8497013"/>
              <a:gd name="connsiteY72" fmla="*/ 5894506 h 6785945"/>
              <a:gd name="connsiteX73" fmla="*/ 5258799 w 8497013"/>
              <a:gd name="connsiteY73" fmla="*/ 5936945 h 6785945"/>
              <a:gd name="connsiteX74" fmla="*/ 5237697 w 8497013"/>
              <a:gd name="connsiteY74" fmla="*/ 5963576 h 6785945"/>
              <a:gd name="connsiteX75" fmla="*/ 5205015 w 8497013"/>
              <a:gd name="connsiteY75" fmla="*/ 5977374 h 6785945"/>
              <a:gd name="connsiteX76" fmla="*/ 5162785 w 8497013"/>
              <a:gd name="connsiteY76" fmla="*/ 5981313 h 6785945"/>
              <a:gd name="connsiteX77" fmla="*/ 5121521 w 8497013"/>
              <a:gd name="connsiteY77" fmla="*/ 5977374 h 6785945"/>
              <a:gd name="connsiteX78" fmla="*/ 5089334 w 8497013"/>
              <a:gd name="connsiteY78" fmla="*/ 5963576 h 6785945"/>
              <a:gd name="connsiteX79" fmla="*/ 5068415 w 8497013"/>
              <a:gd name="connsiteY79" fmla="*/ 5936945 h 6785945"/>
              <a:gd name="connsiteX80" fmla="*/ 5060955 w 8497013"/>
              <a:gd name="connsiteY80" fmla="*/ 5894506 h 6785945"/>
              <a:gd name="connsiteX81" fmla="*/ 5068415 w 8497013"/>
              <a:gd name="connsiteY81" fmla="*/ 5850660 h 6785945"/>
              <a:gd name="connsiteX82" fmla="*/ 5089334 w 8497013"/>
              <a:gd name="connsiteY82" fmla="*/ 5824185 h 6785945"/>
              <a:gd name="connsiteX83" fmla="*/ 5121521 w 8497013"/>
              <a:gd name="connsiteY83" fmla="*/ 5811170 h 6785945"/>
              <a:gd name="connsiteX84" fmla="*/ 4008189 w 8497013"/>
              <a:gd name="connsiteY84" fmla="*/ 5487184 h 6785945"/>
              <a:gd name="connsiteX85" fmla="*/ 4061259 w 8497013"/>
              <a:gd name="connsiteY85" fmla="*/ 5489060 h 6785945"/>
              <a:gd name="connsiteX86" fmla="*/ 4110380 w 8497013"/>
              <a:gd name="connsiteY86" fmla="*/ 5494637 h 6785945"/>
              <a:gd name="connsiteX87" fmla="*/ 4155685 w 8497013"/>
              <a:gd name="connsiteY87" fmla="*/ 5503832 h 6785945"/>
              <a:gd name="connsiteX88" fmla="*/ 4197307 w 8497013"/>
              <a:gd name="connsiteY88" fmla="*/ 5516564 h 6785945"/>
              <a:gd name="connsiteX89" fmla="*/ 4235378 w 8497013"/>
              <a:gd name="connsiteY89" fmla="*/ 5532752 h 6785945"/>
              <a:gd name="connsiteX90" fmla="*/ 4270031 w 8497013"/>
              <a:gd name="connsiteY90" fmla="*/ 5552313 h 6785945"/>
              <a:gd name="connsiteX91" fmla="*/ 4301398 w 8497013"/>
              <a:gd name="connsiteY91" fmla="*/ 5575168 h 6785945"/>
              <a:gd name="connsiteX92" fmla="*/ 4329613 w 8497013"/>
              <a:gd name="connsiteY92" fmla="*/ 5601234 h 6785945"/>
              <a:gd name="connsiteX93" fmla="*/ 4354810 w 8497013"/>
              <a:gd name="connsiteY93" fmla="*/ 5630430 h 6785945"/>
              <a:gd name="connsiteX94" fmla="*/ 4377118 w 8497013"/>
              <a:gd name="connsiteY94" fmla="*/ 5662675 h 6785945"/>
              <a:gd name="connsiteX95" fmla="*/ 4396671 w 8497013"/>
              <a:gd name="connsiteY95" fmla="*/ 5697887 h 6785945"/>
              <a:gd name="connsiteX96" fmla="*/ 4413603 w 8497013"/>
              <a:gd name="connsiteY96" fmla="*/ 5735985 h 6785945"/>
              <a:gd name="connsiteX97" fmla="*/ 4428046 w 8497013"/>
              <a:gd name="connsiteY97" fmla="*/ 5776887 h 6785945"/>
              <a:gd name="connsiteX98" fmla="*/ 4440133 w 8497013"/>
              <a:gd name="connsiteY98" fmla="*/ 5820513 h 6785945"/>
              <a:gd name="connsiteX99" fmla="*/ 4449996 w 8497013"/>
              <a:gd name="connsiteY99" fmla="*/ 5866781 h 6785945"/>
              <a:gd name="connsiteX100" fmla="*/ 4457768 w 8497013"/>
              <a:gd name="connsiteY100" fmla="*/ 5915609 h 6785945"/>
              <a:gd name="connsiteX101" fmla="*/ 4463582 w 8497013"/>
              <a:gd name="connsiteY101" fmla="*/ 5966915 h 6785945"/>
              <a:gd name="connsiteX102" fmla="*/ 4467570 w 8497013"/>
              <a:gd name="connsiteY102" fmla="*/ 6020620 h 6785945"/>
              <a:gd name="connsiteX103" fmla="*/ 4469866 w 8497013"/>
              <a:gd name="connsiteY103" fmla="*/ 6076640 h 6785945"/>
              <a:gd name="connsiteX104" fmla="*/ 4470602 w 8497013"/>
              <a:gd name="connsiteY104" fmla="*/ 6134896 h 6785945"/>
              <a:gd name="connsiteX105" fmla="*/ 4469902 w 8497013"/>
              <a:gd name="connsiteY105" fmla="*/ 6193401 h 6785945"/>
              <a:gd name="connsiteX106" fmla="*/ 4467705 w 8497013"/>
              <a:gd name="connsiteY106" fmla="*/ 6249671 h 6785945"/>
              <a:gd name="connsiteX107" fmla="*/ 4463869 w 8497013"/>
              <a:gd name="connsiteY107" fmla="*/ 6303621 h 6785945"/>
              <a:gd name="connsiteX108" fmla="*/ 4458248 w 8497013"/>
              <a:gd name="connsiteY108" fmla="*/ 6355171 h 6785945"/>
              <a:gd name="connsiteX109" fmla="*/ 4450700 w 8497013"/>
              <a:gd name="connsiteY109" fmla="*/ 6404236 h 6785945"/>
              <a:gd name="connsiteX110" fmla="*/ 4441079 w 8497013"/>
              <a:gd name="connsiteY110" fmla="*/ 6450735 h 6785945"/>
              <a:gd name="connsiteX111" fmla="*/ 4429242 w 8497013"/>
              <a:gd name="connsiteY111" fmla="*/ 6494584 h 6785945"/>
              <a:gd name="connsiteX112" fmla="*/ 4415045 w 8497013"/>
              <a:gd name="connsiteY112" fmla="*/ 6535702 h 6785945"/>
              <a:gd name="connsiteX113" fmla="*/ 4398345 w 8497013"/>
              <a:gd name="connsiteY113" fmla="*/ 6574005 h 6785945"/>
              <a:gd name="connsiteX114" fmla="*/ 4378996 w 8497013"/>
              <a:gd name="connsiteY114" fmla="*/ 6609411 h 6785945"/>
              <a:gd name="connsiteX115" fmla="*/ 4356855 w 8497013"/>
              <a:gd name="connsiteY115" fmla="*/ 6641837 h 6785945"/>
              <a:gd name="connsiteX116" fmla="*/ 4331777 w 8497013"/>
              <a:gd name="connsiteY116" fmla="*/ 6671200 h 6785945"/>
              <a:gd name="connsiteX117" fmla="*/ 4303620 w 8497013"/>
              <a:gd name="connsiteY117" fmla="*/ 6697419 h 6785945"/>
              <a:gd name="connsiteX118" fmla="*/ 4272239 w 8497013"/>
              <a:gd name="connsiteY118" fmla="*/ 6720409 h 6785945"/>
              <a:gd name="connsiteX119" fmla="*/ 4237491 w 8497013"/>
              <a:gd name="connsiteY119" fmla="*/ 6740090 h 6785945"/>
              <a:gd name="connsiteX120" fmla="*/ 4199230 w 8497013"/>
              <a:gd name="connsiteY120" fmla="*/ 6756377 h 6785945"/>
              <a:gd name="connsiteX121" fmla="*/ 4157313 w 8497013"/>
              <a:gd name="connsiteY121" fmla="*/ 6769189 h 6785945"/>
              <a:gd name="connsiteX122" fmla="*/ 4111597 w 8497013"/>
              <a:gd name="connsiteY122" fmla="*/ 6778443 h 6785945"/>
              <a:gd name="connsiteX123" fmla="*/ 4061937 w 8497013"/>
              <a:gd name="connsiteY123" fmla="*/ 6784056 h 6785945"/>
              <a:gd name="connsiteX124" fmla="*/ 4008189 w 8497013"/>
              <a:gd name="connsiteY124" fmla="*/ 6785945 h 6785945"/>
              <a:gd name="connsiteX125" fmla="*/ 4008189 w 8497013"/>
              <a:gd name="connsiteY125" fmla="*/ 6689123 h 6785945"/>
              <a:gd name="connsiteX126" fmla="*/ 4057874 w 8497013"/>
              <a:gd name="connsiteY126" fmla="*/ 6686890 h 6785945"/>
              <a:gd name="connsiteX127" fmla="*/ 4102795 w 8497013"/>
              <a:gd name="connsiteY127" fmla="*/ 6680269 h 6785945"/>
              <a:gd name="connsiteX128" fmla="*/ 4143177 w 8497013"/>
              <a:gd name="connsiteY128" fmla="*/ 6669380 h 6785945"/>
              <a:gd name="connsiteX129" fmla="*/ 4179248 w 8497013"/>
              <a:gd name="connsiteY129" fmla="*/ 6654340 h 6785945"/>
              <a:gd name="connsiteX130" fmla="*/ 4239359 w 8497013"/>
              <a:gd name="connsiteY130" fmla="*/ 6612280 h 6785945"/>
              <a:gd name="connsiteX131" fmla="*/ 4284939 w 8497013"/>
              <a:gd name="connsiteY131" fmla="*/ 6555036 h 6785945"/>
              <a:gd name="connsiteX132" fmla="*/ 4302844 w 8497013"/>
              <a:gd name="connsiteY132" fmla="*/ 6521015 h 6785945"/>
              <a:gd name="connsiteX133" fmla="*/ 4317796 w 8497013"/>
              <a:gd name="connsiteY133" fmla="*/ 6483554 h 6785945"/>
              <a:gd name="connsiteX134" fmla="*/ 4330020 w 8497013"/>
              <a:gd name="connsiteY134" fmla="*/ 6442769 h 6785945"/>
              <a:gd name="connsiteX135" fmla="*/ 4339743 w 8497013"/>
              <a:gd name="connsiteY135" fmla="*/ 6398779 h 6785945"/>
              <a:gd name="connsiteX136" fmla="*/ 4347190 w 8497013"/>
              <a:gd name="connsiteY136" fmla="*/ 6351702 h 6785945"/>
              <a:gd name="connsiteX137" fmla="*/ 4352590 w 8497013"/>
              <a:gd name="connsiteY137" fmla="*/ 6301658 h 6785945"/>
              <a:gd name="connsiteX138" fmla="*/ 4356166 w 8497013"/>
              <a:gd name="connsiteY138" fmla="*/ 6248763 h 6785945"/>
              <a:gd name="connsiteX139" fmla="*/ 4358145 w 8497013"/>
              <a:gd name="connsiteY139" fmla="*/ 6193136 h 6785945"/>
              <a:gd name="connsiteX140" fmla="*/ 4358755 w 8497013"/>
              <a:gd name="connsiteY140" fmla="*/ 6134896 h 6785945"/>
              <a:gd name="connsiteX141" fmla="*/ 4358113 w 8497013"/>
              <a:gd name="connsiteY141" fmla="*/ 6077227 h 6785945"/>
              <a:gd name="connsiteX142" fmla="*/ 4356043 w 8497013"/>
              <a:gd name="connsiteY142" fmla="*/ 6022138 h 6785945"/>
              <a:gd name="connsiteX143" fmla="*/ 4352333 w 8497013"/>
              <a:gd name="connsiteY143" fmla="*/ 5969745 h 6785945"/>
              <a:gd name="connsiteX144" fmla="*/ 4346766 w 8497013"/>
              <a:gd name="connsiteY144" fmla="*/ 5920169 h 6785945"/>
              <a:gd name="connsiteX145" fmla="*/ 4339131 w 8497013"/>
              <a:gd name="connsiteY145" fmla="*/ 5873525 h 6785945"/>
              <a:gd name="connsiteX146" fmla="*/ 4329213 w 8497013"/>
              <a:gd name="connsiteY146" fmla="*/ 5829933 h 6785945"/>
              <a:gd name="connsiteX147" fmla="*/ 4316797 w 8497013"/>
              <a:gd name="connsiteY147" fmla="*/ 5789512 h 6785945"/>
              <a:gd name="connsiteX148" fmla="*/ 4301670 w 8497013"/>
              <a:gd name="connsiteY148" fmla="*/ 5752380 h 6785945"/>
              <a:gd name="connsiteX149" fmla="*/ 4283617 w 8497013"/>
              <a:gd name="connsiteY149" fmla="*/ 5718654 h 6785945"/>
              <a:gd name="connsiteX150" fmla="*/ 4237879 w 8497013"/>
              <a:gd name="connsiteY150" fmla="*/ 5661895 h 6785945"/>
              <a:gd name="connsiteX151" fmla="*/ 4177870 w 8497013"/>
              <a:gd name="connsiteY151" fmla="*/ 5620182 h 6785945"/>
              <a:gd name="connsiteX152" fmla="*/ 4141978 w 8497013"/>
              <a:gd name="connsiteY152" fmla="*/ 5605263 h 6785945"/>
              <a:gd name="connsiteX153" fmla="*/ 4101877 w 8497013"/>
              <a:gd name="connsiteY153" fmla="*/ 5594460 h 6785945"/>
              <a:gd name="connsiteX154" fmla="*/ 4057352 w 8497013"/>
              <a:gd name="connsiteY154" fmla="*/ 5587892 h 6785945"/>
              <a:gd name="connsiteX155" fmla="*/ 4008189 w 8497013"/>
              <a:gd name="connsiteY155" fmla="*/ 5585676 h 6785945"/>
              <a:gd name="connsiteX156" fmla="*/ 3491267 w 8497013"/>
              <a:gd name="connsiteY156" fmla="*/ 5487184 h 6785945"/>
              <a:gd name="connsiteX157" fmla="*/ 3491267 w 8497013"/>
              <a:gd name="connsiteY157" fmla="*/ 5585676 h 6785945"/>
              <a:gd name="connsiteX158" fmla="*/ 3442381 w 8497013"/>
              <a:gd name="connsiteY158" fmla="*/ 5587892 h 6785945"/>
              <a:gd name="connsiteX159" fmla="*/ 3398103 w 8497013"/>
              <a:gd name="connsiteY159" fmla="*/ 5594460 h 6785945"/>
              <a:gd name="connsiteX160" fmla="*/ 3358217 w 8497013"/>
              <a:gd name="connsiteY160" fmla="*/ 5605263 h 6785945"/>
              <a:gd name="connsiteX161" fmla="*/ 3322510 w 8497013"/>
              <a:gd name="connsiteY161" fmla="*/ 5620182 h 6785945"/>
              <a:gd name="connsiteX162" fmla="*/ 3262795 w 8497013"/>
              <a:gd name="connsiteY162" fmla="*/ 5661895 h 6785945"/>
              <a:gd name="connsiteX163" fmla="*/ 3217261 w 8497013"/>
              <a:gd name="connsiteY163" fmla="*/ 5718654 h 6785945"/>
              <a:gd name="connsiteX164" fmla="*/ 3199282 w 8497013"/>
              <a:gd name="connsiteY164" fmla="*/ 5752380 h 6785945"/>
              <a:gd name="connsiteX165" fmla="*/ 3184213 w 8497013"/>
              <a:gd name="connsiteY165" fmla="*/ 5789512 h 6785945"/>
              <a:gd name="connsiteX166" fmla="*/ 3171840 w 8497013"/>
              <a:gd name="connsiteY166" fmla="*/ 5829933 h 6785945"/>
              <a:gd name="connsiteX167" fmla="*/ 3161952 w 8497013"/>
              <a:gd name="connsiteY167" fmla="*/ 5873525 h 6785945"/>
              <a:gd name="connsiteX168" fmla="*/ 3154338 w 8497013"/>
              <a:gd name="connsiteY168" fmla="*/ 5920169 h 6785945"/>
              <a:gd name="connsiteX169" fmla="*/ 3148785 w 8497013"/>
              <a:gd name="connsiteY169" fmla="*/ 5969745 h 6785945"/>
              <a:gd name="connsiteX170" fmla="*/ 3145081 w 8497013"/>
              <a:gd name="connsiteY170" fmla="*/ 6022138 h 6785945"/>
              <a:gd name="connsiteX171" fmla="*/ 3143014 w 8497013"/>
              <a:gd name="connsiteY171" fmla="*/ 6077227 h 6785945"/>
              <a:gd name="connsiteX172" fmla="*/ 3142372 w 8497013"/>
              <a:gd name="connsiteY172" fmla="*/ 6134896 h 6785945"/>
              <a:gd name="connsiteX173" fmla="*/ 3142997 w 8497013"/>
              <a:gd name="connsiteY173" fmla="*/ 6193136 h 6785945"/>
              <a:gd name="connsiteX174" fmla="*/ 3145020 w 8497013"/>
              <a:gd name="connsiteY174" fmla="*/ 6248763 h 6785945"/>
              <a:gd name="connsiteX175" fmla="*/ 3148657 w 8497013"/>
              <a:gd name="connsiteY175" fmla="*/ 6301658 h 6785945"/>
              <a:gd name="connsiteX176" fmla="*/ 3154126 w 8497013"/>
              <a:gd name="connsiteY176" fmla="*/ 6351702 h 6785945"/>
              <a:gd name="connsiteX177" fmla="*/ 3161647 w 8497013"/>
              <a:gd name="connsiteY177" fmla="*/ 6398779 h 6785945"/>
              <a:gd name="connsiteX178" fmla="*/ 3171437 w 8497013"/>
              <a:gd name="connsiteY178" fmla="*/ 6442769 h 6785945"/>
              <a:gd name="connsiteX179" fmla="*/ 3183713 w 8497013"/>
              <a:gd name="connsiteY179" fmla="*/ 6483554 h 6785945"/>
              <a:gd name="connsiteX180" fmla="*/ 3198695 w 8497013"/>
              <a:gd name="connsiteY180" fmla="*/ 6521015 h 6785945"/>
              <a:gd name="connsiteX181" fmla="*/ 3216602 w 8497013"/>
              <a:gd name="connsiteY181" fmla="*/ 6555036 h 6785945"/>
              <a:gd name="connsiteX182" fmla="*/ 3262055 w 8497013"/>
              <a:gd name="connsiteY182" fmla="*/ 6612280 h 6785945"/>
              <a:gd name="connsiteX183" fmla="*/ 3321821 w 8497013"/>
              <a:gd name="connsiteY183" fmla="*/ 6654340 h 6785945"/>
              <a:gd name="connsiteX184" fmla="*/ 3357617 w 8497013"/>
              <a:gd name="connsiteY184" fmla="*/ 6669380 h 6785945"/>
              <a:gd name="connsiteX185" fmla="*/ 3397644 w 8497013"/>
              <a:gd name="connsiteY185" fmla="*/ 6680269 h 6785945"/>
              <a:gd name="connsiteX186" fmla="*/ 3442120 w 8497013"/>
              <a:gd name="connsiteY186" fmla="*/ 6686890 h 6785945"/>
              <a:gd name="connsiteX187" fmla="*/ 3491267 w 8497013"/>
              <a:gd name="connsiteY187" fmla="*/ 6689123 h 6785945"/>
              <a:gd name="connsiteX188" fmla="*/ 3491267 w 8497013"/>
              <a:gd name="connsiteY188" fmla="*/ 6785945 h 6785945"/>
              <a:gd name="connsiteX189" fmla="*/ 3437744 w 8497013"/>
              <a:gd name="connsiteY189" fmla="*/ 6784056 h 6785945"/>
              <a:gd name="connsiteX190" fmla="*/ 3388267 w 8497013"/>
              <a:gd name="connsiteY190" fmla="*/ 6778443 h 6785945"/>
              <a:gd name="connsiteX191" fmla="*/ 3342687 w 8497013"/>
              <a:gd name="connsiteY191" fmla="*/ 6769189 h 6785945"/>
              <a:gd name="connsiteX192" fmla="*/ 3300868 w 8497013"/>
              <a:gd name="connsiteY192" fmla="*/ 6756377 h 6785945"/>
              <a:gd name="connsiteX193" fmla="*/ 3262672 w 8497013"/>
              <a:gd name="connsiteY193" fmla="*/ 6740090 h 6785945"/>
              <a:gd name="connsiteX194" fmla="*/ 3227954 w 8497013"/>
              <a:gd name="connsiteY194" fmla="*/ 6720409 h 6785945"/>
              <a:gd name="connsiteX195" fmla="*/ 3196577 w 8497013"/>
              <a:gd name="connsiteY195" fmla="*/ 6697419 h 6785945"/>
              <a:gd name="connsiteX196" fmla="*/ 3168401 w 8497013"/>
              <a:gd name="connsiteY196" fmla="*/ 6671200 h 6785945"/>
              <a:gd name="connsiteX197" fmla="*/ 3143286 w 8497013"/>
              <a:gd name="connsiteY197" fmla="*/ 6641837 h 6785945"/>
              <a:gd name="connsiteX198" fmla="*/ 3121088 w 8497013"/>
              <a:gd name="connsiteY198" fmla="*/ 6609411 h 6785945"/>
              <a:gd name="connsiteX199" fmla="*/ 3101671 w 8497013"/>
              <a:gd name="connsiteY199" fmla="*/ 6574005 h 6785945"/>
              <a:gd name="connsiteX200" fmla="*/ 3084893 w 8497013"/>
              <a:gd name="connsiteY200" fmla="*/ 6535702 h 6785945"/>
              <a:gd name="connsiteX201" fmla="*/ 3070614 w 8497013"/>
              <a:gd name="connsiteY201" fmla="*/ 6494584 h 6785945"/>
              <a:gd name="connsiteX202" fmla="*/ 3058694 w 8497013"/>
              <a:gd name="connsiteY202" fmla="*/ 6450735 h 6785945"/>
              <a:gd name="connsiteX203" fmla="*/ 3048993 w 8497013"/>
              <a:gd name="connsiteY203" fmla="*/ 6404236 h 6785945"/>
              <a:gd name="connsiteX204" fmla="*/ 3041370 w 8497013"/>
              <a:gd name="connsiteY204" fmla="*/ 6355171 h 6785945"/>
              <a:gd name="connsiteX205" fmla="*/ 3035685 w 8497013"/>
              <a:gd name="connsiteY205" fmla="*/ 6303621 h 6785945"/>
              <a:gd name="connsiteX206" fmla="*/ 3031798 w 8497013"/>
              <a:gd name="connsiteY206" fmla="*/ 6249671 h 6785945"/>
              <a:gd name="connsiteX207" fmla="*/ 3029568 w 8497013"/>
              <a:gd name="connsiteY207" fmla="*/ 6193401 h 6785945"/>
              <a:gd name="connsiteX208" fmla="*/ 3028857 w 8497013"/>
              <a:gd name="connsiteY208" fmla="*/ 6134896 h 6785945"/>
              <a:gd name="connsiteX209" fmla="*/ 3029592 w 8497013"/>
              <a:gd name="connsiteY209" fmla="*/ 6076640 h 6785945"/>
              <a:gd name="connsiteX210" fmla="*/ 3031888 w 8497013"/>
              <a:gd name="connsiteY210" fmla="*/ 6020620 h 6785945"/>
              <a:gd name="connsiteX211" fmla="*/ 3035877 w 8497013"/>
              <a:gd name="connsiteY211" fmla="*/ 5966915 h 6785945"/>
              <a:gd name="connsiteX212" fmla="*/ 3041690 w 8497013"/>
              <a:gd name="connsiteY212" fmla="*/ 5915609 h 6785945"/>
              <a:gd name="connsiteX213" fmla="*/ 3049463 w 8497013"/>
              <a:gd name="connsiteY213" fmla="*/ 5866781 h 6785945"/>
              <a:gd name="connsiteX214" fmla="*/ 3059326 w 8497013"/>
              <a:gd name="connsiteY214" fmla="*/ 5820513 h 6785945"/>
              <a:gd name="connsiteX215" fmla="*/ 3071412 w 8497013"/>
              <a:gd name="connsiteY215" fmla="*/ 5776887 h 6785945"/>
              <a:gd name="connsiteX216" fmla="*/ 3085855 w 8497013"/>
              <a:gd name="connsiteY216" fmla="*/ 5735985 h 6785945"/>
              <a:gd name="connsiteX217" fmla="*/ 3102787 w 8497013"/>
              <a:gd name="connsiteY217" fmla="*/ 5697887 h 6785945"/>
              <a:gd name="connsiteX218" fmla="*/ 3122341 w 8497013"/>
              <a:gd name="connsiteY218" fmla="*/ 5662675 h 6785945"/>
              <a:gd name="connsiteX219" fmla="*/ 3144649 w 8497013"/>
              <a:gd name="connsiteY219" fmla="*/ 5630430 h 6785945"/>
              <a:gd name="connsiteX220" fmla="*/ 3169844 w 8497013"/>
              <a:gd name="connsiteY220" fmla="*/ 5601234 h 6785945"/>
              <a:gd name="connsiteX221" fmla="*/ 3198060 w 8497013"/>
              <a:gd name="connsiteY221" fmla="*/ 5575168 h 6785945"/>
              <a:gd name="connsiteX222" fmla="*/ 3229427 w 8497013"/>
              <a:gd name="connsiteY222" fmla="*/ 5552313 h 6785945"/>
              <a:gd name="connsiteX223" fmla="*/ 3264079 w 8497013"/>
              <a:gd name="connsiteY223" fmla="*/ 5532752 h 6785945"/>
              <a:gd name="connsiteX224" fmla="*/ 3302151 w 8497013"/>
              <a:gd name="connsiteY224" fmla="*/ 5516564 h 6785945"/>
              <a:gd name="connsiteX225" fmla="*/ 3343773 w 8497013"/>
              <a:gd name="connsiteY225" fmla="*/ 5503832 h 6785945"/>
              <a:gd name="connsiteX226" fmla="*/ 3389078 w 8497013"/>
              <a:gd name="connsiteY226" fmla="*/ 5494637 h 6785945"/>
              <a:gd name="connsiteX227" fmla="*/ 3438196 w 8497013"/>
              <a:gd name="connsiteY227" fmla="*/ 5489060 h 6785945"/>
              <a:gd name="connsiteX228" fmla="*/ 5569411 w 8497013"/>
              <a:gd name="connsiteY228" fmla="*/ 5006403 h 6785945"/>
              <a:gd name="connsiteX229" fmla="*/ 5611640 w 8497013"/>
              <a:gd name="connsiteY229" fmla="*/ 5010081 h 6785945"/>
              <a:gd name="connsiteX230" fmla="*/ 5644323 w 8497013"/>
              <a:gd name="connsiteY230" fmla="*/ 5023305 h 6785945"/>
              <a:gd name="connsiteX231" fmla="*/ 5665424 w 8497013"/>
              <a:gd name="connsiteY231" fmla="*/ 5049363 h 6785945"/>
              <a:gd name="connsiteX232" fmla="*/ 5672910 w 8497013"/>
              <a:gd name="connsiteY232" fmla="*/ 5091541 h 6785945"/>
              <a:gd name="connsiteX233" fmla="*/ 5665424 w 8497013"/>
              <a:gd name="connsiteY233" fmla="*/ 5135648 h 6785945"/>
              <a:gd name="connsiteX234" fmla="*/ 5644323 w 8497013"/>
              <a:gd name="connsiteY234" fmla="*/ 5162697 h 6785945"/>
              <a:gd name="connsiteX235" fmla="*/ 5611640 w 8497013"/>
              <a:gd name="connsiteY235" fmla="*/ 5176287 h 6785945"/>
              <a:gd name="connsiteX236" fmla="*/ 5569411 w 8497013"/>
              <a:gd name="connsiteY236" fmla="*/ 5180017 h 6785945"/>
              <a:gd name="connsiteX237" fmla="*/ 5527181 w 8497013"/>
              <a:gd name="connsiteY237" fmla="*/ 5176287 h 6785945"/>
              <a:gd name="connsiteX238" fmla="*/ 5494498 w 8497013"/>
              <a:gd name="connsiteY238" fmla="*/ 5162697 h 6785945"/>
              <a:gd name="connsiteX239" fmla="*/ 5473397 w 8497013"/>
              <a:gd name="connsiteY239" fmla="*/ 5135648 h 6785945"/>
              <a:gd name="connsiteX240" fmla="*/ 5465911 w 8497013"/>
              <a:gd name="connsiteY240" fmla="*/ 5091541 h 6785945"/>
              <a:gd name="connsiteX241" fmla="*/ 5473631 w 8497013"/>
              <a:gd name="connsiteY241" fmla="*/ 5049363 h 6785945"/>
              <a:gd name="connsiteX242" fmla="*/ 5495125 w 8497013"/>
              <a:gd name="connsiteY242" fmla="*/ 5023305 h 6785945"/>
              <a:gd name="connsiteX243" fmla="*/ 5527886 w 8497013"/>
              <a:gd name="connsiteY243" fmla="*/ 5010081 h 6785945"/>
              <a:gd name="connsiteX244" fmla="*/ 4804116 w 8497013"/>
              <a:gd name="connsiteY244" fmla="*/ 5006403 h 6785945"/>
              <a:gd name="connsiteX245" fmla="*/ 4846346 w 8497013"/>
              <a:gd name="connsiteY245" fmla="*/ 5010081 h 6785945"/>
              <a:gd name="connsiteX246" fmla="*/ 4879028 w 8497013"/>
              <a:gd name="connsiteY246" fmla="*/ 5023305 h 6785945"/>
              <a:gd name="connsiteX247" fmla="*/ 4900130 w 8497013"/>
              <a:gd name="connsiteY247" fmla="*/ 5049363 h 6785945"/>
              <a:gd name="connsiteX248" fmla="*/ 4907615 w 8497013"/>
              <a:gd name="connsiteY248" fmla="*/ 5091541 h 6785945"/>
              <a:gd name="connsiteX249" fmla="*/ 4900130 w 8497013"/>
              <a:gd name="connsiteY249" fmla="*/ 5135648 h 6785945"/>
              <a:gd name="connsiteX250" fmla="*/ 4879028 w 8497013"/>
              <a:gd name="connsiteY250" fmla="*/ 5162697 h 6785945"/>
              <a:gd name="connsiteX251" fmla="*/ 4846346 w 8497013"/>
              <a:gd name="connsiteY251" fmla="*/ 5176287 h 6785945"/>
              <a:gd name="connsiteX252" fmla="*/ 4804116 w 8497013"/>
              <a:gd name="connsiteY252" fmla="*/ 5180017 h 6785945"/>
              <a:gd name="connsiteX253" fmla="*/ 4761886 w 8497013"/>
              <a:gd name="connsiteY253" fmla="*/ 5176287 h 6785945"/>
              <a:gd name="connsiteX254" fmla="*/ 4729203 w 8497013"/>
              <a:gd name="connsiteY254" fmla="*/ 5162697 h 6785945"/>
              <a:gd name="connsiteX255" fmla="*/ 4708102 w 8497013"/>
              <a:gd name="connsiteY255" fmla="*/ 5135648 h 6785945"/>
              <a:gd name="connsiteX256" fmla="*/ 4700616 w 8497013"/>
              <a:gd name="connsiteY256" fmla="*/ 5091541 h 6785945"/>
              <a:gd name="connsiteX257" fmla="*/ 4708336 w 8497013"/>
              <a:gd name="connsiteY257" fmla="*/ 5049363 h 6785945"/>
              <a:gd name="connsiteX258" fmla="*/ 4729830 w 8497013"/>
              <a:gd name="connsiteY258" fmla="*/ 5023305 h 6785945"/>
              <a:gd name="connsiteX259" fmla="*/ 4762591 w 8497013"/>
              <a:gd name="connsiteY259" fmla="*/ 5010081 h 6785945"/>
              <a:gd name="connsiteX260" fmla="*/ 2787004 w 8497013"/>
              <a:gd name="connsiteY260" fmla="*/ 4856173 h 6785945"/>
              <a:gd name="connsiteX261" fmla="*/ 3691793 w 8497013"/>
              <a:gd name="connsiteY261" fmla="*/ 4856173 h 6785945"/>
              <a:gd name="connsiteX262" fmla="*/ 3691793 w 8497013"/>
              <a:gd name="connsiteY262" fmla="*/ 4963011 h 6785945"/>
              <a:gd name="connsiteX263" fmla="*/ 2787004 w 8497013"/>
              <a:gd name="connsiteY263" fmla="*/ 4963011 h 6785945"/>
              <a:gd name="connsiteX264" fmla="*/ 1275095 w 8497013"/>
              <a:gd name="connsiteY264" fmla="*/ 4856173 h 6785945"/>
              <a:gd name="connsiteX265" fmla="*/ 2179887 w 8497013"/>
              <a:gd name="connsiteY265" fmla="*/ 4856173 h 6785945"/>
              <a:gd name="connsiteX266" fmla="*/ 2179887 w 8497013"/>
              <a:gd name="connsiteY266" fmla="*/ 4963011 h 6785945"/>
              <a:gd name="connsiteX267" fmla="*/ 1275095 w 8497013"/>
              <a:gd name="connsiteY267" fmla="*/ 4963011 h 6785945"/>
              <a:gd name="connsiteX268" fmla="*/ 2787004 w 8497013"/>
              <a:gd name="connsiteY268" fmla="*/ 4507276 h 6785945"/>
              <a:gd name="connsiteX269" fmla="*/ 3691793 w 8497013"/>
              <a:gd name="connsiteY269" fmla="*/ 4507276 h 6785945"/>
              <a:gd name="connsiteX270" fmla="*/ 3691793 w 8497013"/>
              <a:gd name="connsiteY270" fmla="*/ 4614114 h 6785945"/>
              <a:gd name="connsiteX271" fmla="*/ 2787004 w 8497013"/>
              <a:gd name="connsiteY271" fmla="*/ 4614114 h 6785945"/>
              <a:gd name="connsiteX272" fmla="*/ 1275095 w 8497013"/>
              <a:gd name="connsiteY272" fmla="*/ 4507276 h 6785945"/>
              <a:gd name="connsiteX273" fmla="*/ 2179887 w 8497013"/>
              <a:gd name="connsiteY273" fmla="*/ 4507276 h 6785945"/>
              <a:gd name="connsiteX274" fmla="*/ 2179887 w 8497013"/>
              <a:gd name="connsiteY274" fmla="*/ 4614114 h 6785945"/>
              <a:gd name="connsiteX275" fmla="*/ 1275095 w 8497013"/>
              <a:gd name="connsiteY275" fmla="*/ 4614114 h 6785945"/>
              <a:gd name="connsiteX276" fmla="*/ 5569411 w 8497013"/>
              <a:gd name="connsiteY276" fmla="*/ 4305272 h 6785945"/>
              <a:gd name="connsiteX277" fmla="*/ 5611640 w 8497013"/>
              <a:gd name="connsiteY277" fmla="*/ 4308741 h 6785945"/>
              <a:gd name="connsiteX278" fmla="*/ 5644323 w 8497013"/>
              <a:gd name="connsiteY278" fmla="*/ 4321757 h 6785945"/>
              <a:gd name="connsiteX279" fmla="*/ 5665424 w 8497013"/>
              <a:gd name="connsiteY279" fmla="*/ 4348232 h 6785945"/>
              <a:gd name="connsiteX280" fmla="*/ 5672910 w 8497013"/>
              <a:gd name="connsiteY280" fmla="*/ 4392078 h 6785945"/>
              <a:gd name="connsiteX281" fmla="*/ 5665424 w 8497013"/>
              <a:gd name="connsiteY281" fmla="*/ 4434517 h 6785945"/>
              <a:gd name="connsiteX282" fmla="*/ 5644323 w 8497013"/>
              <a:gd name="connsiteY282" fmla="*/ 4461148 h 6785945"/>
              <a:gd name="connsiteX283" fmla="*/ 5611640 w 8497013"/>
              <a:gd name="connsiteY283" fmla="*/ 4474946 h 6785945"/>
              <a:gd name="connsiteX284" fmla="*/ 5569411 w 8497013"/>
              <a:gd name="connsiteY284" fmla="*/ 4478885 h 6785945"/>
              <a:gd name="connsiteX285" fmla="*/ 5528147 w 8497013"/>
              <a:gd name="connsiteY285" fmla="*/ 4474946 h 6785945"/>
              <a:gd name="connsiteX286" fmla="*/ 5495959 w 8497013"/>
              <a:gd name="connsiteY286" fmla="*/ 4461148 h 6785945"/>
              <a:gd name="connsiteX287" fmla="*/ 5475040 w 8497013"/>
              <a:gd name="connsiteY287" fmla="*/ 4434517 h 6785945"/>
              <a:gd name="connsiteX288" fmla="*/ 5467580 w 8497013"/>
              <a:gd name="connsiteY288" fmla="*/ 4392078 h 6785945"/>
              <a:gd name="connsiteX289" fmla="*/ 5475040 w 8497013"/>
              <a:gd name="connsiteY289" fmla="*/ 4348232 h 6785945"/>
              <a:gd name="connsiteX290" fmla="*/ 5495959 w 8497013"/>
              <a:gd name="connsiteY290" fmla="*/ 4321757 h 6785945"/>
              <a:gd name="connsiteX291" fmla="*/ 5528147 w 8497013"/>
              <a:gd name="connsiteY291" fmla="*/ 4308741 h 6785945"/>
              <a:gd name="connsiteX292" fmla="*/ 4804116 w 8497013"/>
              <a:gd name="connsiteY292" fmla="*/ 4305272 h 6785945"/>
              <a:gd name="connsiteX293" fmla="*/ 4846346 w 8497013"/>
              <a:gd name="connsiteY293" fmla="*/ 4308741 h 6785945"/>
              <a:gd name="connsiteX294" fmla="*/ 4879028 w 8497013"/>
              <a:gd name="connsiteY294" fmla="*/ 4321757 h 6785945"/>
              <a:gd name="connsiteX295" fmla="*/ 4900130 w 8497013"/>
              <a:gd name="connsiteY295" fmla="*/ 4348232 h 6785945"/>
              <a:gd name="connsiteX296" fmla="*/ 4907615 w 8497013"/>
              <a:gd name="connsiteY296" fmla="*/ 4392078 h 6785945"/>
              <a:gd name="connsiteX297" fmla="*/ 4900130 w 8497013"/>
              <a:gd name="connsiteY297" fmla="*/ 4434517 h 6785945"/>
              <a:gd name="connsiteX298" fmla="*/ 4879028 w 8497013"/>
              <a:gd name="connsiteY298" fmla="*/ 4461148 h 6785945"/>
              <a:gd name="connsiteX299" fmla="*/ 4846346 w 8497013"/>
              <a:gd name="connsiteY299" fmla="*/ 4474946 h 6785945"/>
              <a:gd name="connsiteX300" fmla="*/ 4804116 w 8497013"/>
              <a:gd name="connsiteY300" fmla="*/ 4478885 h 6785945"/>
              <a:gd name="connsiteX301" fmla="*/ 4762852 w 8497013"/>
              <a:gd name="connsiteY301" fmla="*/ 4474946 h 6785945"/>
              <a:gd name="connsiteX302" fmla="*/ 4730664 w 8497013"/>
              <a:gd name="connsiteY302" fmla="*/ 4461148 h 6785945"/>
              <a:gd name="connsiteX303" fmla="*/ 4709745 w 8497013"/>
              <a:gd name="connsiteY303" fmla="*/ 4434517 h 6785945"/>
              <a:gd name="connsiteX304" fmla="*/ 4702285 w 8497013"/>
              <a:gd name="connsiteY304" fmla="*/ 4392078 h 6785945"/>
              <a:gd name="connsiteX305" fmla="*/ 4709745 w 8497013"/>
              <a:gd name="connsiteY305" fmla="*/ 4348232 h 6785945"/>
              <a:gd name="connsiteX306" fmla="*/ 4730664 w 8497013"/>
              <a:gd name="connsiteY306" fmla="*/ 4321757 h 6785945"/>
              <a:gd name="connsiteX307" fmla="*/ 4762852 w 8497013"/>
              <a:gd name="connsiteY307" fmla="*/ 4308741 h 6785945"/>
              <a:gd name="connsiteX308" fmla="*/ 7712987 w 8497013"/>
              <a:gd name="connsiteY308" fmla="*/ 3503986 h 6785945"/>
              <a:gd name="connsiteX309" fmla="*/ 7763122 w 8497013"/>
              <a:gd name="connsiteY309" fmla="*/ 3509568 h 6785945"/>
              <a:gd name="connsiteX310" fmla="*/ 7795147 w 8497013"/>
              <a:gd name="connsiteY310" fmla="*/ 3526208 h 6785945"/>
              <a:gd name="connsiteX311" fmla="*/ 7811787 w 8497013"/>
              <a:gd name="connsiteY311" fmla="*/ 3553746 h 6785945"/>
              <a:gd name="connsiteX312" fmla="*/ 7815767 w 8497013"/>
              <a:gd name="connsiteY312" fmla="*/ 3592021 h 6785945"/>
              <a:gd name="connsiteX313" fmla="*/ 7809810 w 8497013"/>
              <a:gd name="connsiteY313" fmla="*/ 3640873 h 6785945"/>
              <a:gd name="connsiteX314" fmla="*/ 7763068 w 8497013"/>
              <a:gd name="connsiteY314" fmla="*/ 3887939 h 6785945"/>
              <a:gd name="connsiteX315" fmla="*/ 7682939 w 8497013"/>
              <a:gd name="connsiteY315" fmla="*/ 3887939 h 6785945"/>
              <a:gd name="connsiteX316" fmla="*/ 7709648 w 8497013"/>
              <a:gd name="connsiteY316" fmla="*/ 3677600 h 6785945"/>
              <a:gd name="connsiteX317" fmla="*/ 7668644 w 8497013"/>
              <a:gd name="connsiteY317" fmla="*/ 3673635 h 6785945"/>
              <a:gd name="connsiteX318" fmla="*/ 7637031 w 8497013"/>
              <a:gd name="connsiteY318" fmla="*/ 3659654 h 6785945"/>
              <a:gd name="connsiteX319" fmla="*/ 7616686 w 8497013"/>
              <a:gd name="connsiteY319" fmla="*/ 3632527 h 6785945"/>
              <a:gd name="connsiteX320" fmla="*/ 7609487 w 8497013"/>
              <a:gd name="connsiteY320" fmla="*/ 3589124 h 6785945"/>
              <a:gd name="connsiteX321" fmla="*/ 7617207 w 8497013"/>
              <a:gd name="connsiteY321" fmla="*/ 3546946 h 6785945"/>
              <a:gd name="connsiteX322" fmla="*/ 7638700 w 8497013"/>
              <a:gd name="connsiteY322" fmla="*/ 3520888 h 6785945"/>
              <a:gd name="connsiteX323" fmla="*/ 7671461 w 8497013"/>
              <a:gd name="connsiteY323" fmla="*/ 3507664 h 6785945"/>
              <a:gd name="connsiteX324" fmla="*/ 4062097 w 8497013"/>
              <a:gd name="connsiteY324" fmla="*/ 3353744 h 6785945"/>
              <a:gd name="connsiteX325" fmla="*/ 4966889 w 8497013"/>
              <a:gd name="connsiteY325" fmla="*/ 3353744 h 6785945"/>
              <a:gd name="connsiteX326" fmla="*/ 4966889 w 8497013"/>
              <a:gd name="connsiteY326" fmla="*/ 3460582 h 6785945"/>
              <a:gd name="connsiteX327" fmla="*/ 4062097 w 8497013"/>
              <a:gd name="connsiteY327" fmla="*/ 3460582 h 6785945"/>
              <a:gd name="connsiteX328" fmla="*/ 2550201 w 8497013"/>
              <a:gd name="connsiteY328" fmla="*/ 3353744 h 6785945"/>
              <a:gd name="connsiteX329" fmla="*/ 3454992 w 8497013"/>
              <a:gd name="connsiteY329" fmla="*/ 3353744 h 6785945"/>
              <a:gd name="connsiteX330" fmla="*/ 3454992 w 8497013"/>
              <a:gd name="connsiteY330" fmla="*/ 3460582 h 6785945"/>
              <a:gd name="connsiteX331" fmla="*/ 2550201 w 8497013"/>
              <a:gd name="connsiteY331" fmla="*/ 3460582 h 6785945"/>
              <a:gd name="connsiteX332" fmla="*/ 4062097 w 8497013"/>
              <a:gd name="connsiteY332" fmla="*/ 3004848 h 6785945"/>
              <a:gd name="connsiteX333" fmla="*/ 4966889 w 8497013"/>
              <a:gd name="connsiteY333" fmla="*/ 3004848 h 6785945"/>
              <a:gd name="connsiteX334" fmla="*/ 4966889 w 8497013"/>
              <a:gd name="connsiteY334" fmla="*/ 3111686 h 6785945"/>
              <a:gd name="connsiteX335" fmla="*/ 4062097 w 8497013"/>
              <a:gd name="connsiteY335" fmla="*/ 3111686 h 6785945"/>
              <a:gd name="connsiteX336" fmla="*/ 2550201 w 8497013"/>
              <a:gd name="connsiteY336" fmla="*/ 3004848 h 6785945"/>
              <a:gd name="connsiteX337" fmla="*/ 3454992 w 8497013"/>
              <a:gd name="connsiteY337" fmla="*/ 3004848 h 6785945"/>
              <a:gd name="connsiteX338" fmla="*/ 3454992 w 8497013"/>
              <a:gd name="connsiteY338" fmla="*/ 3111686 h 6785945"/>
              <a:gd name="connsiteX339" fmla="*/ 2550201 w 8497013"/>
              <a:gd name="connsiteY339" fmla="*/ 3111686 h 6785945"/>
              <a:gd name="connsiteX340" fmla="*/ 7712987 w 8497013"/>
              <a:gd name="connsiteY340" fmla="*/ 2802855 h 6785945"/>
              <a:gd name="connsiteX341" fmla="*/ 7755217 w 8497013"/>
              <a:gd name="connsiteY341" fmla="*/ 2806324 h 6785945"/>
              <a:gd name="connsiteX342" fmla="*/ 7787900 w 8497013"/>
              <a:gd name="connsiteY342" fmla="*/ 2819339 h 6785945"/>
              <a:gd name="connsiteX343" fmla="*/ 7809002 w 8497013"/>
              <a:gd name="connsiteY343" fmla="*/ 2845814 h 6785945"/>
              <a:gd name="connsiteX344" fmla="*/ 7816489 w 8497013"/>
              <a:gd name="connsiteY344" fmla="*/ 2889661 h 6785945"/>
              <a:gd name="connsiteX345" fmla="*/ 7809002 w 8497013"/>
              <a:gd name="connsiteY345" fmla="*/ 2932099 h 6785945"/>
              <a:gd name="connsiteX346" fmla="*/ 7787900 w 8497013"/>
              <a:gd name="connsiteY346" fmla="*/ 2958731 h 6785945"/>
              <a:gd name="connsiteX347" fmla="*/ 7755217 w 8497013"/>
              <a:gd name="connsiteY347" fmla="*/ 2972529 h 6785945"/>
              <a:gd name="connsiteX348" fmla="*/ 7712987 w 8497013"/>
              <a:gd name="connsiteY348" fmla="*/ 2976468 h 6785945"/>
              <a:gd name="connsiteX349" fmla="*/ 7671722 w 8497013"/>
              <a:gd name="connsiteY349" fmla="*/ 2972529 h 6785945"/>
              <a:gd name="connsiteX350" fmla="*/ 7639535 w 8497013"/>
              <a:gd name="connsiteY350" fmla="*/ 2958731 h 6785945"/>
              <a:gd name="connsiteX351" fmla="*/ 7618615 w 8497013"/>
              <a:gd name="connsiteY351" fmla="*/ 2932099 h 6785945"/>
              <a:gd name="connsiteX352" fmla="*/ 7611156 w 8497013"/>
              <a:gd name="connsiteY352" fmla="*/ 2889661 h 6785945"/>
              <a:gd name="connsiteX353" fmla="*/ 7618615 w 8497013"/>
              <a:gd name="connsiteY353" fmla="*/ 2845814 h 6785945"/>
              <a:gd name="connsiteX354" fmla="*/ 7639535 w 8497013"/>
              <a:gd name="connsiteY354" fmla="*/ 2819339 h 6785945"/>
              <a:gd name="connsiteX355" fmla="*/ 7671722 w 8497013"/>
              <a:gd name="connsiteY355" fmla="*/ 2806324 h 6785945"/>
              <a:gd name="connsiteX356" fmla="*/ 6558381 w 8497013"/>
              <a:gd name="connsiteY356" fmla="*/ 2482346 h 6785945"/>
              <a:gd name="connsiteX357" fmla="*/ 6611451 w 8497013"/>
              <a:gd name="connsiteY357" fmla="*/ 2484222 h 6785945"/>
              <a:gd name="connsiteX358" fmla="*/ 6660572 w 8497013"/>
              <a:gd name="connsiteY358" fmla="*/ 2489799 h 6785945"/>
              <a:gd name="connsiteX359" fmla="*/ 6705877 w 8497013"/>
              <a:gd name="connsiteY359" fmla="*/ 2498994 h 6785945"/>
              <a:gd name="connsiteX360" fmla="*/ 6747499 w 8497013"/>
              <a:gd name="connsiteY360" fmla="*/ 2511726 h 6785945"/>
              <a:gd name="connsiteX361" fmla="*/ 6785570 w 8497013"/>
              <a:gd name="connsiteY361" fmla="*/ 2527914 h 6785945"/>
              <a:gd name="connsiteX362" fmla="*/ 6820223 w 8497013"/>
              <a:gd name="connsiteY362" fmla="*/ 2547475 h 6785945"/>
              <a:gd name="connsiteX363" fmla="*/ 6851590 w 8497013"/>
              <a:gd name="connsiteY363" fmla="*/ 2570330 h 6785945"/>
              <a:gd name="connsiteX364" fmla="*/ 6879805 w 8497013"/>
              <a:gd name="connsiteY364" fmla="*/ 2596396 h 6785945"/>
              <a:gd name="connsiteX365" fmla="*/ 6905001 w 8497013"/>
              <a:gd name="connsiteY365" fmla="*/ 2625592 h 6785945"/>
              <a:gd name="connsiteX366" fmla="*/ 6927309 w 8497013"/>
              <a:gd name="connsiteY366" fmla="*/ 2657837 h 6785945"/>
              <a:gd name="connsiteX367" fmla="*/ 6946862 w 8497013"/>
              <a:gd name="connsiteY367" fmla="*/ 2693049 h 6785945"/>
              <a:gd name="connsiteX368" fmla="*/ 6963794 w 8497013"/>
              <a:gd name="connsiteY368" fmla="*/ 2731147 h 6785945"/>
              <a:gd name="connsiteX369" fmla="*/ 6978237 w 8497013"/>
              <a:gd name="connsiteY369" fmla="*/ 2772049 h 6785945"/>
              <a:gd name="connsiteX370" fmla="*/ 6990324 w 8497013"/>
              <a:gd name="connsiteY370" fmla="*/ 2815675 h 6785945"/>
              <a:gd name="connsiteX371" fmla="*/ 7000187 w 8497013"/>
              <a:gd name="connsiteY371" fmla="*/ 2861942 h 6785945"/>
              <a:gd name="connsiteX372" fmla="*/ 7007959 w 8497013"/>
              <a:gd name="connsiteY372" fmla="*/ 2910770 h 6785945"/>
              <a:gd name="connsiteX373" fmla="*/ 7013773 w 8497013"/>
              <a:gd name="connsiteY373" fmla="*/ 2962076 h 6785945"/>
              <a:gd name="connsiteX374" fmla="*/ 7017761 w 8497013"/>
              <a:gd name="connsiteY374" fmla="*/ 3015781 h 6785945"/>
              <a:gd name="connsiteX375" fmla="*/ 7020057 w 8497013"/>
              <a:gd name="connsiteY375" fmla="*/ 3071801 h 6785945"/>
              <a:gd name="connsiteX376" fmla="*/ 7020793 w 8497013"/>
              <a:gd name="connsiteY376" fmla="*/ 3130057 h 6785945"/>
              <a:gd name="connsiteX377" fmla="*/ 7020093 w 8497013"/>
              <a:gd name="connsiteY377" fmla="*/ 3188562 h 6785945"/>
              <a:gd name="connsiteX378" fmla="*/ 7017896 w 8497013"/>
              <a:gd name="connsiteY378" fmla="*/ 3244832 h 6785945"/>
              <a:gd name="connsiteX379" fmla="*/ 7014060 w 8497013"/>
              <a:gd name="connsiteY379" fmla="*/ 3298782 h 6785945"/>
              <a:gd name="connsiteX380" fmla="*/ 7008439 w 8497013"/>
              <a:gd name="connsiteY380" fmla="*/ 3350332 h 6785945"/>
              <a:gd name="connsiteX381" fmla="*/ 7000891 w 8497013"/>
              <a:gd name="connsiteY381" fmla="*/ 3399397 h 6785945"/>
              <a:gd name="connsiteX382" fmla="*/ 6991270 w 8497013"/>
              <a:gd name="connsiteY382" fmla="*/ 3445896 h 6785945"/>
              <a:gd name="connsiteX383" fmla="*/ 6979433 w 8497013"/>
              <a:gd name="connsiteY383" fmla="*/ 3489745 h 6785945"/>
              <a:gd name="connsiteX384" fmla="*/ 6965236 w 8497013"/>
              <a:gd name="connsiteY384" fmla="*/ 3530863 h 6785945"/>
              <a:gd name="connsiteX385" fmla="*/ 6948536 w 8497013"/>
              <a:gd name="connsiteY385" fmla="*/ 3569166 h 6785945"/>
              <a:gd name="connsiteX386" fmla="*/ 6929187 w 8497013"/>
              <a:gd name="connsiteY386" fmla="*/ 3604572 h 6785945"/>
              <a:gd name="connsiteX387" fmla="*/ 6907046 w 8497013"/>
              <a:gd name="connsiteY387" fmla="*/ 3636998 h 6785945"/>
              <a:gd name="connsiteX388" fmla="*/ 6881969 w 8497013"/>
              <a:gd name="connsiteY388" fmla="*/ 3666361 h 6785945"/>
              <a:gd name="connsiteX389" fmla="*/ 6853812 w 8497013"/>
              <a:gd name="connsiteY389" fmla="*/ 3692580 h 6785945"/>
              <a:gd name="connsiteX390" fmla="*/ 6822431 w 8497013"/>
              <a:gd name="connsiteY390" fmla="*/ 3715570 h 6785945"/>
              <a:gd name="connsiteX391" fmla="*/ 6787683 w 8497013"/>
              <a:gd name="connsiteY391" fmla="*/ 3735251 h 6785945"/>
              <a:gd name="connsiteX392" fmla="*/ 6749422 w 8497013"/>
              <a:gd name="connsiteY392" fmla="*/ 3751538 h 6785945"/>
              <a:gd name="connsiteX393" fmla="*/ 6707505 w 8497013"/>
              <a:gd name="connsiteY393" fmla="*/ 3764350 h 6785945"/>
              <a:gd name="connsiteX394" fmla="*/ 6661789 w 8497013"/>
              <a:gd name="connsiteY394" fmla="*/ 3773604 h 6785945"/>
              <a:gd name="connsiteX395" fmla="*/ 6612129 w 8497013"/>
              <a:gd name="connsiteY395" fmla="*/ 3779217 h 6785945"/>
              <a:gd name="connsiteX396" fmla="*/ 6558381 w 8497013"/>
              <a:gd name="connsiteY396" fmla="*/ 3781106 h 6785945"/>
              <a:gd name="connsiteX397" fmla="*/ 6558381 w 8497013"/>
              <a:gd name="connsiteY397" fmla="*/ 3684284 h 6785945"/>
              <a:gd name="connsiteX398" fmla="*/ 6608066 w 8497013"/>
              <a:gd name="connsiteY398" fmla="*/ 3682051 h 6785945"/>
              <a:gd name="connsiteX399" fmla="*/ 6652986 w 8497013"/>
              <a:gd name="connsiteY399" fmla="*/ 3675430 h 6785945"/>
              <a:gd name="connsiteX400" fmla="*/ 6693369 w 8497013"/>
              <a:gd name="connsiteY400" fmla="*/ 3664541 h 6785945"/>
              <a:gd name="connsiteX401" fmla="*/ 6729440 w 8497013"/>
              <a:gd name="connsiteY401" fmla="*/ 3649501 h 6785945"/>
              <a:gd name="connsiteX402" fmla="*/ 6789551 w 8497013"/>
              <a:gd name="connsiteY402" fmla="*/ 3607441 h 6785945"/>
              <a:gd name="connsiteX403" fmla="*/ 6835130 w 8497013"/>
              <a:gd name="connsiteY403" fmla="*/ 3550197 h 6785945"/>
              <a:gd name="connsiteX404" fmla="*/ 6853036 w 8497013"/>
              <a:gd name="connsiteY404" fmla="*/ 3516176 h 6785945"/>
              <a:gd name="connsiteX405" fmla="*/ 6867988 w 8497013"/>
              <a:gd name="connsiteY405" fmla="*/ 3478715 h 6785945"/>
              <a:gd name="connsiteX406" fmla="*/ 6880212 w 8497013"/>
              <a:gd name="connsiteY406" fmla="*/ 3437930 h 6785945"/>
              <a:gd name="connsiteX407" fmla="*/ 6889935 w 8497013"/>
              <a:gd name="connsiteY407" fmla="*/ 3393940 h 6785945"/>
              <a:gd name="connsiteX408" fmla="*/ 6897382 w 8497013"/>
              <a:gd name="connsiteY408" fmla="*/ 3346863 h 6785945"/>
              <a:gd name="connsiteX409" fmla="*/ 6902781 w 8497013"/>
              <a:gd name="connsiteY409" fmla="*/ 3296819 h 6785945"/>
              <a:gd name="connsiteX410" fmla="*/ 6906357 w 8497013"/>
              <a:gd name="connsiteY410" fmla="*/ 3243924 h 6785945"/>
              <a:gd name="connsiteX411" fmla="*/ 6908336 w 8497013"/>
              <a:gd name="connsiteY411" fmla="*/ 3188297 h 6785945"/>
              <a:gd name="connsiteX412" fmla="*/ 6908946 w 8497013"/>
              <a:gd name="connsiteY412" fmla="*/ 3130057 h 6785945"/>
              <a:gd name="connsiteX413" fmla="*/ 6908304 w 8497013"/>
              <a:gd name="connsiteY413" fmla="*/ 3072388 h 6785945"/>
              <a:gd name="connsiteX414" fmla="*/ 6906234 w 8497013"/>
              <a:gd name="connsiteY414" fmla="*/ 3017299 h 6785945"/>
              <a:gd name="connsiteX415" fmla="*/ 6902524 w 8497013"/>
              <a:gd name="connsiteY415" fmla="*/ 2964906 h 6785945"/>
              <a:gd name="connsiteX416" fmla="*/ 6896958 w 8497013"/>
              <a:gd name="connsiteY416" fmla="*/ 2915330 h 6785945"/>
              <a:gd name="connsiteX417" fmla="*/ 6889323 w 8497013"/>
              <a:gd name="connsiteY417" fmla="*/ 2868686 h 6785945"/>
              <a:gd name="connsiteX418" fmla="*/ 6879405 w 8497013"/>
              <a:gd name="connsiteY418" fmla="*/ 2825095 h 6785945"/>
              <a:gd name="connsiteX419" fmla="*/ 6866989 w 8497013"/>
              <a:gd name="connsiteY419" fmla="*/ 2784674 h 6785945"/>
              <a:gd name="connsiteX420" fmla="*/ 6851862 w 8497013"/>
              <a:gd name="connsiteY420" fmla="*/ 2747542 h 6785945"/>
              <a:gd name="connsiteX421" fmla="*/ 6833809 w 8497013"/>
              <a:gd name="connsiteY421" fmla="*/ 2713816 h 6785945"/>
              <a:gd name="connsiteX422" fmla="*/ 6788071 w 8497013"/>
              <a:gd name="connsiteY422" fmla="*/ 2657057 h 6785945"/>
              <a:gd name="connsiteX423" fmla="*/ 6728062 w 8497013"/>
              <a:gd name="connsiteY423" fmla="*/ 2615344 h 6785945"/>
              <a:gd name="connsiteX424" fmla="*/ 6692170 w 8497013"/>
              <a:gd name="connsiteY424" fmla="*/ 2600425 h 6785945"/>
              <a:gd name="connsiteX425" fmla="*/ 6652069 w 8497013"/>
              <a:gd name="connsiteY425" fmla="*/ 2589622 h 6785945"/>
              <a:gd name="connsiteX426" fmla="*/ 6607544 w 8497013"/>
              <a:gd name="connsiteY426" fmla="*/ 2583054 h 6785945"/>
              <a:gd name="connsiteX427" fmla="*/ 6558381 w 8497013"/>
              <a:gd name="connsiteY427" fmla="*/ 2580838 h 6785945"/>
              <a:gd name="connsiteX428" fmla="*/ 6041510 w 8497013"/>
              <a:gd name="connsiteY428" fmla="*/ 2482346 h 6785945"/>
              <a:gd name="connsiteX429" fmla="*/ 6041510 w 8497013"/>
              <a:gd name="connsiteY429" fmla="*/ 2580838 h 6785945"/>
              <a:gd name="connsiteX430" fmla="*/ 5992624 w 8497013"/>
              <a:gd name="connsiteY430" fmla="*/ 2583054 h 6785945"/>
              <a:gd name="connsiteX431" fmla="*/ 5948343 w 8497013"/>
              <a:gd name="connsiteY431" fmla="*/ 2589622 h 6785945"/>
              <a:gd name="connsiteX432" fmla="*/ 5908457 w 8497013"/>
              <a:gd name="connsiteY432" fmla="*/ 2600425 h 6785945"/>
              <a:gd name="connsiteX433" fmla="*/ 5872751 w 8497013"/>
              <a:gd name="connsiteY433" fmla="*/ 2615344 h 6785945"/>
              <a:gd name="connsiteX434" fmla="*/ 5813036 w 8497013"/>
              <a:gd name="connsiteY434" fmla="*/ 2657057 h 6785945"/>
              <a:gd name="connsiteX435" fmla="*/ 5767502 w 8497013"/>
              <a:gd name="connsiteY435" fmla="*/ 2713816 h 6785945"/>
              <a:gd name="connsiteX436" fmla="*/ 5749523 w 8497013"/>
              <a:gd name="connsiteY436" fmla="*/ 2747542 h 6785945"/>
              <a:gd name="connsiteX437" fmla="*/ 5734453 w 8497013"/>
              <a:gd name="connsiteY437" fmla="*/ 2784674 h 6785945"/>
              <a:gd name="connsiteX438" fmla="*/ 5722081 w 8497013"/>
              <a:gd name="connsiteY438" fmla="*/ 2825095 h 6785945"/>
              <a:gd name="connsiteX439" fmla="*/ 5712193 w 8497013"/>
              <a:gd name="connsiteY439" fmla="*/ 2868686 h 6785945"/>
              <a:gd name="connsiteX440" fmla="*/ 5704579 w 8497013"/>
              <a:gd name="connsiteY440" fmla="*/ 2915330 h 6785945"/>
              <a:gd name="connsiteX441" fmla="*/ 5699026 w 8497013"/>
              <a:gd name="connsiteY441" fmla="*/ 2964906 h 6785945"/>
              <a:gd name="connsiteX442" fmla="*/ 5695322 w 8497013"/>
              <a:gd name="connsiteY442" fmla="*/ 3017299 h 6785945"/>
              <a:gd name="connsiteX443" fmla="*/ 5693255 w 8497013"/>
              <a:gd name="connsiteY443" fmla="*/ 3072388 h 6785945"/>
              <a:gd name="connsiteX444" fmla="*/ 5692613 w 8497013"/>
              <a:gd name="connsiteY444" fmla="*/ 3130057 h 6785945"/>
              <a:gd name="connsiteX445" fmla="*/ 5693239 w 8497013"/>
              <a:gd name="connsiteY445" fmla="*/ 3188297 h 6785945"/>
              <a:gd name="connsiteX446" fmla="*/ 5695261 w 8497013"/>
              <a:gd name="connsiteY446" fmla="*/ 3243924 h 6785945"/>
              <a:gd name="connsiteX447" fmla="*/ 5698898 w 8497013"/>
              <a:gd name="connsiteY447" fmla="*/ 3296819 h 6785945"/>
              <a:gd name="connsiteX448" fmla="*/ 5704367 w 8497013"/>
              <a:gd name="connsiteY448" fmla="*/ 3346863 h 6785945"/>
              <a:gd name="connsiteX449" fmla="*/ 5711888 w 8497013"/>
              <a:gd name="connsiteY449" fmla="*/ 3393940 h 6785945"/>
              <a:gd name="connsiteX450" fmla="*/ 5721677 w 8497013"/>
              <a:gd name="connsiteY450" fmla="*/ 3437930 h 6785945"/>
              <a:gd name="connsiteX451" fmla="*/ 5733954 w 8497013"/>
              <a:gd name="connsiteY451" fmla="*/ 3478715 h 6785945"/>
              <a:gd name="connsiteX452" fmla="*/ 5748936 w 8497013"/>
              <a:gd name="connsiteY452" fmla="*/ 3516176 h 6785945"/>
              <a:gd name="connsiteX453" fmla="*/ 5766842 w 8497013"/>
              <a:gd name="connsiteY453" fmla="*/ 3550197 h 6785945"/>
              <a:gd name="connsiteX454" fmla="*/ 5812296 w 8497013"/>
              <a:gd name="connsiteY454" fmla="*/ 3607441 h 6785945"/>
              <a:gd name="connsiteX455" fmla="*/ 5872062 w 8497013"/>
              <a:gd name="connsiteY455" fmla="*/ 3649501 h 6785945"/>
              <a:gd name="connsiteX456" fmla="*/ 5907857 w 8497013"/>
              <a:gd name="connsiteY456" fmla="*/ 3664541 h 6785945"/>
              <a:gd name="connsiteX457" fmla="*/ 5947885 w 8497013"/>
              <a:gd name="connsiteY457" fmla="*/ 3675430 h 6785945"/>
              <a:gd name="connsiteX458" fmla="*/ 5992363 w 8497013"/>
              <a:gd name="connsiteY458" fmla="*/ 3682051 h 6785945"/>
              <a:gd name="connsiteX459" fmla="*/ 6041510 w 8497013"/>
              <a:gd name="connsiteY459" fmla="*/ 3684284 h 6785945"/>
              <a:gd name="connsiteX460" fmla="*/ 6041510 w 8497013"/>
              <a:gd name="connsiteY460" fmla="*/ 3781106 h 6785945"/>
              <a:gd name="connsiteX461" fmla="*/ 5987987 w 8497013"/>
              <a:gd name="connsiteY461" fmla="*/ 3779217 h 6785945"/>
              <a:gd name="connsiteX462" fmla="*/ 5938507 w 8497013"/>
              <a:gd name="connsiteY462" fmla="*/ 3773604 h 6785945"/>
              <a:gd name="connsiteX463" fmla="*/ 5892927 w 8497013"/>
              <a:gd name="connsiteY463" fmla="*/ 3764350 h 6785945"/>
              <a:gd name="connsiteX464" fmla="*/ 5851109 w 8497013"/>
              <a:gd name="connsiteY464" fmla="*/ 3751538 h 6785945"/>
              <a:gd name="connsiteX465" fmla="*/ 5812912 w 8497013"/>
              <a:gd name="connsiteY465" fmla="*/ 3735251 h 6785945"/>
              <a:gd name="connsiteX466" fmla="*/ 5778195 w 8497013"/>
              <a:gd name="connsiteY466" fmla="*/ 3715570 h 6785945"/>
              <a:gd name="connsiteX467" fmla="*/ 5746818 w 8497013"/>
              <a:gd name="connsiteY467" fmla="*/ 3692580 h 6785945"/>
              <a:gd name="connsiteX468" fmla="*/ 5718642 w 8497013"/>
              <a:gd name="connsiteY468" fmla="*/ 3666361 h 6785945"/>
              <a:gd name="connsiteX469" fmla="*/ 5693526 w 8497013"/>
              <a:gd name="connsiteY469" fmla="*/ 3636998 h 6785945"/>
              <a:gd name="connsiteX470" fmla="*/ 5671329 w 8497013"/>
              <a:gd name="connsiteY470" fmla="*/ 3604572 h 6785945"/>
              <a:gd name="connsiteX471" fmla="*/ 5651912 w 8497013"/>
              <a:gd name="connsiteY471" fmla="*/ 3569166 h 6785945"/>
              <a:gd name="connsiteX472" fmla="*/ 5635134 w 8497013"/>
              <a:gd name="connsiteY472" fmla="*/ 3530863 h 6785945"/>
              <a:gd name="connsiteX473" fmla="*/ 5620855 w 8497013"/>
              <a:gd name="connsiteY473" fmla="*/ 3489745 h 6785945"/>
              <a:gd name="connsiteX474" fmla="*/ 5608935 w 8497013"/>
              <a:gd name="connsiteY474" fmla="*/ 3445896 h 6785945"/>
              <a:gd name="connsiteX475" fmla="*/ 5599234 w 8497013"/>
              <a:gd name="connsiteY475" fmla="*/ 3399397 h 6785945"/>
              <a:gd name="connsiteX476" fmla="*/ 5591611 w 8497013"/>
              <a:gd name="connsiteY476" fmla="*/ 3350332 h 6785945"/>
              <a:gd name="connsiteX477" fmla="*/ 5585926 w 8497013"/>
              <a:gd name="connsiteY477" fmla="*/ 3298782 h 6785945"/>
              <a:gd name="connsiteX478" fmla="*/ 5582039 w 8497013"/>
              <a:gd name="connsiteY478" fmla="*/ 3244832 h 6785945"/>
              <a:gd name="connsiteX479" fmla="*/ 5579809 w 8497013"/>
              <a:gd name="connsiteY479" fmla="*/ 3188562 h 6785945"/>
              <a:gd name="connsiteX480" fmla="*/ 5579098 w 8497013"/>
              <a:gd name="connsiteY480" fmla="*/ 3130057 h 6785945"/>
              <a:gd name="connsiteX481" fmla="*/ 5579833 w 8497013"/>
              <a:gd name="connsiteY481" fmla="*/ 3071801 h 6785945"/>
              <a:gd name="connsiteX482" fmla="*/ 5582129 w 8497013"/>
              <a:gd name="connsiteY482" fmla="*/ 3015781 h 6785945"/>
              <a:gd name="connsiteX483" fmla="*/ 5586118 w 8497013"/>
              <a:gd name="connsiteY483" fmla="*/ 2962076 h 6785945"/>
              <a:gd name="connsiteX484" fmla="*/ 5591931 w 8497013"/>
              <a:gd name="connsiteY484" fmla="*/ 2910770 h 6785945"/>
              <a:gd name="connsiteX485" fmla="*/ 5599704 w 8497013"/>
              <a:gd name="connsiteY485" fmla="*/ 2861942 h 6785945"/>
              <a:gd name="connsiteX486" fmla="*/ 5609567 w 8497013"/>
              <a:gd name="connsiteY486" fmla="*/ 2815675 h 6785945"/>
              <a:gd name="connsiteX487" fmla="*/ 5621653 w 8497013"/>
              <a:gd name="connsiteY487" fmla="*/ 2772049 h 6785945"/>
              <a:gd name="connsiteX488" fmla="*/ 5636096 w 8497013"/>
              <a:gd name="connsiteY488" fmla="*/ 2731147 h 6785945"/>
              <a:gd name="connsiteX489" fmla="*/ 5653028 w 8497013"/>
              <a:gd name="connsiteY489" fmla="*/ 2693049 h 6785945"/>
              <a:gd name="connsiteX490" fmla="*/ 5672581 w 8497013"/>
              <a:gd name="connsiteY490" fmla="*/ 2657837 h 6785945"/>
              <a:gd name="connsiteX491" fmla="*/ 5694889 w 8497013"/>
              <a:gd name="connsiteY491" fmla="*/ 2625592 h 6785945"/>
              <a:gd name="connsiteX492" fmla="*/ 5720085 w 8497013"/>
              <a:gd name="connsiteY492" fmla="*/ 2596396 h 6785945"/>
              <a:gd name="connsiteX493" fmla="*/ 5748300 w 8497013"/>
              <a:gd name="connsiteY493" fmla="*/ 2570330 h 6785945"/>
              <a:gd name="connsiteX494" fmla="*/ 5779667 w 8497013"/>
              <a:gd name="connsiteY494" fmla="*/ 2547475 h 6785945"/>
              <a:gd name="connsiteX495" fmla="*/ 5814320 w 8497013"/>
              <a:gd name="connsiteY495" fmla="*/ 2527914 h 6785945"/>
              <a:gd name="connsiteX496" fmla="*/ 5852391 w 8497013"/>
              <a:gd name="connsiteY496" fmla="*/ 2511726 h 6785945"/>
              <a:gd name="connsiteX497" fmla="*/ 5894013 w 8497013"/>
              <a:gd name="connsiteY497" fmla="*/ 2498994 h 6785945"/>
              <a:gd name="connsiteX498" fmla="*/ 5939318 w 8497013"/>
              <a:gd name="connsiteY498" fmla="*/ 2489799 h 6785945"/>
              <a:gd name="connsiteX499" fmla="*/ 5988439 w 8497013"/>
              <a:gd name="connsiteY499" fmla="*/ 2484222 h 6785945"/>
              <a:gd name="connsiteX500" fmla="*/ 5337245 w 8497013"/>
              <a:gd name="connsiteY500" fmla="*/ 1851325 h 6785945"/>
              <a:gd name="connsiteX501" fmla="*/ 6242037 w 8497013"/>
              <a:gd name="connsiteY501" fmla="*/ 1851325 h 6785945"/>
              <a:gd name="connsiteX502" fmla="*/ 6242037 w 8497013"/>
              <a:gd name="connsiteY502" fmla="*/ 1958164 h 6785945"/>
              <a:gd name="connsiteX503" fmla="*/ 5337245 w 8497013"/>
              <a:gd name="connsiteY503" fmla="*/ 1958164 h 6785945"/>
              <a:gd name="connsiteX504" fmla="*/ 3825296 w 8497013"/>
              <a:gd name="connsiteY504" fmla="*/ 1851325 h 6785945"/>
              <a:gd name="connsiteX505" fmla="*/ 4730088 w 8497013"/>
              <a:gd name="connsiteY505" fmla="*/ 1851325 h 6785945"/>
              <a:gd name="connsiteX506" fmla="*/ 4730088 w 8497013"/>
              <a:gd name="connsiteY506" fmla="*/ 1958164 h 6785945"/>
              <a:gd name="connsiteX507" fmla="*/ 3825296 w 8497013"/>
              <a:gd name="connsiteY507" fmla="*/ 1958164 h 6785945"/>
              <a:gd name="connsiteX508" fmla="*/ 6849172 w 8497013"/>
              <a:gd name="connsiteY508" fmla="*/ 1681043 h 6785945"/>
              <a:gd name="connsiteX509" fmla="*/ 7326608 w 8497013"/>
              <a:gd name="connsiteY509" fmla="*/ 1681043 h 6785945"/>
              <a:gd name="connsiteX510" fmla="*/ 7326608 w 8497013"/>
              <a:gd name="connsiteY510" fmla="*/ 1786212 h 6785945"/>
              <a:gd name="connsiteX511" fmla="*/ 6849172 w 8497013"/>
              <a:gd name="connsiteY511" fmla="*/ 1786212 h 6785945"/>
              <a:gd name="connsiteX512" fmla="*/ 5337245 w 8497013"/>
              <a:gd name="connsiteY512" fmla="*/ 1502429 h 6785945"/>
              <a:gd name="connsiteX513" fmla="*/ 6242037 w 8497013"/>
              <a:gd name="connsiteY513" fmla="*/ 1502429 h 6785945"/>
              <a:gd name="connsiteX514" fmla="*/ 6242037 w 8497013"/>
              <a:gd name="connsiteY514" fmla="*/ 1609267 h 6785945"/>
              <a:gd name="connsiteX515" fmla="*/ 5337245 w 8497013"/>
              <a:gd name="connsiteY515" fmla="*/ 1609267 h 6785945"/>
              <a:gd name="connsiteX516" fmla="*/ 3825296 w 8497013"/>
              <a:gd name="connsiteY516" fmla="*/ 1502429 h 6785945"/>
              <a:gd name="connsiteX517" fmla="*/ 4730088 w 8497013"/>
              <a:gd name="connsiteY517" fmla="*/ 1502429 h 6785945"/>
              <a:gd name="connsiteX518" fmla="*/ 4730088 w 8497013"/>
              <a:gd name="connsiteY518" fmla="*/ 1609267 h 6785945"/>
              <a:gd name="connsiteX519" fmla="*/ 3825296 w 8497013"/>
              <a:gd name="connsiteY519" fmla="*/ 1609267 h 6785945"/>
              <a:gd name="connsiteX520" fmla="*/ 7037373 w 8497013"/>
              <a:gd name="connsiteY520" fmla="*/ 348896 h 6785945"/>
              <a:gd name="connsiteX521" fmla="*/ 7942165 w 8497013"/>
              <a:gd name="connsiteY521" fmla="*/ 348896 h 6785945"/>
              <a:gd name="connsiteX522" fmla="*/ 7942165 w 8497013"/>
              <a:gd name="connsiteY522" fmla="*/ 455734 h 6785945"/>
              <a:gd name="connsiteX523" fmla="*/ 7037373 w 8497013"/>
              <a:gd name="connsiteY523" fmla="*/ 455734 h 6785945"/>
              <a:gd name="connsiteX524" fmla="*/ 5525404 w 8497013"/>
              <a:gd name="connsiteY524" fmla="*/ 348896 h 6785945"/>
              <a:gd name="connsiteX525" fmla="*/ 6430196 w 8497013"/>
              <a:gd name="connsiteY525" fmla="*/ 348896 h 6785945"/>
              <a:gd name="connsiteX526" fmla="*/ 6430196 w 8497013"/>
              <a:gd name="connsiteY526" fmla="*/ 455734 h 6785945"/>
              <a:gd name="connsiteX527" fmla="*/ 5525404 w 8497013"/>
              <a:gd name="connsiteY527" fmla="*/ 455734 h 6785945"/>
              <a:gd name="connsiteX528" fmla="*/ 7037373 w 8497013"/>
              <a:gd name="connsiteY528" fmla="*/ 0 h 6785945"/>
              <a:gd name="connsiteX529" fmla="*/ 7942165 w 8497013"/>
              <a:gd name="connsiteY529" fmla="*/ 0 h 6785945"/>
              <a:gd name="connsiteX530" fmla="*/ 7942165 w 8497013"/>
              <a:gd name="connsiteY530" fmla="*/ 106839 h 6785945"/>
              <a:gd name="connsiteX531" fmla="*/ 7037373 w 8497013"/>
              <a:gd name="connsiteY531" fmla="*/ 106839 h 6785945"/>
              <a:gd name="connsiteX532" fmla="*/ 5525404 w 8497013"/>
              <a:gd name="connsiteY532" fmla="*/ 0 h 6785945"/>
              <a:gd name="connsiteX533" fmla="*/ 6430196 w 8497013"/>
              <a:gd name="connsiteY533" fmla="*/ 0 h 6785945"/>
              <a:gd name="connsiteX534" fmla="*/ 6430196 w 8497013"/>
              <a:gd name="connsiteY534" fmla="*/ 106839 h 6785945"/>
              <a:gd name="connsiteX535" fmla="*/ 5525404 w 8497013"/>
              <a:gd name="connsiteY535" fmla="*/ 106839 h 678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Lst>
            <a:rect l="l" t="t" r="r" b="b"/>
            <a:pathLst>
              <a:path w="8497013" h="6785945">
                <a:moveTo>
                  <a:pt x="8393513" y="6508832"/>
                </a:moveTo>
                <a:lnTo>
                  <a:pt x="8435743" y="6512510"/>
                </a:lnTo>
                <a:lnTo>
                  <a:pt x="8468426" y="6525734"/>
                </a:lnTo>
                <a:lnTo>
                  <a:pt x="8489527" y="6551791"/>
                </a:lnTo>
                <a:lnTo>
                  <a:pt x="8497013" y="6593969"/>
                </a:lnTo>
                <a:lnTo>
                  <a:pt x="8489527" y="6638076"/>
                </a:lnTo>
                <a:lnTo>
                  <a:pt x="8468426" y="6665125"/>
                </a:lnTo>
                <a:lnTo>
                  <a:pt x="8435743" y="6678715"/>
                </a:lnTo>
                <a:lnTo>
                  <a:pt x="8393513" y="6682444"/>
                </a:lnTo>
                <a:lnTo>
                  <a:pt x="8351283" y="6678715"/>
                </a:lnTo>
                <a:lnTo>
                  <a:pt x="8318600" y="6665125"/>
                </a:lnTo>
                <a:lnTo>
                  <a:pt x="8297498" y="6638076"/>
                </a:lnTo>
                <a:lnTo>
                  <a:pt x="8290013" y="6593969"/>
                </a:lnTo>
                <a:lnTo>
                  <a:pt x="8297733" y="6551791"/>
                </a:lnTo>
                <a:lnTo>
                  <a:pt x="8319226" y="6525734"/>
                </a:lnTo>
                <a:lnTo>
                  <a:pt x="8351987" y="6512510"/>
                </a:lnTo>
                <a:close/>
                <a:moveTo>
                  <a:pt x="5162785" y="6508832"/>
                </a:moveTo>
                <a:lnTo>
                  <a:pt x="5205015" y="6512510"/>
                </a:lnTo>
                <a:lnTo>
                  <a:pt x="5237697" y="6525734"/>
                </a:lnTo>
                <a:lnTo>
                  <a:pt x="5258799" y="6551791"/>
                </a:lnTo>
                <a:lnTo>
                  <a:pt x="5266284" y="6593969"/>
                </a:lnTo>
                <a:lnTo>
                  <a:pt x="5258799" y="6638076"/>
                </a:lnTo>
                <a:lnTo>
                  <a:pt x="5237697" y="6665125"/>
                </a:lnTo>
                <a:lnTo>
                  <a:pt x="5205015" y="6678715"/>
                </a:lnTo>
                <a:lnTo>
                  <a:pt x="5162785" y="6682444"/>
                </a:lnTo>
                <a:lnTo>
                  <a:pt x="5120555" y="6678715"/>
                </a:lnTo>
                <a:lnTo>
                  <a:pt x="5087872" y="6665125"/>
                </a:lnTo>
                <a:lnTo>
                  <a:pt x="5066771" y="6638076"/>
                </a:lnTo>
                <a:lnTo>
                  <a:pt x="5059285" y="6593969"/>
                </a:lnTo>
                <a:lnTo>
                  <a:pt x="5067005" y="6551791"/>
                </a:lnTo>
                <a:lnTo>
                  <a:pt x="5088499" y="6525734"/>
                </a:lnTo>
                <a:lnTo>
                  <a:pt x="5121260" y="6512510"/>
                </a:lnTo>
                <a:close/>
                <a:moveTo>
                  <a:pt x="6674635" y="6508827"/>
                </a:moveTo>
                <a:lnTo>
                  <a:pt x="6881636" y="6508827"/>
                </a:lnTo>
                <a:lnTo>
                  <a:pt x="6881636" y="6682440"/>
                </a:lnTo>
                <a:lnTo>
                  <a:pt x="6674635" y="6682440"/>
                </a:lnTo>
                <a:close/>
                <a:moveTo>
                  <a:pt x="1511898" y="6358592"/>
                </a:moveTo>
                <a:lnTo>
                  <a:pt x="2416689" y="6358592"/>
                </a:lnTo>
                <a:lnTo>
                  <a:pt x="2416689" y="6465429"/>
                </a:lnTo>
                <a:lnTo>
                  <a:pt x="1511898" y="6465429"/>
                </a:lnTo>
                <a:close/>
                <a:moveTo>
                  <a:pt x="0" y="6358592"/>
                </a:moveTo>
                <a:lnTo>
                  <a:pt x="904792" y="6358592"/>
                </a:lnTo>
                <a:lnTo>
                  <a:pt x="904792" y="6465429"/>
                </a:lnTo>
                <a:lnTo>
                  <a:pt x="0" y="6465429"/>
                </a:lnTo>
                <a:close/>
                <a:moveTo>
                  <a:pt x="1511898" y="6009695"/>
                </a:moveTo>
                <a:lnTo>
                  <a:pt x="2416689" y="6009695"/>
                </a:lnTo>
                <a:lnTo>
                  <a:pt x="2416689" y="6116533"/>
                </a:lnTo>
                <a:lnTo>
                  <a:pt x="1511898" y="6116533"/>
                </a:lnTo>
                <a:close/>
                <a:moveTo>
                  <a:pt x="0" y="6009695"/>
                </a:moveTo>
                <a:lnTo>
                  <a:pt x="904792" y="6009695"/>
                </a:lnTo>
                <a:lnTo>
                  <a:pt x="904792" y="6116533"/>
                </a:lnTo>
                <a:lnTo>
                  <a:pt x="0" y="6116533"/>
                </a:lnTo>
                <a:close/>
                <a:moveTo>
                  <a:pt x="8393513" y="5807701"/>
                </a:moveTo>
                <a:lnTo>
                  <a:pt x="8435743" y="5811170"/>
                </a:lnTo>
                <a:lnTo>
                  <a:pt x="8468426" y="5824185"/>
                </a:lnTo>
                <a:lnTo>
                  <a:pt x="8489527" y="5850660"/>
                </a:lnTo>
                <a:lnTo>
                  <a:pt x="8497013" y="5894506"/>
                </a:lnTo>
                <a:lnTo>
                  <a:pt x="8489527" y="5936945"/>
                </a:lnTo>
                <a:lnTo>
                  <a:pt x="8468426" y="5963576"/>
                </a:lnTo>
                <a:lnTo>
                  <a:pt x="8435743" y="5977374"/>
                </a:lnTo>
                <a:lnTo>
                  <a:pt x="8393513" y="5981313"/>
                </a:lnTo>
                <a:lnTo>
                  <a:pt x="8352248" y="5977374"/>
                </a:lnTo>
                <a:lnTo>
                  <a:pt x="8320060" y="5963576"/>
                </a:lnTo>
                <a:lnTo>
                  <a:pt x="8299141" y="5936945"/>
                </a:lnTo>
                <a:lnTo>
                  <a:pt x="8291681" y="5894506"/>
                </a:lnTo>
                <a:lnTo>
                  <a:pt x="8299141" y="5850660"/>
                </a:lnTo>
                <a:lnTo>
                  <a:pt x="8320060" y="5824185"/>
                </a:lnTo>
                <a:lnTo>
                  <a:pt x="8352248" y="5811170"/>
                </a:lnTo>
                <a:close/>
                <a:moveTo>
                  <a:pt x="5162785" y="5807701"/>
                </a:moveTo>
                <a:lnTo>
                  <a:pt x="5205015" y="5811170"/>
                </a:lnTo>
                <a:lnTo>
                  <a:pt x="5237697" y="5824185"/>
                </a:lnTo>
                <a:lnTo>
                  <a:pt x="5258799" y="5850660"/>
                </a:lnTo>
                <a:lnTo>
                  <a:pt x="5266284" y="5894506"/>
                </a:lnTo>
                <a:lnTo>
                  <a:pt x="5258799" y="5936945"/>
                </a:lnTo>
                <a:lnTo>
                  <a:pt x="5237697" y="5963576"/>
                </a:lnTo>
                <a:lnTo>
                  <a:pt x="5205015" y="5977374"/>
                </a:lnTo>
                <a:lnTo>
                  <a:pt x="5162785" y="5981313"/>
                </a:lnTo>
                <a:lnTo>
                  <a:pt x="5121521" y="5977374"/>
                </a:lnTo>
                <a:lnTo>
                  <a:pt x="5089334" y="5963576"/>
                </a:lnTo>
                <a:lnTo>
                  <a:pt x="5068415" y="5936945"/>
                </a:lnTo>
                <a:lnTo>
                  <a:pt x="5060955" y="5894506"/>
                </a:lnTo>
                <a:lnTo>
                  <a:pt x="5068415" y="5850660"/>
                </a:lnTo>
                <a:lnTo>
                  <a:pt x="5089334" y="5824185"/>
                </a:lnTo>
                <a:lnTo>
                  <a:pt x="5121521" y="5811170"/>
                </a:lnTo>
                <a:close/>
                <a:moveTo>
                  <a:pt x="4008189" y="5487184"/>
                </a:moveTo>
                <a:lnTo>
                  <a:pt x="4061259" y="5489060"/>
                </a:lnTo>
                <a:lnTo>
                  <a:pt x="4110380" y="5494637"/>
                </a:lnTo>
                <a:lnTo>
                  <a:pt x="4155685" y="5503832"/>
                </a:lnTo>
                <a:lnTo>
                  <a:pt x="4197307" y="5516564"/>
                </a:lnTo>
                <a:lnTo>
                  <a:pt x="4235378" y="5532752"/>
                </a:lnTo>
                <a:lnTo>
                  <a:pt x="4270031" y="5552313"/>
                </a:lnTo>
                <a:lnTo>
                  <a:pt x="4301398" y="5575168"/>
                </a:lnTo>
                <a:lnTo>
                  <a:pt x="4329613" y="5601234"/>
                </a:lnTo>
                <a:lnTo>
                  <a:pt x="4354810" y="5630430"/>
                </a:lnTo>
                <a:lnTo>
                  <a:pt x="4377118" y="5662675"/>
                </a:lnTo>
                <a:lnTo>
                  <a:pt x="4396671" y="5697887"/>
                </a:lnTo>
                <a:lnTo>
                  <a:pt x="4413603" y="5735985"/>
                </a:lnTo>
                <a:lnTo>
                  <a:pt x="4428046" y="5776887"/>
                </a:lnTo>
                <a:lnTo>
                  <a:pt x="4440133" y="5820513"/>
                </a:lnTo>
                <a:lnTo>
                  <a:pt x="4449996" y="5866781"/>
                </a:lnTo>
                <a:lnTo>
                  <a:pt x="4457768" y="5915609"/>
                </a:lnTo>
                <a:lnTo>
                  <a:pt x="4463582" y="5966915"/>
                </a:lnTo>
                <a:lnTo>
                  <a:pt x="4467570" y="6020620"/>
                </a:lnTo>
                <a:lnTo>
                  <a:pt x="4469866" y="6076640"/>
                </a:lnTo>
                <a:lnTo>
                  <a:pt x="4470602" y="6134896"/>
                </a:lnTo>
                <a:lnTo>
                  <a:pt x="4469902" y="6193401"/>
                </a:lnTo>
                <a:lnTo>
                  <a:pt x="4467705" y="6249671"/>
                </a:lnTo>
                <a:lnTo>
                  <a:pt x="4463869" y="6303621"/>
                </a:lnTo>
                <a:lnTo>
                  <a:pt x="4458248" y="6355171"/>
                </a:lnTo>
                <a:lnTo>
                  <a:pt x="4450700" y="6404236"/>
                </a:lnTo>
                <a:lnTo>
                  <a:pt x="4441079" y="6450735"/>
                </a:lnTo>
                <a:lnTo>
                  <a:pt x="4429242" y="6494584"/>
                </a:lnTo>
                <a:lnTo>
                  <a:pt x="4415045" y="6535702"/>
                </a:lnTo>
                <a:lnTo>
                  <a:pt x="4398345" y="6574005"/>
                </a:lnTo>
                <a:lnTo>
                  <a:pt x="4378996" y="6609411"/>
                </a:lnTo>
                <a:lnTo>
                  <a:pt x="4356855" y="6641837"/>
                </a:lnTo>
                <a:lnTo>
                  <a:pt x="4331777" y="6671200"/>
                </a:lnTo>
                <a:lnTo>
                  <a:pt x="4303620" y="6697419"/>
                </a:lnTo>
                <a:lnTo>
                  <a:pt x="4272239" y="6720409"/>
                </a:lnTo>
                <a:lnTo>
                  <a:pt x="4237491" y="6740090"/>
                </a:lnTo>
                <a:lnTo>
                  <a:pt x="4199230" y="6756377"/>
                </a:lnTo>
                <a:lnTo>
                  <a:pt x="4157313" y="6769189"/>
                </a:lnTo>
                <a:lnTo>
                  <a:pt x="4111597" y="6778443"/>
                </a:lnTo>
                <a:lnTo>
                  <a:pt x="4061937" y="6784056"/>
                </a:lnTo>
                <a:lnTo>
                  <a:pt x="4008189" y="6785945"/>
                </a:lnTo>
                <a:lnTo>
                  <a:pt x="4008189" y="6689123"/>
                </a:lnTo>
                <a:lnTo>
                  <a:pt x="4057874" y="6686890"/>
                </a:lnTo>
                <a:lnTo>
                  <a:pt x="4102795" y="6680269"/>
                </a:lnTo>
                <a:lnTo>
                  <a:pt x="4143177" y="6669380"/>
                </a:lnTo>
                <a:lnTo>
                  <a:pt x="4179248" y="6654340"/>
                </a:lnTo>
                <a:lnTo>
                  <a:pt x="4239359" y="6612280"/>
                </a:lnTo>
                <a:lnTo>
                  <a:pt x="4284939" y="6555036"/>
                </a:lnTo>
                <a:lnTo>
                  <a:pt x="4302844" y="6521015"/>
                </a:lnTo>
                <a:lnTo>
                  <a:pt x="4317796" y="6483554"/>
                </a:lnTo>
                <a:lnTo>
                  <a:pt x="4330020" y="6442769"/>
                </a:lnTo>
                <a:lnTo>
                  <a:pt x="4339743" y="6398779"/>
                </a:lnTo>
                <a:lnTo>
                  <a:pt x="4347190" y="6351702"/>
                </a:lnTo>
                <a:lnTo>
                  <a:pt x="4352590" y="6301658"/>
                </a:lnTo>
                <a:lnTo>
                  <a:pt x="4356166" y="6248763"/>
                </a:lnTo>
                <a:lnTo>
                  <a:pt x="4358145" y="6193136"/>
                </a:lnTo>
                <a:lnTo>
                  <a:pt x="4358755" y="6134896"/>
                </a:lnTo>
                <a:lnTo>
                  <a:pt x="4358113" y="6077227"/>
                </a:lnTo>
                <a:lnTo>
                  <a:pt x="4356043" y="6022138"/>
                </a:lnTo>
                <a:lnTo>
                  <a:pt x="4352333" y="5969745"/>
                </a:lnTo>
                <a:lnTo>
                  <a:pt x="4346766" y="5920169"/>
                </a:lnTo>
                <a:lnTo>
                  <a:pt x="4339131" y="5873525"/>
                </a:lnTo>
                <a:lnTo>
                  <a:pt x="4329213" y="5829933"/>
                </a:lnTo>
                <a:lnTo>
                  <a:pt x="4316797" y="5789512"/>
                </a:lnTo>
                <a:lnTo>
                  <a:pt x="4301670" y="5752380"/>
                </a:lnTo>
                <a:lnTo>
                  <a:pt x="4283617" y="5718654"/>
                </a:lnTo>
                <a:lnTo>
                  <a:pt x="4237879" y="5661895"/>
                </a:lnTo>
                <a:lnTo>
                  <a:pt x="4177870" y="5620182"/>
                </a:lnTo>
                <a:lnTo>
                  <a:pt x="4141978" y="5605263"/>
                </a:lnTo>
                <a:lnTo>
                  <a:pt x="4101877" y="5594460"/>
                </a:lnTo>
                <a:lnTo>
                  <a:pt x="4057352" y="5587892"/>
                </a:lnTo>
                <a:lnTo>
                  <a:pt x="4008189" y="5585676"/>
                </a:lnTo>
                <a:close/>
                <a:moveTo>
                  <a:pt x="3491267" y="5487184"/>
                </a:moveTo>
                <a:lnTo>
                  <a:pt x="3491267" y="5585676"/>
                </a:lnTo>
                <a:lnTo>
                  <a:pt x="3442381" y="5587892"/>
                </a:lnTo>
                <a:lnTo>
                  <a:pt x="3398103" y="5594460"/>
                </a:lnTo>
                <a:lnTo>
                  <a:pt x="3358217" y="5605263"/>
                </a:lnTo>
                <a:lnTo>
                  <a:pt x="3322510" y="5620182"/>
                </a:lnTo>
                <a:lnTo>
                  <a:pt x="3262795" y="5661895"/>
                </a:lnTo>
                <a:lnTo>
                  <a:pt x="3217261" y="5718654"/>
                </a:lnTo>
                <a:lnTo>
                  <a:pt x="3199282" y="5752380"/>
                </a:lnTo>
                <a:lnTo>
                  <a:pt x="3184213" y="5789512"/>
                </a:lnTo>
                <a:lnTo>
                  <a:pt x="3171840" y="5829933"/>
                </a:lnTo>
                <a:lnTo>
                  <a:pt x="3161952" y="5873525"/>
                </a:lnTo>
                <a:lnTo>
                  <a:pt x="3154338" y="5920169"/>
                </a:lnTo>
                <a:lnTo>
                  <a:pt x="3148785" y="5969745"/>
                </a:lnTo>
                <a:lnTo>
                  <a:pt x="3145081" y="6022138"/>
                </a:lnTo>
                <a:lnTo>
                  <a:pt x="3143014" y="6077227"/>
                </a:lnTo>
                <a:lnTo>
                  <a:pt x="3142372" y="6134896"/>
                </a:lnTo>
                <a:lnTo>
                  <a:pt x="3142997" y="6193136"/>
                </a:lnTo>
                <a:lnTo>
                  <a:pt x="3145020" y="6248763"/>
                </a:lnTo>
                <a:lnTo>
                  <a:pt x="3148657" y="6301658"/>
                </a:lnTo>
                <a:lnTo>
                  <a:pt x="3154126" y="6351702"/>
                </a:lnTo>
                <a:lnTo>
                  <a:pt x="3161647" y="6398779"/>
                </a:lnTo>
                <a:lnTo>
                  <a:pt x="3171437" y="6442769"/>
                </a:lnTo>
                <a:lnTo>
                  <a:pt x="3183713" y="6483554"/>
                </a:lnTo>
                <a:lnTo>
                  <a:pt x="3198695" y="6521015"/>
                </a:lnTo>
                <a:lnTo>
                  <a:pt x="3216602" y="6555036"/>
                </a:lnTo>
                <a:lnTo>
                  <a:pt x="3262055" y="6612280"/>
                </a:lnTo>
                <a:lnTo>
                  <a:pt x="3321821" y="6654340"/>
                </a:lnTo>
                <a:lnTo>
                  <a:pt x="3357617" y="6669380"/>
                </a:lnTo>
                <a:lnTo>
                  <a:pt x="3397644" y="6680269"/>
                </a:lnTo>
                <a:lnTo>
                  <a:pt x="3442120" y="6686890"/>
                </a:lnTo>
                <a:lnTo>
                  <a:pt x="3491267" y="6689123"/>
                </a:lnTo>
                <a:lnTo>
                  <a:pt x="3491267" y="6785945"/>
                </a:lnTo>
                <a:lnTo>
                  <a:pt x="3437744" y="6784056"/>
                </a:lnTo>
                <a:lnTo>
                  <a:pt x="3388267" y="6778443"/>
                </a:lnTo>
                <a:lnTo>
                  <a:pt x="3342687" y="6769189"/>
                </a:lnTo>
                <a:lnTo>
                  <a:pt x="3300868" y="6756377"/>
                </a:lnTo>
                <a:lnTo>
                  <a:pt x="3262672" y="6740090"/>
                </a:lnTo>
                <a:lnTo>
                  <a:pt x="3227954" y="6720409"/>
                </a:lnTo>
                <a:lnTo>
                  <a:pt x="3196577" y="6697419"/>
                </a:lnTo>
                <a:lnTo>
                  <a:pt x="3168401" y="6671200"/>
                </a:lnTo>
                <a:lnTo>
                  <a:pt x="3143286" y="6641837"/>
                </a:lnTo>
                <a:lnTo>
                  <a:pt x="3121088" y="6609411"/>
                </a:lnTo>
                <a:lnTo>
                  <a:pt x="3101671" y="6574005"/>
                </a:lnTo>
                <a:lnTo>
                  <a:pt x="3084893" y="6535702"/>
                </a:lnTo>
                <a:lnTo>
                  <a:pt x="3070614" y="6494584"/>
                </a:lnTo>
                <a:lnTo>
                  <a:pt x="3058694" y="6450735"/>
                </a:lnTo>
                <a:lnTo>
                  <a:pt x="3048993" y="6404236"/>
                </a:lnTo>
                <a:lnTo>
                  <a:pt x="3041370" y="6355171"/>
                </a:lnTo>
                <a:lnTo>
                  <a:pt x="3035685" y="6303621"/>
                </a:lnTo>
                <a:lnTo>
                  <a:pt x="3031798" y="6249671"/>
                </a:lnTo>
                <a:lnTo>
                  <a:pt x="3029568" y="6193401"/>
                </a:lnTo>
                <a:lnTo>
                  <a:pt x="3028857" y="6134896"/>
                </a:lnTo>
                <a:lnTo>
                  <a:pt x="3029592" y="6076640"/>
                </a:lnTo>
                <a:lnTo>
                  <a:pt x="3031888" y="6020620"/>
                </a:lnTo>
                <a:lnTo>
                  <a:pt x="3035877" y="5966915"/>
                </a:lnTo>
                <a:lnTo>
                  <a:pt x="3041690" y="5915609"/>
                </a:lnTo>
                <a:lnTo>
                  <a:pt x="3049463" y="5866781"/>
                </a:lnTo>
                <a:lnTo>
                  <a:pt x="3059326" y="5820513"/>
                </a:lnTo>
                <a:lnTo>
                  <a:pt x="3071412" y="5776887"/>
                </a:lnTo>
                <a:lnTo>
                  <a:pt x="3085855" y="5735985"/>
                </a:lnTo>
                <a:lnTo>
                  <a:pt x="3102787" y="5697887"/>
                </a:lnTo>
                <a:lnTo>
                  <a:pt x="3122341" y="5662675"/>
                </a:lnTo>
                <a:lnTo>
                  <a:pt x="3144649" y="5630430"/>
                </a:lnTo>
                <a:lnTo>
                  <a:pt x="3169844" y="5601234"/>
                </a:lnTo>
                <a:lnTo>
                  <a:pt x="3198060" y="5575168"/>
                </a:lnTo>
                <a:lnTo>
                  <a:pt x="3229427" y="5552313"/>
                </a:lnTo>
                <a:lnTo>
                  <a:pt x="3264079" y="5532752"/>
                </a:lnTo>
                <a:lnTo>
                  <a:pt x="3302151" y="5516564"/>
                </a:lnTo>
                <a:lnTo>
                  <a:pt x="3343773" y="5503832"/>
                </a:lnTo>
                <a:lnTo>
                  <a:pt x="3389078" y="5494637"/>
                </a:lnTo>
                <a:lnTo>
                  <a:pt x="3438196" y="5489060"/>
                </a:lnTo>
                <a:close/>
                <a:moveTo>
                  <a:pt x="5569411" y="5006403"/>
                </a:moveTo>
                <a:lnTo>
                  <a:pt x="5611640" y="5010081"/>
                </a:lnTo>
                <a:lnTo>
                  <a:pt x="5644323" y="5023305"/>
                </a:lnTo>
                <a:lnTo>
                  <a:pt x="5665424" y="5049363"/>
                </a:lnTo>
                <a:lnTo>
                  <a:pt x="5672910" y="5091541"/>
                </a:lnTo>
                <a:lnTo>
                  <a:pt x="5665424" y="5135648"/>
                </a:lnTo>
                <a:lnTo>
                  <a:pt x="5644323" y="5162697"/>
                </a:lnTo>
                <a:lnTo>
                  <a:pt x="5611640" y="5176287"/>
                </a:lnTo>
                <a:lnTo>
                  <a:pt x="5569411" y="5180017"/>
                </a:lnTo>
                <a:lnTo>
                  <a:pt x="5527181" y="5176287"/>
                </a:lnTo>
                <a:lnTo>
                  <a:pt x="5494498" y="5162697"/>
                </a:lnTo>
                <a:lnTo>
                  <a:pt x="5473397" y="5135648"/>
                </a:lnTo>
                <a:lnTo>
                  <a:pt x="5465911" y="5091541"/>
                </a:lnTo>
                <a:lnTo>
                  <a:pt x="5473631" y="5049363"/>
                </a:lnTo>
                <a:lnTo>
                  <a:pt x="5495125" y="5023305"/>
                </a:lnTo>
                <a:lnTo>
                  <a:pt x="5527886" y="5010081"/>
                </a:lnTo>
                <a:close/>
                <a:moveTo>
                  <a:pt x="4804116" y="5006403"/>
                </a:moveTo>
                <a:lnTo>
                  <a:pt x="4846346" y="5010081"/>
                </a:lnTo>
                <a:lnTo>
                  <a:pt x="4879028" y="5023305"/>
                </a:lnTo>
                <a:lnTo>
                  <a:pt x="4900130" y="5049363"/>
                </a:lnTo>
                <a:lnTo>
                  <a:pt x="4907615" y="5091541"/>
                </a:lnTo>
                <a:lnTo>
                  <a:pt x="4900130" y="5135648"/>
                </a:lnTo>
                <a:lnTo>
                  <a:pt x="4879028" y="5162697"/>
                </a:lnTo>
                <a:lnTo>
                  <a:pt x="4846346" y="5176287"/>
                </a:lnTo>
                <a:lnTo>
                  <a:pt x="4804116" y="5180017"/>
                </a:lnTo>
                <a:lnTo>
                  <a:pt x="4761886" y="5176287"/>
                </a:lnTo>
                <a:lnTo>
                  <a:pt x="4729203" y="5162697"/>
                </a:lnTo>
                <a:lnTo>
                  <a:pt x="4708102" y="5135648"/>
                </a:lnTo>
                <a:lnTo>
                  <a:pt x="4700616" y="5091541"/>
                </a:lnTo>
                <a:lnTo>
                  <a:pt x="4708336" y="5049363"/>
                </a:lnTo>
                <a:lnTo>
                  <a:pt x="4729830" y="5023305"/>
                </a:lnTo>
                <a:lnTo>
                  <a:pt x="4762591" y="5010081"/>
                </a:lnTo>
                <a:close/>
                <a:moveTo>
                  <a:pt x="2787004" y="4856173"/>
                </a:moveTo>
                <a:lnTo>
                  <a:pt x="3691793" y="4856173"/>
                </a:lnTo>
                <a:lnTo>
                  <a:pt x="3691793" y="4963011"/>
                </a:lnTo>
                <a:lnTo>
                  <a:pt x="2787004" y="4963011"/>
                </a:lnTo>
                <a:close/>
                <a:moveTo>
                  <a:pt x="1275095" y="4856173"/>
                </a:moveTo>
                <a:lnTo>
                  <a:pt x="2179887" y="4856173"/>
                </a:lnTo>
                <a:lnTo>
                  <a:pt x="2179887" y="4963011"/>
                </a:lnTo>
                <a:lnTo>
                  <a:pt x="1275095" y="4963011"/>
                </a:lnTo>
                <a:close/>
                <a:moveTo>
                  <a:pt x="2787004" y="4507276"/>
                </a:moveTo>
                <a:lnTo>
                  <a:pt x="3691793" y="4507276"/>
                </a:lnTo>
                <a:lnTo>
                  <a:pt x="3691793" y="4614114"/>
                </a:lnTo>
                <a:lnTo>
                  <a:pt x="2787004" y="4614114"/>
                </a:lnTo>
                <a:close/>
                <a:moveTo>
                  <a:pt x="1275095" y="4507276"/>
                </a:moveTo>
                <a:lnTo>
                  <a:pt x="2179887" y="4507276"/>
                </a:lnTo>
                <a:lnTo>
                  <a:pt x="2179887" y="4614114"/>
                </a:lnTo>
                <a:lnTo>
                  <a:pt x="1275095" y="4614114"/>
                </a:lnTo>
                <a:close/>
                <a:moveTo>
                  <a:pt x="5569411" y="4305272"/>
                </a:moveTo>
                <a:lnTo>
                  <a:pt x="5611640" y="4308741"/>
                </a:lnTo>
                <a:lnTo>
                  <a:pt x="5644323" y="4321757"/>
                </a:lnTo>
                <a:lnTo>
                  <a:pt x="5665424" y="4348232"/>
                </a:lnTo>
                <a:lnTo>
                  <a:pt x="5672910" y="4392078"/>
                </a:lnTo>
                <a:lnTo>
                  <a:pt x="5665424" y="4434517"/>
                </a:lnTo>
                <a:lnTo>
                  <a:pt x="5644323" y="4461148"/>
                </a:lnTo>
                <a:lnTo>
                  <a:pt x="5611640" y="4474946"/>
                </a:lnTo>
                <a:lnTo>
                  <a:pt x="5569411" y="4478885"/>
                </a:lnTo>
                <a:lnTo>
                  <a:pt x="5528147" y="4474946"/>
                </a:lnTo>
                <a:lnTo>
                  <a:pt x="5495959" y="4461148"/>
                </a:lnTo>
                <a:lnTo>
                  <a:pt x="5475040" y="4434517"/>
                </a:lnTo>
                <a:lnTo>
                  <a:pt x="5467580" y="4392078"/>
                </a:lnTo>
                <a:lnTo>
                  <a:pt x="5475040" y="4348232"/>
                </a:lnTo>
                <a:lnTo>
                  <a:pt x="5495959" y="4321757"/>
                </a:lnTo>
                <a:lnTo>
                  <a:pt x="5528147" y="4308741"/>
                </a:lnTo>
                <a:close/>
                <a:moveTo>
                  <a:pt x="4804116" y="4305272"/>
                </a:moveTo>
                <a:lnTo>
                  <a:pt x="4846346" y="4308741"/>
                </a:lnTo>
                <a:lnTo>
                  <a:pt x="4879028" y="4321757"/>
                </a:lnTo>
                <a:lnTo>
                  <a:pt x="4900130" y="4348232"/>
                </a:lnTo>
                <a:lnTo>
                  <a:pt x="4907615" y="4392078"/>
                </a:lnTo>
                <a:lnTo>
                  <a:pt x="4900130" y="4434517"/>
                </a:lnTo>
                <a:lnTo>
                  <a:pt x="4879028" y="4461148"/>
                </a:lnTo>
                <a:lnTo>
                  <a:pt x="4846346" y="4474946"/>
                </a:lnTo>
                <a:lnTo>
                  <a:pt x="4804116" y="4478885"/>
                </a:lnTo>
                <a:lnTo>
                  <a:pt x="4762852" y="4474946"/>
                </a:lnTo>
                <a:lnTo>
                  <a:pt x="4730664" y="4461148"/>
                </a:lnTo>
                <a:lnTo>
                  <a:pt x="4709745" y="4434517"/>
                </a:lnTo>
                <a:lnTo>
                  <a:pt x="4702285" y="4392078"/>
                </a:lnTo>
                <a:lnTo>
                  <a:pt x="4709745" y="4348232"/>
                </a:lnTo>
                <a:lnTo>
                  <a:pt x="4730664" y="4321757"/>
                </a:lnTo>
                <a:lnTo>
                  <a:pt x="4762852" y="4308741"/>
                </a:lnTo>
                <a:close/>
                <a:moveTo>
                  <a:pt x="7712987" y="3503986"/>
                </a:moveTo>
                <a:lnTo>
                  <a:pt x="7763122" y="3509568"/>
                </a:lnTo>
                <a:lnTo>
                  <a:pt x="7795147" y="3526208"/>
                </a:lnTo>
                <a:lnTo>
                  <a:pt x="7811787" y="3553746"/>
                </a:lnTo>
                <a:lnTo>
                  <a:pt x="7815767" y="3592021"/>
                </a:lnTo>
                <a:lnTo>
                  <a:pt x="7809810" y="3640873"/>
                </a:lnTo>
                <a:lnTo>
                  <a:pt x="7763068" y="3887939"/>
                </a:lnTo>
                <a:lnTo>
                  <a:pt x="7682939" y="3887939"/>
                </a:lnTo>
                <a:lnTo>
                  <a:pt x="7709648" y="3677600"/>
                </a:lnTo>
                <a:lnTo>
                  <a:pt x="7668644" y="3673635"/>
                </a:lnTo>
                <a:lnTo>
                  <a:pt x="7637031" y="3659654"/>
                </a:lnTo>
                <a:lnTo>
                  <a:pt x="7616686" y="3632527"/>
                </a:lnTo>
                <a:lnTo>
                  <a:pt x="7609487" y="3589124"/>
                </a:lnTo>
                <a:lnTo>
                  <a:pt x="7617207" y="3546946"/>
                </a:lnTo>
                <a:lnTo>
                  <a:pt x="7638700" y="3520888"/>
                </a:lnTo>
                <a:lnTo>
                  <a:pt x="7671461" y="3507664"/>
                </a:lnTo>
                <a:close/>
                <a:moveTo>
                  <a:pt x="4062097" y="3353744"/>
                </a:moveTo>
                <a:lnTo>
                  <a:pt x="4966889" y="3353744"/>
                </a:lnTo>
                <a:lnTo>
                  <a:pt x="4966889" y="3460582"/>
                </a:lnTo>
                <a:lnTo>
                  <a:pt x="4062097" y="3460582"/>
                </a:lnTo>
                <a:close/>
                <a:moveTo>
                  <a:pt x="2550201" y="3353744"/>
                </a:moveTo>
                <a:lnTo>
                  <a:pt x="3454992" y="3353744"/>
                </a:lnTo>
                <a:lnTo>
                  <a:pt x="3454992" y="3460582"/>
                </a:lnTo>
                <a:lnTo>
                  <a:pt x="2550201" y="3460582"/>
                </a:lnTo>
                <a:close/>
                <a:moveTo>
                  <a:pt x="4062097" y="3004848"/>
                </a:moveTo>
                <a:lnTo>
                  <a:pt x="4966889" y="3004848"/>
                </a:lnTo>
                <a:lnTo>
                  <a:pt x="4966889" y="3111686"/>
                </a:lnTo>
                <a:lnTo>
                  <a:pt x="4062097" y="3111686"/>
                </a:lnTo>
                <a:close/>
                <a:moveTo>
                  <a:pt x="2550201" y="3004848"/>
                </a:moveTo>
                <a:lnTo>
                  <a:pt x="3454992" y="3004848"/>
                </a:lnTo>
                <a:lnTo>
                  <a:pt x="3454992" y="3111686"/>
                </a:lnTo>
                <a:lnTo>
                  <a:pt x="2550201" y="3111686"/>
                </a:lnTo>
                <a:close/>
                <a:moveTo>
                  <a:pt x="7712987" y="2802855"/>
                </a:moveTo>
                <a:lnTo>
                  <a:pt x="7755217" y="2806324"/>
                </a:lnTo>
                <a:lnTo>
                  <a:pt x="7787900" y="2819339"/>
                </a:lnTo>
                <a:lnTo>
                  <a:pt x="7809002" y="2845814"/>
                </a:lnTo>
                <a:lnTo>
                  <a:pt x="7816489" y="2889661"/>
                </a:lnTo>
                <a:lnTo>
                  <a:pt x="7809002" y="2932099"/>
                </a:lnTo>
                <a:lnTo>
                  <a:pt x="7787900" y="2958731"/>
                </a:lnTo>
                <a:lnTo>
                  <a:pt x="7755217" y="2972529"/>
                </a:lnTo>
                <a:lnTo>
                  <a:pt x="7712987" y="2976468"/>
                </a:lnTo>
                <a:lnTo>
                  <a:pt x="7671722" y="2972529"/>
                </a:lnTo>
                <a:lnTo>
                  <a:pt x="7639535" y="2958731"/>
                </a:lnTo>
                <a:lnTo>
                  <a:pt x="7618615" y="2932099"/>
                </a:lnTo>
                <a:lnTo>
                  <a:pt x="7611156" y="2889661"/>
                </a:lnTo>
                <a:lnTo>
                  <a:pt x="7618615" y="2845814"/>
                </a:lnTo>
                <a:lnTo>
                  <a:pt x="7639535" y="2819339"/>
                </a:lnTo>
                <a:lnTo>
                  <a:pt x="7671722" y="2806324"/>
                </a:lnTo>
                <a:close/>
                <a:moveTo>
                  <a:pt x="6558381" y="2482346"/>
                </a:moveTo>
                <a:lnTo>
                  <a:pt x="6611451" y="2484222"/>
                </a:lnTo>
                <a:lnTo>
                  <a:pt x="6660572" y="2489799"/>
                </a:lnTo>
                <a:lnTo>
                  <a:pt x="6705877" y="2498994"/>
                </a:lnTo>
                <a:lnTo>
                  <a:pt x="6747499" y="2511726"/>
                </a:lnTo>
                <a:lnTo>
                  <a:pt x="6785570" y="2527914"/>
                </a:lnTo>
                <a:lnTo>
                  <a:pt x="6820223" y="2547475"/>
                </a:lnTo>
                <a:lnTo>
                  <a:pt x="6851590" y="2570330"/>
                </a:lnTo>
                <a:lnTo>
                  <a:pt x="6879805" y="2596396"/>
                </a:lnTo>
                <a:lnTo>
                  <a:pt x="6905001" y="2625592"/>
                </a:lnTo>
                <a:lnTo>
                  <a:pt x="6927309" y="2657837"/>
                </a:lnTo>
                <a:lnTo>
                  <a:pt x="6946862" y="2693049"/>
                </a:lnTo>
                <a:lnTo>
                  <a:pt x="6963794" y="2731147"/>
                </a:lnTo>
                <a:lnTo>
                  <a:pt x="6978237" y="2772049"/>
                </a:lnTo>
                <a:lnTo>
                  <a:pt x="6990324" y="2815675"/>
                </a:lnTo>
                <a:lnTo>
                  <a:pt x="7000187" y="2861942"/>
                </a:lnTo>
                <a:lnTo>
                  <a:pt x="7007959" y="2910770"/>
                </a:lnTo>
                <a:lnTo>
                  <a:pt x="7013773" y="2962076"/>
                </a:lnTo>
                <a:lnTo>
                  <a:pt x="7017761" y="3015781"/>
                </a:lnTo>
                <a:lnTo>
                  <a:pt x="7020057" y="3071801"/>
                </a:lnTo>
                <a:lnTo>
                  <a:pt x="7020793" y="3130057"/>
                </a:lnTo>
                <a:lnTo>
                  <a:pt x="7020093" y="3188562"/>
                </a:lnTo>
                <a:lnTo>
                  <a:pt x="7017896" y="3244832"/>
                </a:lnTo>
                <a:lnTo>
                  <a:pt x="7014060" y="3298782"/>
                </a:lnTo>
                <a:lnTo>
                  <a:pt x="7008439" y="3350332"/>
                </a:lnTo>
                <a:lnTo>
                  <a:pt x="7000891" y="3399397"/>
                </a:lnTo>
                <a:lnTo>
                  <a:pt x="6991270" y="3445896"/>
                </a:lnTo>
                <a:lnTo>
                  <a:pt x="6979433" y="3489745"/>
                </a:lnTo>
                <a:lnTo>
                  <a:pt x="6965236" y="3530863"/>
                </a:lnTo>
                <a:lnTo>
                  <a:pt x="6948536" y="3569166"/>
                </a:lnTo>
                <a:lnTo>
                  <a:pt x="6929187" y="3604572"/>
                </a:lnTo>
                <a:lnTo>
                  <a:pt x="6907046" y="3636998"/>
                </a:lnTo>
                <a:lnTo>
                  <a:pt x="6881969" y="3666361"/>
                </a:lnTo>
                <a:lnTo>
                  <a:pt x="6853812" y="3692580"/>
                </a:lnTo>
                <a:lnTo>
                  <a:pt x="6822431" y="3715570"/>
                </a:lnTo>
                <a:lnTo>
                  <a:pt x="6787683" y="3735251"/>
                </a:lnTo>
                <a:lnTo>
                  <a:pt x="6749422" y="3751538"/>
                </a:lnTo>
                <a:lnTo>
                  <a:pt x="6707505" y="3764350"/>
                </a:lnTo>
                <a:lnTo>
                  <a:pt x="6661789" y="3773604"/>
                </a:lnTo>
                <a:lnTo>
                  <a:pt x="6612129" y="3779217"/>
                </a:lnTo>
                <a:lnTo>
                  <a:pt x="6558381" y="3781106"/>
                </a:lnTo>
                <a:lnTo>
                  <a:pt x="6558381" y="3684284"/>
                </a:lnTo>
                <a:lnTo>
                  <a:pt x="6608066" y="3682051"/>
                </a:lnTo>
                <a:lnTo>
                  <a:pt x="6652986" y="3675430"/>
                </a:lnTo>
                <a:lnTo>
                  <a:pt x="6693369" y="3664541"/>
                </a:lnTo>
                <a:lnTo>
                  <a:pt x="6729440" y="3649501"/>
                </a:lnTo>
                <a:lnTo>
                  <a:pt x="6789551" y="3607441"/>
                </a:lnTo>
                <a:lnTo>
                  <a:pt x="6835130" y="3550197"/>
                </a:lnTo>
                <a:lnTo>
                  <a:pt x="6853036" y="3516176"/>
                </a:lnTo>
                <a:lnTo>
                  <a:pt x="6867988" y="3478715"/>
                </a:lnTo>
                <a:lnTo>
                  <a:pt x="6880212" y="3437930"/>
                </a:lnTo>
                <a:lnTo>
                  <a:pt x="6889935" y="3393940"/>
                </a:lnTo>
                <a:lnTo>
                  <a:pt x="6897382" y="3346863"/>
                </a:lnTo>
                <a:lnTo>
                  <a:pt x="6902781" y="3296819"/>
                </a:lnTo>
                <a:lnTo>
                  <a:pt x="6906357" y="3243924"/>
                </a:lnTo>
                <a:lnTo>
                  <a:pt x="6908336" y="3188297"/>
                </a:lnTo>
                <a:lnTo>
                  <a:pt x="6908946" y="3130057"/>
                </a:lnTo>
                <a:lnTo>
                  <a:pt x="6908304" y="3072388"/>
                </a:lnTo>
                <a:lnTo>
                  <a:pt x="6906234" y="3017299"/>
                </a:lnTo>
                <a:lnTo>
                  <a:pt x="6902524" y="2964906"/>
                </a:lnTo>
                <a:lnTo>
                  <a:pt x="6896958" y="2915330"/>
                </a:lnTo>
                <a:lnTo>
                  <a:pt x="6889323" y="2868686"/>
                </a:lnTo>
                <a:lnTo>
                  <a:pt x="6879405" y="2825095"/>
                </a:lnTo>
                <a:lnTo>
                  <a:pt x="6866989" y="2784674"/>
                </a:lnTo>
                <a:lnTo>
                  <a:pt x="6851862" y="2747542"/>
                </a:lnTo>
                <a:lnTo>
                  <a:pt x="6833809" y="2713816"/>
                </a:lnTo>
                <a:lnTo>
                  <a:pt x="6788071" y="2657057"/>
                </a:lnTo>
                <a:lnTo>
                  <a:pt x="6728062" y="2615344"/>
                </a:lnTo>
                <a:lnTo>
                  <a:pt x="6692170" y="2600425"/>
                </a:lnTo>
                <a:lnTo>
                  <a:pt x="6652069" y="2589622"/>
                </a:lnTo>
                <a:lnTo>
                  <a:pt x="6607544" y="2583054"/>
                </a:lnTo>
                <a:lnTo>
                  <a:pt x="6558381" y="2580838"/>
                </a:lnTo>
                <a:close/>
                <a:moveTo>
                  <a:pt x="6041510" y="2482346"/>
                </a:moveTo>
                <a:lnTo>
                  <a:pt x="6041510" y="2580838"/>
                </a:lnTo>
                <a:lnTo>
                  <a:pt x="5992624" y="2583054"/>
                </a:lnTo>
                <a:lnTo>
                  <a:pt x="5948343" y="2589622"/>
                </a:lnTo>
                <a:lnTo>
                  <a:pt x="5908457" y="2600425"/>
                </a:lnTo>
                <a:lnTo>
                  <a:pt x="5872751" y="2615344"/>
                </a:lnTo>
                <a:lnTo>
                  <a:pt x="5813036" y="2657057"/>
                </a:lnTo>
                <a:lnTo>
                  <a:pt x="5767502" y="2713816"/>
                </a:lnTo>
                <a:lnTo>
                  <a:pt x="5749523" y="2747542"/>
                </a:lnTo>
                <a:lnTo>
                  <a:pt x="5734453" y="2784674"/>
                </a:lnTo>
                <a:lnTo>
                  <a:pt x="5722081" y="2825095"/>
                </a:lnTo>
                <a:lnTo>
                  <a:pt x="5712193" y="2868686"/>
                </a:lnTo>
                <a:lnTo>
                  <a:pt x="5704579" y="2915330"/>
                </a:lnTo>
                <a:lnTo>
                  <a:pt x="5699026" y="2964906"/>
                </a:lnTo>
                <a:lnTo>
                  <a:pt x="5695322" y="3017299"/>
                </a:lnTo>
                <a:lnTo>
                  <a:pt x="5693255" y="3072388"/>
                </a:lnTo>
                <a:lnTo>
                  <a:pt x="5692613" y="3130057"/>
                </a:lnTo>
                <a:lnTo>
                  <a:pt x="5693239" y="3188297"/>
                </a:lnTo>
                <a:lnTo>
                  <a:pt x="5695261" y="3243924"/>
                </a:lnTo>
                <a:lnTo>
                  <a:pt x="5698898" y="3296819"/>
                </a:lnTo>
                <a:lnTo>
                  <a:pt x="5704367" y="3346863"/>
                </a:lnTo>
                <a:lnTo>
                  <a:pt x="5711888" y="3393940"/>
                </a:lnTo>
                <a:lnTo>
                  <a:pt x="5721677" y="3437930"/>
                </a:lnTo>
                <a:lnTo>
                  <a:pt x="5733954" y="3478715"/>
                </a:lnTo>
                <a:lnTo>
                  <a:pt x="5748936" y="3516176"/>
                </a:lnTo>
                <a:lnTo>
                  <a:pt x="5766842" y="3550197"/>
                </a:lnTo>
                <a:lnTo>
                  <a:pt x="5812296" y="3607441"/>
                </a:lnTo>
                <a:lnTo>
                  <a:pt x="5872062" y="3649501"/>
                </a:lnTo>
                <a:lnTo>
                  <a:pt x="5907857" y="3664541"/>
                </a:lnTo>
                <a:lnTo>
                  <a:pt x="5947885" y="3675430"/>
                </a:lnTo>
                <a:lnTo>
                  <a:pt x="5992363" y="3682051"/>
                </a:lnTo>
                <a:lnTo>
                  <a:pt x="6041510" y="3684284"/>
                </a:lnTo>
                <a:lnTo>
                  <a:pt x="6041510" y="3781106"/>
                </a:lnTo>
                <a:lnTo>
                  <a:pt x="5987987" y="3779217"/>
                </a:lnTo>
                <a:lnTo>
                  <a:pt x="5938507" y="3773604"/>
                </a:lnTo>
                <a:lnTo>
                  <a:pt x="5892927" y="3764350"/>
                </a:lnTo>
                <a:lnTo>
                  <a:pt x="5851109" y="3751538"/>
                </a:lnTo>
                <a:lnTo>
                  <a:pt x="5812912" y="3735251"/>
                </a:lnTo>
                <a:lnTo>
                  <a:pt x="5778195" y="3715570"/>
                </a:lnTo>
                <a:lnTo>
                  <a:pt x="5746818" y="3692580"/>
                </a:lnTo>
                <a:lnTo>
                  <a:pt x="5718642" y="3666361"/>
                </a:lnTo>
                <a:lnTo>
                  <a:pt x="5693526" y="3636998"/>
                </a:lnTo>
                <a:lnTo>
                  <a:pt x="5671329" y="3604572"/>
                </a:lnTo>
                <a:lnTo>
                  <a:pt x="5651912" y="3569166"/>
                </a:lnTo>
                <a:lnTo>
                  <a:pt x="5635134" y="3530863"/>
                </a:lnTo>
                <a:lnTo>
                  <a:pt x="5620855" y="3489745"/>
                </a:lnTo>
                <a:lnTo>
                  <a:pt x="5608935" y="3445896"/>
                </a:lnTo>
                <a:lnTo>
                  <a:pt x="5599234" y="3399397"/>
                </a:lnTo>
                <a:lnTo>
                  <a:pt x="5591611" y="3350332"/>
                </a:lnTo>
                <a:lnTo>
                  <a:pt x="5585926" y="3298782"/>
                </a:lnTo>
                <a:lnTo>
                  <a:pt x="5582039" y="3244832"/>
                </a:lnTo>
                <a:lnTo>
                  <a:pt x="5579809" y="3188562"/>
                </a:lnTo>
                <a:lnTo>
                  <a:pt x="5579098" y="3130057"/>
                </a:lnTo>
                <a:lnTo>
                  <a:pt x="5579833" y="3071801"/>
                </a:lnTo>
                <a:lnTo>
                  <a:pt x="5582129" y="3015781"/>
                </a:lnTo>
                <a:lnTo>
                  <a:pt x="5586118" y="2962076"/>
                </a:lnTo>
                <a:lnTo>
                  <a:pt x="5591931" y="2910770"/>
                </a:lnTo>
                <a:lnTo>
                  <a:pt x="5599704" y="2861942"/>
                </a:lnTo>
                <a:lnTo>
                  <a:pt x="5609567" y="2815675"/>
                </a:lnTo>
                <a:lnTo>
                  <a:pt x="5621653" y="2772049"/>
                </a:lnTo>
                <a:lnTo>
                  <a:pt x="5636096" y="2731147"/>
                </a:lnTo>
                <a:lnTo>
                  <a:pt x="5653028" y="2693049"/>
                </a:lnTo>
                <a:lnTo>
                  <a:pt x="5672581" y="2657837"/>
                </a:lnTo>
                <a:lnTo>
                  <a:pt x="5694889" y="2625592"/>
                </a:lnTo>
                <a:lnTo>
                  <a:pt x="5720085" y="2596396"/>
                </a:lnTo>
                <a:lnTo>
                  <a:pt x="5748300" y="2570330"/>
                </a:lnTo>
                <a:lnTo>
                  <a:pt x="5779667" y="2547475"/>
                </a:lnTo>
                <a:lnTo>
                  <a:pt x="5814320" y="2527914"/>
                </a:lnTo>
                <a:lnTo>
                  <a:pt x="5852391" y="2511726"/>
                </a:lnTo>
                <a:lnTo>
                  <a:pt x="5894013" y="2498994"/>
                </a:lnTo>
                <a:lnTo>
                  <a:pt x="5939318" y="2489799"/>
                </a:lnTo>
                <a:lnTo>
                  <a:pt x="5988439" y="2484222"/>
                </a:lnTo>
                <a:close/>
                <a:moveTo>
                  <a:pt x="5337245" y="1851325"/>
                </a:moveTo>
                <a:lnTo>
                  <a:pt x="6242037" y="1851325"/>
                </a:lnTo>
                <a:lnTo>
                  <a:pt x="6242037" y="1958164"/>
                </a:lnTo>
                <a:lnTo>
                  <a:pt x="5337245" y="1958164"/>
                </a:lnTo>
                <a:close/>
                <a:moveTo>
                  <a:pt x="3825296" y="1851325"/>
                </a:moveTo>
                <a:lnTo>
                  <a:pt x="4730088" y="1851325"/>
                </a:lnTo>
                <a:lnTo>
                  <a:pt x="4730088" y="1958164"/>
                </a:lnTo>
                <a:lnTo>
                  <a:pt x="3825296" y="1958164"/>
                </a:lnTo>
                <a:close/>
                <a:moveTo>
                  <a:pt x="6849172" y="1681043"/>
                </a:moveTo>
                <a:lnTo>
                  <a:pt x="7326608" y="1681043"/>
                </a:lnTo>
                <a:lnTo>
                  <a:pt x="7326608" y="1786212"/>
                </a:lnTo>
                <a:lnTo>
                  <a:pt x="6849172" y="1786212"/>
                </a:lnTo>
                <a:close/>
                <a:moveTo>
                  <a:pt x="5337245" y="1502429"/>
                </a:moveTo>
                <a:lnTo>
                  <a:pt x="6242037" y="1502429"/>
                </a:lnTo>
                <a:lnTo>
                  <a:pt x="6242037" y="1609267"/>
                </a:lnTo>
                <a:lnTo>
                  <a:pt x="5337245" y="1609267"/>
                </a:lnTo>
                <a:close/>
                <a:moveTo>
                  <a:pt x="3825296" y="1502429"/>
                </a:moveTo>
                <a:lnTo>
                  <a:pt x="4730088" y="1502429"/>
                </a:lnTo>
                <a:lnTo>
                  <a:pt x="4730088" y="1609267"/>
                </a:lnTo>
                <a:lnTo>
                  <a:pt x="3825296" y="1609267"/>
                </a:lnTo>
                <a:close/>
                <a:moveTo>
                  <a:pt x="7037373" y="348896"/>
                </a:moveTo>
                <a:lnTo>
                  <a:pt x="7942165" y="348896"/>
                </a:lnTo>
                <a:lnTo>
                  <a:pt x="7942165" y="455734"/>
                </a:lnTo>
                <a:lnTo>
                  <a:pt x="7037373" y="455734"/>
                </a:lnTo>
                <a:close/>
                <a:moveTo>
                  <a:pt x="5525404" y="348896"/>
                </a:moveTo>
                <a:lnTo>
                  <a:pt x="6430196" y="348896"/>
                </a:lnTo>
                <a:lnTo>
                  <a:pt x="6430196" y="455734"/>
                </a:lnTo>
                <a:lnTo>
                  <a:pt x="5525404" y="455734"/>
                </a:lnTo>
                <a:close/>
                <a:moveTo>
                  <a:pt x="7037373" y="0"/>
                </a:moveTo>
                <a:lnTo>
                  <a:pt x="7942165" y="0"/>
                </a:lnTo>
                <a:lnTo>
                  <a:pt x="7942165" y="106839"/>
                </a:lnTo>
                <a:lnTo>
                  <a:pt x="7037373" y="106839"/>
                </a:lnTo>
                <a:close/>
                <a:moveTo>
                  <a:pt x="5525404" y="0"/>
                </a:moveTo>
                <a:lnTo>
                  <a:pt x="6430196" y="0"/>
                </a:lnTo>
                <a:lnTo>
                  <a:pt x="6430196" y="106839"/>
                </a:lnTo>
                <a:lnTo>
                  <a:pt x="5525404" y="106839"/>
                </a:lnTo>
                <a:close/>
              </a:path>
            </a:pathLst>
          </a:custGeom>
          <a:solidFill>
            <a:srgbClr val="4D7836"/>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748982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eaker H">
    <p:bg>
      <p:bgRef idx="1001">
        <a:schemeClr val="bg1"/>
      </p:bgRef>
    </p:bg>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dirty="0"/>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dirty="0"/>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7326C215-F3F2-4DB9-8B13-8FADB0ABB2EE}" type="datetime2">
              <a:rPr lang="da-DK" smtClean="0"/>
              <a:t>11. december 2025</a:t>
            </a:fld>
            <a:endParaRPr lang="da-DK" dirty="0"/>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dirty="0"/>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dirty="0"/>
          </a:p>
        </p:txBody>
      </p:sp>
      <p:sp>
        <p:nvSpPr>
          <p:cNvPr id="6" name="Mikro grafik 1">
            <a:extLst>
              <a:ext uri="{FF2B5EF4-FFF2-40B4-BE49-F238E27FC236}">
                <a16:creationId xmlns:a16="http://schemas.microsoft.com/office/drawing/2014/main" id="{6CC62A60-7680-83DC-FF01-8D34130F5DA8}"/>
              </a:ext>
            </a:extLst>
          </p:cNvPr>
          <p:cNvSpPr/>
          <p:nvPr userDrawn="1"/>
        </p:nvSpPr>
        <p:spPr>
          <a:xfrm>
            <a:off x="346105" y="1028469"/>
            <a:ext cx="3864836" cy="3086563"/>
          </a:xfrm>
          <a:custGeom>
            <a:avLst/>
            <a:gdLst>
              <a:gd name="connsiteX0" fmla="*/ 8393513 w 8497013"/>
              <a:gd name="connsiteY0" fmla="*/ 6508832 h 6785945"/>
              <a:gd name="connsiteX1" fmla="*/ 8435743 w 8497013"/>
              <a:gd name="connsiteY1" fmla="*/ 6512510 h 6785945"/>
              <a:gd name="connsiteX2" fmla="*/ 8468426 w 8497013"/>
              <a:gd name="connsiteY2" fmla="*/ 6525734 h 6785945"/>
              <a:gd name="connsiteX3" fmla="*/ 8489527 w 8497013"/>
              <a:gd name="connsiteY3" fmla="*/ 6551791 h 6785945"/>
              <a:gd name="connsiteX4" fmla="*/ 8497013 w 8497013"/>
              <a:gd name="connsiteY4" fmla="*/ 6593969 h 6785945"/>
              <a:gd name="connsiteX5" fmla="*/ 8489527 w 8497013"/>
              <a:gd name="connsiteY5" fmla="*/ 6638076 h 6785945"/>
              <a:gd name="connsiteX6" fmla="*/ 8468426 w 8497013"/>
              <a:gd name="connsiteY6" fmla="*/ 6665125 h 6785945"/>
              <a:gd name="connsiteX7" fmla="*/ 8435743 w 8497013"/>
              <a:gd name="connsiteY7" fmla="*/ 6678715 h 6785945"/>
              <a:gd name="connsiteX8" fmla="*/ 8393513 w 8497013"/>
              <a:gd name="connsiteY8" fmla="*/ 6682444 h 6785945"/>
              <a:gd name="connsiteX9" fmla="*/ 8351283 w 8497013"/>
              <a:gd name="connsiteY9" fmla="*/ 6678715 h 6785945"/>
              <a:gd name="connsiteX10" fmla="*/ 8318600 w 8497013"/>
              <a:gd name="connsiteY10" fmla="*/ 6665125 h 6785945"/>
              <a:gd name="connsiteX11" fmla="*/ 8297498 w 8497013"/>
              <a:gd name="connsiteY11" fmla="*/ 6638076 h 6785945"/>
              <a:gd name="connsiteX12" fmla="*/ 8290013 w 8497013"/>
              <a:gd name="connsiteY12" fmla="*/ 6593969 h 6785945"/>
              <a:gd name="connsiteX13" fmla="*/ 8297733 w 8497013"/>
              <a:gd name="connsiteY13" fmla="*/ 6551791 h 6785945"/>
              <a:gd name="connsiteX14" fmla="*/ 8319226 w 8497013"/>
              <a:gd name="connsiteY14" fmla="*/ 6525734 h 6785945"/>
              <a:gd name="connsiteX15" fmla="*/ 8351987 w 8497013"/>
              <a:gd name="connsiteY15" fmla="*/ 6512510 h 6785945"/>
              <a:gd name="connsiteX16" fmla="*/ 5162785 w 8497013"/>
              <a:gd name="connsiteY16" fmla="*/ 6508832 h 6785945"/>
              <a:gd name="connsiteX17" fmla="*/ 5205015 w 8497013"/>
              <a:gd name="connsiteY17" fmla="*/ 6512510 h 6785945"/>
              <a:gd name="connsiteX18" fmla="*/ 5237697 w 8497013"/>
              <a:gd name="connsiteY18" fmla="*/ 6525734 h 6785945"/>
              <a:gd name="connsiteX19" fmla="*/ 5258799 w 8497013"/>
              <a:gd name="connsiteY19" fmla="*/ 6551791 h 6785945"/>
              <a:gd name="connsiteX20" fmla="*/ 5266284 w 8497013"/>
              <a:gd name="connsiteY20" fmla="*/ 6593969 h 6785945"/>
              <a:gd name="connsiteX21" fmla="*/ 5258799 w 8497013"/>
              <a:gd name="connsiteY21" fmla="*/ 6638076 h 6785945"/>
              <a:gd name="connsiteX22" fmla="*/ 5237697 w 8497013"/>
              <a:gd name="connsiteY22" fmla="*/ 6665125 h 6785945"/>
              <a:gd name="connsiteX23" fmla="*/ 5205015 w 8497013"/>
              <a:gd name="connsiteY23" fmla="*/ 6678715 h 6785945"/>
              <a:gd name="connsiteX24" fmla="*/ 5162785 w 8497013"/>
              <a:gd name="connsiteY24" fmla="*/ 6682444 h 6785945"/>
              <a:gd name="connsiteX25" fmla="*/ 5120555 w 8497013"/>
              <a:gd name="connsiteY25" fmla="*/ 6678715 h 6785945"/>
              <a:gd name="connsiteX26" fmla="*/ 5087872 w 8497013"/>
              <a:gd name="connsiteY26" fmla="*/ 6665125 h 6785945"/>
              <a:gd name="connsiteX27" fmla="*/ 5066771 w 8497013"/>
              <a:gd name="connsiteY27" fmla="*/ 6638076 h 6785945"/>
              <a:gd name="connsiteX28" fmla="*/ 5059285 w 8497013"/>
              <a:gd name="connsiteY28" fmla="*/ 6593969 h 6785945"/>
              <a:gd name="connsiteX29" fmla="*/ 5067005 w 8497013"/>
              <a:gd name="connsiteY29" fmla="*/ 6551791 h 6785945"/>
              <a:gd name="connsiteX30" fmla="*/ 5088499 w 8497013"/>
              <a:gd name="connsiteY30" fmla="*/ 6525734 h 6785945"/>
              <a:gd name="connsiteX31" fmla="*/ 5121260 w 8497013"/>
              <a:gd name="connsiteY31" fmla="*/ 6512510 h 6785945"/>
              <a:gd name="connsiteX32" fmla="*/ 6674635 w 8497013"/>
              <a:gd name="connsiteY32" fmla="*/ 6508827 h 6785945"/>
              <a:gd name="connsiteX33" fmla="*/ 6881636 w 8497013"/>
              <a:gd name="connsiteY33" fmla="*/ 6508827 h 6785945"/>
              <a:gd name="connsiteX34" fmla="*/ 6881636 w 8497013"/>
              <a:gd name="connsiteY34" fmla="*/ 6682440 h 6785945"/>
              <a:gd name="connsiteX35" fmla="*/ 6674635 w 8497013"/>
              <a:gd name="connsiteY35" fmla="*/ 6682440 h 6785945"/>
              <a:gd name="connsiteX36" fmla="*/ 1511898 w 8497013"/>
              <a:gd name="connsiteY36" fmla="*/ 6358592 h 6785945"/>
              <a:gd name="connsiteX37" fmla="*/ 2416689 w 8497013"/>
              <a:gd name="connsiteY37" fmla="*/ 6358592 h 6785945"/>
              <a:gd name="connsiteX38" fmla="*/ 2416689 w 8497013"/>
              <a:gd name="connsiteY38" fmla="*/ 6465429 h 6785945"/>
              <a:gd name="connsiteX39" fmla="*/ 1511898 w 8497013"/>
              <a:gd name="connsiteY39" fmla="*/ 6465429 h 6785945"/>
              <a:gd name="connsiteX40" fmla="*/ 0 w 8497013"/>
              <a:gd name="connsiteY40" fmla="*/ 6358592 h 6785945"/>
              <a:gd name="connsiteX41" fmla="*/ 904792 w 8497013"/>
              <a:gd name="connsiteY41" fmla="*/ 6358592 h 6785945"/>
              <a:gd name="connsiteX42" fmla="*/ 904792 w 8497013"/>
              <a:gd name="connsiteY42" fmla="*/ 6465429 h 6785945"/>
              <a:gd name="connsiteX43" fmla="*/ 0 w 8497013"/>
              <a:gd name="connsiteY43" fmla="*/ 6465429 h 6785945"/>
              <a:gd name="connsiteX44" fmla="*/ 1511898 w 8497013"/>
              <a:gd name="connsiteY44" fmla="*/ 6009695 h 6785945"/>
              <a:gd name="connsiteX45" fmla="*/ 2416689 w 8497013"/>
              <a:gd name="connsiteY45" fmla="*/ 6009695 h 6785945"/>
              <a:gd name="connsiteX46" fmla="*/ 2416689 w 8497013"/>
              <a:gd name="connsiteY46" fmla="*/ 6116533 h 6785945"/>
              <a:gd name="connsiteX47" fmla="*/ 1511898 w 8497013"/>
              <a:gd name="connsiteY47" fmla="*/ 6116533 h 6785945"/>
              <a:gd name="connsiteX48" fmla="*/ 0 w 8497013"/>
              <a:gd name="connsiteY48" fmla="*/ 6009695 h 6785945"/>
              <a:gd name="connsiteX49" fmla="*/ 904792 w 8497013"/>
              <a:gd name="connsiteY49" fmla="*/ 6009695 h 6785945"/>
              <a:gd name="connsiteX50" fmla="*/ 904792 w 8497013"/>
              <a:gd name="connsiteY50" fmla="*/ 6116533 h 6785945"/>
              <a:gd name="connsiteX51" fmla="*/ 0 w 8497013"/>
              <a:gd name="connsiteY51" fmla="*/ 6116533 h 6785945"/>
              <a:gd name="connsiteX52" fmla="*/ 8393513 w 8497013"/>
              <a:gd name="connsiteY52" fmla="*/ 5807701 h 6785945"/>
              <a:gd name="connsiteX53" fmla="*/ 8435743 w 8497013"/>
              <a:gd name="connsiteY53" fmla="*/ 5811170 h 6785945"/>
              <a:gd name="connsiteX54" fmla="*/ 8468426 w 8497013"/>
              <a:gd name="connsiteY54" fmla="*/ 5824185 h 6785945"/>
              <a:gd name="connsiteX55" fmla="*/ 8489527 w 8497013"/>
              <a:gd name="connsiteY55" fmla="*/ 5850660 h 6785945"/>
              <a:gd name="connsiteX56" fmla="*/ 8497013 w 8497013"/>
              <a:gd name="connsiteY56" fmla="*/ 5894506 h 6785945"/>
              <a:gd name="connsiteX57" fmla="*/ 8489527 w 8497013"/>
              <a:gd name="connsiteY57" fmla="*/ 5936945 h 6785945"/>
              <a:gd name="connsiteX58" fmla="*/ 8468426 w 8497013"/>
              <a:gd name="connsiteY58" fmla="*/ 5963576 h 6785945"/>
              <a:gd name="connsiteX59" fmla="*/ 8435743 w 8497013"/>
              <a:gd name="connsiteY59" fmla="*/ 5977374 h 6785945"/>
              <a:gd name="connsiteX60" fmla="*/ 8393513 w 8497013"/>
              <a:gd name="connsiteY60" fmla="*/ 5981313 h 6785945"/>
              <a:gd name="connsiteX61" fmla="*/ 8352248 w 8497013"/>
              <a:gd name="connsiteY61" fmla="*/ 5977374 h 6785945"/>
              <a:gd name="connsiteX62" fmla="*/ 8320060 w 8497013"/>
              <a:gd name="connsiteY62" fmla="*/ 5963576 h 6785945"/>
              <a:gd name="connsiteX63" fmla="*/ 8299141 w 8497013"/>
              <a:gd name="connsiteY63" fmla="*/ 5936945 h 6785945"/>
              <a:gd name="connsiteX64" fmla="*/ 8291681 w 8497013"/>
              <a:gd name="connsiteY64" fmla="*/ 5894506 h 6785945"/>
              <a:gd name="connsiteX65" fmla="*/ 8299141 w 8497013"/>
              <a:gd name="connsiteY65" fmla="*/ 5850660 h 6785945"/>
              <a:gd name="connsiteX66" fmla="*/ 8320060 w 8497013"/>
              <a:gd name="connsiteY66" fmla="*/ 5824185 h 6785945"/>
              <a:gd name="connsiteX67" fmla="*/ 8352248 w 8497013"/>
              <a:gd name="connsiteY67" fmla="*/ 5811170 h 6785945"/>
              <a:gd name="connsiteX68" fmla="*/ 5162785 w 8497013"/>
              <a:gd name="connsiteY68" fmla="*/ 5807701 h 6785945"/>
              <a:gd name="connsiteX69" fmla="*/ 5205015 w 8497013"/>
              <a:gd name="connsiteY69" fmla="*/ 5811170 h 6785945"/>
              <a:gd name="connsiteX70" fmla="*/ 5237697 w 8497013"/>
              <a:gd name="connsiteY70" fmla="*/ 5824185 h 6785945"/>
              <a:gd name="connsiteX71" fmla="*/ 5258799 w 8497013"/>
              <a:gd name="connsiteY71" fmla="*/ 5850660 h 6785945"/>
              <a:gd name="connsiteX72" fmla="*/ 5266284 w 8497013"/>
              <a:gd name="connsiteY72" fmla="*/ 5894506 h 6785945"/>
              <a:gd name="connsiteX73" fmla="*/ 5258799 w 8497013"/>
              <a:gd name="connsiteY73" fmla="*/ 5936945 h 6785945"/>
              <a:gd name="connsiteX74" fmla="*/ 5237697 w 8497013"/>
              <a:gd name="connsiteY74" fmla="*/ 5963576 h 6785945"/>
              <a:gd name="connsiteX75" fmla="*/ 5205015 w 8497013"/>
              <a:gd name="connsiteY75" fmla="*/ 5977374 h 6785945"/>
              <a:gd name="connsiteX76" fmla="*/ 5162785 w 8497013"/>
              <a:gd name="connsiteY76" fmla="*/ 5981313 h 6785945"/>
              <a:gd name="connsiteX77" fmla="*/ 5121521 w 8497013"/>
              <a:gd name="connsiteY77" fmla="*/ 5977374 h 6785945"/>
              <a:gd name="connsiteX78" fmla="*/ 5089334 w 8497013"/>
              <a:gd name="connsiteY78" fmla="*/ 5963576 h 6785945"/>
              <a:gd name="connsiteX79" fmla="*/ 5068415 w 8497013"/>
              <a:gd name="connsiteY79" fmla="*/ 5936945 h 6785945"/>
              <a:gd name="connsiteX80" fmla="*/ 5060955 w 8497013"/>
              <a:gd name="connsiteY80" fmla="*/ 5894506 h 6785945"/>
              <a:gd name="connsiteX81" fmla="*/ 5068415 w 8497013"/>
              <a:gd name="connsiteY81" fmla="*/ 5850660 h 6785945"/>
              <a:gd name="connsiteX82" fmla="*/ 5089334 w 8497013"/>
              <a:gd name="connsiteY82" fmla="*/ 5824185 h 6785945"/>
              <a:gd name="connsiteX83" fmla="*/ 5121521 w 8497013"/>
              <a:gd name="connsiteY83" fmla="*/ 5811170 h 6785945"/>
              <a:gd name="connsiteX84" fmla="*/ 4008189 w 8497013"/>
              <a:gd name="connsiteY84" fmla="*/ 5487184 h 6785945"/>
              <a:gd name="connsiteX85" fmla="*/ 4061259 w 8497013"/>
              <a:gd name="connsiteY85" fmla="*/ 5489060 h 6785945"/>
              <a:gd name="connsiteX86" fmla="*/ 4110380 w 8497013"/>
              <a:gd name="connsiteY86" fmla="*/ 5494637 h 6785945"/>
              <a:gd name="connsiteX87" fmla="*/ 4155685 w 8497013"/>
              <a:gd name="connsiteY87" fmla="*/ 5503832 h 6785945"/>
              <a:gd name="connsiteX88" fmla="*/ 4197307 w 8497013"/>
              <a:gd name="connsiteY88" fmla="*/ 5516564 h 6785945"/>
              <a:gd name="connsiteX89" fmla="*/ 4235378 w 8497013"/>
              <a:gd name="connsiteY89" fmla="*/ 5532752 h 6785945"/>
              <a:gd name="connsiteX90" fmla="*/ 4270031 w 8497013"/>
              <a:gd name="connsiteY90" fmla="*/ 5552313 h 6785945"/>
              <a:gd name="connsiteX91" fmla="*/ 4301398 w 8497013"/>
              <a:gd name="connsiteY91" fmla="*/ 5575168 h 6785945"/>
              <a:gd name="connsiteX92" fmla="*/ 4329613 w 8497013"/>
              <a:gd name="connsiteY92" fmla="*/ 5601234 h 6785945"/>
              <a:gd name="connsiteX93" fmla="*/ 4354810 w 8497013"/>
              <a:gd name="connsiteY93" fmla="*/ 5630430 h 6785945"/>
              <a:gd name="connsiteX94" fmla="*/ 4377118 w 8497013"/>
              <a:gd name="connsiteY94" fmla="*/ 5662675 h 6785945"/>
              <a:gd name="connsiteX95" fmla="*/ 4396671 w 8497013"/>
              <a:gd name="connsiteY95" fmla="*/ 5697887 h 6785945"/>
              <a:gd name="connsiteX96" fmla="*/ 4413603 w 8497013"/>
              <a:gd name="connsiteY96" fmla="*/ 5735985 h 6785945"/>
              <a:gd name="connsiteX97" fmla="*/ 4428046 w 8497013"/>
              <a:gd name="connsiteY97" fmla="*/ 5776887 h 6785945"/>
              <a:gd name="connsiteX98" fmla="*/ 4440133 w 8497013"/>
              <a:gd name="connsiteY98" fmla="*/ 5820513 h 6785945"/>
              <a:gd name="connsiteX99" fmla="*/ 4449996 w 8497013"/>
              <a:gd name="connsiteY99" fmla="*/ 5866781 h 6785945"/>
              <a:gd name="connsiteX100" fmla="*/ 4457768 w 8497013"/>
              <a:gd name="connsiteY100" fmla="*/ 5915609 h 6785945"/>
              <a:gd name="connsiteX101" fmla="*/ 4463582 w 8497013"/>
              <a:gd name="connsiteY101" fmla="*/ 5966915 h 6785945"/>
              <a:gd name="connsiteX102" fmla="*/ 4467570 w 8497013"/>
              <a:gd name="connsiteY102" fmla="*/ 6020620 h 6785945"/>
              <a:gd name="connsiteX103" fmla="*/ 4469866 w 8497013"/>
              <a:gd name="connsiteY103" fmla="*/ 6076640 h 6785945"/>
              <a:gd name="connsiteX104" fmla="*/ 4470602 w 8497013"/>
              <a:gd name="connsiteY104" fmla="*/ 6134896 h 6785945"/>
              <a:gd name="connsiteX105" fmla="*/ 4469902 w 8497013"/>
              <a:gd name="connsiteY105" fmla="*/ 6193401 h 6785945"/>
              <a:gd name="connsiteX106" fmla="*/ 4467705 w 8497013"/>
              <a:gd name="connsiteY106" fmla="*/ 6249671 h 6785945"/>
              <a:gd name="connsiteX107" fmla="*/ 4463869 w 8497013"/>
              <a:gd name="connsiteY107" fmla="*/ 6303621 h 6785945"/>
              <a:gd name="connsiteX108" fmla="*/ 4458248 w 8497013"/>
              <a:gd name="connsiteY108" fmla="*/ 6355171 h 6785945"/>
              <a:gd name="connsiteX109" fmla="*/ 4450700 w 8497013"/>
              <a:gd name="connsiteY109" fmla="*/ 6404236 h 6785945"/>
              <a:gd name="connsiteX110" fmla="*/ 4441079 w 8497013"/>
              <a:gd name="connsiteY110" fmla="*/ 6450735 h 6785945"/>
              <a:gd name="connsiteX111" fmla="*/ 4429242 w 8497013"/>
              <a:gd name="connsiteY111" fmla="*/ 6494584 h 6785945"/>
              <a:gd name="connsiteX112" fmla="*/ 4415045 w 8497013"/>
              <a:gd name="connsiteY112" fmla="*/ 6535702 h 6785945"/>
              <a:gd name="connsiteX113" fmla="*/ 4398345 w 8497013"/>
              <a:gd name="connsiteY113" fmla="*/ 6574005 h 6785945"/>
              <a:gd name="connsiteX114" fmla="*/ 4378996 w 8497013"/>
              <a:gd name="connsiteY114" fmla="*/ 6609411 h 6785945"/>
              <a:gd name="connsiteX115" fmla="*/ 4356855 w 8497013"/>
              <a:gd name="connsiteY115" fmla="*/ 6641837 h 6785945"/>
              <a:gd name="connsiteX116" fmla="*/ 4331777 w 8497013"/>
              <a:gd name="connsiteY116" fmla="*/ 6671200 h 6785945"/>
              <a:gd name="connsiteX117" fmla="*/ 4303620 w 8497013"/>
              <a:gd name="connsiteY117" fmla="*/ 6697419 h 6785945"/>
              <a:gd name="connsiteX118" fmla="*/ 4272239 w 8497013"/>
              <a:gd name="connsiteY118" fmla="*/ 6720409 h 6785945"/>
              <a:gd name="connsiteX119" fmla="*/ 4237491 w 8497013"/>
              <a:gd name="connsiteY119" fmla="*/ 6740090 h 6785945"/>
              <a:gd name="connsiteX120" fmla="*/ 4199230 w 8497013"/>
              <a:gd name="connsiteY120" fmla="*/ 6756377 h 6785945"/>
              <a:gd name="connsiteX121" fmla="*/ 4157313 w 8497013"/>
              <a:gd name="connsiteY121" fmla="*/ 6769189 h 6785945"/>
              <a:gd name="connsiteX122" fmla="*/ 4111597 w 8497013"/>
              <a:gd name="connsiteY122" fmla="*/ 6778443 h 6785945"/>
              <a:gd name="connsiteX123" fmla="*/ 4061937 w 8497013"/>
              <a:gd name="connsiteY123" fmla="*/ 6784056 h 6785945"/>
              <a:gd name="connsiteX124" fmla="*/ 4008189 w 8497013"/>
              <a:gd name="connsiteY124" fmla="*/ 6785945 h 6785945"/>
              <a:gd name="connsiteX125" fmla="*/ 4008189 w 8497013"/>
              <a:gd name="connsiteY125" fmla="*/ 6689123 h 6785945"/>
              <a:gd name="connsiteX126" fmla="*/ 4057874 w 8497013"/>
              <a:gd name="connsiteY126" fmla="*/ 6686890 h 6785945"/>
              <a:gd name="connsiteX127" fmla="*/ 4102795 w 8497013"/>
              <a:gd name="connsiteY127" fmla="*/ 6680269 h 6785945"/>
              <a:gd name="connsiteX128" fmla="*/ 4143177 w 8497013"/>
              <a:gd name="connsiteY128" fmla="*/ 6669380 h 6785945"/>
              <a:gd name="connsiteX129" fmla="*/ 4179248 w 8497013"/>
              <a:gd name="connsiteY129" fmla="*/ 6654340 h 6785945"/>
              <a:gd name="connsiteX130" fmla="*/ 4239359 w 8497013"/>
              <a:gd name="connsiteY130" fmla="*/ 6612280 h 6785945"/>
              <a:gd name="connsiteX131" fmla="*/ 4284939 w 8497013"/>
              <a:gd name="connsiteY131" fmla="*/ 6555036 h 6785945"/>
              <a:gd name="connsiteX132" fmla="*/ 4302844 w 8497013"/>
              <a:gd name="connsiteY132" fmla="*/ 6521015 h 6785945"/>
              <a:gd name="connsiteX133" fmla="*/ 4317796 w 8497013"/>
              <a:gd name="connsiteY133" fmla="*/ 6483554 h 6785945"/>
              <a:gd name="connsiteX134" fmla="*/ 4330020 w 8497013"/>
              <a:gd name="connsiteY134" fmla="*/ 6442769 h 6785945"/>
              <a:gd name="connsiteX135" fmla="*/ 4339743 w 8497013"/>
              <a:gd name="connsiteY135" fmla="*/ 6398779 h 6785945"/>
              <a:gd name="connsiteX136" fmla="*/ 4347190 w 8497013"/>
              <a:gd name="connsiteY136" fmla="*/ 6351702 h 6785945"/>
              <a:gd name="connsiteX137" fmla="*/ 4352590 w 8497013"/>
              <a:gd name="connsiteY137" fmla="*/ 6301658 h 6785945"/>
              <a:gd name="connsiteX138" fmla="*/ 4356166 w 8497013"/>
              <a:gd name="connsiteY138" fmla="*/ 6248763 h 6785945"/>
              <a:gd name="connsiteX139" fmla="*/ 4358145 w 8497013"/>
              <a:gd name="connsiteY139" fmla="*/ 6193136 h 6785945"/>
              <a:gd name="connsiteX140" fmla="*/ 4358755 w 8497013"/>
              <a:gd name="connsiteY140" fmla="*/ 6134896 h 6785945"/>
              <a:gd name="connsiteX141" fmla="*/ 4358113 w 8497013"/>
              <a:gd name="connsiteY141" fmla="*/ 6077227 h 6785945"/>
              <a:gd name="connsiteX142" fmla="*/ 4356043 w 8497013"/>
              <a:gd name="connsiteY142" fmla="*/ 6022138 h 6785945"/>
              <a:gd name="connsiteX143" fmla="*/ 4352333 w 8497013"/>
              <a:gd name="connsiteY143" fmla="*/ 5969745 h 6785945"/>
              <a:gd name="connsiteX144" fmla="*/ 4346766 w 8497013"/>
              <a:gd name="connsiteY144" fmla="*/ 5920169 h 6785945"/>
              <a:gd name="connsiteX145" fmla="*/ 4339131 w 8497013"/>
              <a:gd name="connsiteY145" fmla="*/ 5873525 h 6785945"/>
              <a:gd name="connsiteX146" fmla="*/ 4329213 w 8497013"/>
              <a:gd name="connsiteY146" fmla="*/ 5829933 h 6785945"/>
              <a:gd name="connsiteX147" fmla="*/ 4316797 w 8497013"/>
              <a:gd name="connsiteY147" fmla="*/ 5789512 h 6785945"/>
              <a:gd name="connsiteX148" fmla="*/ 4301670 w 8497013"/>
              <a:gd name="connsiteY148" fmla="*/ 5752380 h 6785945"/>
              <a:gd name="connsiteX149" fmla="*/ 4283617 w 8497013"/>
              <a:gd name="connsiteY149" fmla="*/ 5718654 h 6785945"/>
              <a:gd name="connsiteX150" fmla="*/ 4237879 w 8497013"/>
              <a:gd name="connsiteY150" fmla="*/ 5661895 h 6785945"/>
              <a:gd name="connsiteX151" fmla="*/ 4177870 w 8497013"/>
              <a:gd name="connsiteY151" fmla="*/ 5620182 h 6785945"/>
              <a:gd name="connsiteX152" fmla="*/ 4141978 w 8497013"/>
              <a:gd name="connsiteY152" fmla="*/ 5605263 h 6785945"/>
              <a:gd name="connsiteX153" fmla="*/ 4101877 w 8497013"/>
              <a:gd name="connsiteY153" fmla="*/ 5594460 h 6785945"/>
              <a:gd name="connsiteX154" fmla="*/ 4057352 w 8497013"/>
              <a:gd name="connsiteY154" fmla="*/ 5587892 h 6785945"/>
              <a:gd name="connsiteX155" fmla="*/ 4008189 w 8497013"/>
              <a:gd name="connsiteY155" fmla="*/ 5585676 h 6785945"/>
              <a:gd name="connsiteX156" fmla="*/ 3491267 w 8497013"/>
              <a:gd name="connsiteY156" fmla="*/ 5487184 h 6785945"/>
              <a:gd name="connsiteX157" fmla="*/ 3491267 w 8497013"/>
              <a:gd name="connsiteY157" fmla="*/ 5585676 h 6785945"/>
              <a:gd name="connsiteX158" fmla="*/ 3442381 w 8497013"/>
              <a:gd name="connsiteY158" fmla="*/ 5587892 h 6785945"/>
              <a:gd name="connsiteX159" fmla="*/ 3398103 w 8497013"/>
              <a:gd name="connsiteY159" fmla="*/ 5594460 h 6785945"/>
              <a:gd name="connsiteX160" fmla="*/ 3358217 w 8497013"/>
              <a:gd name="connsiteY160" fmla="*/ 5605263 h 6785945"/>
              <a:gd name="connsiteX161" fmla="*/ 3322510 w 8497013"/>
              <a:gd name="connsiteY161" fmla="*/ 5620182 h 6785945"/>
              <a:gd name="connsiteX162" fmla="*/ 3262795 w 8497013"/>
              <a:gd name="connsiteY162" fmla="*/ 5661895 h 6785945"/>
              <a:gd name="connsiteX163" fmla="*/ 3217261 w 8497013"/>
              <a:gd name="connsiteY163" fmla="*/ 5718654 h 6785945"/>
              <a:gd name="connsiteX164" fmla="*/ 3199282 w 8497013"/>
              <a:gd name="connsiteY164" fmla="*/ 5752380 h 6785945"/>
              <a:gd name="connsiteX165" fmla="*/ 3184213 w 8497013"/>
              <a:gd name="connsiteY165" fmla="*/ 5789512 h 6785945"/>
              <a:gd name="connsiteX166" fmla="*/ 3171840 w 8497013"/>
              <a:gd name="connsiteY166" fmla="*/ 5829933 h 6785945"/>
              <a:gd name="connsiteX167" fmla="*/ 3161952 w 8497013"/>
              <a:gd name="connsiteY167" fmla="*/ 5873525 h 6785945"/>
              <a:gd name="connsiteX168" fmla="*/ 3154338 w 8497013"/>
              <a:gd name="connsiteY168" fmla="*/ 5920169 h 6785945"/>
              <a:gd name="connsiteX169" fmla="*/ 3148785 w 8497013"/>
              <a:gd name="connsiteY169" fmla="*/ 5969745 h 6785945"/>
              <a:gd name="connsiteX170" fmla="*/ 3145081 w 8497013"/>
              <a:gd name="connsiteY170" fmla="*/ 6022138 h 6785945"/>
              <a:gd name="connsiteX171" fmla="*/ 3143014 w 8497013"/>
              <a:gd name="connsiteY171" fmla="*/ 6077227 h 6785945"/>
              <a:gd name="connsiteX172" fmla="*/ 3142372 w 8497013"/>
              <a:gd name="connsiteY172" fmla="*/ 6134896 h 6785945"/>
              <a:gd name="connsiteX173" fmla="*/ 3142997 w 8497013"/>
              <a:gd name="connsiteY173" fmla="*/ 6193136 h 6785945"/>
              <a:gd name="connsiteX174" fmla="*/ 3145020 w 8497013"/>
              <a:gd name="connsiteY174" fmla="*/ 6248763 h 6785945"/>
              <a:gd name="connsiteX175" fmla="*/ 3148657 w 8497013"/>
              <a:gd name="connsiteY175" fmla="*/ 6301658 h 6785945"/>
              <a:gd name="connsiteX176" fmla="*/ 3154126 w 8497013"/>
              <a:gd name="connsiteY176" fmla="*/ 6351702 h 6785945"/>
              <a:gd name="connsiteX177" fmla="*/ 3161647 w 8497013"/>
              <a:gd name="connsiteY177" fmla="*/ 6398779 h 6785945"/>
              <a:gd name="connsiteX178" fmla="*/ 3171437 w 8497013"/>
              <a:gd name="connsiteY178" fmla="*/ 6442769 h 6785945"/>
              <a:gd name="connsiteX179" fmla="*/ 3183713 w 8497013"/>
              <a:gd name="connsiteY179" fmla="*/ 6483554 h 6785945"/>
              <a:gd name="connsiteX180" fmla="*/ 3198695 w 8497013"/>
              <a:gd name="connsiteY180" fmla="*/ 6521015 h 6785945"/>
              <a:gd name="connsiteX181" fmla="*/ 3216602 w 8497013"/>
              <a:gd name="connsiteY181" fmla="*/ 6555036 h 6785945"/>
              <a:gd name="connsiteX182" fmla="*/ 3262055 w 8497013"/>
              <a:gd name="connsiteY182" fmla="*/ 6612280 h 6785945"/>
              <a:gd name="connsiteX183" fmla="*/ 3321821 w 8497013"/>
              <a:gd name="connsiteY183" fmla="*/ 6654340 h 6785945"/>
              <a:gd name="connsiteX184" fmla="*/ 3357617 w 8497013"/>
              <a:gd name="connsiteY184" fmla="*/ 6669380 h 6785945"/>
              <a:gd name="connsiteX185" fmla="*/ 3397644 w 8497013"/>
              <a:gd name="connsiteY185" fmla="*/ 6680269 h 6785945"/>
              <a:gd name="connsiteX186" fmla="*/ 3442120 w 8497013"/>
              <a:gd name="connsiteY186" fmla="*/ 6686890 h 6785945"/>
              <a:gd name="connsiteX187" fmla="*/ 3491267 w 8497013"/>
              <a:gd name="connsiteY187" fmla="*/ 6689123 h 6785945"/>
              <a:gd name="connsiteX188" fmla="*/ 3491267 w 8497013"/>
              <a:gd name="connsiteY188" fmla="*/ 6785945 h 6785945"/>
              <a:gd name="connsiteX189" fmla="*/ 3437744 w 8497013"/>
              <a:gd name="connsiteY189" fmla="*/ 6784056 h 6785945"/>
              <a:gd name="connsiteX190" fmla="*/ 3388267 w 8497013"/>
              <a:gd name="connsiteY190" fmla="*/ 6778443 h 6785945"/>
              <a:gd name="connsiteX191" fmla="*/ 3342687 w 8497013"/>
              <a:gd name="connsiteY191" fmla="*/ 6769189 h 6785945"/>
              <a:gd name="connsiteX192" fmla="*/ 3300868 w 8497013"/>
              <a:gd name="connsiteY192" fmla="*/ 6756377 h 6785945"/>
              <a:gd name="connsiteX193" fmla="*/ 3262672 w 8497013"/>
              <a:gd name="connsiteY193" fmla="*/ 6740090 h 6785945"/>
              <a:gd name="connsiteX194" fmla="*/ 3227954 w 8497013"/>
              <a:gd name="connsiteY194" fmla="*/ 6720409 h 6785945"/>
              <a:gd name="connsiteX195" fmla="*/ 3196577 w 8497013"/>
              <a:gd name="connsiteY195" fmla="*/ 6697419 h 6785945"/>
              <a:gd name="connsiteX196" fmla="*/ 3168401 w 8497013"/>
              <a:gd name="connsiteY196" fmla="*/ 6671200 h 6785945"/>
              <a:gd name="connsiteX197" fmla="*/ 3143286 w 8497013"/>
              <a:gd name="connsiteY197" fmla="*/ 6641837 h 6785945"/>
              <a:gd name="connsiteX198" fmla="*/ 3121088 w 8497013"/>
              <a:gd name="connsiteY198" fmla="*/ 6609411 h 6785945"/>
              <a:gd name="connsiteX199" fmla="*/ 3101671 w 8497013"/>
              <a:gd name="connsiteY199" fmla="*/ 6574005 h 6785945"/>
              <a:gd name="connsiteX200" fmla="*/ 3084893 w 8497013"/>
              <a:gd name="connsiteY200" fmla="*/ 6535702 h 6785945"/>
              <a:gd name="connsiteX201" fmla="*/ 3070614 w 8497013"/>
              <a:gd name="connsiteY201" fmla="*/ 6494584 h 6785945"/>
              <a:gd name="connsiteX202" fmla="*/ 3058694 w 8497013"/>
              <a:gd name="connsiteY202" fmla="*/ 6450735 h 6785945"/>
              <a:gd name="connsiteX203" fmla="*/ 3048993 w 8497013"/>
              <a:gd name="connsiteY203" fmla="*/ 6404236 h 6785945"/>
              <a:gd name="connsiteX204" fmla="*/ 3041370 w 8497013"/>
              <a:gd name="connsiteY204" fmla="*/ 6355171 h 6785945"/>
              <a:gd name="connsiteX205" fmla="*/ 3035685 w 8497013"/>
              <a:gd name="connsiteY205" fmla="*/ 6303621 h 6785945"/>
              <a:gd name="connsiteX206" fmla="*/ 3031798 w 8497013"/>
              <a:gd name="connsiteY206" fmla="*/ 6249671 h 6785945"/>
              <a:gd name="connsiteX207" fmla="*/ 3029568 w 8497013"/>
              <a:gd name="connsiteY207" fmla="*/ 6193401 h 6785945"/>
              <a:gd name="connsiteX208" fmla="*/ 3028857 w 8497013"/>
              <a:gd name="connsiteY208" fmla="*/ 6134896 h 6785945"/>
              <a:gd name="connsiteX209" fmla="*/ 3029592 w 8497013"/>
              <a:gd name="connsiteY209" fmla="*/ 6076640 h 6785945"/>
              <a:gd name="connsiteX210" fmla="*/ 3031888 w 8497013"/>
              <a:gd name="connsiteY210" fmla="*/ 6020620 h 6785945"/>
              <a:gd name="connsiteX211" fmla="*/ 3035877 w 8497013"/>
              <a:gd name="connsiteY211" fmla="*/ 5966915 h 6785945"/>
              <a:gd name="connsiteX212" fmla="*/ 3041690 w 8497013"/>
              <a:gd name="connsiteY212" fmla="*/ 5915609 h 6785945"/>
              <a:gd name="connsiteX213" fmla="*/ 3049463 w 8497013"/>
              <a:gd name="connsiteY213" fmla="*/ 5866781 h 6785945"/>
              <a:gd name="connsiteX214" fmla="*/ 3059326 w 8497013"/>
              <a:gd name="connsiteY214" fmla="*/ 5820513 h 6785945"/>
              <a:gd name="connsiteX215" fmla="*/ 3071412 w 8497013"/>
              <a:gd name="connsiteY215" fmla="*/ 5776887 h 6785945"/>
              <a:gd name="connsiteX216" fmla="*/ 3085855 w 8497013"/>
              <a:gd name="connsiteY216" fmla="*/ 5735985 h 6785945"/>
              <a:gd name="connsiteX217" fmla="*/ 3102787 w 8497013"/>
              <a:gd name="connsiteY217" fmla="*/ 5697887 h 6785945"/>
              <a:gd name="connsiteX218" fmla="*/ 3122341 w 8497013"/>
              <a:gd name="connsiteY218" fmla="*/ 5662675 h 6785945"/>
              <a:gd name="connsiteX219" fmla="*/ 3144649 w 8497013"/>
              <a:gd name="connsiteY219" fmla="*/ 5630430 h 6785945"/>
              <a:gd name="connsiteX220" fmla="*/ 3169844 w 8497013"/>
              <a:gd name="connsiteY220" fmla="*/ 5601234 h 6785945"/>
              <a:gd name="connsiteX221" fmla="*/ 3198060 w 8497013"/>
              <a:gd name="connsiteY221" fmla="*/ 5575168 h 6785945"/>
              <a:gd name="connsiteX222" fmla="*/ 3229427 w 8497013"/>
              <a:gd name="connsiteY222" fmla="*/ 5552313 h 6785945"/>
              <a:gd name="connsiteX223" fmla="*/ 3264079 w 8497013"/>
              <a:gd name="connsiteY223" fmla="*/ 5532752 h 6785945"/>
              <a:gd name="connsiteX224" fmla="*/ 3302151 w 8497013"/>
              <a:gd name="connsiteY224" fmla="*/ 5516564 h 6785945"/>
              <a:gd name="connsiteX225" fmla="*/ 3343773 w 8497013"/>
              <a:gd name="connsiteY225" fmla="*/ 5503832 h 6785945"/>
              <a:gd name="connsiteX226" fmla="*/ 3389078 w 8497013"/>
              <a:gd name="connsiteY226" fmla="*/ 5494637 h 6785945"/>
              <a:gd name="connsiteX227" fmla="*/ 3438196 w 8497013"/>
              <a:gd name="connsiteY227" fmla="*/ 5489060 h 6785945"/>
              <a:gd name="connsiteX228" fmla="*/ 5569411 w 8497013"/>
              <a:gd name="connsiteY228" fmla="*/ 5006403 h 6785945"/>
              <a:gd name="connsiteX229" fmla="*/ 5611640 w 8497013"/>
              <a:gd name="connsiteY229" fmla="*/ 5010081 h 6785945"/>
              <a:gd name="connsiteX230" fmla="*/ 5644323 w 8497013"/>
              <a:gd name="connsiteY230" fmla="*/ 5023305 h 6785945"/>
              <a:gd name="connsiteX231" fmla="*/ 5665424 w 8497013"/>
              <a:gd name="connsiteY231" fmla="*/ 5049363 h 6785945"/>
              <a:gd name="connsiteX232" fmla="*/ 5672910 w 8497013"/>
              <a:gd name="connsiteY232" fmla="*/ 5091541 h 6785945"/>
              <a:gd name="connsiteX233" fmla="*/ 5665424 w 8497013"/>
              <a:gd name="connsiteY233" fmla="*/ 5135648 h 6785945"/>
              <a:gd name="connsiteX234" fmla="*/ 5644323 w 8497013"/>
              <a:gd name="connsiteY234" fmla="*/ 5162697 h 6785945"/>
              <a:gd name="connsiteX235" fmla="*/ 5611640 w 8497013"/>
              <a:gd name="connsiteY235" fmla="*/ 5176287 h 6785945"/>
              <a:gd name="connsiteX236" fmla="*/ 5569411 w 8497013"/>
              <a:gd name="connsiteY236" fmla="*/ 5180017 h 6785945"/>
              <a:gd name="connsiteX237" fmla="*/ 5527181 w 8497013"/>
              <a:gd name="connsiteY237" fmla="*/ 5176287 h 6785945"/>
              <a:gd name="connsiteX238" fmla="*/ 5494498 w 8497013"/>
              <a:gd name="connsiteY238" fmla="*/ 5162697 h 6785945"/>
              <a:gd name="connsiteX239" fmla="*/ 5473397 w 8497013"/>
              <a:gd name="connsiteY239" fmla="*/ 5135648 h 6785945"/>
              <a:gd name="connsiteX240" fmla="*/ 5465911 w 8497013"/>
              <a:gd name="connsiteY240" fmla="*/ 5091541 h 6785945"/>
              <a:gd name="connsiteX241" fmla="*/ 5473631 w 8497013"/>
              <a:gd name="connsiteY241" fmla="*/ 5049363 h 6785945"/>
              <a:gd name="connsiteX242" fmla="*/ 5495125 w 8497013"/>
              <a:gd name="connsiteY242" fmla="*/ 5023305 h 6785945"/>
              <a:gd name="connsiteX243" fmla="*/ 5527886 w 8497013"/>
              <a:gd name="connsiteY243" fmla="*/ 5010081 h 6785945"/>
              <a:gd name="connsiteX244" fmla="*/ 4804116 w 8497013"/>
              <a:gd name="connsiteY244" fmla="*/ 5006403 h 6785945"/>
              <a:gd name="connsiteX245" fmla="*/ 4846346 w 8497013"/>
              <a:gd name="connsiteY245" fmla="*/ 5010081 h 6785945"/>
              <a:gd name="connsiteX246" fmla="*/ 4879028 w 8497013"/>
              <a:gd name="connsiteY246" fmla="*/ 5023305 h 6785945"/>
              <a:gd name="connsiteX247" fmla="*/ 4900130 w 8497013"/>
              <a:gd name="connsiteY247" fmla="*/ 5049363 h 6785945"/>
              <a:gd name="connsiteX248" fmla="*/ 4907615 w 8497013"/>
              <a:gd name="connsiteY248" fmla="*/ 5091541 h 6785945"/>
              <a:gd name="connsiteX249" fmla="*/ 4900130 w 8497013"/>
              <a:gd name="connsiteY249" fmla="*/ 5135648 h 6785945"/>
              <a:gd name="connsiteX250" fmla="*/ 4879028 w 8497013"/>
              <a:gd name="connsiteY250" fmla="*/ 5162697 h 6785945"/>
              <a:gd name="connsiteX251" fmla="*/ 4846346 w 8497013"/>
              <a:gd name="connsiteY251" fmla="*/ 5176287 h 6785945"/>
              <a:gd name="connsiteX252" fmla="*/ 4804116 w 8497013"/>
              <a:gd name="connsiteY252" fmla="*/ 5180017 h 6785945"/>
              <a:gd name="connsiteX253" fmla="*/ 4761886 w 8497013"/>
              <a:gd name="connsiteY253" fmla="*/ 5176287 h 6785945"/>
              <a:gd name="connsiteX254" fmla="*/ 4729203 w 8497013"/>
              <a:gd name="connsiteY254" fmla="*/ 5162697 h 6785945"/>
              <a:gd name="connsiteX255" fmla="*/ 4708102 w 8497013"/>
              <a:gd name="connsiteY255" fmla="*/ 5135648 h 6785945"/>
              <a:gd name="connsiteX256" fmla="*/ 4700616 w 8497013"/>
              <a:gd name="connsiteY256" fmla="*/ 5091541 h 6785945"/>
              <a:gd name="connsiteX257" fmla="*/ 4708336 w 8497013"/>
              <a:gd name="connsiteY257" fmla="*/ 5049363 h 6785945"/>
              <a:gd name="connsiteX258" fmla="*/ 4729830 w 8497013"/>
              <a:gd name="connsiteY258" fmla="*/ 5023305 h 6785945"/>
              <a:gd name="connsiteX259" fmla="*/ 4762591 w 8497013"/>
              <a:gd name="connsiteY259" fmla="*/ 5010081 h 6785945"/>
              <a:gd name="connsiteX260" fmla="*/ 2787004 w 8497013"/>
              <a:gd name="connsiteY260" fmla="*/ 4856173 h 6785945"/>
              <a:gd name="connsiteX261" fmla="*/ 3691793 w 8497013"/>
              <a:gd name="connsiteY261" fmla="*/ 4856173 h 6785945"/>
              <a:gd name="connsiteX262" fmla="*/ 3691793 w 8497013"/>
              <a:gd name="connsiteY262" fmla="*/ 4963011 h 6785945"/>
              <a:gd name="connsiteX263" fmla="*/ 2787004 w 8497013"/>
              <a:gd name="connsiteY263" fmla="*/ 4963011 h 6785945"/>
              <a:gd name="connsiteX264" fmla="*/ 1275095 w 8497013"/>
              <a:gd name="connsiteY264" fmla="*/ 4856173 h 6785945"/>
              <a:gd name="connsiteX265" fmla="*/ 2179887 w 8497013"/>
              <a:gd name="connsiteY265" fmla="*/ 4856173 h 6785945"/>
              <a:gd name="connsiteX266" fmla="*/ 2179887 w 8497013"/>
              <a:gd name="connsiteY266" fmla="*/ 4963011 h 6785945"/>
              <a:gd name="connsiteX267" fmla="*/ 1275095 w 8497013"/>
              <a:gd name="connsiteY267" fmla="*/ 4963011 h 6785945"/>
              <a:gd name="connsiteX268" fmla="*/ 2787004 w 8497013"/>
              <a:gd name="connsiteY268" fmla="*/ 4507276 h 6785945"/>
              <a:gd name="connsiteX269" fmla="*/ 3691793 w 8497013"/>
              <a:gd name="connsiteY269" fmla="*/ 4507276 h 6785945"/>
              <a:gd name="connsiteX270" fmla="*/ 3691793 w 8497013"/>
              <a:gd name="connsiteY270" fmla="*/ 4614114 h 6785945"/>
              <a:gd name="connsiteX271" fmla="*/ 2787004 w 8497013"/>
              <a:gd name="connsiteY271" fmla="*/ 4614114 h 6785945"/>
              <a:gd name="connsiteX272" fmla="*/ 1275095 w 8497013"/>
              <a:gd name="connsiteY272" fmla="*/ 4507276 h 6785945"/>
              <a:gd name="connsiteX273" fmla="*/ 2179887 w 8497013"/>
              <a:gd name="connsiteY273" fmla="*/ 4507276 h 6785945"/>
              <a:gd name="connsiteX274" fmla="*/ 2179887 w 8497013"/>
              <a:gd name="connsiteY274" fmla="*/ 4614114 h 6785945"/>
              <a:gd name="connsiteX275" fmla="*/ 1275095 w 8497013"/>
              <a:gd name="connsiteY275" fmla="*/ 4614114 h 6785945"/>
              <a:gd name="connsiteX276" fmla="*/ 5569411 w 8497013"/>
              <a:gd name="connsiteY276" fmla="*/ 4305272 h 6785945"/>
              <a:gd name="connsiteX277" fmla="*/ 5611640 w 8497013"/>
              <a:gd name="connsiteY277" fmla="*/ 4308741 h 6785945"/>
              <a:gd name="connsiteX278" fmla="*/ 5644323 w 8497013"/>
              <a:gd name="connsiteY278" fmla="*/ 4321757 h 6785945"/>
              <a:gd name="connsiteX279" fmla="*/ 5665424 w 8497013"/>
              <a:gd name="connsiteY279" fmla="*/ 4348232 h 6785945"/>
              <a:gd name="connsiteX280" fmla="*/ 5672910 w 8497013"/>
              <a:gd name="connsiteY280" fmla="*/ 4392078 h 6785945"/>
              <a:gd name="connsiteX281" fmla="*/ 5665424 w 8497013"/>
              <a:gd name="connsiteY281" fmla="*/ 4434517 h 6785945"/>
              <a:gd name="connsiteX282" fmla="*/ 5644323 w 8497013"/>
              <a:gd name="connsiteY282" fmla="*/ 4461148 h 6785945"/>
              <a:gd name="connsiteX283" fmla="*/ 5611640 w 8497013"/>
              <a:gd name="connsiteY283" fmla="*/ 4474946 h 6785945"/>
              <a:gd name="connsiteX284" fmla="*/ 5569411 w 8497013"/>
              <a:gd name="connsiteY284" fmla="*/ 4478885 h 6785945"/>
              <a:gd name="connsiteX285" fmla="*/ 5528147 w 8497013"/>
              <a:gd name="connsiteY285" fmla="*/ 4474946 h 6785945"/>
              <a:gd name="connsiteX286" fmla="*/ 5495959 w 8497013"/>
              <a:gd name="connsiteY286" fmla="*/ 4461148 h 6785945"/>
              <a:gd name="connsiteX287" fmla="*/ 5475040 w 8497013"/>
              <a:gd name="connsiteY287" fmla="*/ 4434517 h 6785945"/>
              <a:gd name="connsiteX288" fmla="*/ 5467580 w 8497013"/>
              <a:gd name="connsiteY288" fmla="*/ 4392078 h 6785945"/>
              <a:gd name="connsiteX289" fmla="*/ 5475040 w 8497013"/>
              <a:gd name="connsiteY289" fmla="*/ 4348232 h 6785945"/>
              <a:gd name="connsiteX290" fmla="*/ 5495959 w 8497013"/>
              <a:gd name="connsiteY290" fmla="*/ 4321757 h 6785945"/>
              <a:gd name="connsiteX291" fmla="*/ 5528147 w 8497013"/>
              <a:gd name="connsiteY291" fmla="*/ 4308741 h 6785945"/>
              <a:gd name="connsiteX292" fmla="*/ 4804116 w 8497013"/>
              <a:gd name="connsiteY292" fmla="*/ 4305272 h 6785945"/>
              <a:gd name="connsiteX293" fmla="*/ 4846346 w 8497013"/>
              <a:gd name="connsiteY293" fmla="*/ 4308741 h 6785945"/>
              <a:gd name="connsiteX294" fmla="*/ 4879028 w 8497013"/>
              <a:gd name="connsiteY294" fmla="*/ 4321757 h 6785945"/>
              <a:gd name="connsiteX295" fmla="*/ 4900130 w 8497013"/>
              <a:gd name="connsiteY295" fmla="*/ 4348232 h 6785945"/>
              <a:gd name="connsiteX296" fmla="*/ 4907615 w 8497013"/>
              <a:gd name="connsiteY296" fmla="*/ 4392078 h 6785945"/>
              <a:gd name="connsiteX297" fmla="*/ 4900130 w 8497013"/>
              <a:gd name="connsiteY297" fmla="*/ 4434517 h 6785945"/>
              <a:gd name="connsiteX298" fmla="*/ 4879028 w 8497013"/>
              <a:gd name="connsiteY298" fmla="*/ 4461148 h 6785945"/>
              <a:gd name="connsiteX299" fmla="*/ 4846346 w 8497013"/>
              <a:gd name="connsiteY299" fmla="*/ 4474946 h 6785945"/>
              <a:gd name="connsiteX300" fmla="*/ 4804116 w 8497013"/>
              <a:gd name="connsiteY300" fmla="*/ 4478885 h 6785945"/>
              <a:gd name="connsiteX301" fmla="*/ 4762852 w 8497013"/>
              <a:gd name="connsiteY301" fmla="*/ 4474946 h 6785945"/>
              <a:gd name="connsiteX302" fmla="*/ 4730664 w 8497013"/>
              <a:gd name="connsiteY302" fmla="*/ 4461148 h 6785945"/>
              <a:gd name="connsiteX303" fmla="*/ 4709745 w 8497013"/>
              <a:gd name="connsiteY303" fmla="*/ 4434517 h 6785945"/>
              <a:gd name="connsiteX304" fmla="*/ 4702285 w 8497013"/>
              <a:gd name="connsiteY304" fmla="*/ 4392078 h 6785945"/>
              <a:gd name="connsiteX305" fmla="*/ 4709745 w 8497013"/>
              <a:gd name="connsiteY305" fmla="*/ 4348232 h 6785945"/>
              <a:gd name="connsiteX306" fmla="*/ 4730664 w 8497013"/>
              <a:gd name="connsiteY306" fmla="*/ 4321757 h 6785945"/>
              <a:gd name="connsiteX307" fmla="*/ 4762852 w 8497013"/>
              <a:gd name="connsiteY307" fmla="*/ 4308741 h 6785945"/>
              <a:gd name="connsiteX308" fmla="*/ 7712987 w 8497013"/>
              <a:gd name="connsiteY308" fmla="*/ 3503986 h 6785945"/>
              <a:gd name="connsiteX309" fmla="*/ 7763122 w 8497013"/>
              <a:gd name="connsiteY309" fmla="*/ 3509568 h 6785945"/>
              <a:gd name="connsiteX310" fmla="*/ 7795147 w 8497013"/>
              <a:gd name="connsiteY310" fmla="*/ 3526208 h 6785945"/>
              <a:gd name="connsiteX311" fmla="*/ 7811787 w 8497013"/>
              <a:gd name="connsiteY311" fmla="*/ 3553746 h 6785945"/>
              <a:gd name="connsiteX312" fmla="*/ 7815767 w 8497013"/>
              <a:gd name="connsiteY312" fmla="*/ 3592021 h 6785945"/>
              <a:gd name="connsiteX313" fmla="*/ 7809810 w 8497013"/>
              <a:gd name="connsiteY313" fmla="*/ 3640873 h 6785945"/>
              <a:gd name="connsiteX314" fmla="*/ 7763068 w 8497013"/>
              <a:gd name="connsiteY314" fmla="*/ 3887939 h 6785945"/>
              <a:gd name="connsiteX315" fmla="*/ 7682939 w 8497013"/>
              <a:gd name="connsiteY315" fmla="*/ 3887939 h 6785945"/>
              <a:gd name="connsiteX316" fmla="*/ 7709648 w 8497013"/>
              <a:gd name="connsiteY316" fmla="*/ 3677600 h 6785945"/>
              <a:gd name="connsiteX317" fmla="*/ 7668644 w 8497013"/>
              <a:gd name="connsiteY317" fmla="*/ 3673635 h 6785945"/>
              <a:gd name="connsiteX318" fmla="*/ 7637031 w 8497013"/>
              <a:gd name="connsiteY318" fmla="*/ 3659654 h 6785945"/>
              <a:gd name="connsiteX319" fmla="*/ 7616686 w 8497013"/>
              <a:gd name="connsiteY319" fmla="*/ 3632527 h 6785945"/>
              <a:gd name="connsiteX320" fmla="*/ 7609487 w 8497013"/>
              <a:gd name="connsiteY320" fmla="*/ 3589124 h 6785945"/>
              <a:gd name="connsiteX321" fmla="*/ 7617207 w 8497013"/>
              <a:gd name="connsiteY321" fmla="*/ 3546946 h 6785945"/>
              <a:gd name="connsiteX322" fmla="*/ 7638700 w 8497013"/>
              <a:gd name="connsiteY322" fmla="*/ 3520888 h 6785945"/>
              <a:gd name="connsiteX323" fmla="*/ 7671461 w 8497013"/>
              <a:gd name="connsiteY323" fmla="*/ 3507664 h 6785945"/>
              <a:gd name="connsiteX324" fmla="*/ 4062097 w 8497013"/>
              <a:gd name="connsiteY324" fmla="*/ 3353744 h 6785945"/>
              <a:gd name="connsiteX325" fmla="*/ 4966889 w 8497013"/>
              <a:gd name="connsiteY325" fmla="*/ 3353744 h 6785945"/>
              <a:gd name="connsiteX326" fmla="*/ 4966889 w 8497013"/>
              <a:gd name="connsiteY326" fmla="*/ 3460582 h 6785945"/>
              <a:gd name="connsiteX327" fmla="*/ 4062097 w 8497013"/>
              <a:gd name="connsiteY327" fmla="*/ 3460582 h 6785945"/>
              <a:gd name="connsiteX328" fmla="*/ 2550201 w 8497013"/>
              <a:gd name="connsiteY328" fmla="*/ 3353744 h 6785945"/>
              <a:gd name="connsiteX329" fmla="*/ 3454992 w 8497013"/>
              <a:gd name="connsiteY329" fmla="*/ 3353744 h 6785945"/>
              <a:gd name="connsiteX330" fmla="*/ 3454992 w 8497013"/>
              <a:gd name="connsiteY330" fmla="*/ 3460582 h 6785945"/>
              <a:gd name="connsiteX331" fmla="*/ 2550201 w 8497013"/>
              <a:gd name="connsiteY331" fmla="*/ 3460582 h 6785945"/>
              <a:gd name="connsiteX332" fmla="*/ 4062097 w 8497013"/>
              <a:gd name="connsiteY332" fmla="*/ 3004848 h 6785945"/>
              <a:gd name="connsiteX333" fmla="*/ 4966889 w 8497013"/>
              <a:gd name="connsiteY333" fmla="*/ 3004848 h 6785945"/>
              <a:gd name="connsiteX334" fmla="*/ 4966889 w 8497013"/>
              <a:gd name="connsiteY334" fmla="*/ 3111686 h 6785945"/>
              <a:gd name="connsiteX335" fmla="*/ 4062097 w 8497013"/>
              <a:gd name="connsiteY335" fmla="*/ 3111686 h 6785945"/>
              <a:gd name="connsiteX336" fmla="*/ 2550201 w 8497013"/>
              <a:gd name="connsiteY336" fmla="*/ 3004848 h 6785945"/>
              <a:gd name="connsiteX337" fmla="*/ 3454992 w 8497013"/>
              <a:gd name="connsiteY337" fmla="*/ 3004848 h 6785945"/>
              <a:gd name="connsiteX338" fmla="*/ 3454992 w 8497013"/>
              <a:gd name="connsiteY338" fmla="*/ 3111686 h 6785945"/>
              <a:gd name="connsiteX339" fmla="*/ 2550201 w 8497013"/>
              <a:gd name="connsiteY339" fmla="*/ 3111686 h 6785945"/>
              <a:gd name="connsiteX340" fmla="*/ 7712987 w 8497013"/>
              <a:gd name="connsiteY340" fmla="*/ 2802855 h 6785945"/>
              <a:gd name="connsiteX341" fmla="*/ 7755217 w 8497013"/>
              <a:gd name="connsiteY341" fmla="*/ 2806324 h 6785945"/>
              <a:gd name="connsiteX342" fmla="*/ 7787900 w 8497013"/>
              <a:gd name="connsiteY342" fmla="*/ 2819339 h 6785945"/>
              <a:gd name="connsiteX343" fmla="*/ 7809002 w 8497013"/>
              <a:gd name="connsiteY343" fmla="*/ 2845814 h 6785945"/>
              <a:gd name="connsiteX344" fmla="*/ 7816489 w 8497013"/>
              <a:gd name="connsiteY344" fmla="*/ 2889661 h 6785945"/>
              <a:gd name="connsiteX345" fmla="*/ 7809002 w 8497013"/>
              <a:gd name="connsiteY345" fmla="*/ 2932099 h 6785945"/>
              <a:gd name="connsiteX346" fmla="*/ 7787900 w 8497013"/>
              <a:gd name="connsiteY346" fmla="*/ 2958731 h 6785945"/>
              <a:gd name="connsiteX347" fmla="*/ 7755217 w 8497013"/>
              <a:gd name="connsiteY347" fmla="*/ 2972529 h 6785945"/>
              <a:gd name="connsiteX348" fmla="*/ 7712987 w 8497013"/>
              <a:gd name="connsiteY348" fmla="*/ 2976468 h 6785945"/>
              <a:gd name="connsiteX349" fmla="*/ 7671722 w 8497013"/>
              <a:gd name="connsiteY349" fmla="*/ 2972529 h 6785945"/>
              <a:gd name="connsiteX350" fmla="*/ 7639535 w 8497013"/>
              <a:gd name="connsiteY350" fmla="*/ 2958731 h 6785945"/>
              <a:gd name="connsiteX351" fmla="*/ 7618615 w 8497013"/>
              <a:gd name="connsiteY351" fmla="*/ 2932099 h 6785945"/>
              <a:gd name="connsiteX352" fmla="*/ 7611156 w 8497013"/>
              <a:gd name="connsiteY352" fmla="*/ 2889661 h 6785945"/>
              <a:gd name="connsiteX353" fmla="*/ 7618615 w 8497013"/>
              <a:gd name="connsiteY353" fmla="*/ 2845814 h 6785945"/>
              <a:gd name="connsiteX354" fmla="*/ 7639535 w 8497013"/>
              <a:gd name="connsiteY354" fmla="*/ 2819339 h 6785945"/>
              <a:gd name="connsiteX355" fmla="*/ 7671722 w 8497013"/>
              <a:gd name="connsiteY355" fmla="*/ 2806324 h 6785945"/>
              <a:gd name="connsiteX356" fmla="*/ 6558381 w 8497013"/>
              <a:gd name="connsiteY356" fmla="*/ 2482346 h 6785945"/>
              <a:gd name="connsiteX357" fmla="*/ 6611451 w 8497013"/>
              <a:gd name="connsiteY357" fmla="*/ 2484222 h 6785945"/>
              <a:gd name="connsiteX358" fmla="*/ 6660572 w 8497013"/>
              <a:gd name="connsiteY358" fmla="*/ 2489799 h 6785945"/>
              <a:gd name="connsiteX359" fmla="*/ 6705877 w 8497013"/>
              <a:gd name="connsiteY359" fmla="*/ 2498994 h 6785945"/>
              <a:gd name="connsiteX360" fmla="*/ 6747499 w 8497013"/>
              <a:gd name="connsiteY360" fmla="*/ 2511726 h 6785945"/>
              <a:gd name="connsiteX361" fmla="*/ 6785570 w 8497013"/>
              <a:gd name="connsiteY361" fmla="*/ 2527914 h 6785945"/>
              <a:gd name="connsiteX362" fmla="*/ 6820223 w 8497013"/>
              <a:gd name="connsiteY362" fmla="*/ 2547475 h 6785945"/>
              <a:gd name="connsiteX363" fmla="*/ 6851590 w 8497013"/>
              <a:gd name="connsiteY363" fmla="*/ 2570330 h 6785945"/>
              <a:gd name="connsiteX364" fmla="*/ 6879805 w 8497013"/>
              <a:gd name="connsiteY364" fmla="*/ 2596396 h 6785945"/>
              <a:gd name="connsiteX365" fmla="*/ 6905001 w 8497013"/>
              <a:gd name="connsiteY365" fmla="*/ 2625592 h 6785945"/>
              <a:gd name="connsiteX366" fmla="*/ 6927309 w 8497013"/>
              <a:gd name="connsiteY366" fmla="*/ 2657837 h 6785945"/>
              <a:gd name="connsiteX367" fmla="*/ 6946862 w 8497013"/>
              <a:gd name="connsiteY367" fmla="*/ 2693049 h 6785945"/>
              <a:gd name="connsiteX368" fmla="*/ 6963794 w 8497013"/>
              <a:gd name="connsiteY368" fmla="*/ 2731147 h 6785945"/>
              <a:gd name="connsiteX369" fmla="*/ 6978237 w 8497013"/>
              <a:gd name="connsiteY369" fmla="*/ 2772049 h 6785945"/>
              <a:gd name="connsiteX370" fmla="*/ 6990324 w 8497013"/>
              <a:gd name="connsiteY370" fmla="*/ 2815675 h 6785945"/>
              <a:gd name="connsiteX371" fmla="*/ 7000187 w 8497013"/>
              <a:gd name="connsiteY371" fmla="*/ 2861942 h 6785945"/>
              <a:gd name="connsiteX372" fmla="*/ 7007959 w 8497013"/>
              <a:gd name="connsiteY372" fmla="*/ 2910770 h 6785945"/>
              <a:gd name="connsiteX373" fmla="*/ 7013773 w 8497013"/>
              <a:gd name="connsiteY373" fmla="*/ 2962076 h 6785945"/>
              <a:gd name="connsiteX374" fmla="*/ 7017761 w 8497013"/>
              <a:gd name="connsiteY374" fmla="*/ 3015781 h 6785945"/>
              <a:gd name="connsiteX375" fmla="*/ 7020057 w 8497013"/>
              <a:gd name="connsiteY375" fmla="*/ 3071801 h 6785945"/>
              <a:gd name="connsiteX376" fmla="*/ 7020793 w 8497013"/>
              <a:gd name="connsiteY376" fmla="*/ 3130057 h 6785945"/>
              <a:gd name="connsiteX377" fmla="*/ 7020093 w 8497013"/>
              <a:gd name="connsiteY377" fmla="*/ 3188562 h 6785945"/>
              <a:gd name="connsiteX378" fmla="*/ 7017896 w 8497013"/>
              <a:gd name="connsiteY378" fmla="*/ 3244832 h 6785945"/>
              <a:gd name="connsiteX379" fmla="*/ 7014060 w 8497013"/>
              <a:gd name="connsiteY379" fmla="*/ 3298782 h 6785945"/>
              <a:gd name="connsiteX380" fmla="*/ 7008439 w 8497013"/>
              <a:gd name="connsiteY380" fmla="*/ 3350332 h 6785945"/>
              <a:gd name="connsiteX381" fmla="*/ 7000891 w 8497013"/>
              <a:gd name="connsiteY381" fmla="*/ 3399397 h 6785945"/>
              <a:gd name="connsiteX382" fmla="*/ 6991270 w 8497013"/>
              <a:gd name="connsiteY382" fmla="*/ 3445896 h 6785945"/>
              <a:gd name="connsiteX383" fmla="*/ 6979433 w 8497013"/>
              <a:gd name="connsiteY383" fmla="*/ 3489745 h 6785945"/>
              <a:gd name="connsiteX384" fmla="*/ 6965236 w 8497013"/>
              <a:gd name="connsiteY384" fmla="*/ 3530863 h 6785945"/>
              <a:gd name="connsiteX385" fmla="*/ 6948536 w 8497013"/>
              <a:gd name="connsiteY385" fmla="*/ 3569166 h 6785945"/>
              <a:gd name="connsiteX386" fmla="*/ 6929187 w 8497013"/>
              <a:gd name="connsiteY386" fmla="*/ 3604572 h 6785945"/>
              <a:gd name="connsiteX387" fmla="*/ 6907046 w 8497013"/>
              <a:gd name="connsiteY387" fmla="*/ 3636998 h 6785945"/>
              <a:gd name="connsiteX388" fmla="*/ 6881969 w 8497013"/>
              <a:gd name="connsiteY388" fmla="*/ 3666361 h 6785945"/>
              <a:gd name="connsiteX389" fmla="*/ 6853812 w 8497013"/>
              <a:gd name="connsiteY389" fmla="*/ 3692580 h 6785945"/>
              <a:gd name="connsiteX390" fmla="*/ 6822431 w 8497013"/>
              <a:gd name="connsiteY390" fmla="*/ 3715570 h 6785945"/>
              <a:gd name="connsiteX391" fmla="*/ 6787683 w 8497013"/>
              <a:gd name="connsiteY391" fmla="*/ 3735251 h 6785945"/>
              <a:gd name="connsiteX392" fmla="*/ 6749422 w 8497013"/>
              <a:gd name="connsiteY392" fmla="*/ 3751538 h 6785945"/>
              <a:gd name="connsiteX393" fmla="*/ 6707505 w 8497013"/>
              <a:gd name="connsiteY393" fmla="*/ 3764350 h 6785945"/>
              <a:gd name="connsiteX394" fmla="*/ 6661789 w 8497013"/>
              <a:gd name="connsiteY394" fmla="*/ 3773604 h 6785945"/>
              <a:gd name="connsiteX395" fmla="*/ 6612129 w 8497013"/>
              <a:gd name="connsiteY395" fmla="*/ 3779217 h 6785945"/>
              <a:gd name="connsiteX396" fmla="*/ 6558381 w 8497013"/>
              <a:gd name="connsiteY396" fmla="*/ 3781106 h 6785945"/>
              <a:gd name="connsiteX397" fmla="*/ 6558381 w 8497013"/>
              <a:gd name="connsiteY397" fmla="*/ 3684284 h 6785945"/>
              <a:gd name="connsiteX398" fmla="*/ 6608066 w 8497013"/>
              <a:gd name="connsiteY398" fmla="*/ 3682051 h 6785945"/>
              <a:gd name="connsiteX399" fmla="*/ 6652986 w 8497013"/>
              <a:gd name="connsiteY399" fmla="*/ 3675430 h 6785945"/>
              <a:gd name="connsiteX400" fmla="*/ 6693369 w 8497013"/>
              <a:gd name="connsiteY400" fmla="*/ 3664541 h 6785945"/>
              <a:gd name="connsiteX401" fmla="*/ 6729440 w 8497013"/>
              <a:gd name="connsiteY401" fmla="*/ 3649501 h 6785945"/>
              <a:gd name="connsiteX402" fmla="*/ 6789551 w 8497013"/>
              <a:gd name="connsiteY402" fmla="*/ 3607441 h 6785945"/>
              <a:gd name="connsiteX403" fmla="*/ 6835130 w 8497013"/>
              <a:gd name="connsiteY403" fmla="*/ 3550197 h 6785945"/>
              <a:gd name="connsiteX404" fmla="*/ 6853036 w 8497013"/>
              <a:gd name="connsiteY404" fmla="*/ 3516176 h 6785945"/>
              <a:gd name="connsiteX405" fmla="*/ 6867988 w 8497013"/>
              <a:gd name="connsiteY405" fmla="*/ 3478715 h 6785945"/>
              <a:gd name="connsiteX406" fmla="*/ 6880212 w 8497013"/>
              <a:gd name="connsiteY406" fmla="*/ 3437930 h 6785945"/>
              <a:gd name="connsiteX407" fmla="*/ 6889935 w 8497013"/>
              <a:gd name="connsiteY407" fmla="*/ 3393940 h 6785945"/>
              <a:gd name="connsiteX408" fmla="*/ 6897382 w 8497013"/>
              <a:gd name="connsiteY408" fmla="*/ 3346863 h 6785945"/>
              <a:gd name="connsiteX409" fmla="*/ 6902781 w 8497013"/>
              <a:gd name="connsiteY409" fmla="*/ 3296819 h 6785945"/>
              <a:gd name="connsiteX410" fmla="*/ 6906357 w 8497013"/>
              <a:gd name="connsiteY410" fmla="*/ 3243924 h 6785945"/>
              <a:gd name="connsiteX411" fmla="*/ 6908336 w 8497013"/>
              <a:gd name="connsiteY411" fmla="*/ 3188297 h 6785945"/>
              <a:gd name="connsiteX412" fmla="*/ 6908946 w 8497013"/>
              <a:gd name="connsiteY412" fmla="*/ 3130057 h 6785945"/>
              <a:gd name="connsiteX413" fmla="*/ 6908304 w 8497013"/>
              <a:gd name="connsiteY413" fmla="*/ 3072388 h 6785945"/>
              <a:gd name="connsiteX414" fmla="*/ 6906234 w 8497013"/>
              <a:gd name="connsiteY414" fmla="*/ 3017299 h 6785945"/>
              <a:gd name="connsiteX415" fmla="*/ 6902524 w 8497013"/>
              <a:gd name="connsiteY415" fmla="*/ 2964906 h 6785945"/>
              <a:gd name="connsiteX416" fmla="*/ 6896958 w 8497013"/>
              <a:gd name="connsiteY416" fmla="*/ 2915330 h 6785945"/>
              <a:gd name="connsiteX417" fmla="*/ 6889323 w 8497013"/>
              <a:gd name="connsiteY417" fmla="*/ 2868686 h 6785945"/>
              <a:gd name="connsiteX418" fmla="*/ 6879405 w 8497013"/>
              <a:gd name="connsiteY418" fmla="*/ 2825095 h 6785945"/>
              <a:gd name="connsiteX419" fmla="*/ 6866989 w 8497013"/>
              <a:gd name="connsiteY419" fmla="*/ 2784674 h 6785945"/>
              <a:gd name="connsiteX420" fmla="*/ 6851862 w 8497013"/>
              <a:gd name="connsiteY420" fmla="*/ 2747542 h 6785945"/>
              <a:gd name="connsiteX421" fmla="*/ 6833809 w 8497013"/>
              <a:gd name="connsiteY421" fmla="*/ 2713816 h 6785945"/>
              <a:gd name="connsiteX422" fmla="*/ 6788071 w 8497013"/>
              <a:gd name="connsiteY422" fmla="*/ 2657057 h 6785945"/>
              <a:gd name="connsiteX423" fmla="*/ 6728062 w 8497013"/>
              <a:gd name="connsiteY423" fmla="*/ 2615344 h 6785945"/>
              <a:gd name="connsiteX424" fmla="*/ 6692170 w 8497013"/>
              <a:gd name="connsiteY424" fmla="*/ 2600425 h 6785945"/>
              <a:gd name="connsiteX425" fmla="*/ 6652069 w 8497013"/>
              <a:gd name="connsiteY425" fmla="*/ 2589622 h 6785945"/>
              <a:gd name="connsiteX426" fmla="*/ 6607544 w 8497013"/>
              <a:gd name="connsiteY426" fmla="*/ 2583054 h 6785945"/>
              <a:gd name="connsiteX427" fmla="*/ 6558381 w 8497013"/>
              <a:gd name="connsiteY427" fmla="*/ 2580838 h 6785945"/>
              <a:gd name="connsiteX428" fmla="*/ 6041510 w 8497013"/>
              <a:gd name="connsiteY428" fmla="*/ 2482346 h 6785945"/>
              <a:gd name="connsiteX429" fmla="*/ 6041510 w 8497013"/>
              <a:gd name="connsiteY429" fmla="*/ 2580838 h 6785945"/>
              <a:gd name="connsiteX430" fmla="*/ 5992624 w 8497013"/>
              <a:gd name="connsiteY430" fmla="*/ 2583054 h 6785945"/>
              <a:gd name="connsiteX431" fmla="*/ 5948343 w 8497013"/>
              <a:gd name="connsiteY431" fmla="*/ 2589622 h 6785945"/>
              <a:gd name="connsiteX432" fmla="*/ 5908457 w 8497013"/>
              <a:gd name="connsiteY432" fmla="*/ 2600425 h 6785945"/>
              <a:gd name="connsiteX433" fmla="*/ 5872751 w 8497013"/>
              <a:gd name="connsiteY433" fmla="*/ 2615344 h 6785945"/>
              <a:gd name="connsiteX434" fmla="*/ 5813036 w 8497013"/>
              <a:gd name="connsiteY434" fmla="*/ 2657057 h 6785945"/>
              <a:gd name="connsiteX435" fmla="*/ 5767502 w 8497013"/>
              <a:gd name="connsiteY435" fmla="*/ 2713816 h 6785945"/>
              <a:gd name="connsiteX436" fmla="*/ 5749523 w 8497013"/>
              <a:gd name="connsiteY436" fmla="*/ 2747542 h 6785945"/>
              <a:gd name="connsiteX437" fmla="*/ 5734453 w 8497013"/>
              <a:gd name="connsiteY437" fmla="*/ 2784674 h 6785945"/>
              <a:gd name="connsiteX438" fmla="*/ 5722081 w 8497013"/>
              <a:gd name="connsiteY438" fmla="*/ 2825095 h 6785945"/>
              <a:gd name="connsiteX439" fmla="*/ 5712193 w 8497013"/>
              <a:gd name="connsiteY439" fmla="*/ 2868686 h 6785945"/>
              <a:gd name="connsiteX440" fmla="*/ 5704579 w 8497013"/>
              <a:gd name="connsiteY440" fmla="*/ 2915330 h 6785945"/>
              <a:gd name="connsiteX441" fmla="*/ 5699026 w 8497013"/>
              <a:gd name="connsiteY441" fmla="*/ 2964906 h 6785945"/>
              <a:gd name="connsiteX442" fmla="*/ 5695322 w 8497013"/>
              <a:gd name="connsiteY442" fmla="*/ 3017299 h 6785945"/>
              <a:gd name="connsiteX443" fmla="*/ 5693255 w 8497013"/>
              <a:gd name="connsiteY443" fmla="*/ 3072388 h 6785945"/>
              <a:gd name="connsiteX444" fmla="*/ 5692613 w 8497013"/>
              <a:gd name="connsiteY444" fmla="*/ 3130057 h 6785945"/>
              <a:gd name="connsiteX445" fmla="*/ 5693239 w 8497013"/>
              <a:gd name="connsiteY445" fmla="*/ 3188297 h 6785945"/>
              <a:gd name="connsiteX446" fmla="*/ 5695261 w 8497013"/>
              <a:gd name="connsiteY446" fmla="*/ 3243924 h 6785945"/>
              <a:gd name="connsiteX447" fmla="*/ 5698898 w 8497013"/>
              <a:gd name="connsiteY447" fmla="*/ 3296819 h 6785945"/>
              <a:gd name="connsiteX448" fmla="*/ 5704367 w 8497013"/>
              <a:gd name="connsiteY448" fmla="*/ 3346863 h 6785945"/>
              <a:gd name="connsiteX449" fmla="*/ 5711888 w 8497013"/>
              <a:gd name="connsiteY449" fmla="*/ 3393940 h 6785945"/>
              <a:gd name="connsiteX450" fmla="*/ 5721677 w 8497013"/>
              <a:gd name="connsiteY450" fmla="*/ 3437930 h 6785945"/>
              <a:gd name="connsiteX451" fmla="*/ 5733954 w 8497013"/>
              <a:gd name="connsiteY451" fmla="*/ 3478715 h 6785945"/>
              <a:gd name="connsiteX452" fmla="*/ 5748936 w 8497013"/>
              <a:gd name="connsiteY452" fmla="*/ 3516176 h 6785945"/>
              <a:gd name="connsiteX453" fmla="*/ 5766842 w 8497013"/>
              <a:gd name="connsiteY453" fmla="*/ 3550197 h 6785945"/>
              <a:gd name="connsiteX454" fmla="*/ 5812296 w 8497013"/>
              <a:gd name="connsiteY454" fmla="*/ 3607441 h 6785945"/>
              <a:gd name="connsiteX455" fmla="*/ 5872062 w 8497013"/>
              <a:gd name="connsiteY455" fmla="*/ 3649501 h 6785945"/>
              <a:gd name="connsiteX456" fmla="*/ 5907857 w 8497013"/>
              <a:gd name="connsiteY456" fmla="*/ 3664541 h 6785945"/>
              <a:gd name="connsiteX457" fmla="*/ 5947885 w 8497013"/>
              <a:gd name="connsiteY457" fmla="*/ 3675430 h 6785945"/>
              <a:gd name="connsiteX458" fmla="*/ 5992363 w 8497013"/>
              <a:gd name="connsiteY458" fmla="*/ 3682051 h 6785945"/>
              <a:gd name="connsiteX459" fmla="*/ 6041510 w 8497013"/>
              <a:gd name="connsiteY459" fmla="*/ 3684284 h 6785945"/>
              <a:gd name="connsiteX460" fmla="*/ 6041510 w 8497013"/>
              <a:gd name="connsiteY460" fmla="*/ 3781106 h 6785945"/>
              <a:gd name="connsiteX461" fmla="*/ 5987987 w 8497013"/>
              <a:gd name="connsiteY461" fmla="*/ 3779217 h 6785945"/>
              <a:gd name="connsiteX462" fmla="*/ 5938507 w 8497013"/>
              <a:gd name="connsiteY462" fmla="*/ 3773604 h 6785945"/>
              <a:gd name="connsiteX463" fmla="*/ 5892927 w 8497013"/>
              <a:gd name="connsiteY463" fmla="*/ 3764350 h 6785945"/>
              <a:gd name="connsiteX464" fmla="*/ 5851109 w 8497013"/>
              <a:gd name="connsiteY464" fmla="*/ 3751538 h 6785945"/>
              <a:gd name="connsiteX465" fmla="*/ 5812912 w 8497013"/>
              <a:gd name="connsiteY465" fmla="*/ 3735251 h 6785945"/>
              <a:gd name="connsiteX466" fmla="*/ 5778195 w 8497013"/>
              <a:gd name="connsiteY466" fmla="*/ 3715570 h 6785945"/>
              <a:gd name="connsiteX467" fmla="*/ 5746818 w 8497013"/>
              <a:gd name="connsiteY467" fmla="*/ 3692580 h 6785945"/>
              <a:gd name="connsiteX468" fmla="*/ 5718642 w 8497013"/>
              <a:gd name="connsiteY468" fmla="*/ 3666361 h 6785945"/>
              <a:gd name="connsiteX469" fmla="*/ 5693526 w 8497013"/>
              <a:gd name="connsiteY469" fmla="*/ 3636998 h 6785945"/>
              <a:gd name="connsiteX470" fmla="*/ 5671329 w 8497013"/>
              <a:gd name="connsiteY470" fmla="*/ 3604572 h 6785945"/>
              <a:gd name="connsiteX471" fmla="*/ 5651912 w 8497013"/>
              <a:gd name="connsiteY471" fmla="*/ 3569166 h 6785945"/>
              <a:gd name="connsiteX472" fmla="*/ 5635134 w 8497013"/>
              <a:gd name="connsiteY472" fmla="*/ 3530863 h 6785945"/>
              <a:gd name="connsiteX473" fmla="*/ 5620855 w 8497013"/>
              <a:gd name="connsiteY473" fmla="*/ 3489745 h 6785945"/>
              <a:gd name="connsiteX474" fmla="*/ 5608935 w 8497013"/>
              <a:gd name="connsiteY474" fmla="*/ 3445896 h 6785945"/>
              <a:gd name="connsiteX475" fmla="*/ 5599234 w 8497013"/>
              <a:gd name="connsiteY475" fmla="*/ 3399397 h 6785945"/>
              <a:gd name="connsiteX476" fmla="*/ 5591611 w 8497013"/>
              <a:gd name="connsiteY476" fmla="*/ 3350332 h 6785945"/>
              <a:gd name="connsiteX477" fmla="*/ 5585926 w 8497013"/>
              <a:gd name="connsiteY477" fmla="*/ 3298782 h 6785945"/>
              <a:gd name="connsiteX478" fmla="*/ 5582039 w 8497013"/>
              <a:gd name="connsiteY478" fmla="*/ 3244832 h 6785945"/>
              <a:gd name="connsiteX479" fmla="*/ 5579809 w 8497013"/>
              <a:gd name="connsiteY479" fmla="*/ 3188562 h 6785945"/>
              <a:gd name="connsiteX480" fmla="*/ 5579098 w 8497013"/>
              <a:gd name="connsiteY480" fmla="*/ 3130057 h 6785945"/>
              <a:gd name="connsiteX481" fmla="*/ 5579833 w 8497013"/>
              <a:gd name="connsiteY481" fmla="*/ 3071801 h 6785945"/>
              <a:gd name="connsiteX482" fmla="*/ 5582129 w 8497013"/>
              <a:gd name="connsiteY482" fmla="*/ 3015781 h 6785945"/>
              <a:gd name="connsiteX483" fmla="*/ 5586118 w 8497013"/>
              <a:gd name="connsiteY483" fmla="*/ 2962076 h 6785945"/>
              <a:gd name="connsiteX484" fmla="*/ 5591931 w 8497013"/>
              <a:gd name="connsiteY484" fmla="*/ 2910770 h 6785945"/>
              <a:gd name="connsiteX485" fmla="*/ 5599704 w 8497013"/>
              <a:gd name="connsiteY485" fmla="*/ 2861942 h 6785945"/>
              <a:gd name="connsiteX486" fmla="*/ 5609567 w 8497013"/>
              <a:gd name="connsiteY486" fmla="*/ 2815675 h 6785945"/>
              <a:gd name="connsiteX487" fmla="*/ 5621653 w 8497013"/>
              <a:gd name="connsiteY487" fmla="*/ 2772049 h 6785945"/>
              <a:gd name="connsiteX488" fmla="*/ 5636096 w 8497013"/>
              <a:gd name="connsiteY488" fmla="*/ 2731147 h 6785945"/>
              <a:gd name="connsiteX489" fmla="*/ 5653028 w 8497013"/>
              <a:gd name="connsiteY489" fmla="*/ 2693049 h 6785945"/>
              <a:gd name="connsiteX490" fmla="*/ 5672581 w 8497013"/>
              <a:gd name="connsiteY490" fmla="*/ 2657837 h 6785945"/>
              <a:gd name="connsiteX491" fmla="*/ 5694889 w 8497013"/>
              <a:gd name="connsiteY491" fmla="*/ 2625592 h 6785945"/>
              <a:gd name="connsiteX492" fmla="*/ 5720085 w 8497013"/>
              <a:gd name="connsiteY492" fmla="*/ 2596396 h 6785945"/>
              <a:gd name="connsiteX493" fmla="*/ 5748300 w 8497013"/>
              <a:gd name="connsiteY493" fmla="*/ 2570330 h 6785945"/>
              <a:gd name="connsiteX494" fmla="*/ 5779667 w 8497013"/>
              <a:gd name="connsiteY494" fmla="*/ 2547475 h 6785945"/>
              <a:gd name="connsiteX495" fmla="*/ 5814320 w 8497013"/>
              <a:gd name="connsiteY495" fmla="*/ 2527914 h 6785945"/>
              <a:gd name="connsiteX496" fmla="*/ 5852391 w 8497013"/>
              <a:gd name="connsiteY496" fmla="*/ 2511726 h 6785945"/>
              <a:gd name="connsiteX497" fmla="*/ 5894013 w 8497013"/>
              <a:gd name="connsiteY497" fmla="*/ 2498994 h 6785945"/>
              <a:gd name="connsiteX498" fmla="*/ 5939318 w 8497013"/>
              <a:gd name="connsiteY498" fmla="*/ 2489799 h 6785945"/>
              <a:gd name="connsiteX499" fmla="*/ 5988439 w 8497013"/>
              <a:gd name="connsiteY499" fmla="*/ 2484222 h 6785945"/>
              <a:gd name="connsiteX500" fmla="*/ 5337245 w 8497013"/>
              <a:gd name="connsiteY500" fmla="*/ 1851325 h 6785945"/>
              <a:gd name="connsiteX501" fmla="*/ 6242037 w 8497013"/>
              <a:gd name="connsiteY501" fmla="*/ 1851325 h 6785945"/>
              <a:gd name="connsiteX502" fmla="*/ 6242037 w 8497013"/>
              <a:gd name="connsiteY502" fmla="*/ 1958164 h 6785945"/>
              <a:gd name="connsiteX503" fmla="*/ 5337245 w 8497013"/>
              <a:gd name="connsiteY503" fmla="*/ 1958164 h 6785945"/>
              <a:gd name="connsiteX504" fmla="*/ 3825296 w 8497013"/>
              <a:gd name="connsiteY504" fmla="*/ 1851325 h 6785945"/>
              <a:gd name="connsiteX505" fmla="*/ 4730088 w 8497013"/>
              <a:gd name="connsiteY505" fmla="*/ 1851325 h 6785945"/>
              <a:gd name="connsiteX506" fmla="*/ 4730088 w 8497013"/>
              <a:gd name="connsiteY506" fmla="*/ 1958164 h 6785945"/>
              <a:gd name="connsiteX507" fmla="*/ 3825296 w 8497013"/>
              <a:gd name="connsiteY507" fmla="*/ 1958164 h 6785945"/>
              <a:gd name="connsiteX508" fmla="*/ 6849172 w 8497013"/>
              <a:gd name="connsiteY508" fmla="*/ 1681043 h 6785945"/>
              <a:gd name="connsiteX509" fmla="*/ 7326608 w 8497013"/>
              <a:gd name="connsiteY509" fmla="*/ 1681043 h 6785945"/>
              <a:gd name="connsiteX510" fmla="*/ 7326608 w 8497013"/>
              <a:gd name="connsiteY510" fmla="*/ 1786212 h 6785945"/>
              <a:gd name="connsiteX511" fmla="*/ 6849172 w 8497013"/>
              <a:gd name="connsiteY511" fmla="*/ 1786212 h 6785945"/>
              <a:gd name="connsiteX512" fmla="*/ 5337245 w 8497013"/>
              <a:gd name="connsiteY512" fmla="*/ 1502429 h 6785945"/>
              <a:gd name="connsiteX513" fmla="*/ 6242037 w 8497013"/>
              <a:gd name="connsiteY513" fmla="*/ 1502429 h 6785945"/>
              <a:gd name="connsiteX514" fmla="*/ 6242037 w 8497013"/>
              <a:gd name="connsiteY514" fmla="*/ 1609267 h 6785945"/>
              <a:gd name="connsiteX515" fmla="*/ 5337245 w 8497013"/>
              <a:gd name="connsiteY515" fmla="*/ 1609267 h 6785945"/>
              <a:gd name="connsiteX516" fmla="*/ 3825296 w 8497013"/>
              <a:gd name="connsiteY516" fmla="*/ 1502429 h 6785945"/>
              <a:gd name="connsiteX517" fmla="*/ 4730088 w 8497013"/>
              <a:gd name="connsiteY517" fmla="*/ 1502429 h 6785945"/>
              <a:gd name="connsiteX518" fmla="*/ 4730088 w 8497013"/>
              <a:gd name="connsiteY518" fmla="*/ 1609267 h 6785945"/>
              <a:gd name="connsiteX519" fmla="*/ 3825296 w 8497013"/>
              <a:gd name="connsiteY519" fmla="*/ 1609267 h 6785945"/>
              <a:gd name="connsiteX520" fmla="*/ 7037373 w 8497013"/>
              <a:gd name="connsiteY520" fmla="*/ 348896 h 6785945"/>
              <a:gd name="connsiteX521" fmla="*/ 7942165 w 8497013"/>
              <a:gd name="connsiteY521" fmla="*/ 348896 h 6785945"/>
              <a:gd name="connsiteX522" fmla="*/ 7942165 w 8497013"/>
              <a:gd name="connsiteY522" fmla="*/ 455734 h 6785945"/>
              <a:gd name="connsiteX523" fmla="*/ 7037373 w 8497013"/>
              <a:gd name="connsiteY523" fmla="*/ 455734 h 6785945"/>
              <a:gd name="connsiteX524" fmla="*/ 5525404 w 8497013"/>
              <a:gd name="connsiteY524" fmla="*/ 348896 h 6785945"/>
              <a:gd name="connsiteX525" fmla="*/ 6430196 w 8497013"/>
              <a:gd name="connsiteY525" fmla="*/ 348896 h 6785945"/>
              <a:gd name="connsiteX526" fmla="*/ 6430196 w 8497013"/>
              <a:gd name="connsiteY526" fmla="*/ 455734 h 6785945"/>
              <a:gd name="connsiteX527" fmla="*/ 5525404 w 8497013"/>
              <a:gd name="connsiteY527" fmla="*/ 455734 h 6785945"/>
              <a:gd name="connsiteX528" fmla="*/ 7037373 w 8497013"/>
              <a:gd name="connsiteY528" fmla="*/ 0 h 6785945"/>
              <a:gd name="connsiteX529" fmla="*/ 7942165 w 8497013"/>
              <a:gd name="connsiteY529" fmla="*/ 0 h 6785945"/>
              <a:gd name="connsiteX530" fmla="*/ 7942165 w 8497013"/>
              <a:gd name="connsiteY530" fmla="*/ 106839 h 6785945"/>
              <a:gd name="connsiteX531" fmla="*/ 7037373 w 8497013"/>
              <a:gd name="connsiteY531" fmla="*/ 106839 h 6785945"/>
              <a:gd name="connsiteX532" fmla="*/ 5525404 w 8497013"/>
              <a:gd name="connsiteY532" fmla="*/ 0 h 6785945"/>
              <a:gd name="connsiteX533" fmla="*/ 6430196 w 8497013"/>
              <a:gd name="connsiteY533" fmla="*/ 0 h 6785945"/>
              <a:gd name="connsiteX534" fmla="*/ 6430196 w 8497013"/>
              <a:gd name="connsiteY534" fmla="*/ 106839 h 6785945"/>
              <a:gd name="connsiteX535" fmla="*/ 5525404 w 8497013"/>
              <a:gd name="connsiteY535" fmla="*/ 106839 h 678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Lst>
            <a:rect l="l" t="t" r="r" b="b"/>
            <a:pathLst>
              <a:path w="8497013" h="6785945">
                <a:moveTo>
                  <a:pt x="8393513" y="6508832"/>
                </a:moveTo>
                <a:lnTo>
                  <a:pt x="8435743" y="6512510"/>
                </a:lnTo>
                <a:lnTo>
                  <a:pt x="8468426" y="6525734"/>
                </a:lnTo>
                <a:lnTo>
                  <a:pt x="8489527" y="6551791"/>
                </a:lnTo>
                <a:lnTo>
                  <a:pt x="8497013" y="6593969"/>
                </a:lnTo>
                <a:lnTo>
                  <a:pt x="8489527" y="6638076"/>
                </a:lnTo>
                <a:lnTo>
                  <a:pt x="8468426" y="6665125"/>
                </a:lnTo>
                <a:lnTo>
                  <a:pt x="8435743" y="6678715"/>
                </a:lnTo>
                <a:lnTo>
                  <a:pt x="8393513" y="6682444"/>
                </a:lnTo>
                <a:lnTo>
                  <a:pt x="8351283" y="6678715"/>
                </a:lnTo>
                <a:lnTo>
                  <a:pt x="8318600" y="6665125"/>
                </a:lnTo>
                <a:lnTo>
                  <a:pt x="8297498" y="6638076"/>
                </a:lnTo>
                <a:lnTo>
                  <a:pt x="8290013" y="6593969"/>
                </a:lnTo>
                <a:lnTo>
                  <a:pt x="8297733" y="6551791"/>
                </a:lnTo>
                <a:lnTo>
                  <a:pt x="8319226" y="6525734"/>
                </a:lnTo>
                <a:lnTo>
                  <a:pt x="8351987" y="6512510"/>
                </a:lnTo>
                <a:close/>
                <a:moveTo>
                  <a:pt x="5162785" y="6508832"/>
                </a:moveTo>
                <a:lnTo>
                  <a:pt x="5205015" y="6512510"/>
                </a:lnTo>
                <a:lnTo>
                  <a:pt x="5237697" y="6525734"/>
                </a:lnTo>
                <a:lnTo>
                  <a:pt x="5258799" y="6551791"/>
                </a:lnTo>
                <a:lnTo>
                  <a:pt x="5266284" y="6593969"/>
                </a:lnTo>
                <a:lnTo>
                  <a:pt x="5258799" y="6638076"/>
                </a:lnTo>
                <a:lnTo>
                  <a:pt x="5237697" y="6665125"/>
                </a:lnTo>
                <a:lnTo>
                  <a:pt x="5205015" y="6678715"/>
                </a:lnTo>
                <a:lnTo>
                  <a:pt x="5162785" y="6682444"/>
                </a:lnTo>
                <a:lnTo>
                  <a:pt x="5120555" y="6678715"/>
                </a:lnTo>
                <a:lnTo>
                  <a:pt x="5087872" y="6665125"/>
                </a:lnTo>
                <a:lnTo>
                  <a:pt x="5066771" y="6638076"/>
                </a:lnTo>
                <a:lnTo>
                  <a:pt x="5059285" y="6593969"/>
                </a:lnTo>
                <a:lnTo>
                  <a:pt x="5067005" y="6551791"/>
                </a:lnTo>
                <a:lnTo>
                  <a:pt x="5088499" y="6525734"/>
                </a:lnTo>
                <a:lnTo>
                  <a:pt x="5121260" y="6512510"/>
                </a:lnTo>
                <a:close/>
                <a:moveTo>
                  <a:pt x="6674635" y="6508827"/>
                </a:moveTo>
                <a:lnTo>
                  <a:pt x="6881636" y="6508827"/>
                </a:lnTo>
                <a:lnTo>
                  <a:pt x="6881636" y="6682440"/>
                </a:lnTo>
                <a:lnTo>
                  <a:pt x="6674635" y="6682440"/>
                </a:lnTo>
                <a:close/>
                <a:moveTo>
                  <a:pt x="1511898" y="6358592"/>
                </a:moveTo>
                <a:lnTo>
                  <a:pt x="2416689" y="6358592"/>
                </a:lnTo>
                <a:lnTo>
                  <a:pt x="2416689" y="6465429"/>
                </a:lnTo>
                <a:lnTo>
                  <a:pt x="1511898" y="6465429"/>
                </a:lnTo>
                <a:close/>
                <a:moveTo>
                  <a:pt x="0" y="6358592"/>
                </a:moveTo>
                <a:lnTo>
                  <a:pt x="904792" y="6358592"/>
                </a:lnTo>
                <a:lnTo>
                  <a:pt x="904792" y="6465429"/>
                </a:lnTo>
                <a:lnTo>
                  <a:pt x="0" y="6465429"/>
                </a:lnTo>
                <a:close/>
                <a:moveTo>
                  <a:pt x="1511898" y="6009695"/>
                </a:moveTo>
                <a:lnTo>
                  <a:pt x="2416689" y="6009695"/>
                </a:lnTo>
                <a:lnTo>
                  <a:pt x="2416689" y="6116533"/>
                </a:lnTo>
                <a:lnTo>
                  <a:pt x="1511898" y="6116533"/>
                </a:lnTo>
                <a:close/>
                <a:moveTo>
                  <a:pt x="0" y="6009695"/>
                </a:moveTo>
                <a:lnTo>
                  <a:pt x="904792" y="6009695"/>
                </a:lnTo>
                <a:lnTo>
                  <a:pt x="904792" y="6116533"/>
                </a:lnTo>
                <a:lnTo>
                  <a:pt x="0" y="6116533"/>
                </a:lnTo>
                <a:close/>
                <a:moveTo>
                  <a:pt x="8393513" y="5807701"/>
                </a:moveTo>
                <a:lnTo>
                  <a:pt x="8435743" y="5811170"/>
                </a:lnTo>
                <a:lnTo>
                  <a:pt x="8468426" y="5824185"/>
                </a:lnTo>
                <a:lnTo>
                  <a:pt x="8489527" y="5850660"/>
                </a:lnTo>
                <a:lnTo>
                  <a:pt x="8497013" y="5894506"/>
                </a:lnTo>
                <a:lnTo>
                  <a:pt x="8489527" y="5936945"/>
                </a:lnTo>
                <a:lnTo>
                  <a:pt x="8468426" y="5963576"/>
                </a:lnTo>
                <a:lnTo>
                  <a:pt x="8435743" y="5977374"/>
                </a:lnTo>
                <a:lnTo>
                  <a:pt x="8393513" y="5981313"/>
                </a:lnTo>
                <a:lnTo>
                  <a:pt x="8352248" y="5977374"/>
                </a:lnTo>
                <a:lnTo>
                  <a:pt x="8320060" y="5963576"/>
                </a:lnTo>
                <a:lnTo>
                  <a:pt x="8299141" y="5936945"/>
                </a:lnTo>
                <a:lnTo>
                  <a:pt x="8291681" y="5894506"/>
                </a:lnTo>
                <a:lnTo>
                  <a:pt x="8299141" y="5850660"/>
                </a:lnTo>
                <a:lnTo>
                  <a:pt x="8320060" y="5824185"/>
                </a:lnTo>
                <a:lnTo>
                  <a:pt x="8352248" y="5811170"/>
                </a:lnTo>
                <a:close/>
                <a:moveTo>
                  <a:pt x="5162785" y="5807701"/>
                </a:moveTo>
                <a:lnTo>
                  <a:pt x="5205015" y="5811170"/>
                </a:lnTo>
                <a:lnTo>
                  <a:pt x="5237697" y="5824185"/>
                </a:lnTo>
                <a:lnTo>
                  <a:pt x="5258799" y="5850660"/>
                </a:lnTo>
                <a:lnTo>
                  <a:pt x="5266284" y="5894506"/>
                </a:lnTo>
                <a:lnTo>
                  <a:pt x="5258799" y="5936945"/>
                </a:lnTo>
                <a:lnTo>
                  <a:pt x="5237697" y="5963576"/>
                </a:lnTo>
                <a:lnTo>
                  <a:pt x="5205015" y="5977374"/>
                </a:lnTo>
                <a:lnTo>
                  <a:pt x="5162785" y="5981313"/>
                </a:lnTo>
                <a:lnTo>
                  <a:pt x="5121521" y="5977374"/>
                </a:lnTo>
                <a:lnTo>
                  <a:pt x="5089334" y="5963576"/>
                </a:lnTo>
                <a:lnTo>
                  <a:pt x="5068415" y="5936945"/>
                </a:lnTo>
                <a:lnTo>
                  <a:pt x="5060955" y="5894506"/>
                </a:lnTo>
                <a:lnTo>
                  <a:pt x="5068415" y="5850660"/>
                </a:lnTo>
                <a:lnTo>
                  <a:pt x="5089334" y="5824185"/>
                </a:lnTo>
                <a:lnTo>
                  <a:pt x="5121521" y="5811170"/>
                </a:lnTo>
                <a:close/>
                <a:moveTo>
                  <a:pt x="4008189" y="5487184"/>
                </a:moveTo>
                <a:lnTo>
                  <a:pt x="4061259" y="5489060"/>
                </a:lnTo>
                <a:lnTo>
                  <a:pt x="4110380" y="5494637"/>
                </a:lnTo>
                <a:lnTo>
                  <a:pt x="4155685" y="5503832"/>
                </a:lnTo>
                <a:lnTo>
                  <a:pt x="4197307" y="5516564"/>
                </a:lnTo>
                <a:lnTo>
                  <a:pt x="4235378" y="5532752"/>
                </a:lnTo>
                <a:lnTo>
                  <a:pt x="4270031" y="5552313"/>
                </a:lnTo>
                <a:lnTo>
                  <a:pt x="4301398" y="5575168"/>
                </a:lnTo>
                <a:lnTo>
                  <a:pt x="4329613" y="5601234"/>
                </a:lnTo>
                <a:lnTo>
                  <a:pt x="4354810" y="5630430"/>
                </a:lnTo>
                <a:lnTo>
                  <a:pt x="4377118" y="5662675"/>
                </a:lnTo>
                <a:lnTo>
                  <a:pt x="4396671" y="5697887"/>
                </a:lnTo>
                <a:lnTo>
                  <a:pt x="4413603" y="5735985"/>
                </a:lnTo>
                <a:lnTo>
                  <a:pt x="4428046" y="5776887"/>
                </a:lnTo>
                <a:lnTo>
                  <a:pt x="4440133" y="5820513"/>
                </a:lnTo>
                <a:lnTo>
                  <a:pt x="4449996" y="5866781"/>
                </a:lnTo>
                <a:lnTo>
                  <a:pt x="4457768" y="5915609"/>
                </a:lnTo>
                <a:lnTo>
                  <a:pt x="4463582" y="5966915"/>
                </a:lnTo>
                <a:lnTo>
                  <a:pt x="4467570" y="6020620"/>
                </a:lnTo>
                <a:lnTo>
                  <a:pt x="4469866" y="6076640"/>
                </a:lnTo>
                <a:lnTo>
                  <a:pt x="4470602" y="6134896"/>
                </a:lnTo>
                <a:lnTo>
                  <a:pt x="4469902" y="6193401"/>
                </a:lnTo>
                <a:lnTo>
                  <a:pt x="4467705" y="6249671"/>
                </a:lnTo>
                <a:lnTo>
                  <a:pt x="4463869" y="6303621"/>
                </a:lnTo>
                <a:lnTo>
                  <a:pt x="4458248" y="6355171"/>
                </a:lnTo>
                <a:lnTo>
                  <a:pt x="4450700" y="6404236"/>
                </a:lnTo>
                <a:lnTo>
                  <a:pt x="4441079" y="6450735"/>
                </a:lnTo>
                <a:lnTo>
                  <a:pt x="4429242" y="6494584"/>
                </a:lnTo>
                <a:lnTo>
                  <a:pt x="4415045" y="6535702"/>
                </a:lnTo>
                <a:lnTo>
                  <a:pt x="4398345" y="6574005"/>
                </a:lnTo>
                <a:lnTo>
                  <a:pt x="4378996" y="6609411"/>
                </a:lnTo>
                <a:lnTo>
                  <a:pt x="4356855" y="6641837"/>
                </a:lnTo>
                <a:lnTo>
                  <a:pt x="4331777" y="6671200"/>
                </a:lnTo>
                <a:lnTo>
                  <a:pt x="4303620" y="6697419"/>
                </a:lnTo>
                <a:lnTo>
                  <a:pt x="4272239" y="6720409"/>
                </a:lnTo>
                <a:lnTo>
                  <a:pt x="4237491" y="6740090"/>
                </a:lnTo>
                <a:lnTo>
                  <a:pt x="4199230" y="6756377"/>
                </a:lnTo>
                <a:lnTo>
                  <a:pt x="4157313" y="6769189"/>
                </a:lnTo>
                <a:lnTo>
                  <a:pt x="4111597" y="6778443"/>
                </a:lnTo>
                <a:lnTo>
                  <a:pt x="4061937" y="6784056"/>
                </a:lnTo>
                <a:lnTo>
                  <a:pt x="4008189" y="6785945"/>
                </a:lnTo>
                <a:lnTo>
                  <a:pt x="4008189" y="6689123"/>
                </a:lnTo>
                <a:lnTo>
                  <a:pt x="4057874" y="6686890"/>
                </a:lnTo>
                <a:lnTo>
                  <a:pt x="4102795" y="6680269"/>
                </a:lnTo>
                <a:lnTo>
                  <a:pt x="4143177" y="6669380"/>
                </a:lnTo>
                <a:lnTo>
                  <a:pt x="4179248" y="6654340"/>
                </a:lnTo>
                <a:lnTo>
                  <a:pt x="4239359" y="6612280"/>
                </a:lnTo>
                <a:lnTo>
                  <a:pt x="4284939" y="6555036"/>
                </a:lnTo>
                <a:lnTo>
                  <a:pt x="4302844" y="6521015"/>
                </a:lnTo>
                <a:lnTo>
                  <a:pt x="4317796" y="6483554"/>
                </a:lnTo>
                <a:lnTo>
                  <a:pt x="4330020" y="6442769"/>
                </a:lnTo>
                <a:lnTo>
                  <a:pt x="4339743" y="6398779"/>
                </a:lnTo>
                <a:lnTo>
                  <a:pt x="4347190" y="6351702"/>
                </a:lnTo>
                <a:lnTo>
                  <a:pt x="4352590" y="6301658"/>
                </a:lnTo>
                <a:lnTo>
                  <a:pt x="4356166" y="6248763"/>
                </a:lnTo>
                <a:lnTo>
                  <a:pt x="4358145" y="6193136"/>
                </a:lnTo>
                <a:lnTo>
                  <a:pt x="4358755" y="6134896"/>
                </a:lnTo>
                <a:lnTo>
                  <a:pt x="4358113" y="6077227"/>
                </a:lnTo>
                <a:lnTo>
                  <a:pt x="4356043" y="6022138"/>
                </a:lnTo>
                <a:lnTo>
                  <a:pt x="4352333" y="5969745"/>
                </a:lnTo>
                <a:lnTo>
                  <a:pt x="4346766" y="5920169"/>
                </a:lnTo>
                <a:lnTo>
                  <a:pt x="4339131" y="5873525"/>
                </a:lnTo>
                <a:lnTo>
                  <a:pt x="4329213" y="5829933"/>
                </a:lnTo>
                <a:lnTo>
                  <a:pt x="4316797" y="5789512"/>
                </a:lnTo>
                <a:lnTo>
                  <a:pt x="4301670" y="5752380"/>
                </a:lnTo>
                <a:lnTo>
                  <a:pt x="4283617" y="5718654"/>
                </a:lnTo>
                <a:lnTo>
                  <a:pt x="4237879" y="5661895"/>
                </a:lnTo>
                <a:lnTo>
                  <a:pt x="4177870" y="5620182"/>
                </a:lnTo>
                <a:lnTo>
                  <a:pt x="4141978" y="5605263"/>
                </a:lnTo>
                <a:lnTo>
                  <a:pt x="4101877" y="5594460"/>
                </a:lnTo>
                <a:lnTo>
                  <a:pt x="4057352" y="5587892"/>
                </a:lnTo>
                <a:lnTo>
                  <a:pt x="4008189" y="5585676"/>
                </a:lnTo>
                <a:close/>
                <a:moveTo>
                  <a:pt x="3491267" y="5487184"/>
                </a:moveTo>
                <a:lnTo>
                  <a:pt x="3491267" y="5585676"/>
                </a:lnTo>
                <a:lnTo>
                  <a:pt x="3442381" y="5587892"/>
                </a:lnTo>
                <a:lnTo>
                  <a:pt x="3398103" y="5594460"/>
                </a:lnTo>
                <a:lnTo>
                  <a:pt x="3358217" y="5605263"/>
                </a:lnTo>
                <a:lnTo>
                  <a:pt x="3322510" y="5620182"/>
                </a:lnTo>
                <a:lnTo>
                  <a:pt x="3262795" y="5661895"/>
                </a:lnTo>
                <a:lnTo>
                  <a:pt x="3217261" y="5718654"/>
                </a:lnTo>
                <a:lnTo>
                  <a:pt x="3199282" y="5752380"/>
                </a:lnTo>
                <a:lnTo>
                  <a:pt x="3184213" y="5789512"/>
                </a:lnTo>
                <a:lnTo>
                  <a:pt x="3171840" y="5829933"/>
                </a:lnTo>
                <a:lnTo>
                  <a:pt x="3161952" y="5873525"/>
                </a:lnTo>
                <a:lnTo>
                  <a:pt x="3154338" y="5920169"/>
                </a:lnTo>
                <a:lnTo>
                  <a:pt x="3148785" y="5969745"/>
                </a:lnTo>
                <a:lnTo>
                  <a:pt x="3145081" y="6022138"/>
                </a:lnTo>
                <a:lnTo>
                  <a:pt x="3143014" y="6077227"/>
                </a:lnTo>
                <a:lnTo>
                  <a:pt x="3142372" y="6134896"/>
                </a:lnTo>
                <a:lnTo>
                  <a:pt x="3142997" y="6193136"/>
                </a:lnTo>
                <a:lnTo>
                  <a:pt x="3145020" y="6248763"/>
                </a:lnTo>
                <a:lnTo>
                  <a:pt x="3148657" y="6301658"/>
                </a:lnTo>
                <a:lnTo>
                  <a:pt x="3154126" y="6351702"/>
                </a:lnTo>
                <a:lnTo>
                  <a:pt x="3161647" y="6398779"/>
                </a:lnTo>
                <a:lnTo>
                  <a:pt x="3171437" y="6442769"/>
                </a:lnTo>
                <a:lnTo>
                  <a:pt x="3183713" y="6483554"/>
                </a:lnTo>
                <a:lnTo>
                  <a:pt x="3198695" y="6521015"/>
                </a:lnTo>
                <a:lnTo>
                  <a:pt x="3216602" y="6555036"/>
                </a:lnTo>
                <a:lnTo>
                  <a:pt x="3262055" y="6612280"/>
                </a:lnTo>
                <a:lnTo>
                  <a:pt x="3321821" y="6654340"/>
                </a:lnTo>
                <a:lnTo>
                  <a:pt x="3357617" y="6669380"/>
                </a:lnTo>
                <a:lnTo>
                  <a:pt x="3397644" y="6680269"/>
                </a:lnTo>
                <a:lnTo>
                  <a:pt x="3442120" y="6686890"/>
                </a:lnTo>
                <a:lnTo>
                  <a:pt x="3491267" y="6689123"/>
                </a:lnTo>
                <a:lnTo>
                  <a:pt x="3491267" y="6785945"/>
                </a:lnTo>
                <a:lnTo>
                  <a:pt x="3437744" y="6784056"/>
                </a:lnTo>
                <a:lnTo>
                  <a:pt x="3388267" y="6778443"/>
                </a:lnTo>
                <a:lnTo>
                  <a:pt x="3342687" y="6769189"/>
                </a:lnTo>
                <a:lnTo>
                  <a:pt x="3300868" y="6756377"/>
                </a:lnTo>
                <a:lnTo>
                  <a:pt x="3262672" y="6740090"/>
                </a:lnTo>
                <a:lnTo>
                  <a:pt x="3227954" y="6720409"/>
                </a:lnTo>
                <a:lnTo>
                  <a:pt x="3196577" y="6697419"/>
                </a:lnTo>
                <a:lnTo>
                  <a:pt x="3168401" y="6671200"/>
                </a:lnTo>
                <a:lnTo>
                  <a:pt x="3143286" y="6641837"/>
                </a:lnTo>
                <a:lnTo>
                  <a:pt x="3121088" y="6609411"/>
                </a:lnTo>
                <a:lnTo>
                  <a:pt x="3101671" y="6574005"/>
                </a:lnTo>
                <a:lnTo>
                  <a:pt x="3084893" y="6535702"/>
                </a:lnTo>
                <a:lnTo>
                  <a:pt x="3070614" y="6494584"/>
                </a:lnTo>
                <a:lnTo>
                  <a:pt x="3058694" y="6450735"/>
                </a:lnTo>
                <a:lnTo>
                  <a:pt x="3048993" y="6404236"/>
                </a:lnTo>
                <a:lnTo>
                  <a:pt x="3041370" y="6355171"/>
                </a:lnTo>
                <a:lnTo>
                  <a:pt x="3035685" y="6303621"/>
                </a:lnTo>
                <a:lnTo>
                  <a:pt x="3031798" y="6249671"/>
                </a:lnTo>
                <a:lnTo>
                  <a:pt x="3029568" y="6193401"/>
                </a:lnTo>
                <a:lnTo>
                  <a:pt x="3028857" y="6134896"/>
                </a:lnTo>
                <a:lnTo>
                  <a:pt x="3029592" y="6076640"/>
                </a:lnTo>
                <a:lnTo>
                  <a:pt x="3031888" y="6020620"/>
                </a:lnTo>
                <a:lnTo>
                  <a:pt x="3035877" y="5966915"/>
                </a:lnTo>
                <a:lnTo>
                  <a:pt x="3041690" y="5915609"/>
                </a:lnTo>
                <a:lnTo>
                  <a:pt x="3049463" y="5866781"/>
                </a:lnTo>
                <a:lnTo>
                  <a:pt x="3059326" y="5820513"/>
                </a:lnTo>
                <a:lnTo>
                  <a:pt x="3071412" y="5776887"/>
                </a:lnTo>
                <a:lnTo>
                  <a:pt x="3085855" y="5735985"/>
                </a:lnTo>
                <a:lnTo>
                  <a:pt x="3102787" y="5697887"/>
                </a:lnTo>
                <a:lnTo>
                  <a:pt x="3122341" y="5662675"/>
                </a:lnTo>
                <a:lnTo>
                  <a:pt x="3144649" y="5630430"/>
                </a:lnTo>
                <a:lnTo>
                  <a:pt x="3169844" y="5601234"/>
                </a:lnTo>
                <a:lnTo>
                  <a:pt x="3198060" y="5575168"/>
                </a:lnTo>
                <a:lnTo>
                  <a:pt x="3229427" y="5552313"/>
                </a:lnTo>
                <a:lnTo>
                  <a:pt x="3264079" y="5532752"/>
                </a:lnTo>
                <a:lnTo>
                  <a:pt x="3302151" y="5516564"/>
                </a:lnTo>
                <a:lnTo>
                  <a:pt x="3343773" y="5503832"/>
                </a:lnTo>
                <a:lnTo>
                  <a:pt x="3389078" y="5494637"/>
                </a:lnTo>
                <a:lnTo>
                  <a:pt x="3438196" y="5489060"/>
                </a:lnTo>
                <a:close/>
                <a:moveTo>
                  <a:pt x="5569411" y="5006403"/>
                </a:moveTo>
                <a:lnTo>
                  <a:pt x="5611640" y="5010081"/>
                </a:lnTo>
                <a:lnTo>
                  <a:pt x="5644323" y="5023305"/>
                </a:lnTo>
                <a:lnTo>
                  <a:pt x="5665424" y="5049363"/>
                </a:lnTo>
                <a:lnTo>
                  <a:pt x="5672910" y="5091541"/>
                </a:lnTo>
                <a:lnTo>
                  <a:pt x="5665424" y="5135648"/>
                </a:lnTo>
                <a:lnTo>
                  <a:pt x="5644323" y="5162697"/>
                </a:lnTo>
                <a:lnTo>
                  <a:pt x="5611640" y="5176287"/>
                </a:lnTo>
                <a:lnTo>
                  <a:pt x="5569411" y="5180017"/>
                </a:lnTo>
                <a:lnTo>
                  <a:pt x="5527181" y="5176287"/>
                </a:lnTo>
                <a:lnTo>
                  <a:pt x="5494498" y="5162697"/>
                </a:lnTo>
                <a:lnTo>
                  <a:pt x="5473397" y="5135648"/>
                </a:lnTo>
                <a:lnTo>
                  <a:pt x="5465911" y="5091541"/>
                </a:lnTo>
                <a:lnTo>
                  <a:pt x="5473631" y="5049363"/>
                </a:lnTo>
                <a:lnTo>
                  <a:pt x="5495125" y="5023305"/>
                </a:lnTo>
                <a:lnTo>
                  <a:pt x="5527886" y="5010081"/>
                </a:lnTo>
                <a:close/>
                <a:moveTo>
                  <a:pt x="4804116" y="5006403"/>
                </a:moveTo>
                <a:lnTo>
                  <a:pt x="4846346" y="5010081"/>
                </a:lnTo>
                <a:lnTo>
                  <a:pt x="4879028" y="5023305"/>
                </a:lnTo>
                <a:lnTo>
                  <a:pt x="4900130" y="5049363"/>
                </a:lnTo>
                <a:lnTo>
                  <a:pt x="4907615" y="5091541"/>
                </a:lnTo>
                <a:lnTo>
                  <a:pt x="4900130" y="5135648"/>
                </a:lnTo>
                <a:lnTo>
                  <a:pt x="4879028" y="5162697"/>
                </a:lnTo>
                <a:lnTo>
                  <a:pt x="4846346" y="5176287"/>
                </a:lnTo>
                <a:lnTo>
                  <a:pt x="4804116" y="5180017"/>
                </a:lnTo>
                <a:lnTo>
                  <a:pt x="4761886" y="5176287"/>
                </a:lnTo>
                <a:lnTo>
                  <a:pt x="4729203" y="5162697"/>
                </a:lnTo>
                <a:lnTo>
                  <a:pt x="4708102" y="5135648"/>
                </a:lnTo>
                <a:lnTo>
                  <a:pt x="4700616" y="5091541"/>
                </a:lnTo>
                <a:lnTo>
                  <a:pt x="4708336" y="5049363"/>
                </a:lnTo>
                <a:lnTo>
                  <a:pt x="4729830" y="5023305"/>
                </a:lnTo>
                <a:lnTo>
                  <a:pt x="4762591" y="5010081"/>
                </a:lnTo>
                <a:close/>
                <a:moveTo>
                  <a:pt x="2787004" y="4856173"/>
                </a:moveTo>
                <a:lnTo>
                  <a:pt x="3691793" y="4856173"/>
                </a:lnTo>
                <a:lnTo>
                  <a:pt x="3691793" y="4963011"/>
                </a:lnTo>
                <a:lnTo>
                  <a:pt x="2787004" y="4963011"/>
                </a:lnTo>
                <a:close/>
                <a:moveTo>
                  <a:pt x="1275095" y="4856173"/>
                </a:moveTo>
                <a:lnTo>
                  <a:pt x="2179887" y="4856173"/>
                </a:lnTo>
                <a:lnTo>
                  <a:pt x="2179887" y="4963011"/>
                </a:lnTo>
                <a:lnTo>
                  <a:pt x="1275095" y="4963011"/>
                </a:lnTo>
                <a:close/>
                <a:moveTo>
                  <a:pt x="2787004" y="4507276"/>
                </a:moveTo>
                <a:lnTo>
                  <a:pt x="3691793" y="4507276"/>
                </a:lnTo>
                <a:lnTo>
                  <a:pt x="3691793" y="4614114"/>
                </a:lnTo>
                <a:lnTo>
                  <a:pt x="2787004" y="4614114"/>
                </a:lnTo>
                <a:close/>
                <a:moveTo>
                  <a:pt x="1275095" y="4507276"/>
                </a:moveTo>
                <a:lnTo>
                  <a:pt x="2179887" y="4507276"/>
                </a:lnTo>
                <a:lnTo>
                  <a:pt x="2179887" y="4614114"/>
                </a:lnTo>
                <a:lnTo>
                  <a:pt x="1275095" y="4614114"/>
                </a:lnTo>
                <a:close/>
                <a:moveTo>
                  <a:pt x="5569411" y="4305272"/>
                </a:moveTo>
                <a:lnTo>
                  <a:pt x="5611640" y="4308741"/>
                </a:lnTo>
                <a:lnTo>
                  <a:pt x="5644323" y="4321757"/>
                </a:lnTo>
                <a:lnTo>
                  <a:pt x="5665424" y="4348232"/>
                </a:lnTo>
                <a:lnTo>
                  <a:pt x="5672910" y="4392078"/>
                </a:lnTo>
                <a:lnTo>
                  <a:pt x="5665424" y="4434517"/>
                </a:lnTo>
                <a:lnTo>
                  <a:pt x="5644323" y="4461148"/>
                </a:lnTo>
                <a:lnTo>
                  <a:pt x="5611640" y="4474946"/>
                </a:lnTo>
                <a:lnTo>
                  <a:pt x="5569411" y="4478885"/>
                </a:lnTo>
                <a:lnTo>
                  <a:pt x="5528147" y="4474946"/>
                </a:lnTo>
                <a:lnTo>
                  <a:pt x="5495959" y="4461148"/>
                </a:lnTo>
                <a:lnTo>
                  <a:pt x="5475040" y="4434517"/>
                </a:lnTo>
                <a:lnTo>
                  <a:pt x="5467580" y="4392078"/>
                </a:lnTo>
                <a:lnTo>
                  <a:pt x="5475040" y="4348232"/>
                </a:lnTo>
                <a:lnTo>
                  <a:pt x="5495959" y="4321757"/>
                </a:lnTo>
                <a:lnTo>
                  <a:pt x="5528147" y="4308741"/>
                </a:lnTo>
                <a:close/>
                <a:moveTo>
                  <a:pt x="4804116" y="4305272"/>
                </a:moveTo>
                <a:lnTo>
                  <a:pt x="4846346" y="4308741"/>
                </a:lnTo>
                <a:lnTo>
                  <a:pt x="4879028" y="4321757"/>
                </a:lnTo>
                <a:lnTo>
                  <a:pt x="4900130" y="4348232"/>
                </a:lnTo>
                <a:lnTo>
                  <a:pt x="4907615" y="4392078"/>
                </a:lnTo>
                <a:lnTo>
                  <a:pt x="4900130" y="4434517"/>
                </a:lnTo>
                <a:lnTo>
                  <a:pt x="4879028" y="4461148"/>
                </a:lnTo>
                <a:lnTo>
                  <a:pt x="4846346" y="4474946"/>
                </a:lnTo>
                <a:lnTo>
                  <a:pt x="4804116" y="4478885"/>
                </a:lnTo>
                <a:lnTo>
                  <a:pt x="4762852" y="4474946"/>
                </a:lnTo>
                <a:lnTo>
                  <a:pt x="4730664" y="4461148"/>
                </a:lnTo>
                <a:lnTo>
                  <a:pt x="4709745" y="4434517"/>
                </a:lnTo>
                <a:lnTo>
                  <a:pt x="4702285" y="4392078"/>
                </a:lnTo>
                <a:lnTo>
                  <a:pt x="4709745" y="4348232"/>
                </a:lnTo>
                <a:lnTo>
                  <a:pt x="4730664" y="4321757"/>
                </a:lnTo>
                <a:lnTo>
                  <a:pt x="4762852" y="4308741"/>
                </a:lnTo>
                <a:close/>
                <a:moveTo>
                  <a:pt x="7712987" y="3503986"/>
                </a:moveTo>
                <a:lnTo>
                  <a:pt x="7763122" y="3509568"/>
                </a:lnTo>
                <a:lnTo>
                  <a:pt x="7795147" y="3526208"/>
                </a:lnTo>
                <a:lnTo>
                  <a:pt x="7811787" y="3553746"/>
                </a:lnTo>
                <a:lnTo>
                  <a:pt x="7815767" y="3592021"/>
                </a:lnTo>
                <a:lnTo>
                  <a:pt x="7809810" y="3640873"/>
                </a:lnTo>
                <a:lnTo>
                  <a:pt x="7763068" y="3887939"/>
                </a:lnTo>
                <a:lnTo>
                  <a:pt x="7682939" y="3887939"/>
                </a:lnTo>
                <a:lnTo>
                  <a:pt x="7709648" y="3677600"/>
                </a:lnTo>
                <a:lnTo>
                  <a:pt x="7668644" y="3673635"/>
                </a:lnTo>
                <a:lnTo>
                  <a:pt x="7637031" y="3659654"/>
                </a:lnTo>
                <a:lnTo>
                  <a:pt x="7616686" y="3632527"/>
                </a:lnTo>
                <a:lnTo>
                  <a:pt x="7609487" y="3589124"/>
                </a:lnTo>
                <a:lnTo>
                  <a:pt x="7617207" y="3546946"/>
                </a:lnTo>
                <a:lnTo>
                  <a:pt x="7638700" y="3520888"/>
                </a:lnTo>
                <a:lnTo>
                  <a:pt x="7671461" y="3507664"/>
                </a:lnTo>
                <a:close/>
                <a:moveTo>
                  <a:pt x="4062097" y="3353744"/>
                </a:moveTo>
                <a:lnTo>
                  <a:pt x="4966889" y="3353744"/>
                </a:lnTo>
                <a:lnTo>
                  <a:pt x="4966889" y="3460582"/>
                </a:lnTo>
                <a:lnTo>
                  <a:pt x="4062097" y="3460582"/>
                </a:lnTo>
                <a:close/>
                <a:moveTo>
                  <a:pt x="2550201" y="3353744"/>
                </a:moveTo>
                <a:lnTo>
                  <a:pt x="3454992" y="3353744"/>
                </a:lnTo>
                <a:lnTo>
                  <a:pt x="3454992" y="3460582"/>
                </a:lnTo>
                <a:lnTo>
                  <a:pt x="2550201" y="3460582"/>
                </a:lnTo>
                <a:close/>
                <a:moveTo>
                  <a:pt x="4062097" y="3004848"/>
                </a:moveTo>
                <a:lnTo>
                  <a:pt x="4966889" y="3004848"/>
                </a:lnTo>
                <a:lnTo>
                  <a:pt x="4966889" y="3111686"/>
                </a:lnTo>
                <a:lnTo>
                  <a:pt x="4062097" y="3111686"/>
                </a:lnTo>
                <a:close/>
                <a:moveTo>
                  <a:pt x="2550201" y="3004848"/>
                </a:moveTo>
                <a:lnTo>
                  <a:pt x="3454992" y="3004848"/>
                </a:lnTo>
                <a:lnTo>
                  <a:pt x="3454992" y="3111686"/>
                </a:lnTo>
                <a:lnTo>
                  <a:pt x="2550201" y="3111686"/>
                </a:lnTo>
                <a:close/>
                <a:moveTo>
                  <a:pt x="7712987" y="2802855"/>
                </a:moveTo>
                <a:lnTo>
                  <a:pt x="7755217" y="2806324"/>
                </a:lnTo>
                <a:lnTo>
                  <a:pt x="7787900" y="2819339"/>
                </a:lnTo>
                <a:lnTo>
                  <a:pt x="7809002" y="2845814"/>
                </a:lnTo>
                <a:lnTo>
                  <a:pt x="7816489" y="2889661"/>
                </a:lnTo>
                <a:lnTo>
                  <a:pt x="7809002" y="2932099"/>
                </a:lnTo>
                <a:lnTo>
                  <a:pt x="7787900" y="2958731"/>
                </a:lnTo>
                <a:lnTo>
                  <a:pt x="7755217" y="2972529"/>
                </a:lnTo>
                <a:lnTo>
                  <a:pt x="7712987" y="2976468"/>
                </a:lnTo>
                <a:lnTo>
                  <a:pt x="7671722" y="2972529"/>
                </a:lnTo>
                <a:lnTo>
                  <a:pt x="7639535" y="2958731"/>
                </a:lnTo>
                <a:lnTo>
                  <a:pt x="7618615" y="2932099"/>
                </a:lnTo>
                <a:lnTo>
                  <a:pt x="7611156" y="2889661"/>
                </a:lnTo>
                <a:lnTo>
                  <a:pt x="7618615" y="2845814"/>
                </a:lnTo>
                <a:lnTo>
                  <a:pt x="7639535" y="2819339"/>
                </a:lnTo>
                <a:lnTo>
                  <a:pt x="7671722" y="2806324"/>
                </a:lnTo>
                <a:close/>
                <a:moveTo>
                  <a:pt x="6558381" y="2482346"/>
                </a:moveTo>
                <a:lnTo>
                  <a:pt x="6611451" y="2484222"/>
                </a:lnTo>
                <a:lnTo>
                  <a:pt x="6660572" y="2489799"/>
                </a:lnTo>
                <a:lnTo>
                  <a:pt x="6705877" y="2498994"/>
                </a:lnTo>
                <a:lnTo>
                  <a:pt x="6747499" y="2511726"/>
                </a:lnTo>
                <a:lnTo>
                  <a:pt x="6785570" y="2527914"/>
                </a:lnTo>
                <a:lnTo>
                  <a:pt x="6820223" y="2547475"/>
                </a:lnTo>
                <a:lnTo>
                  <a:pt x="6851590" y="2570330"/>
                </a:lnTo>
                <a:lnTo>
                  <a:pt x="6879805" y="2596396"/>
                </a:lnTo>
                <a:lnTo>
                  <a:pt x="6905001" y="2625592"/>
                </a:lnTo>
                <a:lnTo>
                  <a:pt x="6927309" y="2657837"/>
                </a:lnTo>
                <a:lnTo>
                  <a:pt x="6946862" y="2693049"/>
                </a:lnTo>
                <a:lnTo>
                  <a:pt x="6963794" y="2731147"/>
                </a:lnTo>
                <a:lnTo>
                  <a:pt x="6978237" y="2772049"/>
                </a:lnTo>
                <a:lnTo>
                  <a:pt x="6990324" y="2815675"/>
                </a:lnTo>
                <a:lnTo>
                  <a:pt x="7000187" y="2861942"/>
                </a:lnTo>
                <a:lnTo>
                  <a:pt x="7007959" y="2910770"/>
                </a:lnTo>
                <a:lnTo>
                  <a:pt x="7013773" y="2962076"/>
                </a:lnTo>
                <a:lnTo>
                  <a:pt x="7017761" y="3015781"/>
                </a:lnTo>
                <a:lnTo>
                  <a:pt x="7020057" y="3071801"/>
                </a:lnTo>
                <a:lnTo>
                  <a:pt x="7020793" y="3130057"/>
                </a:lnTo>
                <a:lnTo>
                  <a:pt x="7020093" y="3188562"/>
                </a:lnTo>
                <a:lnTo>
                  <a:pt x="7017896" y="3244832"/>
                </a:lnTo>
                <a:lnTo>
                  <a:pt x="7014060" y="3298782"/>
                </a:lnTo>
                <a:lnTo>
                  <a:pt x="7008439" y="3350332"/>
                </a:lnTo>
                <a:lnTo>
                  <a:pt x="7000891" y="3399397"/>
                </a:lnTo>
                <a:lnTo>
                  <a:pt x="6991270" y="3445896"/>
                </a:lnTo>
                <a:lnTo>
                  <a:pt x="6979433" y="3489745"/>
                </a:lnTo>
                <a:lnTo>
                  <a:pt x="6965236" y="3530863"/>
                </a:lnTo>
                <a:lnTo>
                  <a:pt x="6948536" y="3569166"/>
                </a:lnTo>
                <a:lnTo>
                  <a:pt x="6929187" y="3604572"/>
                </a:lnTo>
                <a:lnTo>
                  <a:pt x="6907046" y="3636998"/>
                </a:lnTo>
                <a:lnTo>
                  <a:pt x="6881969" y="3666361"/>
                </a:lnTo>
                <a:lnTo>
                  <a:pt x="6853812" y="3692580"/>
                </a:lnTo>
                <a:lnTo>
                  <a:pt x="6822431" y="3715570"/>
                </a:lnTo>
                <a:lnTo>
                  <a:pt x="6787683" y="3735251"/>
                </a:lnTo>
                <a:lnTo>
                  <a:pt x="6749422" y="3751538"/>
                </a:lnTo>
                <a:lnTo>
                  <a:pt x="6707505" y="3764350"/>
                </a:lnTo>
                <a:lnTo>
                  <a:pt x="6661789" y="3773604"/>
                </a:lnTo>
                <a:lnTo>
                  <a:pt x="6612129" y="3779217"/>
                </a:lnTo>
                <a:lnTo>
                  <a:pt x="6558381" y="3781106"/>
                </a:lnTo>
                <a:lnTo>
                  <a:pt x="6558381" y="3684284"/>
                </a:lnTo>
                <a:lnTo>
                  <a:pt x="6608066" y="3682051"/>
                </a:lnTo>
                <a:lnTo>
                  <a:pt x="6652986" y="3675430"/>
                </a:lnTo>
                <a:lnTo>
                  <a:pt x="6693369" y="3664541"/>
                </a:lnTo>
                <a:lnTo>
                  <a:pt x="6729440" y="3649501"/>
                </a:lnTo>
                <a:lnTo>
                  <a:pt x="6789551" y="3607441"/>
                </a:lnTo>
                <a:lnTo>
                  <a:pt x="6835130" y="3550197"/>
                </a:lnTo>
                <a:lnTo>
                  <a:pt x="6853036" y="3516176"/>
                </a:lnTo>
                <a:lnTo>
                  <a:pt x="6867988" y="3478715"/>
                </a:lnTo>
                <a:lnTo>
                  <a:pt x="6880212" y="3437930"/>
                </a:lnTo>
                <a:lnTo>
                  <a:pt x="6889935" y="3393940"/>
                </a:lnTo>
                <a:lnTo>
                  <a:pt x="6897382" y="3346863"/>
                </a:lnTo>
                <a:lnTo>
                  <a:pt x="6902781" y="3296819"/>
                </a:lnTo>
                <a:lnTo>
                  <a:pt x="6906357" y="3243924"/>
                </a:lnTo>
                <a:lnTo>
                  <a:pt x="6908336" y="3188297"/>
                </a:lnTo>
                <a:lnTo>
                  <a:pt x="6908946" y="3130057"/>
                </a:lnTo>
                <a:lnTo>
                  <a:pt x="6908304" y="3072388"/>
                </a:lnTo>
                <a:lnTo>
                  <a:pt x="6906234" y="3017299"/>
                </a:lnTo>
                <a:lnTo>
                  <a:pt x="6902524" y="2964906"/>
                </a:lnTo>
                <a:lnTo>
                  <a:pt x="6896958" y="2915330"/>
                </a:lnTo>
                <a:lnTo>
                  <a:pt x="6889323" y="2868686"/>
                </a:lnTo>
                <a:lnTo>
                  <a:pt x="6879405" y="2825095"/>
                </a:lnTo>
                <a:lnTo>
                  <a:pt x="6866989" y="2784674"/>
                </a:lnTo>
                <a:lnTo>
                  <a:pt x="6851862" y="2747542"/>
                </a:lnTo>
                <a:lnTo>
                  <a:pt x="6833809" y="2713816"/>
                </a:lnTo>
                <a:lnTo>
                  <a:pt x="6788071" y="2657057"/>
                </a:lnTo>
                <a:lnTo>
                  <a:pt x="6728062" y="2615344"/>
                </a:lnTo>
                <a:lnTo>
                  <a:pt x="6692170" y="2600425"/>
                </a:lnTo>
                <a:lnTo>
                  <a:pt x="6652069" y="2589622"/>
                </a:lnTo>
                <a:lnTo>
                  <a:pt x="6607544" y="2583054"/>
                </a:lnTo>
                <a:lnTo>
                  <a:pt x="6558381" y="2580838"/>
                </a:lnTo>
                <a:close/>
                <a:moveTo>
                  <a:pt x="6041510" y="2482346"/>
                </a:moveTo>
                <a:lnTo>
                  <a:pt x="6041510" y="2580838"/>
                </a:lnTo>
                <a:lnTo>
                  <a:pt x="5992624" y="2583054"/>
                </a:lnTo>
                <a:lnTo>
                  <a:pt x="5948343" y="2589622"/>
                </a:lnTo>
                <a:lnTo>
                  <a:pt x="5908457" y="2600425"/>
                </a:lnTo>
                <a:lnTo>
                  <a:pt x="5872751" y="2615344"/>
                </a:lnTo>
                <a:lnTo>
                  <a:pt x="5813036" y="2657057"/>
                </a:lnTo>
                <a:lnTo>
                  <a:pt x="5767502" y="2713816"/>
                </a:lnTo>
                <a:lnTo>
                  <a:pt x="5749523" y="2747542"/>
                </a:lnTo>
                <a:lnTo>
                  <a:pt x="5734453" y="2784674"/>
                </a:lnTo>
                <a:lnTo>
                  <a:pt x="5722081" y="2825095"/>
                </a:lnTo>
                <a:lnTo>
                  <a:pt x="5712193" y="2868686"/>
                </a:lnTo>
                <a:lnTo>
                  <a:pt x="5704579" y="2915330"/>
                </a:lnTo>
                <a:lnTo>
                  <a:pt x="5699026" y="2964906"/>
                </a:lnTo>
                <a:lnTo>
                  <a:pt x="5695322" y="3017299"/>
                </a:lnTo>
                <a:lnTo>
                  <a:pt x="5693255" y="3072388"/>
                </a:lnTo>
                <a:lnTo>
                  <a:pt x="5692613" y="3130057"/>
                </a:lnTo>
                <a:lnTo>
                  <a:pt x="5693239" y="3188297"/>
                </a:lnTo>
                <a:lnTo>
                  <a:pt x="5695261" y="3243924"/>
                </a:lnTo>
                <a:lnTo>
                  <a:pt x="5698898" y="3296819"/>
                </a:lnTo>
                <a:lnTo>
                  <a:pt x="5704367" y="3346863"/>
                </a:lnTo>
                <a:lnTo>
                  <a:pt x="5711888" y="3393940"/>
                </a:lnTo>
                <a:lnTo>
                  <a:pt x="5721677" y="3437930"/>
                </a:lnTo>
                <a:lnTo>
                  <a:pt x="5733954" y="3478715"/>
                </a:lnTo>
                <a:lnTo>
                  <a:pt x="5748936" y="3516176"/>
                </a:lnTo>
                <a:lnTo>
                  <a:pt x="5766842" y="3550197"/>
                </a:lnTo>
                <a:lnTo>
                  <a:pt x="5812296" y="3607441"/>
                </a:lnTo>
                <a:lnTo>
                  <a:pt x="5872062" y="3649501"/>
                </a:lnTo>
                <a:lnTo>
                  <a:pt x="5907857" y="3664541"/>
                </a:lnTo>
                <a:lnTo>
                  <a:pt x="5947885" y="3675430"/>
                </a:lnTo>
                <a:lnTo>
                  <a:pt x="5992363" y="3682051"/>
                </a:lnTo>
                <a:lnTo>
                  <a:pt x="6041510" y="3684284"/>
                </a:lnTo>
                <a:lnTo>
                  <a:pt x="6041510" y="3781106"/>
                </a:lnTo>
                <a:lnTo>
                  <a:pt x="5987987" y="3779217"/>
                </a:lnTo>
                <a:lnTo>
                  <a:pt x="5938507" y="3773604"/>
                </a:lnTo>
                <a:lnTo>
                  <a:pt x="5892927" y="3764350"/>
                </a:lnTo>
                <a:lnTo>
                  <a:pt x="5851109" y="3751538"/>
                </a:lnTo>
                <a:lnTo>
                  <a:pt x="5812912" y="3735251"/>
                </a:lnTo>
                <a:lnTo>
                  <a:pt x="5778195" y="3715570"/>
                </a:lnTo>
                <a:lnTo>
                  <a:pt x="5746818" y="3692580"/>
                </a:lnTo>
                <a:lnTo>
                  <a:pt x="5718642" y="3666361"/>
                </a:lnTo>
                <a:lnTo>
                  <a:pt x="5693526" y="3636998"/>
                </a:lnTo>
                <a:lnTo>
                  <a:pt x="5671329" y="3604572"/>
                </a:lnTo>
                <a:lnTo>
                  <a:pt x="5651912" y="3569166"/>
                </a:lnTo>
                <a:lnTo>
                  <a:pt x="5635134" y="3530863"/>
                </a:lnTo>
                <a:lnTo>
                  <a:pt x="5620855" y="3489745"/>
                </a:lnTo>
                <a:lnTo>
                  <a:pt x="5608935" y="3445896"/>
                </a:lnTo>
                <a:lnTo>
                  <a:pt x="5599234" y="3399397"/>
                </a:lnTo>
                <a:lnTo>
                  <a:pt x="5591611" y="3350332"/>
                </a:lnTo>
                <a:lnTo>
                  <a:pt x="5585926" y="3298782"/>
                </a:lnTo>
                <a:lnTo>
                  <a:pt x="5582039" y="3244832"/>
                </a:lnTo>
                <a:lnTo>
                  <a:pt x="5579809" y="3188562"/>
                </a:lnTo>
                <a:lnTo>
                  <a:pt x="5579098" y="3130057"/>
                </a:lnTo>
                <a:lnTo>
                  <a:pt x="5579833" y="3071801"/>
                </a:lnTo>
                <a:lnTo>
                  <a:pt x="5582129" y="3015781"/>
                </a:lnTo>
                <a:lnTo>
                  <a:pt x="5586118" y="2962076"/>
                </a:lnTo>
                <a:lnTo>
                  <a:pt x="5591931" y="2910770"/>
                </a:lnTo>
                <a:lnTo>
                  <a:pt x="5599704" y="2861942"/>
                </a:lnTo>
                <a:lnTo>
                  <a:pt x="5609567" y="2815675"/>
                </a:lnTo>
                <a:lnTo>
                  <a:pt x="5621653" y="2772049"/>
                </a:lnTo>
                <a:lnTo>
                  <a:pt x="5636096" y="2731147"/>
                </a:lnTo>
                <a:lnTo>
                  <a:pt x="5653028" y="2693049"/>
                </a:lnTo>
                <a:lnTo>
                  <a:pt x="5672581" y="2657837"/>
                </a:lnTo>
                <a:lnTo>
                  <a:pt x="5694889" y="2625592"/>
                </a:lnTo>
                <a:lnTo>
                  <a:pt x="5720085" y="2596396"/>
                </a:lnTo>
                <a:lnTo>
                  <a:pt x="5748300" y="2570330"/>
                </a:lnTo>
                <a:lnTo>
                  <a:pt x="5779667" y="2547475"/>
                </a:lnTo>
                <a:lnTo>
                  <a:pt x="5814320" y="2527914"/>
                </a:lnTo>
                <a:lnTo>
                  <a:pt x="5852391" y="2511726"/>
                </a:lnTo>
                <a:lnTo>
                  <a:pt x="5894013" y="2498994"/>
                </a:lnTo>
                <a:lnTo>
                  <a:pt x="5939318" y="2489799"/>
                </a:lnTo>
                <a:lnTo>
                  <a:pt x="5988439" y="2484222"/>
                </a:lnTo>
                <a:close/>
                <a:moveTo>
                  <a:pt x="5337245" y="1851325"/>
                </a:moveTo>
                <a:lnTo>
                  <a:pt x="6242037" y="1851325"/>
                </a:lnTo>
                <a:lnTo>
                  <a:pt x="6242037" y="1958164"/>
                </a:lnTo>
                <a:lnTo>
                  <a:pt x="5337245" y="1958164"/>
                </a:lnTo>
                <a:close/>
                <a:moveTo>
                  <a:pt x="3825296" y="1851325"/>
                </a:moveTo>
                <a:lnTo>
                  <a:pt x="4730088" y="1851325"/>
                </a:lnTo>
                <a:lnTo>
                  <a:pt x="4730088" y="1958164"/>
                </a:lnTo>
                <a:lnTo>
                  <a:pt x="3825296" y="1958164"/>
                </a:lnTo>
                <a:close/>
                <a:moveTo>
                  <a:pt x="6849172" y="1681043"/>
                </a:moveTo>
                <a:lnTo>
                  <a:pt x="7326608" y="1681043"/>
                </a:lnTo>
                <a:lnTo>
                  <a:pt x="7326608" y="1786212"/>
                </a:lnTo>
                <a:lnTo>
                  <a:pt x="6849172" y="1786212"/>
                </a:lnTo>
                <a:close/>
                <a:moveTo>
                  <a:pt x="5337245" y="1502429"/>
                </a:moveTo>
                <a:lnTo>
                  <a:pt x="6242037" y="1502429"/>
                </a:lnTo>
                <a:lnTo>
                  <a:pt x="6242037" y="1609267"/>
                </a:lnTo>
                <a:lnTo>
                  <a:pt x="5337245" y="1609267"/>
                </a:lnTo>
                <a:close/>
                <a:moveTo>
                  <a:pt x="3825296" y="1502429"/>
                </a:moveTo>
                <a:lnTo>
                  <a:pt x="4730088" y="1502429"/>
                </a:lnTo>
                <a:lnTo>
                  <a:pt x="4730088" y="1609267"/>
                </a:lnTo>
                <a:lnTo>
                  <a:pt x="3825296" y="1609267"/>
                </a:lnTo>
                <a:close/>
                <a:moveTo>
                  <a:pt x="7037373" y="348896"/>
                </a:moveTo>
                <a:lnTo>
                  <a:pt x="7942165" y="348896"/>
                </a:lnTo>
                <a:lnTo>
                  <a:pt x="7942165" y="455734"/>
                </a:lnTo>
                <a:lnTo>
                  <a:pt x="7037373" y="455734"/>
                </a:lnTo>
                <a:close/>
                <a:moveTo>
                  <a:pt x="5525404" y="348896"/>
                </a:moveTo>
                <a:lnTo>
                  <a:pt x="6430196" y="348896"/>
                </a:lnTo>
                <a:lnTo>
                  <a:pt x="6430196" y="455734"/>
                </a:lnTo>
                <a:lnTo>
                  <a:pt x="5525404" y="455734"/>
                </a:lnTo>
                <a:close/>
                <a:moveTo>
                  <a:pt x="7037373" y="0"/>
                </a:moveTo>
                <a:lnTo>
                  <a:pt x="7942165" y="0"/>
                </a:lnTo>
                <a:lnTo>
                  <a:pt x="7942165" y="106839"/>
                </a:lnTo>
                <a:lnTo>
                  <a:pt x="7037373" y="106839"/>
                </a:lnTo>
                <a:close/>
                <a:moveTo>
                  <a:pt x="5525404" y="0"/>
                </a:moveTo>
                <a:lnTo>
                  <a:pt x="6430196" y="0"/>
                </a:lnTo>
                <a:lnTo>
                  <a:pt x="6430196" y="106839"/>
                </a:lnTo>
                <a:lnTo>
                  <a:pt x="5525404" y="106839"/>
                </a:lnTo>
                <a:close/>
              </a:path>
            </a:pathLst>
          </a:custGeom>
          <a:solidFill>
            <a:srgbClr val="88C66D"/>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05220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reaker I">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rgbClr val="21212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dirty="0"/>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rgbClr val="212121"/>
                </a:solidFill>
              </a:defRPr>
            </a:lvl1pPr>
          </a:lstStyle>
          <a:p>
            <a:r>
              <a:rPr lang="da-DK" dirty="0"/>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rgbClr val="212121"/>
                </a:solidFill>
              </a:defRPr>
            </a:lvl1pPr>
          </a:lstStyle>
          <a:p>
            <a:fld id="{C478D43B-6DB1-49ED-A3EC-43DFBB246817}" type="datetime2">
              <a:rPr lang="da-DK" smtClean="0"/>
              <a:pPr/>
              <a:t>11. december 2025</a:t>
            </a:fld>
            <a:endParaRPr lang="da-DK" dirty="0"/>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rgbClr val="212121"/>
                </a:solidFill>
              </a:defRPr>
            </a:lvl1pPr>
          </a:lstStyle>
          <a:p>
            <a:r>
              <a:rPr lang="da-DK" dirty="0"/>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rgbClr val="212121"/>
                </a:solidFill>
              </a:defRPr>
            </a:lvl1pPr>
          </a:lstStyle>
          <a:p>
            <a:fld id="{24C8C45C-947F-4981-8B3F-4F32E973C901}" type="slidenum">
              <a:rPr lang="da-DK" smtClean="0"/>
              <a:pPr/>
              <a:t>‹nr.›</a:t>
            </a:fld>
            <a:endParaRPr lang="da-DK" dirty="0"/>
          </a:p>
        </p:txBody>
      </p:sp>
      <p:sp>
        <p:nvSpPr>
          <p:cNvPr id="5" name="Mikro grafik 1">
            <a:extLst>
              <a:ext uri="{FF2B5EF4-FFF2-40B4-BE49-F238E27FC236}">
                <a16:creationId xmlns:a16="http://schemas.microsoft.com/office/drawing/2014/main" id="{8E8246C8-AEEC-66A0-3B85-75D6EBE031F7}"/>
              </a:ext>
            </a:extLst>
          </p:cNvPr>
          <p:cNvSpPr/>
          <p:nvPr userDrawn="1"/>
        </p:nvSpPr>
        <p:spPr>
          <a:xfrm>
            <a:off x="405001" y="915672"/>
            <a:ext cx="3748256" cy="3312156"/>
          </a:xfrm>
          <a:custGeom>
            <a:avLst/>
            <a:gdLst>
              <a:gd name="connsiteX0" fmla="*/ 5241587 w 8266922"/>
              <a:gd name="connsiteY0" fmla="*/ 7031344 h 7305087"/>
              <a:gd name="connsiteX1" fmla="*/ 5448586 w 8266922"/>
              <a:gd name="connsiteY1" fmla="*/ 7031344 h 7305087"/>
              <a:gd name="connsiteX2" fmla="*/ 5448586 w 8266922"/>
              <a:gd name="connsiteY2" fmla="*/ 7204957 h 7305087"/>
              <a:gd name="connsiteX3" fmla="*/ 5241587 w 8266922"/>
              <a:gd name="connsiteY3" fmla="*/ 7204957 h 7305087"/>
              <a:gd name="connsiteX4" fmla="*/ 2946862 w 8266922"/>
              <a:gd name="connsiteY4" fmla="*/ 7031344 h 7305087"/>
              <a:gd name="connsiteX5" fmla="*/ 3153861 w 8266922"/>
              <a:gd name="connsiteY5" fmla="*/ 7031344 h 7305087"/>
              <a:gd name="connsiteX6" fmla="*/ 3153861 w 8266922"/>
              <a:gd name="connsiteY6" fmla="*/ 7204957 h 7305087"/>
              <a:gd name="connsiteX7" fmla="*/ 2946862 w 8266922"/>
              <a:gd name="connsiteY7" fmla="*/ 7204957 h 7305087"/>
              <a:gd name="connsiteX8" fmla="*/ 4247643 w 8266922"/>
              <a:gd name="connsiteY8" fmla="*/ 6016037 h 7305087"/>
              <a:gd name="connsiteX9" fmla="*/ 4621582 w 8266922"/>
              <a:gd name="connsiteY9" fmla="*/ 6016037 h 7305087"/>
              <a:gd name="connsiteX10" fmla="*/ 4621582 w 8266922"/>
              <a:gd name="connsiteY10" fmla="*/ 6111287 h 7305087"/>
              <a:gd name="connsiteX11" fmla="*/ 4621582 w 8266922"/>
              <a:gd name="connsiteY11" fmla="*/ 7209837 h 7305087"/>
              <a:gd name="connsiteX12" fmla="*/ 4621582 w 8266922"/>
              <a:gd name="connsiteY12" fmla="*/ 7305087 h 7305087"/>
              <a:gd name="connsiteX13" fmla="*/ 4247643 w 8266922"/>
              <a:gd name="connsiteY13" fmla="*/ 7305087 h 7305087"/>
              <a:gd name="connsiteX14" fmla="*/ 4247643 w 8266922"/>
              <a:gd name="connsiteY14" fmla="*/ 7209837 h 7305087"/>
              <a:gd name="connsiteX15" fmla="*/ 4506393 w 8266922"/>
              <a:gd name="connsiteY15" fmla="*/ 7209837 h 7305087"/>
              <a:gd name="connsiteX16" fmla="*/ 4506393 w 8266922"/>
              <a:gd name="connsiteY16" fmla="*/ 6111287 h 7305087"/>
              <a:gd name="connsiteX17" fmla="*/ 4247643 w 8266922"/>
              <a:gd name="connsiteY17" fmla="*/ 6111287 h 7305087"/>
              <a:gd name="connsiteX18" fmla="*/ 3773921 w 8266922"/>
              <a:gd name="connsiteY18" fmla="*/ 6016037 h 7305087"/>
              <a:gd name="connsiteX19" fmla="*/ 4147860 w 8266922"/>
              <a:gd name="connsiteY19" fmla="*/ 6016037 h 7305087"/>
              <a:gd name="connsiteX20" fmla="*/ 4147860 w 8266922"/>
              <a:gd name="connsiteY20" fmla="*/ 6111287 h 7305087"/>
              <a:gd name="connsiteX21" fmla="*/ 3889111 w 8266922"/>
              <a:gd name="connsiteY21" fmla="*/ 6111287 h 7305087"/>
              <a:gd name="connsiteX22" fmla="*/ 3889111 w 8266922"/>
              <a:gd name="connsiteY22" fmla="*/ 7209837 h 7305087"/>
              <a:gd name="connsiteX23" fmla="*/ 4147860 w 8266922"/>
              <a:gd name="connsiteY23" fmla="*/ 7209837 h 7305087"/>
              <a:gd name="connsiteX24" fmla="*/ 4147860 w 8266922"/>
              <a:gd name="connsiteY24" fmla="*/ 7305087 h 7305087"/>
              <a:gd name="connsiteX25" fmla="*/ 3773921 w 8266922"/>
              <a:gd name="connsiteY25" fmla="*/ 7305087 h 7305087"/>
              <a:gd name="connsiteX26" fmla="*/ 3773921 w 8266922"/>
              <a:gd name="connsiteY26" fmla="*/ 7209837 h 7305087"/>
              <a:gd name="connsiteX27" fmla="*/ 3773921 w 8266922"/>
              <a:gd name="connsiteY27" fmla="*/ 6111287 h 7305087"/>
              <a:gd name="connsiteX28" fmla="*/ 6688042 w 8266922"/>
              <a:gd name="connsiteY28" fmla="*/ 5528924 h 7305087"/>
              <a:gd name="connsiteX29" fmla="*/ 6895043 w 8266922"/>
              <a:gd name="connsiteY29" fmla="*/ 5528924 h 7305087"/>
              <a:gd name="connsiteX30" fmla="*/ 6895043 w 8266922"/>
              <a:gd name="connsiteY30" fmla="*/ 5702536 h 7305087"/>
              <a:gd name="connsiteX31" fmla="*/ 6688042 w 8266922"/>
              <a:gd name="connsiteY31" fmla="*/ 5702536 h 7305087"/>
              <a:gd name="connsiteX32" fmla="*/ 3990746 w 8266922"/>
              <a:gd name="connsiteY32" fmla="*/ 5378675 h 7305087"/>
              <a:gd name="connsiteX33" fmla="*/ 4895538 w 8266922"/>
              <a:gd name="connsiteY33" fmla="*/ 5378675 h 7305087"/>
              <a:gd name="connsiteX34" fmla="*/ 4895538 w 8266922"/>
              <a:gd name="connsiteY34" fmla="*/ 5485512 h 7305087"/>
              <a:gd name="connsiteX35" fmla="*/ 3990746 w 8266922"/>
              <a:gd name="connsiteY35" fmla="*/ 5485512 h 7305087"/>
              <a:gd name="connsiteX36" fmla="*/ 1270097 w 8266922"/>
              <a:gd name="connsiteY36" fmla="*/ 5378675 h 7305087"/>
              <a:gd name="connsiteX37" fmla="*/ 2174890 w 8266922"/>
              <a:gd name="connsiteY37" fmla="*/ 5378675 h 7305087"/>
              <a:gd name="connsiteX38" fmla="*/ 2174890 w 8266922"/>
              <a:gd name="connsiteY38" fmla="*/ 5485512 h 7305087"/>
              <a:gd name="connsiteX39" fmla="*/ 1270097 w 8266922"/>
              <a:gd name="connsiteY39" fmla="*/ 5485512 h 7305087"/>
              <a:gd name="connsiteX40" fmla="*/ 3990746 w 8266922"/>
              <a:gd name="connsiteY40" fmla="*/ 5029777 h 7305087"/>
              <a:gd name="connsiteX41" fmla="*/ 4895538 w 8266922"/>
              <a:gd name="connsiteY41" fmla="*/ 5029777 h 7305087"/>
              <a:gd name="connsiteX42" fmla="*/ 4895538 w 8266922"/>
              <a:gd name="connsiteY42" fmla="*/ 5136615 h 7305087"/>
              <a:gd name="connsiteX43" fmla="*/ 3990746 w 8266922"/>
              <a:gd name="connsiteY43" fmla="*/ 5136615 h 7305087"/>
              <a:gd name="connsiteX44" fmla="*/ 1270097 w 8266922"/>
              <a:gd name="connsiteY44" fmla="*/ 5029777 h 7305087"/>
              <a:gd name="connsiteX45" fmla="*/ 2174890 w 8266922"/>
              <a:gd name="connsiteY45" fmla="*/ 5029777 h 7305087"/>
              <a:gd name="connsiteX46" fmla="*/ 2174890 w 8266922"/>
              <a:gd name="connsiteY46" fmla="*/ 5136615 h 7305087"/>
              <a:gd name="connsiteX47" fmla="*/ 1270097 w 8266922"/>
              <a:gd name="connsiteY47" fmla="*/ 5136615 h 7305087"/>
              <a:gd name="connsiteX48" fmla="*/ 6062007 w 8266922"/>
              <a:gd name="connsiteY48" fmla="*/ 4507277 h 7305087"/>
              <a:gd name="connsiteX49" fmla="*/ 6115077 w 8266922"/>
              <a:gd name="connsiteY49" fmla="*/ 4509153 h 7305087"/>
              <a:gd name="connsiteX50" fmla="*/ 6164198 w 8266922"/>
              <a:gd name="connsiteY50" fmla="*/ 4514730 h 7305087"/>
              <a:gd name="connsiteX51" fmla="*/ 6209503 w 8266922"/>
              <a:gd name="connsiteY51" fmla="*/ 4523925 h 7305087"/>
              <a:gd name="connsiteX52" fmla="*/ 6251125 w 8266922"/>
              <a:gd name="connsiteY52" fmla="*/ 4536657 h 7305087"/>
              <a:gd name="connsiteX53" fmla="*/ 6289196 w 8266922"/>
              <a:gd name="connsiteY53" fmla="*/ 4552845 h 7305087"/>
              <a:gd name="connsiteX54" fmla="*/ 6323849 w 8266922"/>
              <a:gd name="connsiteY54" fmla="*/ 4572406 h 7305087"/>
              <a:gd name="connsiteX55" fmla="*/ 6355216 w 8266922"/>
              <a:gd name="connsiteY55" fmla="*/ 4595261 h 7305087"/>
              <a:gd name="connsiteX56" fmla="*/ 6383431 w 8266922"/>
              <a:gd name="connsiteY56" fmla="*/ 4621327 h 7305087"/>
              <a:gd name="connsiteX57" fmla="*/ 6408627 w 8266922"/>
              <a:gd name="connsiteY57" fmla="*/ 4650523 h 7305087"/>
              <a:gd name="connsiteX58" fmla="*/ 6430935 w 8266922"/>
              <a:gd name="connsiteY58" fmla="*/ 4682768 h 7305087"/>
              <a:gd name="connsiteX59" fmla="*/ 6450488 w 8266922"/>
              <a:gd name="connsiteY59" fmla="*/ 4717980 h 7305087"/>
              <a:gd name="connsiteX60" fmla="*/ 6467420 w 8266922"/>
              <a:gd name="connsiteY60" fmla="*/ 4756077 h 7305087"/>
              <a:gd name="connsiteX61" fmla="*/ 6481863 w 8266922"/>
              <a:gd name="connsiteY61" fmla="*/ 4796980 h 7305087"/>
              <a:gd name="connsiteX62" fmla="*/ 6493950 w 8266922"/>
              <a:gd name="connsiteY62" fmla="*/ 4840605 h 7305087"/>
              <a:gd name="connsiteX63" fmla="*/ 6503813 w 8266922"/>
              <a:gd name="connsiteY63" fmla="*/ 4886873 h 7305087"/>
              <a:gd name="connsiteX64" fmla="*/ 6511585 w 8266922"/>
              <a:gd name="connsiteY64" fmla="*/ 4935701 h 7305087"/>
              <a:gd name="connsiteX65" fmla="*/ 6517399 w 8266922"/>
              <a:gd name="connsiteY65" fmla="*/ 4987008 h 7305087"/>
              <a:gd name="connsiteX66" fmla="*/ 6521387 w 8266922"/>
              <a:gd name="connsiteY66" fmla="*/ 5040712 h 7305087"/>
              <a:gd name="connsiteX67" fmla="*/ 6523683 w 8266922"/>
              <a:gd name="connsiteY67" fmla="*/ 5096732 h 7305087"/>
              <a:gd name="connsiteX68" fmla="*/ 6524419 w 8266922"/>
              <a:gd name="connsiteY68" fmla="*/ 5154988 h 7305087"/>
              <a:gd name="connsiteX69" fmla="*/ 6523719 w 8266922"/>
              <a:gd name="connsiteY69" fmla="*/ 5213493 h 7305087"/>
              <a:gd name="connsiteX70" fmla="*/ 6521522 w 8266922"/>
              <a:gd name="connsiteY70" fmla="*/ 5269763 h 7305087"/>
              <a:gd name="connsiteX71" fmla="*/ 6517686 w 8266922"/>
              <a:gd name="connsiteY71" fmla="*/ 5323713 h 7305087"/>
              <a:gd name="connsiteX72" fmla="*/ 6512065 w 8266922"/>
              <a:gd name="connsiteY72" fmla="*/ 5375263 h 7305087"/>
              <a:gd name="connsiteX73" fmla="*/ 6504517 w 8266922"/>
              <a:gd name="connsiteY73" fmla="*/ 5424328 h 7305087"/>
              <a:gd name="connsiteX74" fmla="*/ 6494896 w 8266922"/>
              <a:gd name="connsiteY74" fmla="*/ 5470827 h 7305087"/>
              <a:gd name="connsiteX75" fmla="*/ 6483059 w 8266922"/>
              <a:gd name="connsiteY75" fmla="*/ 5514676 h 7305087"/>
              <a:gd name="connsiteX76" fmla="*/ 6468862 w 8266922"/>
              <a:gd name="connsiteY76" fmla="*/ 5555794 h 7305087"/>
              <a:gd name="connsiteX77" fmla="*/ 6452162 w 8266922"/>
              <a:gd name="connsiteY77" fmla="*/ 5594097 h 7305087"/>
              <a:gd name="connsiteX78" fmla="*/ 6432813 w 8266922"/>
              <a:gd name="connsiteY78" fmla="*/ 5629503 h 7305087"/>
              <a:gd name="connsiteX79" fmla="*/ 6410672 w 8266922"/>
              <a:gd name="connsiteY79" fmla="*/ 5661929 h 7305087"/>
              <a:gd name="connsiteX80" fmla="*/ 6385595 w 8266922"/>
              <a:gd name="connsiteY80" fmla="*/ 5691293 h 7305087"/>
              <a:gd name="connsiteX81" fmla="*/ 6357438 w 8266922"/>
              <a:gd name="connsiteY81" fmla="*/ 5717511 h 7305087"/>
              <a:gd name="connsiteX82" fmla="*/ 6326057 w 8266922"/>
              <a:gd name="connsiteY82" fmla="*/ 5740502 h 7305087"/>
              <a:gd name="connsiteX83" fmla="*/ 6291309 w 8266922"/>
              <a:gd name="connsiteY83" fmla="*/ 5760183 h 7305087"/>
              <a:gd name="connsiteX84" fmla="*/ 6253048 w 8266922"/>
              <a:gd name="connsiteY84" fmla="*/ 5776470 h 7305087"/>
              <a:gd name="connsiteX85" fmla="*/ 6211131 w 8266922"/>
              <a:gd name="connsiteY85" fmla="*/ 5789282 h 7305087"/>
              <a:gd name="connsiteX86" fmla="*/ 6165415 w 8266922"/>
              <a:gd name="connsiteY86" fmla="*/ 5798536 h 7305087"/>
              <a:gd name="connsiteX87" fmla="*/ 6115755 w 8266922"/>
              <a:gd name="connsiteY87" fmla="*/ 5804149 h 7305087"/>
              <a:gd name="connsiteX88" fmla="*/ 6062007 w 8266922"/>
              <a:gd name="connsiteY88" fmla="*/ 5806038 h 7305087"/>
              <a:gd name="connsiteX89" fmla="*/ 6062007 w 8266922"/>
              <a:gd name="connsiteY89" fmla="*/ 5709215 h 7305087"/>
              <a:gd name="connsiteX90" fmla="*/ 6111692 w 8266922"/>
              <a:gd name="connsiteY90" fmla="*/ 5706982 h 7305087"/>
              <a:gd name="connsiteX91" fmla="*/ 6156613 w 8266922"/>
              <a:gd name="connsiteY91" fmla="*/ 5700361 h 7305087"/>
              <a:gd name="connsiteX92" fmla="*/ 6196995 w 8266922"/>
              <a:gd name="connsiteY92" fmla="*/ 5689472 h 7305087"/>
              <a:gd name="connsiteX93" fmla="*/ 6233066 w 8266922"/>
              <a:gd name="connsiteY93" fmla="*/ 5674432 h 7305087"/>
              <a:gd name="connsiteX94" fmla="*/ 6293177 w 8266922"/>
              <a:gd name="connsiteY94" fmla="*/ 5632372 h 7305087"/>
              <a:gd name="connsiteX95" fmla="*/ 6338757 w 8266922"/>
              <a:gd name="connsiteY95" fmla="*/ 5575128 h 7305087"/>
              <a:gd name="connsiteX96" fmla="*/ 6356662 w 8266922"/>
              <a:gd name="connsiteY96" fmla="*/ 5541107 h 7305087"/>
              <a:gd name="connsiteX97" fmla="*/ 6371614 w 8266922"/>
              <a:gd name="connsiteY97" fmla="*/ 5503645 h 7305087"/>
              <a:gd name="connsiteX98" fmla="*/ 6383838 w 8266922"/>
              <a:gd name="connsiteY98" fmla="*/ 5462861 h 7305087"/>
              <a:gd name="connsiteX99" fmla="*/ 6393561 w 8266922"/>
              <a:gd name="connsiteY99" fmla="*/ 5418871 h 7305087"/>
              <a:gd name="connsiteX100" fmla="*/ 6401008 w 8266922"/>
              <a:gd name="connsiteY100" fmla="*/ 5371794 h 7305087"/>
              <a:gd name="connsiteX101" fmla="*/ 6406407 w 8266922"/>
              <a:gd name="connsiteY101" fmla="*/ 5321750 h 7305087"/>
              <a:gd name="connsiteX102" fmla="*/ 6409983 w 8266922"/>
              <a:gd name="connsiteY102" fmla="*/ 5268855 h 7305087"/>
              <a:gd name="connsiteX103" fmla="*/ 6411962 w 8266922"/>
              <a:gd name="connsiteY103" fmla="*/ 5213228 h 7305087"/>
              <a:gd name="connsiteX104" fmla="*/ 6412572 w 8266922"/>
              <a:gd name="connsiteY104" fmla="*/ 5154988 h 7305087"/>
              <a:gd name="connsiteX105" fmla="*/ 6411930 w 8266922"/>
              <a:gd name="connsiteY105" fmla="*/ 5097319 h 7305087"/>
              <a:gd name="connsiteX106" fmla="*/ 6409860 w 8266922"/>
              <a:gd name="connsiteY106" fmla="*/ 5042230 h 7305087"/>
              <a:gd name="connsiteX107" fmla="*/ 6406150 w 8266922"/>
              <a:gd name="connsiteY107" fmla="*/ 4989837 h 7305087"/>
              <a:gd name="connsiteX108" fmla="*/ 6400584 w 8266922"/>
              <a:gd name="connsiteY108" fmla="*/ 4940261 h 7305087"/>
              <a:gd name="connsiteX109" fmla="*/ 6392949 w 8266922"/>
              <a:gd name="connsiteY109" fmla="*/ 4893617 h 7305087"/>
              <a:gd name="connsiteX110" fmla="*/ 6383031 w 8266922"/>
              <a:gd name="connsiteY110" fmla="*/ 4850025 h 7305087"/>
              <a:gd name="connsiteX111" fmla="*/ 6370615 w 8266922"/>
              <a:gd name="connsiteY111" fmla="*/ 4809604 h 7305087"/>
              <a:gd name="connsiteX112" fmla="*/ 6355488 w 8266922"/>
              <a:gd name="connsiteY112" fmla="*/ 4772472 h 7305087"/>
              <a:gd name="connsiteX113" fmla="*/ 6337435 w 8266922"/>
              <a:gd name="connsiteY113" fmla="*/ 4738746 h 7305087"/>
              <a:gd name="connsiteX114" fmla="*/ 6291697 w 8266922"/>
              <a:gd name="connsiteY114" fmla="*/ 4681987 h 7305087"/>
              <a:gd name="connsiteX115" fmla="*/ 6231688 w 8266922"/>
              <a:gd name="connsiteY115" fmla="*/ 4640273 h 7305087"/>
              <a:gd name="connsiteX116" fmla="*/ 6195796 w 8266922"/>
              <a:gd name="connsiteY116" fmla="*/ 4625355 h 7305087"/>
              <a:gd name="connsiteX117" fmla="*/ 6155695 w 8266922"/>
              <a:gd name="connsiteY117" fmla="*/ 4614552 h 7305087"/>
              <a:gd name="connsiteX118" fmla="*/ 6111170 w 8266922"/>
              <a:gd name="connsiteY118" fmla="*/ 4607983 h 7305087"/>
              <a:gd name="connsiteX119" fmla="*/ 6062007 w 8266922"/>
              <a:gd name="connsiteY119" fmla="*/ 4605768 h 7305087"/>
              <a:gd name="connsiteX120" fmla="*/ 5970138 w 8266922"/>
              <a:gd name="connsiteY120" fmla="*/ 4507277 h 7305087"/>
              <a:gd name="connsiteX121" fmla="*/ 5970138 w 8266922"/>
              <a:gd name="connsiteY121" fmla="*/ 4605768 h 7305087"/>
              <a:gd name="connsiteX122" fmla="*/ 5921252 w 8266922"/>
              <a:gd name="connsiteY122" fmla="*/ 4607983 h 7305087"/>
              <a:gd name="connsiteX123" fmla="*/ 5876971 w 8266922"/>
              <a:gd name="connsiteY123" fmla="*/ 4614552 h 7305087"/>
              <a:gd name="connsiteX124" fmla="*/ 5837085 w 8266922"/>
              <a:gd name="connsiteY124" fmla="*/ 4625355 h 7305087"/>
              <a:gd name="connsiteX125" fmla="*/ 5801379 w 8266922"/>
              <a:gd name="connsiteY125" fmla="*/ 4640273 h 7305087"/>
              <a:gd name="connsiteX126" fmla="*/ 5741664 w 8266922"/>
              <a:gd name="connsiteY126" fmla="*/ 4681987 h 7305087"/>
              <a:gd name="connsiteX127" fmla="*/ 5696130 w 8266922"/>
              <a:gd name="connsiteY127" fmla="*/ 4738746 h 7305087"/>
              <a:gd name="connsiteX128" fmla="*/ 5678151 w 8266922"/>
              <a:gd name="connsiteY128" fmla="*/ 4772472 h 7305087"/>
              <a:gd name="connsiteX129" fmla="*/ 5663081 w 8266922"/>
              <a:gd name="connsiteY129" fmla="*/ 4809604 h 7305087"/>
              <a:gd name="connsiteX130" fmla="*/ 5650709 w 8266922"/>
              <a:gd name="connsiteY130" fmla="*/ 4850025 h 7305087"/>
              <a:gd name="connsiteX131" fmla="*/ 5640821 w 8266922"/>
              <a:gd name="connsiteY131" fmla="*/ 4893617 h 7305087"/>
              <a:gd name="connsiteX132" fmla="*/ 5633207 w 8266922"/>
              <a:gd name="connsiteY132" fmla="*/ 4940261 h 7305087"/>
              <a:gd name="connsiteX133" fmla="*/ 5627654 w 8266922"/>
              <a:gd name="connsiteY133" fmla="*/ 4989837 h 7305087"/>
              <a:gd name="connsiteX134" fmla="*/ 5623950 w 8266922"/>
              <a:gd name="connsiteY134" fmla="*/ 5042230 h 7305087"/>
              <a:gd name="connsiteX135" fmla="*/ 5621883 w 8266922"/>
              <a:gd name="connsiteY135" fmla="*/ 5097319 h 7305087"/>
              <a:gd name="connsiteX136" fmla="*/ 5621241 w 8266922"/>
              <a:gd name="connsiteY136" fmla="*/ 5154988 h 7305087"/>
              <a:gd name="connsiteX137" fmla="*/ 5621867 w 8266922"/>
              <a:gd name="connsiteY137" fmla="*/ 5213228 h 7305087"/>
              <a:gd name="connsiteX138" fmla="*/ 5623889 w 8266922"/>
              <a:gd name="connsiteY138" fmla="*/ 5268855 h 7305087"/>
              <a:gd name="connsiteX139" fmla="*/ 5627526 w 8266922"/>
              <a:gd name="connsiteY139" fmla="*/ 5321750 h 7305087"/>
              <a:gd name="connsiteX140" fmla="*/ 5632995 w 8266922"/>
              <a:gd name="connsiteY140" fmla="*/ 5371794 h 7305087"/>
              <a:gd name="connsiteX141" fmla="*/ 5640516 w 8266922"/>
              <a:gd name="connsiteY141" fmla="*/ 5418871 h 7305087"/>
              <a:gd name="connsiteX142" fmla="*/ 5650305 w 8266922"/>
              <a:gd name="connsiteY142" fmla="*/ 5462861 h 7305087"/>
              <a:gd name="connsiteX143" fmla="*/ 5662582 w 8266922"/>
              <a:gd name="connsiteY143" fmla="*/ 5503645 h 7305087"/>
              <a:gd name="connsiteX144" fmla="*/ 5677564 w 8266922"/>
              <a:gd name="connsiteY144" fmla="*/ 5541107 h 7305087"/>
              <a:gd name="connsiteX145" fmla="*/ 5695470 w 8266922"/>
              <a:gd name="connsiteY145" fmla="*/ 5575128 h 7305087"/>
              <a:gd name="connsiteX146" fmla="*/ 5740924 w 8266922"/>
              <a:gd name="connsiteY146" fmla="*/ 5632372 h 7305087"/>
              <a:gd name="connsiteX147" fmla="*/ 5800690 w 8266922"/>
              <a:gd name="connsiteY147" fmla="*/ 5674432 h 7305087"/>
              <a:gd name="connsiteX148" fmla="*/ 5836485 w 8266922"/>
              <a:gd name="connsiteY148" fmla="*/ 5689472 h 7305087"/>
              <a:gd name="connsiteX149" fmla="*/ 5876513 w 8266922"/>
              <a:gd name="connsiteY149" fmla="*/ 5700361 h 7305087"/>
              <a:gd name="connsiteX150" fmla="*/ 5920991 w 8266922"/>
              <a:gd name="connsiteY150" fmla="*/ 5706982 h 7305087"/>
              <a:gd name="connsiteX151" fmla="*/ 5970138 w 8266922"/>
              <a:gd name="connsiteY151" fmla="*/ 5709215 h 7305087"/>
              <a:gd name="connsiteX152" fmla="*/ 5970138 w 8266922"/>
              <a:gd name="connsiteY152" fmla="*/ 5806038 h 7305087"/>
              <a:gd name="connsiteX153" fmla="*/ 5916615 w 8266922"/>
              <a:gd name="connsiteY153" fmla="*/ 5804149 h 7305087"/>
              <a:gd name="connsiteX154" fmla="*/ 5867135 w 8266922"/>
              <a:gd name="connsiteY154" fmla="*/ 5798536 h 7305087"/>
              <a:gd name="connsiteX155" fmla="*/ 5821555 w 8266922"/>
              <a:gd name="connsiteY155" fmla="*/ 5789282 h 7305087"/>
              <a:gd name="connsiteX156" fmla="*/ 5779737 w 8266922"/>
              <a:gd name="connsiteY156" fmla="*/ 5776470 h 7305087"/>
              <a:gd name="connsiteX157" fmla="*/ 5741540 w 8266922"/>
              <a:gd name="connsiteY157" fmla="*/ 5760183 h 7305087"/>
              <a:gd name="connsiteX158" fmla="*/ 5706823 w 8266922"/>
              <a:gd name="connsiteY158" fmla="*/ 5740502 h 7305087"/>
              <a:gd name="connsiteX159" fmla="*/ 5675446 w 8266922"/>
              <a:gd name="connsiteY159" fmla="*/ 5717511 h 7305087"/>
              <a:gd name="connsiteX160" fmla="*/ 5647270 w 8266922"/>
              <a:gd name="connsiteY160" fmla="*/ 5691293 h 7305087"/>
              <a:gd name="connsiteX161" fmla="*/ 5622154 w 8266922"/>
              <a:gd name="connsiteY161" fmla="*/ 5661929 h 7305087"/>
              <a:gd name="connsiteX162" fmla="*/ 5599957 w 8266922"/>
              <a:gd name="connsiteY162" fmla="*/ 5629503 h 7305087"/>
              <a:gd name="connsiteX163" fmla="*/ 5580540 w 8266922"/>
              <a:gd name="connsiteY163" fmla="*/ 5594097 h 7305087"/>
              <a:gd name="connsiteX164" fmla="*/ 5563762 w 8266922"/>
              <a:gd name="connsiteY164" fmla="*/ 5555794 h 7305087"/>
              <a:gd name="connsiteX165" fmla="*/ 5549483 w 8266922"/>
              <a:gd name="connsiteY165" fmla="*/ 5514676 h 7305087"/>
              <a:gd name="connsiteX166" fmla="*/ 5537563 w 8266922"/>
              <a:gd name="connsiteY166" fmla="*/ 5470827 h 7305087"/>
              <a:gd name="connsiteX167" fmla="*/ 5527862 w 8266922"/>
              <a:gd name="connsiteY167" fmla="*/ 5424328 h 7305087"/>
              <a:gd name="connsiteX168" fmla="*/ 5520239 w 8266922"/>
              <a:gd name="connsiteY168" fmla="*/ 5375263 h 7305087"/>
              <a:gd name="connsiteX169" fmla="*/ 5514554 w 8266922"/>
              <a:gd name="connsiteY169" fmla="*/ 5323713 h 7305087"/>
              <a:gd name="connsiteX170" fmla="*/ 5510667 w 8266922"/>
              <a:gd name="connsiteY170" fmla="*/ 5269763 h 7305087"/>
              <a:gd name="connsiteX171" fmla="*/ 5508437 w 8266922"/>
              <a:gd name="connsiteY171" fmla="*/ 5213493 h 7305087"/>
              <a:gd name="connsiteX172" fmla="*/ 5507726 w 8266922"/>
              <a:gd name="connsiteY172" fmla="*/ 5154988 h 7305087"/>
              <a:gd name="connsiteX173" fmla="*/ 5508461 w 8266922"/>
              <a:gd name="connsiteY173" fmla="*/ 5096732 h 7305087"/>
              <a:gd name="connsiteX174" fmla="*/ 5510757 w 8266922"/>
              <a:gd name="connsiteY174" fmla="*/ 5040712 h 7305087"/>
              <a:gd name="connsiteX175" fmla="*/ 5514746 w 8266922"/>
              <a:gd name="connsiteY175" fmla="*/ 4987008 h 7305087"/>
              <a:gd name="connsiteX176" fmla="*/ 5520559 w 8266922"/>
              <a:gd name="connsiteY176" fmla="*/ 4935701 h 7305087"/>
              <a:gd name="connsiteX177" fmla="*/ 5528332 w 8266922"/>
              <a:gd name="connsiteY177" fmla="*/ 4886873 h 7305087"/>
              <a:gd name="connsiteX178" fmla="*/ 5538195 w 8266922"/>
              <a:gd name="connsiteY178" fmla="*/ 4840605 h 7305087"/>
              <a:gd name="connsiteX179" fmla="*/ 5550281 w 8266922"/>
              <a:gd name="connsiteY179" fmla="*/ 4796980 h 7305087"/>
              <a:gd name="connsiteX180" fmla="*/ 5564724 w 8266922"/>
              <a:gd name="connsiteY180" fmla="*/ 4756077 h 7305087"/>
              <a:gd name="connsiteX181" fmla="*/ 5581656 w 8266922"/>
              <a:gd name="connsiteY181" fmla="*/ 4717980 h 7305087"/>
              <a:gd name="connsiteX182" fmla="*/ 5601209 w 8266922"/>
              <a:gd name="connsiteY182" fmla="*/ 4682768 h 7305087"/>
              <a:gd name="connsiteX183" fmla="*/ 5623517 w 8266922"/>
              <a:gd name="connsiteY183" fmla="*/ 4650523 h 7305087"/>
              <a:gd name="connsiteX184" fmla="*/ 5648713 w 8266922"/>
              <a:gd name="connsiteY184" fmla="*/ 4621327 h 7305087"/>
              <a:gd name="connsiteX185" fmla="*/ 5676928 w 8266922"/>
              <a:gd name="connsiteY185" fmla="*/ 4595261 h 7305087"/>
              <a:gd name="connsiteX186" fmla="*/ 5708295 w 8266922"/>
              <a:gd name="connsiteY186" fmla="*/ 4572406 h 7305087"/>
              <a:gd name="connsiteX187" fmla="*/ 5742948 w 8266922"/>
              <a:gd name="connsiteY187" fmla="*/ 4552845 h 7305087"/>
              <a:gd name="connsiteX188" fmla="*/ 5781019 w 8266922"/>
              <a:gd name="connsiteY188" fmla="*/ 4536657 h 7305087"/>
              <a:gd name="connsiteX189" fmla="*/ 5822641 w 8266922"/>
              <a:gd name="connsiteY189" fmla="*/ 4523925 h 7305087"/>
              <a:gd name="connsiteX190" fmla="*/ 5867946 w 8266922"/>
              <a:gd name="connsiteY190" fmla="*/ 4514730 h 7305087"/>
              <a:gd name="connsiteX191" fmla="*/ 5917067 w 8266922"/>
              <a:gd name="connsiteY191" fmla="*/ 4509153 h 7305087"/>
              <a:gd name="connsiteX192" fmla="*/ 2916306 w 8266922"/>
              <a:gd name="connsiteY192" fmla="*/ 4507277 h 7305087"/>
              <a:gd name="connsiteX193" fmla="*/ 2969376 w 8266922"/>
              <a:gd name="connsiteY193" fmla="*/ 4509153 h 7305087"/>
              <a:gd name="connsiteX194" fmla="*/ 3018497 w 8266922"/>
              <a:gd name="connsiteY194" fmla="*/ 4514730 h 7305087"/>
              <a:gd name="connsiteX195" fmla="*/ 3063803 w 8266922"/>
              <a:gd name="connsiteY195" fmla="*/ 4523925 h 7305087"/>
              <a:gd name="connsiteX196" fmla="*/ 3105426 w 8266922"/>
              <a:gd name="connsiteY196" fmla="*/ 4536657 h 7305087"/>
              <a:gd name="connsiteX197" fmla="*/ 3143497 w 8266922"/>
              <a:gd name="connsiteY197" fmla="*/ 4552845 h 7305087"/>
              <a:gd name="connsiteX198" fmla="*/ 3178150 w 8266922"/>
              <a:gd name="connsiteY198" fmla="*/ 4572406 h 7305087"/>
              <a:gd name="connsiteX199" fmla="*/ 3209516 w 8266922"/>
              <a:gd name="connsiteY199" fmla="*/ 4595261 h 7305087"/>
              <a:gd name="connsiteX200" fmla="*/ 3237732 w 8266922"/>
              <a:gd name="connsiteY200" fmla="*/ 4621327 h 7305087"/>
              <a:gd name="connsiteX201" fmla="*/ 3262928 w 8266922"/>
              <a:gd name="connsiteY201" fmla="*/ 4650523 h 7305087"/>
              <a:gd name="connsiteX202" fmla="*/ 3285236 w 8266922"/>
              <a:gd name="connsiteY202" fmla="*/ 4682768 h 7305087"/>
              <a:gd name="connsiteX203" fmla="*/ 3304789 w 8266922"/>
              <a:gd name="connsiteY203" fmla="*/ 4717980 h 7305087"/>
              <a:gd name="connsiteX204" fmla="*/ 3321718 w 8266922"/>
              <a:gd name="connsiteY204" fmla="*/ 4756077 h 7305087"/>
              <a:gd name="connsiteX205" fmla="*/ 3336161 w 8266922"/>
              <a:gd name="connsiteY205" fmla="*/ 4796980 h 7305087"/>
              <a:gd name="connsiteX206" fmla="*/ 3348248 w 8266922"/>
              <a:gd name="connsiteY206" fmla="*/ 4840605 h 7305087"/>
              <a:gd name="connsiteX207" fmla="*/ 3358111 w 8266922"/>
              <a:gd name="connsiteY207" fmla="*/ 4886873 h 7305087"/>
              <a:gd name="connsiteX208" fmla="*/ 3365883 w 8266922"/>
              <a:gd name="connsiteY208" fmla="*/ 4935701 h 7305087"/>
              <a:gd name="connsiteX209" fmla="*/ 3371697 w 8266922"/>
              <a:gd name="connsiteY209" fmla="*/ 4987008 h 7305087"/>
              <a:gd name="connsiteX210" fmla="*/ 3375685 w 8266922"/>
              <a:gd name="connsiteY210" fmla="*/ 5040712 h 7305087"/>
              <a:gd name="connsiteX211" fmla="*/ 3377981 w 8266922"/>
              <a:gd name="connsiteY211" fmla="*/ 5096732 h 7305087"/>
              <a:gd name="connsiteX212" fmla="*/ 3378717 w 8266922"/>
              <a:gd name="connsiteY212" fmla="*/ 5154988 h 7305087"/>
              <a:gd name="connsiteX213" fmla="*/ 3378017 w 8266922"/>
              <a:gd name="connsiteY213" fmla="*/ 5213493 h 7305087"/>
              <a:gd name="connsiteX214" fmla="*/ 3375820 w 8266922"/>
              <a:gd name="connsiteY214" fmla="*/ 5269763 h 7305087"/>
              <a:gd name="connsiteX215" fmla="*/ 3371984 w 8266922"/>
              <a:gd name="connsiteY215" fmla="*/ 5323713 h 7305087"/>
              <a:gd name="connsiteX216" fmla="*/ 3366363 w 8266922"/>
              <a:gd name="connsiteY216" fmla="*/ 5375263 h 7305087"/>
              <a:gd name="connsiteX217" fmla="*/ 3358815 w 8266922"/>
              <a:gd name="connsiteY217" fmla="*/ 5424328 h 7305087"/>
              <a:gd name="connsiteX218" fmla="*/ 3349194 w 8266922"/>
              <a:gd name="connsiteY218" fmla="*/ 5470827 h 7305087"/>
              <a:gd name="connsiteX219" fmla="*/ 3337357 w 8266922"/>
              <a:gd name="connsiteY219" fmla="*/ 5514676 h 7305087"/>
              <a:gd name="connsiteX220" fmla="*/ 3323160 w 8266922"/>
              <a:gd name="connsiteY220" fmla="*/ 5555794 h 7305087"/>
              <a:gd name="connsiteX221" fmla="*/ 3306462 w 8266922"/>
              <a:gd name="connsiteY221" fmla="*/ 5594097 h 7305087"/>
              <a:gd name="connsiteX222" fmla="*/ 3287114 w 8266922"/>
              <a:gd name="connsiteY222" fmla="*/ 5629503 h 7305087"/>
              <a:gd name="connsiteX223" fmla="*/ 3264973 w 8266922"/>
              <a:gd name="connsiteY223" fmla="*/ 5661929 h 7305087"/>
              <a:gd name="connsiteX224" fmla="*/ 3239895 w 8266922"/>
              <a:gd name="connsiteY224" fmla="*/ 5691293 h 7305087"/>
              <a:gd name="connsiteX225" fmla="*/ 3211738 w 8266922"/>
              <a:gd name="connsiteY225" fmla="*/ 5717511 h 7305087"/>
              <a:gd name="connsiteX226" fmla="*/ 3180357 w 8266922"/>
              <a:gd name="connsiteY226" fmla="*/ 5740502 h 7305087"/>
              <a:gd name="connsiteX227" fmla="*/ 3145609 w 8266922"/>
              <a:gd name="connsiteY227" fmla="*/ 5760183 h 7305087"/>
              <a:gd name="connsiteX228" fmla="*/ 3107348 w 8266922"/>
              <a:gd name="connsiteY228" fmla="*/ 5776470 h 7305087"/>
              <a:gd name="connsiteX229" fmla="*/ 3065431 w 8266922"/>
              <a:gd name="connsiteY229" fmla="*/ 5789282 h 7305087"/>
              <a:gd name="connsiteX230" fmla="*/ 3019716 w 8266922"/>
              <a:gd name="connsiteY230" fmla="*/ 5798536 h 7305087"/>
              <a:gd name="connsiteX231" fmla="*/ 2970054 w 8266922"/>
              <a:gd name="connsiteY231" fmla="*/ 5804149 h 7305087"/>
              <a:gd name="connsiteX232" fmla="*/ 2916306 w 8266922"/>
              <a:gd name="connsiteY232" fmla="*/ 5806038 h 7305087"/>
              <a:gd name="connsiteX233" fmla="*/ 2916306 w 8266922"/>
              <a:gd name="connsiteY233" fmla="*/ 5709215 h 7305087"/>
              <a:gd name="connsiteX234" fmla="*/ 2965992 w 8266922"/>
              <a:gd name="connsiteY234" fmla="*/ 5706982 h 7305087"/>
              <a:gd name="connsiteX235" fmla="*/ 3010913 w 8266922"/>
              <a:gd name="connsiteY235" fmla="*/ 5700361 h 7305087"/>
              <a:gd name="connsiteX236" fmla="*/ 3051294 w 8266922"/>
              <a:gd name="connsiteY236" fmla="*/ 5689472 h 7305087"/>
              <a:gd name="connsiteX237" fmla="*/ 3087367 w 8266922"/>
              <a:gd name="connsiteY237" fmla="*/ 5674432 h 7305087"/>
              <a:gd name="connsiteX238" fmla="*/ 3147477 w 8266922"/>
              <a:gd name="connsiteY238" fmla="*/ 5632372 h 7305087"/>
              <a:gd name="connsiteX239" fmla="*/ 3193057 w 8266922"/>
              <a:gd name="connsiteY239" fmla="*/ 5575128 h 7305087"/>
              <a:gd name="connsiteX240" fmla="*/ 3210963 w 8266922"/>
              <a:gd name="connsiteY240" fmla="*/ 5541107 h 7305087"/>
              <a:gd name="connsiteX241" fmla="*/ 3225916 w 8266922"/>
              <a:gd name="connsiteY241" fmla="*/ 5503645 h 7305087"/>
              <a:gd name="connsiteX242" fmla="*/ 3238139 w 8266922"/>
              <a:gd name="connsiteY242" fmla="*/ 5462861 h 7305087"/>
              <a:gd name="connsiteX243" fmla="*/ 3247862 w 8266922"/>
              <a:gd name="connsiteY243" fmla="*/ 5418871 h 7305087"/>
              <a:gd name="connsiteX244" fmla="*/ 3255309 w 8266922"/>
              <a:gd name="connsiteY244" fmla="*/ 5371794 h 7305087"/>
              <a:gd name="connsiteX245" fmla="*/ 3260708 w 8266922"/>
              <a:gd name="connsiteY245" fmla="*/ 5321750 h 7305087"/>
              <a:gd name="connsiteX246" fmla="*/ 3264284 w 8266922"/>
              <a:gd name="connsiteY246" fmla="*/ 5268855 h 7305087"/>
              <a:gd name="connsiteX247" fmla="*/ 3266263 w 8266922"/>
              <a:gd name="connsiteY247" fmla="*/ 5213228 h 7305087"/>
              <a:gd name="connsiteX248" fmla="*/ 3266872 w 8266922"/>
              <a:gd name="connsiteY248" fmla="*/ 5154988 h 7305087"/>
              <a:gd name="connsiteX249" fmla="*/ 3266231 w 8266922"/>
              <a:gd name="connsiteY249" fmla="*/ 5097319 h 7305087"/>
              <a:gd name="connsiteX250" fmla="*/ 3264161 w 8266922"/>
              <a:gd name="connsiteY250" fmla="*/ 5042230 h 7305087"/>
              <a:gd name="connsiteX251" fmla="*/ 3260451 w 8266922"/>
              <a:gd name="connsiteY251" fmla="*/ 4989837 h 7305087"/>
              <a:gd name="connsiteX252" fmla="*/ 3254885 w 8266922"/>
              <a:gd name="connsiteY252" fmla="*/ 4940261 h 7305087"/>
              <a:gd name="connsiteX253" fmla="*/ 3247250 w 8266922"/>
              <a:gd name="connsiteY253" fmla="*/ 4893617 h 7305087"/>
              <a:gd name="connsiteX254" fmla="*/ 3237332 w 8266922"/>
              <a:gd name="connsiteY254" fmla="*/ 4850025 h 7305087"/>
              <a:gd name="connsiteX255" fmla="*/ 3224916 w 8266922"/>
              <a:gd name="connsiteY255" fmla="*/ 4809604 h 7305087"/>
              <a:gd name="connsiteX256" fmla="*/ 3209789 w 8266922"/>
              <a:gd name="connsiteY256" fmla="*/ 4772472 h 7305087"/>
              <a:gd name="connsiteX257" fmla="*/ 3191735 w 8266922"/>
              <a:gd name="connsiteY257" fmla="*/ 4738746 h 7305087"/>
              <a:gd name="connsiteX258" fmla="*/ 3145998 w 8266922"/>
              <a:gd name="connsiteY258" fmla="*/ 4681987 h 7305087"/>
              <a:gd name="connsiteX259" fmla="*/ 3085988 w 8266922"/>
              <a:gd name="connsiteY259" fmla="*/ 4640273 h 7305087"/>
              <a:gd name="connsiteX260" fmla="*/ 3050095 w 8266922"/>
              <a:gd name="connsiteY260" fmla="*/ 4625355 h 7305087"/>
              <a:gd name="connsiteX261" fmla="*/ 3009995 w 8266922"/>
              <a:gd name="connsiteY261" fmla="*/ 4614552 h 7305087"/>
              <a:gd name="connsiteX262" fmla="*/ 2965470 w 8266922"/>
              <a:gd name="connsiteY262" fmla="*/ 4607983 h 7305087"/>
              <a:gd name="connsiteX263" fmla="*/ 2916306 w 8266922"/>
              <a:gd name="connsiteY263" fmla="*/ 4605768 h 7305087"/>
              <a:gd name="connsiteX264" fmla="*/ 2824439 w 8266922"/>
              <a:gd name="connsiteY264" fmla="*/ 4507277 h 7305087"/>
              <a:gd name="connsiteX265" fmla="*/ 2824439 w 8266922"/>
              <a:gd name="connsiteY265" fmla="*/ 4605768 h 7305087"/>
              <a:gd name="connsiteX266" fmla="*/ 2775553 w 8266922"/>
              <a:gd name="connsiteY266" fmla="*/ 4607983 h 7305087"/>
              <a:gd name="connsiteX267" fmla="*/ 2731271 w 8266922"/>
              <a:gd name="connsiteY267" fmla="*/ 4614552 h 7305087"/>
              <a:gd name="connsiteX268" fmla="*/ 2691385 w 8266922"/>
              <a:gd name="connsiteY268" fmla="*/ 4625355 h 7305087"/>
              <a:gd name="connsiteX269" fmla="*/ 2655680 w 8266922"/>
              <a:gd name="connsiteY269" fmla="*/ 4640273 h 7305087"/>
              <a:gd name="connsiteX270" fmla="*/ 2595965 w 8266922"/>
              <a:gd name="connsiteY270" fmla="*/ 4681987 h 7305087"/>
              <a:gd name="connsiteX271" fmla="*/ 2550430 w 8266922"/>
              <a:gd name="connsiteY271" fmla="*/ 4738746 h 7305087"/>
              <a:gd name="connsiteX272" fmla="*/ 2532451 w 8266922"/>
              <a:gd name="connsiteY272" fmla="*/ 4772472 h 7305087"/>
              <a:gd name="connsiteX273" fmla="*/ 2517381 w 8266922"/>
              <a:gd name="connsiteY273" fmla="*/ 4809604 h 7305087"/>
              <a:gd name="connsiteX274" fmla="*/ 2505009 w 8266922"/>
              <a:gd name="connsiteY274" fmla="*/ 4850025 h 7305087"/>
              <a:gd name="connsiteX275" fmla="*/ 2495121 w 8266922"/>
              <a:gd name="connsiteY275" fmla="*/ 4893617 h 7305087"/>
              <a:gd name="connsiteX276" fmla="*/ 2487508 w 8266922"/>
              <a:gd name="connsiteY276" fmla="*/ 4940261 h 7305087"/>
              <a:gd name="connsiteX277" fmla="*/ 2481955 w 8266922"/>
              <a:gd name="connsiteY277" fmla="*/ 4989837 h 7305087"/>
              <a:gd name="connsiteX278" fmla="*/ 2478251 w 8266922"/>
              <a:gd name="connsiteY278" fmla="*/ 5042230 h 7305087"/>
              <a:gd name="connsiteX279" fmla="*/ 2476183 w 8266922"/>
              <a:gd name="connsiteY279" fmla="*/ 5097319 h 7305087"/>
              <a:gd name="connsiteX280" fmla="*/ 2475541 w 8266922"/>
              <a:gd name="connsiteY280" fmla="*/ 5154988 h 7305087"/>
              <a:gd name="connsiteX281" fmla="*/ 2476168 w 8266922"/>
              <a:gd name="connsiteY281" fmla="*/ 5213228 h 7305087"/>
              <a:gd name="connsiteX282" fmla="*/ 2478189 w 8266922"/>
              <a:gd name="connsiteY282" fmla="*/ 5268855 h 7305087"/>
              <a:gd name="connsiteX283" fmla="*/ 2481827 w 8266922"/>
              <a:gd name="connsiteY283" fmla="*/ 5321750 h 7305087"/>
              <a:gd name="connsiteX284" fmla="*/ 2487296 w 8266922"/>
              <a:gd name="connsiteY284" fmla="*/ 5371794 h 7305087"/>
              <a:gd name="connsiteX285" fmla="*/ 2494816 w 8266922"/>
              <a:gd name="connsiteY285" fmla="*/ 5418871 h 7305087"/>
              <a:gd name="connsiteX286" fmla="*/ 2504605 w 8266922"/>
              <a:gd name="connsiteY286" fmla="*/ 5462861 h 7305087"/>
              <a:gd name="connsiteX287" fmla="*/ 2516882 w 8266922"/>
              <a:gd name="connsiteY287" fmla="*/ 5503645 h 7305087"/>
              <a:gd name="connsiteX288" fmla="*/ 2531865 w 8266922"/>
              <a:gd name="connsiteY288" fmla="*/ 5541107 h 7305087"/>
              <a:gd name="connsiteX289" fmla="*/ 2549770 w 8266922"/>
              <a:gd name="connsiteY289" fmla="*/ 5575128 h 7305087"/>
              <a:gd name="connsiteX290" fmla="*/ 2595224 w 8266922"/>
              <a:gd name="connsiteY290" fmla="*/ 5632372 h 7305087"/>
              <a:gd name="connsiteX291" fmla="*/ 2654990 w 8266922"/>
              <a:gd name="connsiteY291" fmla="*/ 5674432 h 7305087"/>
              <a:gd name="connsiteX292" fmla="*/ 2690785 w 8266922"/>
              <a:gd name="connsiteY292" fmla="*/ 5689472 h 7305087"/>
              <a:gd name="connsiteX293" fmla="*/ 2730814 w 8266922"/>
              <a:gd name="connsiteY293" fmla="*/ 5700361 h 7305087"/>
              <a:gd name="connsiteX294" fmla="*/ 2775291 w 8266922"/>
              <a:gd name="connsiteY294" fmla="*/ 5706982 h 7305087"/>
              <a:gd name="connsiteX295" fmla="*/ 2824439 w 8266922"/>
              <a:gd name="connsiteY295" fmla="*/ 5709215 h 7305087"/>
              <a:gd name="connsiteX296" fmla="*/ 2824439 w 8266922"/>
              <a:gd name="connsiteY296" fmla="*/ 5806038 h 7305087"/>
              <a:gd name="connsiteX297" fmla="*/ 2770915 w 8266922"/>
              <a:gd name="connsiteY297" fmla="*/ 5804149 h 7305087"/>
              <a:gd name="connsiteX298" fmla="*/ 2721436 w 8266922"/>
              <a:gd name="connsiteY298" fmla="*/ 5798536 h 7305087"/>
              <a:gd name="connsiteX299" fmla="*/ 2675855 w 8266922"/>
              <a:gd name="connsiteY299" fmla="*/ 5789282 h 7305087"/>
              <a:gd name="connsiteX300" fmla="*/ 2634037 w 8266922"/>
              <a:gd name="connsiteY300" fmla="*/ 5776470 h 7305087"/>
              <a:gd name="connsiteX301" fmla="*/ 2595840 w 8266922"/>
              <a:gd name="connsiteY301" fmla="*/ 5760183 h 7305087"/>
              <a:gd name="connsiteX302" fmla="*/ 2561122 w 8266922"/>
              <a:gd name="connsiteY302" fmla="*/ 5740502 h 7305087"/>
              <a:gd name="connsiteX303" fmla="*/ 2529747 w 8266922"/>
              <a:gd name="connsiteY303" fmla="*/ 5717511 h 7305087"/>
              <a:gd name="connsiteX304" fmla="*/ 2501571 w 8266922"/>
              <a:gd name="connsiteY304" fmla="*/ 5691293 h 7305087"/>
              <a:gd name="connsiteX305" fmla="*/ 2476454 w 8266922"/>
              <a:gd name="connsiteY305" fmla="*/ 5661929 h 7305087"/>
              <a:gd name="connsiteX306" fmla="*/ 2454257 w 8266922"/>
              <a:gd name="connsiteY306" fmla="*/ 5629503 h 7305087"/>
              <a:gd name="connsiteX307" fmla="*/ 2434840 w 8266922"/>
              <a:gd name="connsiteY307" fmla="*/ 5594097 h 7305087"/>
              <a:gd name="connsiteX308" fmla="*/ 2418062 w 8266922"/>
              <a:gd name="connsiteY308" fmla="*/ 5555794 h 7305087"/>
              <a:gd name="connsiteX309" fmla="*/ 2403783 w 8266922"/>
              <a:gd name="connsiteY309" fmla="*/ 5514676 h 7305087"/>
              <a:gd name="connsiteX310" fmla="*/ 2391863 w 8266922"/>
              <a:gd name="connsiteY310" fmla="*/ 5470827 h 7305087"/>
              <a:gd name="connsiteX311" fmla="*/ 2382162 w 8266922"/>
              <a:gd name="connsiteY311" fmla="*/ 5424328 h 7305087"/>
              <a:gd name="connsiteX312" fmla="*/ 2374539 w 8266922"/>
              <a:gd name="connsiteY312" fmla="*/ 5375263 h 7305087"/>
              <a:gd name="connsiteX313" fmla="*/ 2368854 w 8266922"/>
              <a:gd name="connsiteY313" fmla="*/ 5323713 h 7305087"/>
              <a:gd name="connsiteX314" fmla="*/ 2364967 w 8266922"/>
              <a:gd name="connsiteY314" fmla="*/ 5269763 h 7305087"/>
              <a:gd name="connsiteX315" fmla="*/ 2362736 w 8266922"/>
              <a:gd name="connsiteY315" fmla="*/ 5213493 h 7305087"/>
              <a:gd name="connsiteX316" fmla="*/ 2362026 w 8266922"/>
              <a:gd name="connsiteY316" fmla="*/ 5154988 h 7305087"/>
              <a:gd name="connsiteX317" fmla="*/ 2362760 w 8266922"/>
              <a:gd name="connsiteY317" fmla="*/ 5096732 h 7305087"/>
              <a:gd name="connsiteX318" fmla="*/ 2365057 w 8266922"/>
              <a:gd name="connsiteY318" fmla="*/ 5040712 h 7305087"/>
              <a:gd name="connsiteX319" fmla="*/ 2369046 w 8266922"/>
              <a:gd name="connsiteY319" fmla="*/ 4987008 h 7305087"/>
              <a:gd name="connsiteX320" fmla="*/ 2374859 w 8266922"/>
              <a:gd name="connsiteY320" fmla="*/ 4935701 h 7305087"/>
              <a:gd name="connsiteX321" fmla="*/ 2382632 w 8266922"/>
              <a:gd name="connsiteY321" fmla="*/ 4886873 h 7305087"/>
              <a:gd name="connsiteX322" fmla="*/ 2392495 w 8266922"/>
              <a:gd name="connsiteY322" fmla="*/ 4840605 h 7305087"/>
              <a:gd name="connsiteX323" fmla="*/ 2404581 w 8266922"/>
              <a:gd name="connsiteY323" fmla="*/ 4796980 h 7305087"/>
              <a:gd name="connsiteX324" fmla="*/ 2419024 w 8266922"/>
              <a:gd name="connsiteY324" fmla="*/ 4756077 h 7305087"/>
              <a:gd name="connsiteX325" fmla="*/ 2435956 w 8266922"/>
              <a:gd name="connsiteY325" fmla="*/ 4717980 h 7305087"/>
              <a:gd name="connsiteX326" fmla="*/ 2455509 w 8266922"/>
              <a:gd name="connsiteY326" fmla="*/ 4682768 h 7305087"/>
              <a:gd name="connsiteX327" fmla="*/ 2477817 w 8266922"/>
              <a:gd name="connsiteY327" fmla="*/ 4650523 h 7305087"/>
              <a:gd name="connsiteX328" fmla="*/ 2503013 w 8266922"/>
              <a:gd name="connsiteY328" fmla="*/ 4621327 h 7305087"/>
              <a:gd name="connsiteX329" fmla="*/ 2531228 w 8266922"/>
              <a:gd name="connsiteY329" fmla="*/ 4595261 h 7305087"/>
              <a:gd name="connsiteX330" fmla="*/ 2562596 w 8266922"/>
              <a:gd name="connsiteY330" fmla="*/ 4572406 h 7305087"/>
              <a:gd name="connsiteX331" fmla="*/ 2597248 w 8266922"/>
              <a:gd name="connsiteY331" fmla="*/ 4552845 h 7305087"/>
              <a:gd name="connsiteX332" fmla="*/ 2635318 w 8266922"/>
              <a:gd name="connsiteY332" fmla="*/ 4536657 h 7305087"/>
              <a:gd name="connsiteX333" fmla="*/ 2676942 w 8266922"/>
              <a:gd name="connsiteY333" fmla="*/ 4523925 h 7305087"/>
              <a:gd name="connsiteX334" fmla="*/ 2722247 w 8266922"/>
              <a:gd name="connsiteY334" fmla="*/ 4514730 h 7305087"/>
              <a:gd name="connsiteX335" fmla="*/ 2771367 w 8266922"/>
              <a:gd name="connsiteY335" fmla="*/ 4509153 h 7305087"/>
              <a:gd name="connsiteX336" fmla="*/ 2506783 w 8266922"/>
              <a:gd name="connsiteY336" fmla="*/ 4026496 h 7305087"/>
              <a:gd name="connsiteX337" fmla="*/ 2549012 w 8266922"/>
              <a:gd name="connsiteY337" fmla="*/ 4030174 h 7305087"/>
              <a:gd name="connsiteX338" fmla="*/ 2581695 w 8266922"/>
              <a:gd name="connsiteY338" fmla="*/ 4043398 h 7305087"/>
              <a:gd name="connsiteX339" fmla="*/ 2602796 w 8266922"/>
              <a:gd name="connsiteY339" fmla="*/ 4069456 h 7305087"/>
              <a:gd name="connsiteX340" fmla="*/ 2610283 w 8266922"/>
              <a:gd name="connsiteY340" fmla="*/ 4111633 h 7305087"/>
              <a:gd name="connsiteX341" fmla="*/ 2602796 w 8266922"/>
              <a:gd name="connsiteY341" fmla="*/ 4155741 h 7305087"/>
              <a:gd name="connsiteX342" fmla="*/ 2581695 w 8266922"/>
              <a:gd name="connsiteY342" fmla="*/ 4182790 h 7305087"/>
              <a:gd name="connsiteX343" fmla="*/ 2549012 w 8266922"/>
              <a:gd name="connsiteY343" fmla="*/ 4196380 h 7305087"/>
              <a:gd name="connsiteX344" fmla="*/ 2506783 w 8266922"/>
              <a:gd name="connsiteY344" fmla="*/ 4200110 h 7305087"/>
              <a:gd name="connsiteX345" fmla="*/ 2464554 w 8266922"/>
              <a:gd name="connsiteY345" fmla="*/ 4196380 h 7305087"/>
              <a:gd name="connsiteX346" fmla="*/ 2431870 w 8266922"/>
              <a:gd name="connsiteY346" fmla="*/ 4182790 h 7305087"/>
              <a:gd name="connsiteX347" fmla="*/ 2410769 w 8266922"/>
              <a:gd name="connsiteY347" fmla="*/ 4155741 h 7305087"/>
              <a:gd name="connsiteX348" fmla="*/ 2403283 w 8266922"/>
              <a:gd name="connsiteY348" fmla="*/ 4111633 h 7305087"/>
              <a:gd name="connsiteX349" fmla="*/ 2411003 w 8266922"/>
              <a:gd name="connsiteY349" fmla="*/ 4069456 h 7305087"/>
              <a:gd name="connsiteX350" fmla="*/ 2432496 w 8266922"/>
              <a:gd name="connsiteY350" fmla="*/ 4043398 h 7305087"/>
              <a:gd name="connsiteX351" fmla="*/ 2465257 w 8266922"/>
              <a:gd name="connsiteY351" fmla="*/ 4030174 h 7305087"/>
              <a:gd name="connsiteX352" fmla="*/ 2506783 w 8266922"/>
              <a:gd name="connsiteY352" fmla="*/ 3325365 h 7305087"/>
              <a:gd name="connsiteX353" fmla="*/ 2549012 w 8266922"/>
              <a:gd name="connsiteY353" fmla="*/ 3328834 h 7305087"/>
              <a:gd name="connsiteX354" fmla="*/ 2581695 w 8266922"/>
              <a:gd name="connsiteY354" fmla="*/ 3341849 h 7305087"/>
              <a:gd name="connsiteX355" fmla="*/ 2602796 w 8266922"/>
              <a:gd name="connsiteY355" fmla="*/ 3368324 h 7305087"/>
              <a:gd name="connsiteX356" fmla="*/ 2610283 w 8266922"/>
              <a:gd name="connsiteY356" fmla="*/ 3412171 h 7305087"/>
              <a:gd name="connsiteX357" fmla="*/ 2602796 w 8266922"/>
              <a:gd name="connsiteY357" fmla="*/ 3454609 h 7305087"/>
              <a:gd name="connsiteX358" fmla="*/ 2581695 w 8266922"/>
              <a:gd name="connsiteY358" fmla="*/ 3481240 h 7305087"/>
              <a:gd name="connsiteX359" fmla="*/ 2549012 w 8266922"/>
              <a:gd name="connsiteY359" fmla="*/ 3495038 h 7305087"/>
              <a:gd name="connsiteX360" fmla="*/ 2506783 w 8266922"/>
              <a:gd name="connsiteY360" fmla="*/ 3498977 h 7305087"/>
              <a:gd name="connsiteX361" fmla="*/ 2465519 w 8266922"/>
              <a:gd name="connsiteY361" fmla="*/ 3495038 h 7305087"/>
              <a:gd name="connsiteX362" fmla="*/ 2433331 w 8266922"/>
              <a:gd name="connsiteY362" fmla="*/ 3481240 h 7305087"/>
              <a:gd name="connsiteX363" fmla="*/ 2412411 w 8266922"/>
              <a:gd name="connsiteY363" fmla="*/ 3454609 h 7305087"/>
              <a:gd name="connsiteX364" fmla="*/ 2404952 w 8266922"/>
              <a:gd name="connsiteY364" fmla="*/ 3412171 h 7305087"/>
              <a:gd name="connsiteX365" fmla="*/ 2412411 w 8266922"/>
              <a:gd name="connsiteY365" fmla="*/ 3368324 h 7305087"/>
              <a:gd name="connsiteX366" fmla="*/ 2433331 w 8266922"/>
              <a:gd name="connsiteY366" fmla="*/ 3341849 h 7305087"/>
              <a:gd name="connsiteX367" fmla="*/ 2465519 w 8266922"/>
              <a:gd name="connsiteY367" fmla="*/ 3328834 h 7305087"/>
              <a:gd name="connsiteX368" fmla="*/ 3576931 w 8266922"/>
              <a:gd name="connsiteY368" fmla="*/ 3011218 h 7305087"/>
              <a:gd name="connsiteX369" fmla="*/ 3950858 w 8266922"/>
              <a:gd name="connsiteY369" fmla="*/ 3011218 h 7305087"/>
              <a:gd name="connsiteX370" fmla="*/ 3950858 w 8266922"/>
              <a:gd name="connsiteY370" fmla="*/ 3106468 h 7305087"/>
              <a:gd name="connsiteX371" fmla="*/ 3950858 w 8266922"/>
              <a:gd name="connsiteY371" fmla="*/ 4205018 h 7305087"/>
              <a:gd name="connsiteX372" fmla="*/ 3950858 w 8266922"/>
              <a:gd name="connsiteY372" fmla="*/ 4300268 h 7305087"/>
              <a:gd name="connsiteX373" fmla="*/ 3576931 w 8266922"/>
              <a:gd name="connsiteY373" fmla="*/ 4300268 h 7305087"/>
              <a:gd name="connsiteX374" fmla="*/ 3576931 w 8266922"/>
              <a:gd name="connsiteY374" fmla="*/ 4205018 h 7305087"/>
              <a:gd name="connsiteX375" fmla="*/ 3835681 w 8266922"/>
              <a:gd name="connsiteY375" fmla="*/ 4205018 h 7305087"/>
              <a:gd name="connsiteX376" fmla="*/ 3835681 w 8266922"/>
              <a:gd name="connsiteY376" fmla="*/ 3106468 h 7305087"/>
              <a:gd name="connsiteX377" fmla="*/ 3576931 w 8266922"/>
              <a:gd name="connsiteY377" fmla="*/ 3106468 h 7305087"/>
              <a:gd name="connsiteX378" fmla="*/ 1487809 w 8266922"/>
              <a:gd name="connsiteY378" fmla="*/ 3011218 h 7305087"/>
              <a:gd name="connsiteX379" fmla="*/ 1861748 w 8266922"/>
              <a:gd name="connsiteY379" fmla="*/ 3011218 h 7305087"/>
              <a:gd name="connsiteX380" fmla="*/ 1861748 w 8266922"/>
              <a:gd name="connsiteY380" fmla="*/ 3106468 h 7305087"/>
              <a:gd name="connsiteX381" fmla="*/ 1602998 w 8266922"/>
              <a:gd name="connsiteY381" fmla="*/ 3106468 h 7305087"/>
              <a:gd name="connsiteX382" fmla="*/ 1602998 w 8266922"/>
              <a:gd name="connsiteY382" fmla="*/ 4205018 h 7305087"/>
              <a:gd name="connsiteX383" fmla="*/ 1861748 w 8266922"/>
              <a:gd name="connsiteY383" fmla="*/ 4205018 h 7305087"/>
              <a:gd name="connsiteX384" fmla="*/ 1861748 w 8266922"/>
              <a:gd name="connsiteY384" fmla="*/ 4300268 h 7305087"/>
              <a:gd name="connsiteX385" fmla="*/ 1487809 w 8266922"/>
              <a:gd name="connsiteY385" fmla="*/ 4300268 h 7305087"/>
              <a:gd name="connsiteX386" fmla="*/ 1487809 w 8266922"/>
              <a:gd name="connsiteY386" fmla="*/ 4205018 h 7305087"/>
              <a:gd name="connsiteX387" fmla="*/ 1487809 w 8266922"/>
              <a:gd name="connsiteY387" fmla="*/ 3106468 h 7305087"/>
              <a:gd name="connsiteX388" fmla="*/ 7212302 w 8266922"/>
              <a:gd name="connsiteY388" fmla="*/ 3004847 h 7305087"/>
              <a:gd name="connsiteX389" fmla="*/ 7265372 w 8266922"/>
              <a:gd name="connsiteY389" fmla="*/ 3006723 h 7305087"/>
              <a:gd name="connsiteX390" fmla="*/ 7314493 w 8266922"/>
              <a:gd name="connsiteY390" fmla="*/ 3012300 h 7305087"/>
              <a:gd name="connsiteX391" fmla="*/ 7359798 w 8266922"/>
              <a:gd name="connsiteY391" fmla="*/ 3021495 h 7305087"/>
              <a:gd name="connsiteX392" fmla="*/ 7401420 w 8266922"/>
              <a:gd name="connsiteY392" fmla="*/ 3034227 h 7305087"/>
              <a:gd name="connsiteX393" fmla="*/ 7439491 w 8266922"/>
              <a:gd name="connsiteY393" fmla="*/ 3050415 h 7305087"/>
              <a:gd name="connsiteX394" fmla="*/ 7474144 w 8266922"/>
              <a:gd name="connsiteY394" fmla="*/ 3069977 h 7305087"/>
              <a:gd name="connsiteX395" fmla="*/ 7505511 w 8266922"/>
              <a:gd name="connsiteY395" fmla="*/ 3092831 h 7305087"/>
              <a:gd name="connsiteX396" fmla="*/ 7533726 w 8266922"/>
              <a:gd name="connsiteY396" fmla="*/ 3118897 h 7305087"/>
              <a:gd name="connsiteX397" fmla="*/ 7558922 w 8266922"/>
              <a:gd name="connsiteY397" fmla="*/ 3148093 h 7305087"/>
              <a:gd name="connsiteX398" fmla="*/ 7581230 w 8266922"/>
              <a:gd name="connsiteY398" fmla="*/ 3180338 h 7305087"/>
              <a:gd name="connsiteX399" fmla="*/ 7600783 w 8266922"/>
              <a:gd name="connsiteY399" fmla="*/ 3215550 h 7305087"/>
              <a:gd name="connsiteX400" fmla="*/ 7617715 w 8266922"/>
              <a:gd name="connsiteY400" fmla="*/ 3253648 h 7305087"/>
              <a:gd name="connsiteX401" fmla="*/ 7632158 w 8266922"/>
              <a:gd name="connsiteY401" fmla="*/ 3294551 h 7305087"/>
              <a:gd name="connsiteX402" fmla="*/ 7644245 w 8266922"/>
              <a:gd name="connsiteY402" fmla="*/ 3338176 h 7305087"/>
              <a:gd name="connsiteX403" fmla="*/ 7654108 w 8266922"/>
              <a:gd name="connsiteY403" fmla="*/ 3384443 h 7305087"/>
              <a:gd name="connsiteX404" fmla="*/ 7661880 w 8266922"/>
              <a:gd name="connsiteY404" fmla="*/ 3433271 h 7305087"/>
              <a:gd name="connsiteX405" fmla="*/ 7667694 w 8266922"/>
              <a:gd name="connsiteY405" fmla="*/ 3484578 h 7305087"/>
              <a:gd name="connsiteX406" fmla="*/ 7671682 w 8266922"/>
              <a:gd name="connsiteY406" fmla="*/ 3538282 h 7305087"/>
              <a:gd name="connsiteX407" fmla="*/ 7673978 w 8266922"/>
              <a:gd name="connsiteY407" fmla="*/ 3594302 h 7305087"/>
              <a:gd name="connsiteX408" fmla="*/ 7674714 w 8266922"/>
              <a:gd name="connsiteY408" fmla="*/ 3652558 h 7305087"/>
              <a:gd name="connsiteX409" fmla="*/ 7674014 w 8266922"/>
              <a:gd name="connsiteY409" fmla="*/ 3711063 h 7305087"/>
              <a:gd name="connsiteX410" fmla="*/ 7671817 w 8266922"/>
              <a:gd name="connsiteY410" fmla="*/ 3767333 h 7305087"/>
              <a:gd name="connsiteX411" fmla="*/ 7667981 w 8266922"/>
              <a:gd name="connsiteY411" fmla="*/ 3821283 h 7305087"/>
              <a:gd name="connsiteX412" fmla="*/ 7662360 w 8266922"/>
              <a:gd name="connsiteY412" fmla="*/ 3872833 h 7305087"/>
              <a:gd name="connsiteX413" fmla="*/ 7654812 w 8266922"/>
              <a:gd name="connsiteY413" fmla="*/ 3921898 h 7305087"/>
              <a:gd name="connsiteX414" fmla="*/ 7645191 w 8266922"/>
              <a:gd name="connsiteY414" fmla="*/ 3968397 h 7305087"/>
              <a:gd name="connsiteX415" fmla="*/ 7633354 w 8266922"/>
              <a:gd name="connsiteY415" fmla="*/ 4012246 h 7305087"/>
              <a:gd name="connsiteX416" fmla="*/ 7619157 w 8266922"/>
              <a:gd name="connsiteY416" fmla="*/ 4053364 h 7305087"/>
              <a:gd name="connsiteX417" fmla="*/ 7602457 w 8266922"/>
              <a:gd name="connsiteY417" fmla="*/ 4091667 h 7305087"/>
              <a:gd name="connsiteX418" fmla="*/ 7583108 w 8266922"/>
              <a:gd name="connsiteY418" fmla="*/ 4127073 h 7305087"/>
              <a:gd name="connsiteX419" fmla="*/ 7560967 w 8266922"/>
              <a:gd name="connsiteY419" fmla="*/ 4159499 h 7305087"/>
              <a:gd name="connsiteX420" fmla="*/ 7535890 w 8266922"/>
              <a:gd name="connsiteY420" fmla="*/ 4188862 h 7305087"/>
              <a:gd name="connsiteX421" fmla="*/ 7507733 w 8266922"/>
              <a:gd name="connsiteY421" fmla="*/ 4215081 h 7305087"/>
              <a:gd name="connsiteX422" fmla="*/ 7476352 w 8266922"/>
              <a:gd name="connsiteY422" fmla="*/ 4238071 h 7305087"/>
              <a:gd name="connsiteX423" fmla="*/ 7441604 w 8266922"/>
              <a:gd name="connsiteY423" fmla="*/ 4257752 h 7305087"/>
              <a:gd name="connsiteX424" fmla="*/ 7403343 w 8266922"/>
              <a:gd name="connsiteY424" fmla="*/ 4274039 h 7305087"/>
              <a:gd name="connsiteX425" fmla="*/ 7361426 w 8266922"/>
              <a:gd name="connsiteY425" fmla="*/ 4286851 h 7305087"/>
              <a:gd name="connsiteX426" fmla="*/ 7315710 w 8266922"/>
              <a:gd name="connsiteY426" fmla="*/ 4296105 h 7305087"/>
              <a:gd name="connsiteX427" fmla="*/ 7266050 w 8266922"/>
              <a:gd name="connsiteY427" fmla="*/ 4301718 h 7305087"/>
              <a:gd name="connsiteX428" fmla="*/ 7212302 w 8266922"/>
              <a:gd name="connsiteY428" fmla="*/ 4303607 h 7305087"/>
              <a:gd name="connsiteX429" fmla="*/ 7212302 w 8266922"/>
              <a:gd name="connsiteY429" fmla="*/ 4206785 h 7305087"/>
              <a:gd name="connsiteX430" fmla="*/ 7261987 w 8266922"/>
              <a:gd name="connsiteY430" fmla="*/ 4204552 h 7305087"/>
              <a:gd name="connsiteX431" fmla="*/ 7306907 w 8266922"/>
              <a:gd name="connsiteY431" fmla="*/ 4197931 h 7305087"/>
              <a:gd name="connsiteX432" fmla="*/ 7347290 w 8266922"/>
              <a:gd name="connsiteY432" fmla="*/ 4187042 h 7305087"/>
              <a:gd name="connsiteX433" fmla="*/ 7383361 w 8266922"/>
              <a:gd name="connsiteY433" fmla="*/ 4172002 h 7305087"/>
              <a:gd name="connsiteX434" fmla="*/ 7443472 w 8266922"/>
              <a:gd name="connsiteY434" fmla="*/ 4129942 h 7305087"/>
              <a:gd name="connsiteX435" fmla="*/ 7489051 w 8266922"/>
              <a:gd name="connsiteY435" fmla="*/ 4072698 h 7305087"/>
              <a:gd name="connsiteX436" fmla="*/ 7506957 w 8266922"/>
              <a:gd name="connsiteY436" fmla="*/ 4038677 h 7305087"/>
              <a:gd name="connsiteX437" fmla="*/ 7521909 w 8266922"/>
              <a:gd name="connsiteY437" fmla="*/ 4001216 h 7305087"/>
              <a:gd name="connsiteX438" fmla="*/ 7534133 w 8266922"/>
              <a:gd name="connsiteY438" fmla="*/ 3960431 h 7305087"/>
              <a:gd name="connsiteX439" fmla="*/ 7543856 w 8266922"/>
              <a:gd name="connsiteY439" fmla="*/ 3916441 h 7305087"/>
              <a:gd name="connsiteX440" fmla="*/ 7551303 w 8266922"/>
              <a:gd name="connsiteY440" fmla="*/ 3869364 h 7305087"/>
              <a:gd name="connsiteX441" fmla="*/ 7556702 w 8266922"/>
              <a:gd name="connsiteY441" fmla="*/ 3819320 h 7305087"/>
              <a:gd name="connsiteX442" fmla="*/ 7560278 w 8266922"/>
              <a:gd name="connsiteY442" fmla="*/ 3766425 h 7305087"/>
              <a:gd name="connsiteX443" fmla="*/ 7562257 w 8266922"/>
              <a:gd name="connsiteY443" fmla="*/ 3710798 h 7305087"/>
              <a:gd name="connsiteX444" fmla="*/ 7562867 w 8266922"/>
              <a:gd name="connsiteY444" fmla="*/ 3652558 h 7305087"/>
              <a:gd name="connsiteX445" fmla="*/ 7562225 w 8266922"/>
              <a:gd name="connsiteY445" fmla="*/ 3594889 h 7305087"/>
              <a:gd name="connsiteX446" fmla="*/ 7560155 w 8266922"/>
              <a:gd name="connsiteY446" fmla="*/ 3539800 h 7305087"/>
              <a:gd name="connsiteX447" fmla="*/ 7556445 w 8266922"/>
              <a:gd name="connsiteY447" fmla="*/ 3487407 h 7305087"/>
              <a:gd name="connsiteX448" fmla="*/ 7550879 w 8266922"/>
              <a:gd name="connsiteY448" fmla="*/ 3437831 h 7305087"/>
              <a:gd name="connsiteX449" fmla="*/ 7543244 w 8266922"/>
              <a:gd name="connsiteY449" fmla="*/ 3391187 h 7305087"/>
              <a:gd name="connsiteX450" fmla="*/ 7533326 w 8266922"/>
              <a:gd name="connsiteY450" fmla="*/ 3347596 h 7305087"/>
              <a:gd name="connsiteX451" fmla="*/ 7520910 w 8266922"/>
              <a:gd name="connsiteY451" fmla="*/ 3307175 h 7305087"/>
              <a:gd name="connsiteX452" fmla="*/ 7505783 w 8266922"/>
              <a:gd name="connsiteY452" fmla="*/ 3270043 h 7305087"/>
              <a:gd name="connsiteX453" fmla="*/ 7487730 w 8266922"/>
              <a:gd name="connsiteY453" fmla="*/ 3236317 h 7305087"/>
              <a:gd name="connsiteX454" fmla="*/ 7441992 w 8266922"/>
              <a:gd name="connsiteY454" fmla="*/ 3179558 h 7305087"/>
              <a:gd name="connsiteX455" fmla="*/ 7381983 w 8266922"/>
              <a:gd name="connsiteY455" fmla="*/ 3137845 h 7305087"/>
              <a:gd name="connsiteX456" fmla="*/ 7346091 w 8266922"/>
              <a:gd name="connsiteY456" fmla="*/ 3122926 h 7305087"/>
              <a:gd name="connsiteX457" fmla="*/ 7305990 w 8266922"/>
              <a:gd name="connsiteY457" fmla="*/ 3112123 h 7305087"/>
              <a:gd name="connsiteX458" fmla="*/ 7261465 w 8266922"/>
              <a:gd name="connsiteY458" fmla="*/ 3105555 h 7305087"/>
              <a:gd name="connsiteX459" fmla="*/ 7212302 w 8266922"/>
              <a:gd name="connsiteY459" fmla="*/ 3103339 h 7305087"/>
              <a:gd name="connsiteX460" fmla="*/ 6695380 w 8266922"/>
              <a:gd name="connsiteY460" fmla="*/ 3004847 h 7305087"/>
              <a:gd name="connsiteX461" fmla="*/ 6695380 w 8266922"/>
              <a:gd name="connsiteY461" fmla="*/ 3103339 h 7305087"/>
              <a:gd name="connsiteX462" fmla="*/ 6646494 w 8266922"/>
              <a:gd name="connsiteY462" fmla="*/ 3105555 h 7305087"/>
              <a:gd name="connsiteX463" fmla="*/ 6602213 w 8266922"/>
              <a:gd name="connsiteY463" fmla="*/ 3112123 h 7305087"/>
              <a:gd name="connsiteX464" fmla="*/ 6562327 w 8266922"/>
              <a:gd name="connsiteY464" fmla="*/ 3122926 h 7305087"/>
              <a:gd name="connsiteX465" fmla="*/ 6526621 w 8266922"/>
              <a:gd name="connsiteY465" fmla="*/ 3137845 h 7305087"/>
              <a:gd name="connsiteX466" fmla="*/ 6466906 w 8266922"/>
              <a:gd name="connsiteY466" fmla="*/ 3179558 h 7305087"/>
              <a:gd name="connsiteX467" fmla="*/ 6421372 w 8266922"/>
              <a:gd name="connsiteY467" fmla="*/ 3236317 h 7305087"/>
              <a:gd name="connsiteX468" fmla="*/ 6403393 w 8266922"/>
              <a:gd name="connsiteY468" fmla="*/ 3270043 h 7305087"/>
              <a:gd name="connsiteX469" fmla="*/ 6388323 w 8266922"/>
              <a:gd name="connsiteY469" fmla="*/ 3307175 h 7305087"/>
              <a:gd name="connsiteX470" fmla="*/ 6375951 w 8266922"/>
              <a:gd name="connsiteY470" fmla="*/ 3347596 h 7305087"/>
              <a:gd name="connsiteX471" fmla="*/ 6366063 w 8266922"/>
              <a:gd name="connsiteY471" fmla="*/ 3391187 h 7305087"/>
              <a:gd name="connsiteX472" fmla="*/ 6358449 w 8266922"/>
              <a:gd name="connsiteY472" fmla="*/ 3437831 h 7305087"/>
              <a:gd name="connsiteX473" fmla="*/ 6352896 w 8266922"/>
              <a:gd name="connsiteY473" fmla="*/ 3487407 h 7305087"/>
              <a:gd name="connsiteX474" fmla="*/ 6349192 w 8266922"/>
              <a:gd name="connsiteY474" fmla="*/ 3539800 h 7305087"/>
              <a:gd name="connsiteX475" fmla="*/ 6347125 w 8266922"/>
              <a:gd name="connsiteY475" fmla="*/ 3594889 h 7305087"/>
              <a:gd name="connsiteX476" fmla="*/ 6346483 w 8266922"/>
              <a:gd name="connsiteY476" fmla="*/ 3652558 h 7305087"/>
              <a:gd name="connsiteX477" fmla="*/ 6347109 w 8266922"/>
              <a:gd name="connsiteY477" fmla="*/ 3710798 h 7305087"/>
              <a:gd name="connsiteX478" fmla="*/ 6349131 w 8266922"/>
              <a:gd name="connsiteY478" fmla="*/ 3766425 h 7305087"/>
              <a:gd name="connsiteX479" fmla="*/ 6352768 w 8266922"/>
              <a:gd name="connsiteY479" fmla="*/ 3819320 h 7305087"/>
              <a:gd name="connsiteX480" fmla="*/ 6358237 w 8266922"/>
              <a:gd name="connsiteY480" fmla="*/ 3869364 h 7305087"/>
              <a:gd name="connsiteX481" fmla="*/ 6365758 w 8266922"/>
              <a:gd name="connsiteY481" fmla="*/ 3916441 h 7305087"/>
              <a:gd name="connsiteX482" fmla="*/ 6375547 w 8266922"/>
              <a:gd name="connsiteY482" fmla="*/ 3960431 h 7305087"/>
              <a:gd name="connsiteX483" fmla="*/ 6387824 w 8266922"/>
              <a:gd name="connsiteY483" fmla="*/ 4001216 h 7305087"/>
              <a:gd name="connsiteX484" fmla="*/ 6402806 w 8266922"/>
              <a:gd name="connsiteY484" fmla="*/ 4038677 h 7305087"/>
              <a:gd name="connsiteX485" fmla="*/ 6420712 w 8266922"/>
              <a:gd name="connsiteY485" fmla="*/ 4072698 h 7305087"/>
              <a:gd name="connsiteX486" fmla="*/ 6466166 w 8266922"/>
              <a:gd name="connsiteY486" fmla="*/ 4129942 h 7305087"/>
              <a:gd name="connsiteX487" fmla="*/ 6525932 w 8266922"/>
              <a:gd name="connsiteY487" fmla="*/ 4172002 h 7305087"/>
              <a:gd name="connsiteX488" fmla="*/ 6561727 w 8266922"/>
              <a:gd name="connsiteY488" fmla="*/ 4187042 h 7305087"/>
              <a:gd name="connsiteX489" fmla="*/ 6601755 w 8266922"/>
              <a:gd name="connsiteY489" fmla="*/ 4197931 h 7305087"/>
              <a:gd name="connsiteX490" fmla="*/ 6646233 w 8266922"/>
              <a:gd name="connsiteY490" fmla="*/ 4204552 h 7305087"/>
              <a:gd name="connsiteX491" fmla="*/ 6695380 w 8266922"/>
              <a:gd name="connsiteY491" fmla="*/ 4206785 h 7305087"/>
              <a:gd name="connsiteX492" fmla="*/ 6695380 w 8266922"/>
              <a:gd name="connsiteY492" fmla="*/ 4303607 h 7305087"/>
              <a:gd name="connsiteX493" fmla="*/ 6641857 w 8266922"/>
              <a:gd name="connsiteY493" fmla="*/ 4301718 h 7305087"/>
              <a:gd name="connsiteX494" fmla="*/ 6592377 w 8266922"/>
              <a:gd name="connsiteY494" fmla="*/ 4296105 h 7305087"/>
              <a:gd name="connsiteX495" fmla="*/ 6546797 w 8266922"/>
              <a:gd name="connsiteY495" fmla="*/ 4286851 h 7305087"/>
              <a:gd name="connsiteX496" fmla="*/ 6504979 w 8266922"/>
              <a:gd name="connsiteY496" fmla="*/ 4274039 h 7305087"/>
              <a:gd name="connsiteX497" fmla="*/ 6466782 w 8266922"/>
              <a:gd name="connsiteY497" fmla="*/ 4257752 h 7305087"/>
              <a:gd name="connsiteX498" fmla="*/ 6432065 w 8266922"/>
              <a:gd name="connsiteY498" fmla="*/ 4238071 h 7305087"/>
              <a:gd name="connsiteX499" fmla="*/ 6400688 w 8266922"/>
              <a:gd name="connsiteY499" fmla="*/ 4215081 h 7305087"/>
              <a:gd name="connsiteX500" fmla="*/ 6372512 w 8266922"/>
              <a:gd name="connsiteY500" fmla="*/ 4188862 h 7305087"/>
              <a:gd name="connsiteX501" fmla="*/ 6347396 w 8266922"/>
              <a:gd name="connsiteY501" fmla="*/ 4159499 h 7305087"/>
              <a:gd name="connsiteX502" fmla="*/ 6325199 w 8266922"/>
              <a:gd name="connsiteY502" fmla="*/ 4127073 h 7305087"/>
              <a:gd name="connsiteX503" fmla="*/ 6305782 w 8266922"/>
              <a:gd name="connsiteY503" fmla="*/ 4091667 h 7305087"/>
              <a:gd name="connsiteX504" fmla="*/ 6289004 w 8266922"/>
              <a:gd name="connsiteY504" fmla="*/ 4053364 h 7305087"/>
              <a:gd name="connsiteX505" fmla="*/ 6274725 w 8266922"/>
              <a:gd name="connsiteY505" fmla="*/ 4012246 h 7305087"/>
              <a:gd name="connsiteX506" fmla="*/ 6262805 w 8266922"/>
              <a:gd name="connsiteY506" fmla="*/ 3968397 h 7305087"/>
              <a:gd name="connsiteX507" fmla="*/ 6253104 w 8266922"/>
              <a:gd name="connsiteY507" fmla="*/ 3921898 h 7305087"/>
              <a:gd name="connsiteX508" fmla="*/ 6245481 w 8266922"/>
              <a:gd name="connsiteY508" fmla="*/ 3872833 h 7305087"/>
              <a:gd name="connsiteX509" fmla="*/ 6239796 w 8266922"/>
              <a:gd name="connsiteY509" fmla="*/ 3821283 h 7305087"/>
              <a:gd name="connsiteX510" fmla="*/ 6235909 w 8266922"/>
              <a:gd name="connsiteY510" fmla="*/ 3767333 h 7305087"/>
              <a:gd name="connsiteX511" fmla="*/ 6233679 w 8266922"/>
              <a:gd name="connsiteY511" fmla="*/ 3711063 h 7305087"/>
              <a:gd name="connsiteX512" fmla="*/ 6232968 w 8266922"/>
              <a:gd name="connsiteY512" fmla="*/ 3652558 h 7305087"/>
              <a:gd name="connsiteX513" fmla="*/ 6233703 w 8266922"/>
              <a:gd name="connsiteY513" fmla="*/ 3594302 h 7305087"/>
              <a:gd name="connsiteX514" fmla="*/ 6235999 w 8266922"/>
              <a:gd name="connsiteY514" fmla="*/ 3538282 h 7305087"/>
              <a:gd name="connsiteX515" fmla="*/ 6239988 w 8266922"/>
              <a:gd name="connsiteY515" fmla="*/ 3484578 h 7305087"/>
              <a:gd name="connsiteX516" fmla="*/ 6245801 w 8266922"/>
              <a:gd name="connsiteY516" fmla="*/ 3433271 h 7305087"/>
              <a:gd name="connsiteX517" fmla="*/ 6253574 w 8266922"/>
              <a:gd name="connsiteY517" fmla="*/ 3384443 h 7305087"/>
              <a:gd name="connsiteX518" fmla="*/ 6263437 w 8266922"/>
              <a:gd name="connsiteY518" fmla="*/ 3338176 h 7305087"/>
              <a:gd name="connsiteX519" fmla="*/ 6275523 w 8266922"/>
              <a:gd name="connsiteY519" fmla="*/ 3294551 h 7305087"/>
              <a:gd name="connsiteX520" fmla="*/ 6289966 w 8266922"/>
              <a:gd name="connsiteY520" fmla="*/ 3253648 h 7305087"/>
              <a:gd name="connsiteX521" fmla="*/ 6306898 w 8266922"/>
              <a:gd name="connsiteY521" fmla="*/ 3215550 h 7305087"/>
              <a:gd name="connsiteX522" fmla="*/ 6326451 w 8266922"/>
              <a:gd name="connsiteY522" fmla="*/ 3180338 h 7305087"/>
              <a:gd name="connsiteX523" fmla="*/ 6348759 w 8266922"/>
              <a:gd name="connsiteY523" fmla="*/ 3148093 h 7305087"/>
              <a:gd name="connsiteX524" fmla="*/ 6373955 w 8266922"/>
              <a:gd name="connsiteY524" fmla="*/ 3118897 h 7305087"/>
              <a:gd name="connsiteX525" fmla="*/ 6402170 w 8266922"/>
              <a:gd name="connsiteY525" fmla="*/ 3092831 h 7305087"/>
              <a:gd name="connsiteX526" fmla="*/ 6433537 w 8266922"/>
              <a:gd name="connsiteY526" fmla="*/ 3069977 h 7305087"/>
              <a:gd name="connsiteX527" fmla="*/ 6468190 w 8266922"/>
              <a:gd name="connsiteY527" fmla="*/ 3050415 h 7305087"/>
              <a:gd name="connsiteX528" fmla="*/ 6506261 w 8266922"/>
              <a:gd name="connsiteY528" fmla="*/ 3034227 h 7305087"/>
              <a:gd name="connsiteX529" fmla="*/ 6547883 w 8266922"/>
              <a:gd name="connsiteY529" fmla="*/ 3021495 h 7305087"/>
              <a:gd name="connsiteX530" fmla="*/ 6593188 w 8266922"/>
              <a:gd name="connsiteY530" fmla="*/ 3012300 h 7305087"/>
              <a:gd name="connsiteX531" fmla="*/ 6642309 w 8266922"/>
              <a:gd name="connsiteY531" fmla="*/ 3006723 h 7305087"/>
              <a:gd name="connsiteX532" fmla="*/ 5578527 w 8266922"/>
              <a:gd name="connsiteY532" fmla="*/ 3004847 h 7305087"/>
              <a:gd name="connsiteX533" fmla="*/ 5631597 w 8266922"/>
              <a:gd name="connsiteY533" fmla="*/ 3006723 h 7305087"/>
              <a:gd name="connsiteX534" fmla="*/ 5680718 w 8266922"/>
              <a:gd name="connsiteY534" fmla="*/ 3012300 h 7305087"/>
              <a:gd name="connsiteX535" fmla="*/ 5726023 w 8266922"/>
              <a:gd name="connsiteY535" fmla="*/ 3021495 h 7305087"/>
              <a:gd name="connsiteX536" fmla="*/ 5767645 w 8266922"/>
              <a:gd name="connsiteY536" fmla="*/ 3034227 h 7305087"/>
              <a:gd name="connsiteX537" fmla="*/ 5805716 w 8266922"/>
              <a:gd name="connsiteY537" fmla="*/ 3050415 h 7305087"/>
              <a:gd name="connsiteX538" fmla="*/ 5840369 w 8266922"/>
              <a:gd name="connsiteY538" fmla="*/ 3069977 h 7305087"/>
              <a:gd name="connsiteX539" fmla="*/ 5871736 w 8266922"/>
              <a:gd name="connsiteY539" fmla="*/ 3092831 h 7305087"/>
              <a:gd name="connsiteX540" fmla="*/ 5899951 w 8266922"/>
              <a:gd name="connsiteY540" fmla="*/ 3118897 h 7305087"/>
              <a:gd name="connsiteX541" fmla="*/ 5925147 w 8266922"/>
              <a:gd name="connsiteY541" fmla="*/ 3148093 h 7305087"/>
              <a:gd name="connsiteX542" fmla="*/ 5947455 w 8266922"/>
              <a:gd name="connsiteY542" fmla="*/ 3180338 h 7305087"/>
              <a:gd name="connsiteX543" fmla="*/ 5967008 w 8266922"/>
              <a:gd name="connsiteY543" fmla="*/ 3215550 h 7305087"/>
              <a:gd name="connsiteX544" fmla="*/ 5983940 w 8266922"/>
              <a:gd name="connsiteY544" fmla="*/ 3253648 h 7305087"/>
              <a:gd name="connsiteX545" fmla="*/ 5998383 w 8266922"/>
              <a:gd name="connsiteY545" fmla="*/ 3294551 h 7305087"/>
              <a:gd name="connsiteX546" fmla="*/ 6010470 w 8266922"/>
              <a:gd name="connsiteY546" fmla="*/ 3338176 h 7305087"/>
              <a:gd name="connsiteX547" fmla="*/ 6020333 w 8266922"/>
              <a:gd name="connsiteY547" fmla="*/ 3384443 h 7305087"/>
              <a:gd name="connsiteX548" fmla="*/ 6028105 w 8266922"/>
              <a:gd name="connsiteY548" fmla="*/ 3433271 h 7305087"/>
              <a:gd name="connsiteX549" fmla="*/ 6033919 w 8266922"/>
              <a:gd name="connsiteY549" fmla="*/ 3484578 h 7305087"/>
              <a:gd name="connsiteX550" fmla="*/ 6037907 w 8266922"/>
              <a:gd name="connsiteY550" fmla="*/ 3538282 h 7305087"/>
              <a:gd name="connsiteX551" fmla="*/ 6040203 w 8266922"/>
              <a:gd name="connsiteY551" fmla="*/ 3594302 h 7305087"/>
              <a:gd name="connsiteX552" fmla="*/ 6040939 w 8266922"/>
              <a:gd name="connsiteY552" fmla="*/ 3652558 h 7305087"/>
              <a:gd name="connsiteX553" fmla="*/ 6040239 w 8266922"/>
              <a:gd name="connsiteY553" fmla="*/ 3711063 h 7305087"/>
              <a:gd name="connsiteX554" fmla="*/ 6038042 w 8266922"/>
              <a:gd name="connsiteY554" fmla="*/ 3767333 h 7305087"/>
              <a:gd name="connsiteX555" fmla="*/ 6034206 w 8266922"/>
              <a:gd name="connsiteY555" fmla="*/ 3821283 h 7305087"/>
              <a:gd name="connsiteX556" fmla="*/ 6028585 w 8266922"/>
              <a:gd name="connsiteY556" fmla="*/ 3872833 h 7305087"/>
              <a:gd name="connsiteX557" fmla="*/ 6021037 w 8266922"/>
              <a:gd name="connsiteY557" fmla="*/ 3921898 h 7305087"/>
              <a:gd name="connsiteX558" fmla="*/ 6011416 w 8266922"/>
              <a:gd name="connsiteY558" fmla="*/ 3968397 h 7305087"/>
              <a:gd name="connsiteX559" fmla="*/ 5999579 w 8266922"/>
              <a:gd name="connsiteY559" fmla="*/ 4012246 h 7305087"/>
              <a:gd name="connsiteX560" fmla="*/ 5985382 w 8266922"/>
              <a:gd name="connsiteY560" fmla="*/ 4053364 h 7305087"/>
              <a:gd name="connsiteX561" fmla="*/ 5968682 w 8266922"/>
              <a:gd name="connsiteY561" fmla="*/ 4091667 h 7305087"/>
              <a:gd name="connsiteX562" fmla="*/ 5949333 w 8266922"/>
              <a:gd name="connsiteY562" fmla="*/ 4127073 h 7305087"/>
              <a:gd name="connsiteX563" fmla="*/ 5927192 w 8266922"/>
              <a:gd name="connsiteY563" fmla="*/ 4159499 h 7305087"/>
              <a:gd name="connsiteX564" fmla="*/ 5902115 w 8266922"/>
              <a:gd name="connsiteY564" fmla="*/ 4188862 h 7305087"/>
              <a:gd name="connsiteX565" fmla="*/ 5873958 w 8266922"/>
              <a:gd name="connsiteY565" fmla="*/ 4215081 h 7305087"/>
              <a:gd name="connsiteX566" fmla="*/ 5842577 w 8266922"/>
              <a:gd name="connsiteY566" fmla="*/ 4238071 h 7305087"/>
              <a:gd name="connsiteX567" fmla="*/ 5807829 w 8266922"/>
              <a:gd name="connsiteY567" fmla="*/ 4257752 h 7305087"/>
              <a:gd name="connsiteX568" fmla="*/ 5769568 w 8266922"/>
              <a:gd name="connsiteY568" fmla="*/ 4274039 h 7305087"/>
              <a:gd name="connsiteX569" fmla="*/ 5727651 w 8266922"/>
              <a:gd name="connsiteY569" fmla="*/ 4286851 h 7305087"/>
              <a:gd name="connsiteX570" fmla="*/ 5681935 w 8266922"/>
              <a:gd name="connsiteY570" fmla="*/ 4296105 h 7305087"/>
              <a:gd name="connsiteX571" fmla="*/ 5632275 w 8266922"/>
              <a:gd name="connsiteY571" fmla="*/ 4301718 h 7305087"/>
              <a:gd name="connsiteX572" fmla="*/ 5578527 w 8266922"/>
              <a:gd name="connsiteY572" fmla="*/ 4303607 h 7305087"/>
              <a:gd name="connsiteX573" fmla="*/ 5578527 w 8266922"/>
              <a:gd name="connsiteY573" fmla="*/ 4206785 h 7305087"/>
              <a:gd name="connsiteX574" fmla="*/ 5628212 w 8266922"/>
              <a:gd name="connsiteY574" fmla="*/ 4204552 h 7305087"/>
              <a:gd name="connsiteX575" fmla="*/ 5673133 w 8266922"/>
              <a:gd name="connsiteY575" fmla="*/ 4197931 h 7305087"/>
              <a:gd name="connsiteX576" fmla="*/ 5713515 w 8266922"/>
              <a:gd name="connsiteY576" fmla="*/ 4187042 h 7305087"/>
              <a:gd name="connsiteX577" fmla="*/ 5749586 w 8266922"/>
              <a:gd name="connsiteY577" fmla="*/ 4172002 h 7305087"/>
              <a:gd name="connsiteX578" fmla="*/ 5809697 w 8266922"/>
              <a:gd name="connsiteY578" fmla="*/ 4129942 h 7305087"/>
              <a:gd name="connsiteX579" fmla="*/ 5855277 w 8266922"/>
              <a:gd name="connsiteY579" fmla="*/ 4072698 h 7305087"/>
              <a:gd name="connsiteX580" fmla="*/ 5873182 w 8266922"/>
              <a:gd name="connsiteY580" fmla="*/ 4038677 h 7305087"/>
              <a:gd name="connsiteX581" fmla="*/ 5888134 w 8266922"/>
              <a:gd name="connsiteY581" fmla="*/ 4001216 h 7305087"/>
              <a:gd name="connsiteX582" fmla="*/ 5900358 w 8266922"/>
              <a:gd name="connsiteY582" fmla="*/ 3960431 h 7305087"/>
              <a:gd name="connsiteX583" fmla="*/ 5910081 w 8266922"/>
              <a:gd name="connsiteY583" fmla="*/ 3916441 h 7305087"/>
              <a:gd name="connsiteX584" fmla="*/ 5917528 w 8266922"/>
              <a:gd name="connsiteY584" fmla="*/ 3869364 h 7305087"/>
              <a:gd name="connsiteX585" fmla="*/ 5922927 w 8266922"/>
              <a:gd name="connsiteY585" fmla="*/ 3819320 h 7305087"/>
              <a:gd name="connsiteX586" fmla="*/ 5926503 w 8266922"/>
              <a:gd name="connsiteY586" fmla="*/ 3766425 h 7305087"/>
              <a:gd name="connsiteX587" fmla="*/ 5928482 w 8266922"/>
              <a:gd name="connsiteY587" fmla="*/ 3710798 h 7305087"/>
              <a:gd name="connsiteX588" fmla="*/ 5929092 w 8266922"/>
              <a:gd name="connsiteY588" fmla="*/ 3652558 h 7305087"/>
              <a:gd name="connsiteX589" fmla="*/ 5928450 w 8266922"/>
              <a:gd name="connsiteY589" fmla="*/ 3594889 h 7305087"/>
              <a:gd name="connsiteX590" fmla="*/ 5926380 w 8266922"/>
              <a:gd name="connsiteY590" fmla="*/ 3539800 h 7305087"/>
              <a:gd name="connsiteX591" fmla="*/ 5922670 w 8266922"/>
              <a:gd name="connsiteY591" fmla="*/ 3487407 h 7305087"/>
              <a:gd name="connsiteX592" fmla="*/ 5917104 w 8266922"/>
              <a:gd name="connsiteY592" fmla="*/ 3437831 h 7305087"/>
              <a:gd name="connsiteX593" fmla="*/ 5909469 w 8266922"/>
              <a:gd name="connsiteY593" fmla="*/ 3391187 h 7305087"/>
              <a:gd name="connsiteX594" fmla="*/ 5899551 w 8266922"/>
              <a:gd name="connsiteY594" fmla="*/ 3347596 h 7305087"/>
              <a:gd name="connsiteX595" fmla="*/ 5887135 w 8266922"/>
              <a:gd name="connsiteY595" fmla="*/ 3307175 h 7305087"/>
              <a:gd name="connsiteX596" fmla="*/ 5872008 w 8266922"/>
              <a:gd name="connsiteY596" fmla="*/ 3270043 h 7305087"/>
              <a:gd name="connsiteX597" fmla="*/ 5853955 w 8266922"/>
              <a:gd name="connsiteY597" fmla="*/ 3236317 h 7305087"/>
              <a:gd name="connsiteX598" fmla="*/ 5808217 w 8266922"/>
              <a:gd name="connsiteY598" fmla="*/ 3179558 h 7305087"/>
              <a:gd name="connsiteX599" fmla="*/ 5748208 w 8266922"/>
              <a:gd name="connsiteY599" fmla="*/ 3137845 h 7305087"/>
              <a:gd name="connsiteX600" fmla="*/ 5712316 w 8266922"/>
              <a:gd name="connsiteY600" fmla="*/ 3122926 h 7305087"/>
              <a:gd name="connsiteX601" fmla="*/ 5672215 w 8266922"/>
              <a:gd name="connsiteY601" fmla="*/ 3112123 h 7305087"/>
              <a:gd name="connsiteX602" fmla="*/ 5627690 w 8266922"/>
              <a:gd name="connsiteY602" fmla="*/ 3105555 h 7305087"/>
              <a:gd name="connsiteX603" fmla="*/ 5578527 w 8266922"/>
              <a:gd name="connsiteY603" fmla="*/ 3103339 h 7305087"/>
              <a:gd name="connsiteX604" fmla="*/ 5061625 w 8266922"/>
              <a:gd name="connsiteY604" fmla="*/ 3004847 h 7305087"/>
              <a:gd name="connsiteX605" fmla="*/ 5061625 w 8266922"/>
              <a:gd name="connsiteY605" fmla="*/ 3103339 h 7305087"/>
              <a:gd name="connsiteX606" fmla="*/ 5012739 w 8266922"/>
              <a:gd name="connsiteY606" fmla="*/ 3105555 h 7305087"/>
              <a:gd name="connsiteX607" fmla="*/ 4968459 w 8266922"/>
              <a:gd name="connsiteY607" fmla="*/ 3112123 h 7305087"/>
              <a:gd name="connsiteX608" fmla="*/ 4928572 w 8266922"/>
              <a:gd name="connsiteY608" fmla="*/ 3122926 h 7305087"/>
              <a:gd name="connsiteX609" fmla="*/ 4892867 w 8266922"/>
              <a:gd name="connsiteY609" fmla="*/ 3137845 h 7305087"/>
              <a:gd name="connsiteX610" fmla="*/ 4833152 w 8266922"/>
              <a:gd name="connsiteY610" fmla="*/ 3179558 h 7305087"/>
              <a:gd name="connsiteX611" fmla="*/ 4787618 w 8266922"/>
              <a:gd name="connsiteY611" fmla="*/ 3236317 h 7305087"/>
              <a:gd name="connsiteX612" fmla="*/ 4769639 w 8266922"/>
              <a:gd name="connsiteY612" fmla="*/ 3270043 h 7305087"/>
              <a:gd name="connsiteX613" fmla="*/ 4754569 w 8266922"/>
              <a:gd name="connsiteY613" fmla="*/ 3307175 h 7305087"/>
              <a:gd name="connsiteX614" fmla="*/ 4742197 w 8266922"/>
              <a:gd name="connsiteY614" fmla="*/ 3347596 h 7305087"/>
              <a:gd name="connsiteX615" fmla="*/ 4732309 w 8266922"/>
              <a:gd name="connsiteY615" fmla="*/ 3391187 h 7305087"/>
              <a:gd name="connsiteX616" fmla="*/ 4724695 w 8266922"/>
              <a:gd name="connsiteY616" fmla="*/ 3437831 h 7305087"/>
              <a:gd name="connsiteX617" fmla="*/ 4719142 w 8266922"/>
              <a:gd name="connsiteY617" fmla="*/ 3487407 h 7305087"/>
              <a:gd name="connsiteX618" fmla="*/ 4715437 w 8266922"/>
              <a:gd name="connsiteY618" fmla="*/ 3539800 h 7305087"/>
              <a:gd name="connsiteX619" fmla="*/ 4713370 w 8266922"/>
              <a:gd name="connsiteY619" fmla="*/ 3594889 h 7305087"/>
              <a:gd name="connsiteX620" fmla="*/ 4712728 w 8266922"/>
              <a:gd name="connsiteY620" fmla="*/ 3652558 h 7305087"/>
              <a:gd name="connsiteX621" fmla="*/ 4713354 w 8266922"/>
              <a:gd name="connsiteY621" fmla="*/ 3710798 h 7305087"/>
              <a:gd name="connsiteX622" fmla="*/ 4715376 w 8266922"/>
              <a:gd name="connsiteY622" fmla="*/ 3766425 h 7305087"/>
              <a:gd name="connsiteX623" fmla="*/ 4719014 w 8266922"/>
              <a:gd name="connsiteY623" fmla="*/ 3819320 h 7305087"/>
              <a:gd name="connsiteX624" fmla="*/ 4724483 w 8266922"/>
              <a:gd name="connsiteY624" fmla="*/ 3869364 h 7305087"/>
              <a:gd name="connsiteX625" fmla="*/ 4732004 w 8266922"/>
              <a:gd name="connsiteY625" fmla="*/ 3916441 h 7305087"/>
              <a:gd name="connsiteX626" fmla="*/ 4741793 w 8266922"/>
              <a:gd name="connsiteY626" fmla="*/ 3960431 h 7305087"/>
              <a:gd name="connsiteX627" fmla="*/ 4754070 w 8266922"/>
              <a:gd name="connsiteY627" fmla="*/ 4001216 h 7305087"/>
              <a:gd name="connsiteX628" fmla="*/ 4769052 w 8266922"/>
              <a:gd name="connsiteY628" fmla="*/ 4038677 h 7305087"/>
              <a:gd name="connsiteX629" fmla="*/ 4786958 w 8266922"/>
              <a:gd name="connsiteY629" fmla="*/ 4072698 h 7305087"/>
              <a:gd name="connsiteX630" fmla="*/ 4832412 w 8266922"/>
              <a:gd name="connsiteY630" fmla="*/ 4129942 h 7305087"/>
              <a:gd name="connsiteX631" fmla="*/ 4892178 w 8266922"/>
              <a:gd name="connsiteY631" fmla="*/ 4172002 h 7305087"/>
              <a:gd name="connsiteX632" fmla="*/ 4927973 w 8266922"/>
              <a:gd name="connsiteY632" fmla="*/ 4187042 h 7305087"/>
              <a:gd name="connsiteX633" fmla="*/ 4968000 w 8266922"/>
              <a:gd name="connsiteY633" fmla="*/ 4197931 h 7305087"/>
              <a:gd name="connsiteX634" fmla="*/ 5012478 w 8266922"/>
              <a:gd name="connsiteY634" fmla="*/ 4204552 h 7305087"/>
              <a:gd name="connsiteX635" fmla="*/ 5061625 w 8266922"/>
              <a:gd name="connsiteY635" fmla="*/ 4206785 h 7305087"/>
              <a:gd name="connsiteX636" fmla="*/ 5061625 w 8266922"/>
              <a:gd name="connsiteY636" fmla="*/ 4303607 h 7305087"/>
              <a:gd name="connsiteX637" fmla="*/ 5008102 w 8266922"/>
              <a:gd name="connsiteY637" fmla="*/ 4301718 h 7305087"/>
              <a:gd name="connsiteX638" fmla="*/ 4958622 w 8266922"/>
              <a:gd name="connsiteY638" fmla="*/ 4296105 h 7305087"/>
              <a:gd name="connsiteX639" fmla="*/ 4913043 w 8266922"/>
              <a:gd name="connsiteY639" fmla="*/ 4286851 h 7305087"/>
              <a:gd name="connsiteX640" fmla="*/ 4871225 w 8266922"/>
              <a:gd name="connsiteY640" fmla="*/ 4274039 h 7305087"/>
              <a:gd name="connsiteX641" fmla="*/ 4833027 w 8266922"/>
              <a:gd name="connsiteY641" fmla="*/ 4257752 h 7305087"/>
              <a:gd name="connsiteX642" fmla="*/ 4798310 w 8266922"/>
              <a:gd name="connsiteY642" fmla="*/ 4238071 h 7305087"/>
              <a:gd name="connsiteX643" fmla="*/ 4766934 w 8266922"/>
              <a:gd name="connsiteY643" fmla="*/ 4215081 h 7305087"/>
              <a:gd name="connsiteX644" fmla="*/ 4738758 w 8266922"/>
              <a:gd name="connsiteY644" fmla="*/ 4188862 h 7305087"/>
              <a:gd name="connsiteX645" fmla="*/ 4713641 w 8266922"/>
              <a:gd name="connsiteY645" fmla="*/ 4159499 h 7305087"/>
              <a:gd name="connsiteX646" fmla="*/ 4691444 w 8266922"/>
              <a:gd name="connsiteY646" fmla="*/ 4127073 h 7305087"/>
              <a:gd name="connsiteX647" fmla="*/ 4672027 w 8266922"/>
              <a:gd name="connsiteY647" fmla="*/ 4091667 h 7305087"/>
              <a:gd name="connsiteX648" fmla="*/ 4655249 w 8266922"/>
              <a:gd name="connsiteY648" fmla="*/ 4053364 h 7305087"/>
              <a:gd name="connsiteX649" fmla="*/ 4640970 w 8266922"/>
              <a:gd name="connsiteY649" fmla="*/ 4012246 h 7305087"/>
              <a:gd name="connsiteX650" fmla="*/ 4629050 w 8266922"/>
              <a:gd name="connsiteY650" fmla="*/ 3968397 h 7305087"/>
              <a:gd name="connsiteX651" fmla="*/ 4619349 w 8266922"/>
              <a:gd name="connsiteY651" fmla="*/ 3921898 h 7305087"/>
              <a:gd name="connsiteX652" fmla="*/ 4611726 w 8266922"/>
              <a:gd name="connsiteY652" fmla="*/ 3872833 h 7305087"/>
              <a:gd name="connsiteX653" fmla="*/ 4606041 w 8266922"/>
              <a:gd name="connsiteY653" fmla="*/ 3821283 h 7305087"/>
              <a:gd name="connsiteX654" fmla="*/ 4602154 w 8266922"/>
              <a:gd name="connsiteY654" fmla="*/ 3767333 h 7305087"/>
              <a:gd name="connsiteX655" fmla="*/ 4599924 w 8266922"/>
              <a:gd name="connsiteY655" fmla="*/ 3711063 h 7305087"/>
              <a:gd name="connsiteX656" fmla="*/ 4599213 w 8266922"/>
              <a:gd name="connsiteY656" fmla="*/ 3652558 h 7305087"/>
              <a:gd name="connsiteX657" fmla="*/ 4599948 w 8266922"/>
              <a:gd name="connsiteY657" fmla="*/ 3594302 h 7305087"/>
              <a:gd name="connsiteX658" fmla="*/ 4602244 w 8266922"/>
              <a:gd name="connsiteY658" fmla="*/ 3538282 h 7305087"/>
              <a:gd name="connsiteX659" fmla="*/ 4606233 w 8266922"/>
              <a:gd name="connsiteY659" fmla="*/ 3484578 h 7305087"/>
              <a:gd name="connsiteX660" fmla="*/ 4612046 w 8266922"/>
              <a:gd name="connsiteY660" fmla="*/ 3433271 h 7305087"/>
              <a:gd name="connsiteX661" fmla="*/ 4619819 w 8266922"/>
              <a:gd name="connsiteY661" fmla="*/ 3384443 h 7305087"/>
              <a:gd name="connsiteX662" fmla="*/ 4629682 w 8266922"/>
              <a:gd name="connsiteY662" fmla="*/ 3338176 h 7305087"/>
              <a:gd name="connsiteX663" fmla="*/ 4641768 w 8266922"/>
              <a:gd name="connsiteY663" fmla="*/ 3294551 h 7305087"/>
              <a:gd name="connsiteX664" fmla="*/ 4656211 w 8266922"/>
              <a:gd name="connsiteY664" fmla="*/ 3253648 h 7305087"/>
              <a:gd name="connsiteX665" fmla="*/ 4673143 w 8266922"/>
              <a:gd name="connsiteY665" fmla="*/ 3215550 h 7305087"/>
              <a:gd name="connsiteX666" fmla="*/ 4692696 w 8266922"/>
              <a:gd name="connsiteY666" fmla="*/ 3180338 h 7305087"/>
              <a:gd name="connsiteX667" fmla="*/ 4715004 w 8266922"/>
              <a:gd name="connsiteY667" fmla="*/ 3148093 h 7305087"/>
              <a:gd name="connsiteX668" fmla="*/ 4740200 w 8266922"/>
              <a:gd name="connsiteY668" fmla="*/ 3118897 h 7305087"/>
              <a:gd name="connsiteX669" fmla="*/ 4768415 w 8266922"/>
              <a:gd name="connsiteY669" fmla="*/ 3092831 h 7305087"/>
              <a:gd name="connsiteX670" fmla="*/ 4799783 w 8266922"/>
              <a:gd name="connsiteY670" fmla="*/ 3069977 h 7305087"/>
              <a:gd name="connsiteX671" fmla="*/ 4834436 w 8266922"/>
              <a:gd name="connsiteY671" fmla="*/ 3050415 h 7305087"/>
              <a:gd name="connsiteX672" fmla="*/ 4872507 w 8266922"/>
              <a:gd name="connsiteY672" fmla="*/ 3034227 h 7305087"/>
              <a:gd name="connsiteX673" fmla="*/ 4914128 w 8266922"/>
              <a:gd name="connsiteY673" fmla="*/ 3021495 h 7305087"/>
              <a:gd name="connsiteX674" fmla="*/ 4959433 w 8266922"/>
              <a:gd name="connsiteY674" fmla="*/ 3012300 h 7305087"/>
              <a:gd name="connsiteX675" fmla="*/ 5008555 w 8266922"/>
              <a:gd name="connsiteY675" fmla="*/ 3006723 h 7305087"/>
              <a:gd name="connsiteX676" fmla="*/ 887436 w 8266922"/>
              <a:gd name="connsiteY676" fmla="*/ 3004847 h 7305087"/>
              <a:gd name="connsiteX677" fmla="*/ 887436 w 8266922"/>
              <a:gd name="connsiteY677" fmla="*/ 3103339 h 7305087"/>
              <a:gd name="connsiteX678" fmla="*/ 838550 w 8266922"/>
              <a:gd name="connsiteY678" fmla="*/ 3105555 h 7305087"/>
              <a:gd name="connsiteX679" fmla="*/ 794269 w 8266922"/>
              <a:gd name="connsiteY679" fmla="*/ 3112123 h 7305087"/>
              <a:gd name="connsiteX680" fmla="*/ 754383 w 8266922"/>
              <a:gd name="connsiteY680" fmla="*/ 3122926 h 7305087"/>
              <a:gd name="connsiteX681" fmla="*/ 718677 w 8266922"/>
              <a:gd name="connsiteY681" fmla="*/ 3137845 h 7305087"/>
              <a:gd name="connsiteX682" fmla="*/ 658962 w 8266922"/>
              <a:gd name="connsiteY682" fmla="*/ 3179558 h 7305087"/>
              <a:gd name="connsiteX683" fmla="*/ 613427 w 8266922"/>
              <a:gd name="connsiteY683" fmla="*/ 3236317 h 7305087"/>
              <a:gd name="connsiteX684" fmla="*/ 595448 w 8266922"/>
              <a:gd name="connsiteY684" fmla="*/ 3270043 h 7305087"/>
              <a:gd name="connsiteX685" fmla="*/ 580378 w 8266922"/>
              <a:gd name="connsiteY685" fmla="*/ 3307175 h 7305087"/>
              <a:gd name="connsiteX686" fmla="*/ 568006 w 8266922"/>
              <a:gd name="connsiteY686" fmla="*/ 3347596 h 7305087"/>
              <a:gd name="connsiteX687" fmla="*/ 558118 w 8266922"/>
              <a:gd name="connsiteY687" fmla="*/ 3391187 h 7305087"/>
              <a:gd name="connsiteX688" fmla="*/ 550504 w 8266922"/>
              <a:gd name="connsiteY688" fmla="*/ 3437831 h 7305087"/>
              <a:gd name="connsiteX689" fmla="*/ 544951 w 8266922"/>
              <a:gd name="connsiteY689" fmla="*/ 3487407 h 7305087"/>
              <a:gd name="connsiteX690" fmla="*/ 541247 w 8266922"/>
              <a:gd name="connsiteY690" fmla="*/ 3539800 h 7305087"/>
              <a:gd name="connsiteX691" fmla="*/ 539180 w 8266922"/>
              <a:gd name="connsiteY691" fmla="*/ 3594889 h 7305087"/>
              <a:gd name="connsiteX692" fmla="*/ 538538 w 8266922"/>
              <a:gd name="connsiteY692" fmla="*/ 3652558 h 7305087"/>
              <a:gd name="connsiteX693" fmla="*/ 539164 w 8266922"/>
              <a:gd name="connsiteY693" fmla="*/ 3710798 h 7305087"/>
              <a:gd name="connsiteX694" fmla="*/ 541186 w 8266922"/>
              <a:gd name="connsiteY694" fmla="*/ 3766425 h 7305087"/>
              <a:gd name="connsiteX695" fmla="*/ 544823 w 8266922"/>
              <a:gd name="connsiteY695" fmla="*/ 3819320 h 7305087"/>
              <a:gd name="connsiteX696" fmla="*/ 550292 w 8266922"/>
              <a:gd name="connsiteY696" fmla="*/ 3869364 h 7305087"/>
              <a:gd name="connsiteX697" fmla="*/ 557813 w 8266922"/>
              <a:gd name="connsiteY697" fmla="*/ 3916441 h 7305087"/>
              <a:gd name="connsiteX698" fmla="*/ 567602 w 8266922"/>
              <a:gd name="connsiteY698" fmla="*/ 3960431 h 7305087"/>
              <a:gd name="connsiteX699" fmla="*/ 579880 w 8266922"/>
              <a:gd name="connsiteY699" fmla="*/ 4001216 h 7305087"/>
              <a:gd name="connsiteX700" fmla="*/ 594862 w 8266922"/>
              <a:gd name="connsiteY700" fmla="*/ 4038677 h 7305087"/>
              <a:gd name="connsiteX701" fmla="*/ 612768 w 8266922"/>
              <a:gd name="connsiteY701" fmla="*/ 4072698 h 7305087"/>
              <a:gd name="connsiteX702" fmla="*/ 658222 w 8266922"/>
              <a:gd name="connsiteY702" fmla="*/ 4129942 h 7305087"/>
              <a:gd name="connsiteX703" fmla="*/ 717988 w 8266922"/>
              <a:gd name="connsiteY703" fmla="*/ 4172002 h 7305087"/>
              <a:gd name="connsiteX704" fmla="*/ 753783 w 8266922"/>
              <a:gd name="connsiteY704" fmla="*/ 4187042 h 7305087"/>
              <a:gd name="connsiteX705" fmla="*/ 793811 w 8266922"/>
              <a:gd name="connsiteY705" fmla="*/ 4197931 h 7305087"/>
              <a:gd name="connsiteX706" fmla="*/ 838289 w 8266922"/>
              <a:gd name="connsiteY706" fmla="*/ 4204552 h 7305087"/>
              <a:gd name="connsiteX707" fmla="*/ 887436 w 8266922"/>
              <a:gd name="connsiteY707" fmla="*/ 4206785 h 7305087"/>
              <a:gd name="connsiteX708" fmla="*/ 887436 w 8266922"/>
              <a:gd name="connsiteY708" fmla="*/ 4303607 h 7305087"/>
              <a:gd name="connsiteX709" fmla="*/ 833914 w 8266922"/>
              <a:gd name="connsiteY709" fmla="*/ 4301718 h 7305087"/>
              <a:gd name="connsiteX710" fmla="*/ 784433 w 8266922"/>
              <a:gd name="connsiteY710" fmla="*/ 4296105 h 7305087"/>
              <a:gd name="connsiteX711" fmla="*/ 738854 w 8266922"/>
              <a:gd name="connsiteY711" fmla="*/ 4286851 h 7305087"/>
              <a:gd name="connsiteX712" fmla="*/ 697035 w 8266922"/>
              <a:gd name="connsiteY712" fmla="*/ 4274039 h 7305087"/>
              <a:gd name="connsiteX713" fmla="*/ 658838 w 8266922"/>
              <a:gd name="connsiteY713" fmla="*/ 4257752 h 7305087"/>
              <a:gd name="connsiteX714" fmla="*/ 624121 w 8266922"/>
              <a:gd name="connsiteY714" fmla="*/ 4238071 h 7305087"/>
              <a:gd name="connsiteX715" fmla="*/ 592745 w 8266922"/>
              <a:gd name="connsiteY715" fmla="*/ 4215081 h 7305087"/>
              <a:gd name="connsiteX716" fmla="*/ 564568 w 8266922"/>
              <a:gd name="connsiteY716" fmla="*/ 4188862 h 7305087"/>
              <a:gd name="connsiteX717" fmla="*/ 539451 w 8266922"/>
              <a:gd name="connsiteY717" fmla="*/ 4159499 h 7305087"/>
              <a:gd name="connsiteX718" fmla="*/ 517255 w 8266922"/>
              <a:gd name="connsiteY718" fmla="*/ 4127073 h 7305087"/>
              <a:gd name="connsiteX719" fmla="*/ 497837 w 8266922"/>
              <a:gd name="connsiteY719" fmla="*/ 4091667 h 7305087"/>
              <a:gd name="connsiteX720" fmla="*/ 481060 w 8266922"/>
              <a:gd name="connsiteY720" fmla="*/ 4053364 h 7305087"/>
              <a:gd name="connsiteX721" fmla="*/ 466781 w 8266922"/>
              <a:gd name="connsiteY721" fmla="*/ 4012246 h 7305087"/>
              <a:gd name="connsiteX722" fmla="*/ 454861 w 8266922"/>
              <a:gd name="connsiteY722" fmla="*/ 3968397 h 7305087"/>
              <a:gd name="connsiteX723" fmla="*/ 445159 w 8266922"/>
              <a:gd name="connsiteY723" fmla="*/ 3921898 h 7305087"/>
              <a:gd name="connsiteX724" fmla="*/ 437536 w 8266922"/>
              <a:gd name="connsiteY724" fmla="*/ 3872833 h 7305087"/>
              <a:gd name="connsiteX725" fmla="*/ 431851 w 8266922"/>
              <a:gd name="connsiteY725" fmla="*/ 3821283 h 7305087"/>
              <a:gd name="connsiteX726" fmla="*/ 427964 w 8266922"/>
              <a:gd name="connsiteY726" fmla="*/ 3767333 h 7305087"/>
              <a:gd name="connsiteX727" fmla="*/ 425734 w 8266922"/>
              <a:gd name="connsiteY727" fmla="*/ 3711063 h 7305087"/>
              <a:gd name="connsiteX728" fmla="*/ 425023 w 8266922"/>
              <a:gd name="connsiteY728" fmla="*/ 3652558 h 7305087"/>
              <a:gd name="connsiteX729" fmla="*/ 425758 w 8266922"/>
              <a:gd name="connsiteY729" fmla="*/ 3594302 h 7305087"/>
              <a:gd name="connsiteX730" fmla="*/ 428054 w 8266922"/>
              <a:gd name="connsiteY730" fmla="*/ 3538282 h 7305087"/>
              <a:gd name="connsiteX731" fmla="*/ 432043 w 8266922"/>
              <a:gd name="connsiteY731" fmla="*/ 3484578 h 7305087"/>
              <a:gd name="connsiteX732" fmla="*/ 437856 w 8266922"/>
              <a:gd name="connsiteY732" fmla="*/ 3433271 h 7305087"/>
              <a:gd name="connsiteX733" fmla="*/ 445629 w 8266922"/>
              <a:gd name="connsiteY733" fmla="*/ 3384443 h 7305087"/>
              <a:gd name="connsiteX734" fmla="*/ 455492 w 8266922"/>
              <a:gd name="connsiteY734" fmla="*/ 3338176 h 7305087"/>
              <a:gd name="connsiteX735" fmla="*/ 467578 w 8266922"/>
              <a:gd name="connsiteY735" fmla="*/ 3294551 h 7305087"/>
              <a:gd name="connsiteX736" fmla="*/ 482021 w 8266922"/>
              <a:gd name="connsiteY736" fmla="*/ 3253648 h 7305087"/>
              <a:gd name="connsiteX737" fmla="*/ 498953 w 8266922"/>
              <a:gd name="connsiteY737" fmla="*/ 3215550 h 7305087"/>
              <a:gd name="connsiteX738" fmla="*/ 518506 w 8266922"/>
              <a:gd name="connsiteY738" fmla="*/ 3180338 h 7305087"/>
              <a:gd name="connsiteX739" fmla="*/ 540814 w 8266922"/>
              <a:gd name="connsiteY739" fmla="*/ 3148093 h 7305087"/>
              <a:gd name="connsiteX740" fmla="*/ 566010 w 8266922"/>
              <a:gd name="connsiteY740" fmla="*/ 3118897 h 7305087"/>
              <a:gd name="connsiteX741" fmla="*/ 594226 w 8266922"/>
              <a:gd name="connsiteY741" fmla="*/ 3092831 h 7305087"/>
              <a:gd name="connsiteX742" fmla="*/ 625592 w 8266922"/>
              <a:gd name="connsiteY742" fmla="*/ 3069977 h 7305087"/>
              <a:gd name="connsiteX743" fmla="*/ 660246 w 8266922"/>
              <a:gd name="connsiteY743" fmla="*/ 3050415 h 7305087"/>
              <a:gd name="connsiteX744" fmla="*/ 698317 w 8266922"/>
              <a:gd name="connsiteY744" fmla="*/ 3034227 h 7305087"/>
              <a:gd name="connsiteX745" fmla="*/ 739939 w 8266922"/>
              <a:gd name="connsiteY745" fmla="*/ 3021495 h 7305087"/>
              <a:gd name="connsiteX746" fmla="*/ 785244 w 8266922"/>
              <a:gd name="connsiteY746" fmla="*/ 3012300 h 7305087"/>
              <a:gd name="connsiteX747" fmla="*/ 834365 w 8266922"/>
              <a:gd name="connsiteY747" fmla="*/ 3006723 h 7305087"/>
              <a:gd name="connsiteX748" fmla="*/ 7060934 w 8266922"/>
              <a:gd name="connsiteY748" fmla="*/ 2524077 h 7305087"/>
              <a:gd name="connsiteX749" fmla="*/ 7267935 w 8266922"/>
              <a:gd name="connsiteY749" fmla="*/ 2524077 h 7305087"/>
              <a:gd name="connsiteX750" fmla="*/ 7267935 w 8266922"/>
              <a:gd name="connsiteY750" fmla="*/ 2697690 h 7305087"/>
              <a:gd name="connsiteX751" fmla="*/ 7060934 w 8266922"/>
              <a:gd name="connsiteY751" fmla="*/ 2697690 h 7305087"/>
              <a:gd name="connsiteX752" fmla="*/ 2536338 w 8266922"/>
              <a:gd name="connsiteY752" fmla="*/ 2373825 h 7305087"/>
              <a:gd name="connsiteX753" fmla="*/ 3441128 w 8266922"/>
              <a:gd name="connsiteY753" fmla="*/ 2373825 h 7305087"/>
              <a:gd name="connsiteX754" fmla="*/ 3441128 w 8266922"/>
              <a:gd name="connsiteY754" fmla="*/ 2480664 h 7305087"/>
              <a:gd name="connsiteX755" fmla="*/ 2536338 w 8266922"/>
              <a:gd name="connsiteY755" fmla="*/ 2480664 h 7305087"/>
              <a:gd name="connsiteX756" fmla="*/ 1024388 w 8266922"/>
              <a:gd name="connsiteY756" fmla="*/ 2373825 h 7305087"/>
              <a:gd name="connsiteX757" fmla="*/ 1929180 w 8266922"/>
              <a:gd name="connsiteY757" fmla="*/ 2373825 h 7305087"/>
              <a:gd name="connsiteX758" fmla="*/ 1929180 w 8266922"/>
              <a:gd name="connsiteY758" fmla="*/ 2480664 h 7305087"/>
              <a:gd name="connsiteX759" fmla="*/ 1024388 w 8266922"/>
              <a:gd name="connsiteY759" fmla="*/ 2480664 h 7305087"/>
              <a:gd name="connsiteX760" fmla="*/ 2536338 w 8266922"/>
              <a:gd name="connsiteY760" fmla="*/ 2024932 h 7305087"/>
              <a:gd name="connsiteX761" fmla="*/ 3441128 w 8266922"/>
              <a:gd name="connsiteY761" fmla="*/ 2024932 h 7305087"/>
              <a:gd name="connsiteX762" fmla="*/ 3441128 w 8266922"/>
              <a:gd name="connsiteY762" fmla="*/ 2131770 h 7305087"/>
              <a:gd name="connsiteX763" fmla="*/ 2536338 w 8266922"/>
              <a:gd name="connsiteY763" fmla="*/ 2131770 h 7305087"/>
              <a:gd name="connsiteX764" fmla="*/ 1024388 w 8266922"/>
              <a:gd name="connsiteY764" fmla="*/ 2024932 h 7305087"/>
              <a:gd name="connsiteX765" fmla="*/ 1929180 w 8266922"/>
              <a:gd name="connsiteY765" fmla="*/ 2024932 h 7305087"/>
              <a:gd name="connsiteX766" fmla="*/ 1929180 w 8266922"/>
              <a:gd name="connsiteY766" fmla="*/ 2131770 h 7305087"/>
              <a:gd name="connsiteX767" fmla="*/ 1024388 w 8266922"/>
              <a:gd name="connsiteY767" fmla="*/ 2131770 h 7305087"/>
              <a:gd name="connsiteX768" fmla="*/ 6145468 w 8266922"/>
              <a:gd name="connsiteY768" fmla="*/ 1508808 h 7305087"/>
              <a:gd name="connsiteX769" fmla="*/ 6519394 w 8266922"/>
              <a:gd name="connsiteY769" fmla="*/ 1508808 h 7305087"/>
              <a:gd name="connsiteX770" fmla="*/ 6519394 w 8266922"/>
              <a:gd name="connsiteY770" fmla="*/ 1604058 h 7305087"/>
              <a:gd name="connsiteX771" fmla="*/ 6260644 w 8266922"/>
              <a:gd name="connsiteY771" fmla="*/ 1604058 h 7305087"/>
              <a:gd name="connsiteX772" fmla="*/ 6260644 w 8266922"/>
              <a:gd name="connsiteY772" fmla="*/ 2702607 h 7305087"/>
              <a:gd name="connsiteX773" fmla="*/ 6519394 w 8266922"/>
              <a:gd name="connsiteY773" fmla="*/ 2702607 h 7305087"/>
              <a:gd name="connsiteX774" fmla="*/ 6519394 w 8266922"/>
              <a:gd name="connsiteY774" fmla="*/ 2797857 h 7305087"/>
              <a:gd name="connsiteX775" fmla="*/ 6145468 w 8266922"/>
              <a:gd name="connsiteY775" fmla="*/ 2797857 h 7305087"/>
              <a:gd name="connsiteX776" fmla="*/ 6145468 w 8266922"/>
              <a:gd name="connsiteY776" fmla="*/ 2702607 h 7305087"/>
              <a:gd name="connsiteX777" fmla="*/ 6145468 w 8266922"/>
              <a:gd name="connsiteY777" fmla="*/ 1604058 h 7305087"/>
              <a:gd name="connsiteX778" fmla="*/ 7804510 w 8266922"/>
              <a:gd name="connsiteY778" fmla="*/ 1502430 h 7305087"/>
              <a:gd name="connsiteX779" fmla="*/ 7857580 w 8266922"/>
              <a:gd name="connsiteY779" fmla="*/ 1504306 h 7305087"/>
              <a:gd name="connsiteX780" fmla="*/ 7906701 w 8266922"/>
              <a:gd name="connsiteY780" fmla="*/ 1509883 h 7305087"/>
              <a:gd name="connsiteX781" fmla="*/ 7952006 w 8266922"/>
              <a:gd name="connsiteY781" fmla="*/ 1519078 h 7305087"/>
              <a:gd name="connsiteX782" fmla="*/ 7993628 w 8266922"/>
              <a:gd name="connsiteY782" fmla="*/ 1531810 h 7305087"/>
              <a:gd name="connsiteX783" fmla="*/ 8031699 w 8266922"/>
              <a:gd name="connsiteY783" fmla="*/ 1547998 h 7305087"/>
              <a:gd name="connsiteX784" fmla="*/ 8066352 w 8266922"/>
              <a:gd name="connsiteY784" fmla="*/ 1567559 h 7305087"/>
              <a:gd name="connsiteX785" fmla="*/ 8097719 w 8266922"/>
              <a:gd name="connsiteY785" fmla="*/ 1590414 h 7305087"/>
              <a:gd name="connsiteX786" fmla="*/ 8125934 w 8266922"/>
              <a:gd name="connsiteY786" fmla="*/ 1616479 h 7305087"/>
              <a:gd name="connsiteX787" fmla="*/ 8151130 w 8266922"/>
              <a:gd name="connsiteY787" fmla="*/ 1645676 h 7305087"/>
              <a:gd name="connsiteX788" fmla="*/ 8173438 w 8266922"/>
              <a:gd name="connsiteY788" fmla="*/ 1677921 h 7305087"/>
              <a:gd name="connsiteX789" fmla="*/ 8192991 w 8266922"/>
              <a:gd name="connsiteY789" fmla="*/ 1713133 h 7305087"/>
              <a:gd name="connsiteX790" fmla="*/ 8209923 w 8266922"/>
              <a:gd name="connsiteY790" fmla="*/ 1751231 h 7305087"/>
              <a:gd name="connsiteX791" fmla="*/ 8224366 w 8266922"/>
              <a:gd name="connsiteY791" fmla="*/ 1792133 h 7305087"/>
              <a:gd name="connsiteX792" fmla="*/ 8236453 w 8266922"/>
              <a:gd name="connsiteY792" fmla="*/ 1835759 h 7305087"/>
              <a:gd name="connsiteX793" fmla="*/ 8246316 w 8266922"/>
              <a:gd name="connsiteY793" fmla="*/ 1882026 h 7305087"/>
              <a:gd name="connsiteX794" fmla="*/ 8254088 w 8266922"/>
              <a:gd name="connsiteY794" fmla="*/ 1930854 h 7305087"/>
              <a:gd name="connsiteX795" fmla="*/ 8259902 w 8266922"/>
              <a:gd name="connsiteY795" fmla="*/ 1982160 h 7305087"/>
              <a:gd name="connsiteX796" fmla="*/ 8263890 w 8266922"/>
              <a:gd name="connsiteY796" fmla="*/ 2035865 h 7305087"/>
              <a:gd name="connsiteX797" fmla="*/ 8266186 w 8266922"/>
              <a:gd name="connsiteY797" fmla="*/ 2091886 h 7305087"/>
              <a:gd name="connsiteX798" fmla="*/ 8266922 w 8266922"/>
              <a:gd name="connsiteY798" fmla="*/ 2150141 h 7305087"/>
              <a:gd name="connsiteX799" fmla="*/ 8266222 w 8266922"/>
              <a:gd name="connsiteY799" fmla="*/ 2208645 h 7305087"/>
              <a:gd name="connsiteX800" fmla="*/ 8264025 w 8266922"/>
              <a:gd name="connsiteY800" fmla="*/ 2264915 h 7305087"/>
              <a:gd name="connsiteX801" fmla="*/ 8260189 w 8266922"/>
              <a:gd name="connsiteY801" fmla="*/ 2318865 h 7305087"/>
              <a:gd name="connsiteX802" fmla="*/ 8254568 w 8266922"/>
              <a:gd name="connsiteY802" fmla="*/ 2370415 h 7305087"/>
              <a:gd name="connsiteX803" fmla="*/ 8247020 w 8266922"/>
              <a:gd name="connsiteY803" fmla="*/ 2419480 h 7305087"/>
              <a:gd name="connsiteX804" fmla="*/ 8237399 w 8266922"/>
              <a:gd name="connsiteY804" fmla="*/ 2465979 h 7305087"/>
              <a:gd name="connsiteX805" fmla="*/ 8225562 w 8266922"/>
              <a:gd name="connsiteY805" fmla="*/ 2509828 h 7305087"/>
              <a:gd name="connsiteX806" fmla="*/ 8211365 w 8266922"/>
              <a:gd name="connsiteY806" fmla="*/ 2550946 h 7305087"/>
              <a:gd name="connsiteX807" fmla="*/ 8194665 w 8266922"/>
              <a:gd name="connsiteY807" fmla="*/ 2589249 h 7305087"/>
              <a:gd name="connsiteX808" fmla="*/ 8175316 w 8266922"/>
              <a:gd name="connsiteY808" fmla="*/ 2624655 h 7305087"/>
              <a:gd name="connsiteX809" fmla="*/ 8153175 w 8266922"/>
              <a:gd name="connsiteY809" fmla="*/ 2657081 h 7305087"/>
              <a:gd name="connsiteX810" fmla="*/ 8128098 w 8266922"/>
              <a:gd name="connsiteY810" fmla="*/ 2686444 h 7305087"/>
              <a:gd name="connsiteX811" fmla="*/ 8099941 w 8266922"/>
              <a:gd name="connsiteY811" fmla="*/ 2712663 h 7305087"/>
              <a:gd name="connsiteX812" fmla="*/ 8068560 w 8266922"/>
              <a:gd name="connsiteY812" fmla="*/ 2735653 h 7305087"/>
              <a:gd name="connsiteX813" fmla="*/ 8033812 w 8266922"/>
              <a:gd name="connsiteY813" fmla="*/ 2755334 h 7305087"/>
              <a:gd name="connsiteX814" fmla="*/ 7995551 w 8266922"/>
              <a:gd name="connsiteY814" fmla="*/ 2771621 h 7305087"/>
              <a:gd name="connsiteX815" fmla="*/ 7953634 w 8266922"/>
              <a:gd name="connsiteY815" fmla="*/ 2784433 h 7305087"/>
              <a:gd name="connsiteX816" fmla="*/ 7907918 w 8266922"/>
              <a:gd name="connsiteY816" fmla="*/ 2793687 h 7305087"/>
              <a:gd name="connsiteX817" fmla="*/ 7858258 w 8266922"/>
              <a:gd name="connsiteY817" fmla="*/ 2799300 h 7305087"/>
              <a:gd name="connsiteX818" fmla="*/ 7804510 w 8266922"/>
              <a:gd name="connsiteY818" fmla="*/ 2801189 h 7305087"/>
              <a:gd name="connsiteX819" fmla="*/ 7804510 w 8266922"/>
              <a:gd name="connsiteY819" fmla="*/ 2704367 h 7305087"/>
              <a:gd name="connsiteX820" fmla="*/ 7854195 w 8266922"/>
              <a:gd name="connsiteY820" fmla="*/ 2702134 h 7305087"/>
              <a:gd name="connsiteX821" fmla="*/ 7899116 w 8266922"/>
              <a:gd name="connsiteY821" fmla="*/ 2695513 h 7305087"/>
              <a:gd name="connsiteX822" fmla="*/ 7939498 w 8266922"/>
              <a:gd name="connsiteY822" fmla="*/ 2684624 h 7305087"/>
              <a:gd name="connsiteX823" fmla="*/ 7975569 w 8266922"/>
              <a:gd name="connsiteY823" fmla="*/ 2669584 h 7305087"/>
              <a:gd name="connsiteX824" fmla="*/ 8035680 w 8266922"/>
              <a:gd name="connsiteY824" fmla="*/ 2627524 h 7305087"/>
              <a:gd name="connsiteX825" fmla="*/ 8081260 w 8266922"/>
              <a:gd name="connsiteY825" fmla="*/ 2570280 h 7305087"/>
              <a:gd name="connsiteX826" fmla="*/ 8099165 w 8266922"/>
              <a:gd name="connsiteY826" fmla="*/ 2536259 h 7305087"/>
              <a:gd name="connsiteX827" fmla="*/ 8114117 w 8266922"/>
              <a:gd name="connsiteY827" fmla="*/ 2498797 h 7305087"/>
              <a:gd name="connsiteX828" fmla="*/ 8126341 w 8266922"/>
              <a:gd name="connsiteY828" fmla="*/ 2458012 h 7305087"/>
              <a:gd name="connsiteX829" fmla="*/ 8136064 w 8266922"/>
              <a:gd name="connsiteY829" fmla="*/ 2414022 h 7305087"/>
              <a:gd name="connsiteX830" fmla="*/ 8143511 w 8266922"/>
              <a:gd name="connsiteY830" fmla="*/ 2366946 h 7305087"/>
              <a:gd name="connsiteX831" fmla="*/ 8148910 w 8266922"/>
              <a:gd name="connsiteY831" fmla="*/ 2316901 h 7305087"/>
              <a:gd name="connsiteX832" fmla="*/ 8152486 w 8266922"/>
              <a:gd name="connsiteY832" fmla="*/ 2264006 h 7305087"/>
              <a:gd name="connsiteX833" fmla="*/ 8154465 w 8266922"/>
              <a:gd name="connsiteY833" fmla="*/ 2208380 h 7305087"/>
              <a:gd name="connsiteX834" fmla="*/ 8155075 w 8266922"/>
              <a:gd name="connsiteY834" fmla="*/ 2150141 h 7305087"/>
              <a:gd name="connsiteX835" fmla="*/ 8154433 w 8266922"/>
              <a:gd name="connsiteY835" fmla="*/ 2092472 h 7305087"/>
              <a:gd name="connsiteX836" fmla="*/ 8152363 w 8266922"/>
              <a:gd name="connsiteY836" fmla="*/ 2037383 h 7305087"/>
              <a:gd name="connsiteX837" fmla="*/ 8148653 w 8266922"/>
              <a:gd name="connsiteY837" fmla="*/ 1984990 h 7305087"/>
              <a:gd name="connsiteX838" fmla="*/ 8143087 w 8266922"/>
              <a:gd name="connsiteY838" fmla="*/ 1935414 h 7305087"/>
              <a:gd name="connsiteX839" fmla="*/ 8135452 w 8266922"/>
              <a:gd name="connsiteY839" fmla="*/ 1888770 h 7305087"/>
              <a:gd name="connsiteX840" fmla="*/ 8125534 w 8266922"/>
              <a:gd name="connsiteY840" fmla="*/ 1845179 h 7305087"/>
              <a:gd name="connsiteX841" fmla="*/ 8113118 w 8266922"/>
              <a:gd name="connsiteY841" fmla="*/ 1804759 h 7305087"/>
              <a:gd name="connsiteX842" fmla="*/ 8097991 w 8266922"/>
              <a:gd name="connsiteY842" fmla="*/ 1767626 h 7305087"/>
              <a:gd name="connsiteX843" fmla="*/ 8079938 w 8266922"/>
              <a:gd name="connsiteY843" fmla="*/ 1733900 h 7305087"/>
              <a:gd name="connsiteX844" fmla="*/ 8034200 w 8266922"/>
              <a:gd name="connsiteY844" fmla="*/ 1677141 h 7305087"/>
              <a:gd name="connsiteX845" fmla="*/ 7974191 w 8266922"/>
              <a:gd name="connsiteY845" fmla="*/ 1635428 h 7305087"/>
              <a:gd name="connsiteX846" fmla="*/ 7938299 w 8266922"/>
              <a:gd name="connsiteY846" fmla="*/ 1620509 h 7305087"/>
              <a:gd name="connsiteX847" fmla="*/ 7898198 w 8266922"/>
              <a:gd name="connsiteY847" fmla="*/ 1609705 h 7305087"/>
              <a:gd name="connsiteX848" fmla="*/ 7853673 w 8266922"/>
              <a:gd name="connsiteY848" fmla="*/ 1603138 h 7305087"/>
              <a:gd name="connsiteX849" fmla="*/ 7804510 w 8266922"/>
              <a:gd name="connsiteY849" fmla="*/ 1600921 h 7305087"/>
              <a:gd name="connsiteX850" fmla="*/ 5032599 w 8266922"/>
              <a:gd name="connsiteY850" fmla="*/ 1502430 h 7305087"/>
              <a:gd name="connsiteX851" fmla="*/ 5085669 w 8266922"/>
              <a:gd name="connsiteY851" fmla="*/ 1504306 h 7305087"/>
              <a:gd name="connsiteX852" fmla="*/ 5134790 w 8266922"/>
              <a:gd name="connsiteY852" fmla="*/ 1509883 h 7305087"/>
              <a:gd name="connsiteX853" fmla="*/ 5180096 w 8266922"/>
              <a:gd name="connsiteY853" fmla="*/ 1519078 h 7305087"/>
              <a:gd name="connsiteX854" fmla="*/ 5221718 w 8266922"/>
              <a:gd name="connsiteY854" fmla="*/ 1531810 h 7305087"/>
              <a:gd name="connsiteX855" fmla="*/ 5259789 w 8266922"/>
              <a:gd name="connsiteY855" fmla="*/ 1547998 h 7305087"/>
              <a:gd name="connsiteX856" fmla="*/ 5294442 w 8266922"/>
              <a:gd name="connsiteY856" fmla="*/ 1567559 h 7305087"/>
              <a:gd name="connsiteX857" fmla="*/ 5325809 w 8266922"/>
              <a:gd name="connsiteY857" fmla="*/ 1590414 h 7305087"/>
              <a:gd name="connsiteX858" fmla="*/ 5354024 w 8266922"/>
              <a:gd name="connsiteY858" fmla="*/ 1616479 h 7305087"/>
              <a:gd name="connsiteX859" fmla="*/ 5379220 w 8266922"/>
              <a:gd name="connsiteY859" fmla="*/ 1645676 h 7305087"/>
              <a:gd name="connsiteX860" fmla="*/ 5401528 w 8266922"/>
              <a:gd name="connsiteY860" fmla="*/ 1677921 h 7305087"/>
              <a:gd name="connsiteX861" fmla="*/ 5421081 w 8266922"/>
              <a:gd name="connsiteY861" fmla="*/ 1713133 h 7305087"/>
              <a:gd name="connsiteX862" fmla="*/ 5438013 w 8266922"/>
              <a:gd name="connsiteY862" fmla="*/ 1751231 h 7305087"/>
              <a:gd name="connsiteX863" fmla="*/ 5452456 w 8266922"/>
              <a:gd name="connsiteY863" fmla="*/ 1792133 h 7305087"/>
              <a:gd name="connsiteX864" fmla="*/ 5464543 w 8266922"/>
              <a:gd name="connsiteY864" fmla="*/ 1835759 h 7305087"/>
              <a:gd name="connsiteX865" fmla="*/ 5474406 w 8266922"/>
              <a:gd name="connsiteY865" fmla="*/ 1882026 h 7305087"/>
              <a:gd name="connsiteX866" fmla="*/ 5482178 w 8266922"/>
              <a:gd name="connsiteY866" fmla="*/ 1930854 h 7305087"/>
              <a:gd name="connsiteX867" fmla="*/ 5487992 w 8266922"/>
              <a:gd name="connsiteY867" fmla="*/ 1982160 h 7305087"/>
              <a:gd name="connsiteX868" fmla="*/ 5491980 w 8266922"/>
              <a:gd name="connsiteY868" fmla="*/ 2035865 h 7305087"/>
              <a:gd name="connsiteX869" fmla="*/ 5494276 w 8266922"/>
              <a:gd name="connsiteY869" fmla="*/ 2091886 h 7305087"/>
              <a:gd name="connsiteX870" fmla="*/ 5495012 w 8266922"/>
              <a:gd name="connsiteY870" fmla="*/ 2150141 h 7305087"/>
              <a:gd name="connsiteX871" fmla="*/ 5494312 w 8266922"/>
              <a:gd name="connsiteY871" fmla="*/ 2208645 h 7305087"/>
              <a:gd name="connsiteX872" fmla="*/ 5492115 w 8266922"/>
              <a:gd name="connsiteY872" fmla="*/ 2264915 h 7305087"/>
              <a:gd name="connsiteX873" fmla="*/ 5488279 w 8266922"/>
              <a:gd name="connsiteY873" fmla="*/ 2318865 h 7305087"/>
              <a:gd name="connsiteX874" fmla="*/ 5482658 w 8266922"/>
              <a:gd name="connsiteY874" fmla="*/ 2370415 h 7305087"/>
              <a:gd name="connsiteX875" fmla="*/ 5475110 w 8266922"/>
              <a:gd name="connsiteY875" fmla="*/ 2419480 h 7305087"/>
              <a:gd name="connsiteX876" fmla="*/ 5465489 w 8266922"/>
              <a:gd name="connsiteY876" fmla="*/ 2465979 h 7305087"/>
              <a:gd name="connsiteX877" fmla="*/ 5453652 w 8266922"/>
              <a:gd name="connsiteY877" fmla="*/ 2509828 h 7305087"/>
              <a:gd name="connsiteX878" fmla="*/ 5439455 w 8266922"/>
              <a:gd name="connsiteY878" fmla="*/ 2550946 h 7305087"/>
              <a:gd name="connsiteX879" fmla="*/ 5422755 w 8266922"/>
              <a:gd name="connsiteY879" fmla="*/ 2589249 h 7305087"/>
              <a:gd name="connsiteX880" fmla="*/ 5403406 w 8266922"/>
              <a:gd name="connsiteY880" fmla="*/ 2624655 h 7305087"/>
              <a:gd name="connsiteX881" fmla="*/ 5381265 w 8266922"/>
              <a:gd name="connsiteY881" fmla="*/ 2657081 h 7305087"/>
              <a:gd name="connsiteX882" fmla="*/ 5356188 w 8266922"/>
              <a:gd name="connsiteY882" fmla="*/ 2686444 h 7305087"/>
              <a:gd name="connsiteX883" fmla="*/ 5328031 w 8266922"/>
              <a:gd name="connsiteY883" fmla="*/ 2712663 h 7305087"/>
              <a:gd name="connsiteX884" fmla="*/ 5296650 w 8266922"/>
              <a:gd name="connsiteY884" fmla="*/ 2735653 h 7305087"/>
              <a:gd name="connsiteX885" fmla="*/ 5261902 w 8266922"/>
              <a:gd name="connsiteY885" fmla="*/ 2755334 h 7305087"/>
              <a:gd name="connsiteX886" fmla="*/ 5223641 w 8266922"/>
              <a:gd name="connsiteY886" fmla="*/ 2771621 h 7305087"/>
              <a:gd name="connsiteX887" fmla="*/ 5181724 w 8266922"/>
              <a:gd name="connsiteY887" fmla="*/ 2784433 h 7305087"/>
              <a:gd name="connsiteX888" fmla="*/ 5136007 w 8266922"/>
              <a:gd name="connsiteY888" fmla="*/ 2793687 h 7305087"/>
              <a:gd name="connsiteX889" fmla="*/ 5086347 w 8266922"/>
              <a:gd name="connsiteY889" fmla="*/ 2799300 h 7305087"/>
              <a:gd name="connsiteX890" fmla="*/ 5032599 w 8266922"/>
              <a:gd name="connsiteY890" fmla="*/ 2801189 h 7305087"/>
              <a:gd name="connsiteX891" fmla="*/ 5032599 w 8266922"/>
              <a:gd name="connsiteY891" fmla="*/ 2704367 h 7305087"/>
              <a:gd name="connsiteX892" fmla="*/ 5082284 w 8266922"/>
              <a:gd name="connsiteY892" fmla="*/ 2702134 h 7305087"/>
              <a:gd name="connsiteX893" fmla="*/ 5127205 w 8266922"/>
              <a:gd name="connsiteY893" fmla="*/ 2695513 h 7305087"/>
              <a:gd name="connsiteX894" fmla="*/ 5167588 w 8266922"/>
              <a:gd name="connsiteY894" fmla="*/ 2684624 h 7305087"/>
              <a:gd name="connsiteX895" fmla="*/ 5203659 w 8266922"/>
              <a:gd name="connsiteY895" fmla="*/ 2669584 h 7305087"/>
              <a:gd name="connsiteX896" fmla="*/ 5263770 w 8266922"/>
              <a:gd name="connsiteY896" fmla="*/ 2627524 h 7305087"/>
              <a:gd name="connsiteX897" fmla="*/ 5309350 w 8266922"/>
              <a:gd name="connsiteY897" fmla="*/ 2570280 h 7305087"/>
              <a:gd name="connsiteX898" fmla="*/ 5327255 w 8266922"/>
              <a:gd name="connsiteY898" fmla="*/ 2536259 h 7305087"/>
              <a:gd name="connsiteX899" fmla="*/ 5342207 w 8266922"/>
              <a:gd name="connsiteY899" fmla="*/ 2498797 h 7305087"/>
              <a:gd name="connsiteX900" fmla="*/ 5354431 w 8266922"/>
              <a:gd name="connsiteY900" fmla="*/ 2458012 h 7305087"/>
              <a:gd name="connsiteX901" fmla="*/ 5364154 w 8266922"/>
              <a:gd name="connsiteY901" fmla="*/ 2414022 h 7305087"/>
              <a:gd name="connsiteX902" fmla="*/ 5371601 w 8266922"/>
              <a:gd name="connsiteY902" fmla="*/ 2366946 h 7305087"/>
              <a:gd name="connsiteX903" fmla="*/ 5377000 w 8266922"/>
              <a:gd name="connsiteY903" fmla="*/ 2316901 h 7305087"/>
              <a:gd name="connsiteX904" fmla="*/ 5380576 w 8266922"/>
              <a:gd name="connsiteY904" fmla="*/ 2264006 h 7305087"/>
              <a:gd name="connsiteX905" fmla="*/ 5382555 w 8266922"/>
              <a:gd name="connsiteY905" fmla="*/ 2208380 h 7305087"/>
              <a:gd name="connsiteX906" fmla="*/ 5383165 w 8266922"/>
              <a:gd name="connsiteY906" fmla="*/ 2150141 h 7305087"/>
              <a:gd name="connsiteX907" fmla="*/ 5382523 w 8266922"/>
              <a:gd name="connsiteY907" fmla="*/ 2092472 h 7305087"/>
              <a:gd name="connsiteX908" fmla="*/ 5380453 w 8266922"/>
              <a:gd name="connsiteY908" fmla="*/ 2037383 h 7305087"/>
              <a:gd name="connsiteX909" fmla="*/ 5376743 w 8266922"/>
              <a:gd name="connsiteY909" fmla="*/ 1984990 h 7305087"/>
              <a:gd name="connsiteX910" fmla="*/ 5371177 w 8266922"/>
              <a:gd name="connsiteY910" fmla="*/ 1935414 h 7305087"/>
              <a:gd name="connsiteX911" fmla="*/ 5363542 w 8266922"/>
              <a:gd name="connsiteY911" fmla="*/ 1888770 h 7305087"/>
              <a:gd name="connsiteX912" fmla="*/ 5353624 w 8266922"/>
              <a:gd name="connsiteY912" fmla="*/ 1845179 h 7305087"/>
              <a:gd name="connsiteX913" fmla="*/ 5341208 w 8266922"/>
              <a:gd name="connsiteY913" fmla="*/ 1804759 h 7305087"/>
              <a:gd name="connsiteX914" fmla="*/ 5326081 w 8266922"/>
              <a:gd name="connsiteY914" fmla="*/ 1767626 h 7305087"/>
              <a:gd name="connsiteX915" fmla="*/ 5308028 w 8266922"/>
              <a:gd name="connsiteY915" fmla="*/ 1733900 h 7305087"/>
              <a:gd name="connsiteX916" fmla="*/ 5262290 w 8266922"/>
              <a:gd name="connsiteY916" fmla="*/ 1677141 h 7305087"/>
              <a:gd name="connsiteX917" fmla="*/ 5202281 w 8266922"/>
              <a:gd name="connsiteY917" fmla="*/ 1635428 h 7305087"/>
              <a:gd name="connsiteX918" fmla="*/ 5166389 w 8266922"/>
              <a:gd name="connsiteY918" fmla="*/ 1620509 h 7305087"/>
              <a:gd name="connsiteX919" fmla="*/ 5126287 w 8266922"/>
              <a:gd name="connsiteY919" fmla="*/ 1609705 h 7305087"/>
              <a:gd name="connsiteX920" fmla="*/ 5081762 w 8266922"/>
              <a:gd name="connsiteY920" fmla="*/ 1603138 h 7305087"/>
              <a:gd name="connsiteX921" fmla="*/ 5032599 w 8266922"/>
              <a:gd name="connsiteY921" fmla="*/ 1600921 h 7305087"/>
              <a:gd name="connsiteX922" fmla="*/ 4515699 w 8266922"/>
              <a:gd name="connsiteY922" fmla="*/ 1502430 h 7305087"/>
              <a:gd name="connsiteX923" fmla="*/ 4515699 w 8266922"/>
              <a:gd name="connsiteY923" fmla="*/ 1600921 h 7305087"/>
              <a:gd name="connsiteX924" fmla="*/ 4466813 w 8266922"/>
              <a:gd name="connsiteY924" fmla="*/ 1603138 h 7305087"/>
              <a:gd name="connsiteX925" fmla="*/ 4422532 w 8266922"/>
              <a:gd name="connsiteY925" fmla="*/ 1609705 h 7305087"/>
              <a:gd name="connsiteX926" fmla="*/ 4382646 w 8266922"/>
              <a:gd name="connsiteY926" fmla="*/ 1620509 h 7305087"/>
              <a:gd name="connsiteX927" fmla="*/ 4346940 w 8266922"/>
              <a:gd name="connsiteY927" fmla="*/ 1635428 h 7305087"/>
              <a:gd name="connsiteX928" fmla="*/ 4287225 w 8266922"/>
              <a:gd name="connsiteY928" fmla="*/ 1677141 h 7305087"/>
              <a:gd name="connsiteX929" fmla="*/ 4241691 w 8266922"/>
              <a:gd name="connsiteY929" fmla="*/ 1733900 h 7305087"/>
              <a:gd name="connsiteX930" fmla="*/ 4223712 w 8266922"/>
              <a:gd name="connsiteY930" fmla="*/ 1767626 h 7305087"/>
              <a:gd name="connsiteX931" fmla="*/ 4208642 w 8266922"/>
              <a:gd name="connsiteY931" fmla="*/ 1804759 h 7305087"/>
              <a:gd name="connsiteX932" fmla="*/ 4196270 w 8266922"/>
              <a:gd name="connsiteY932" fmla="*/ 1845179 h 7305087"/>
              <a:gd name="connsiteX933" fmla="*/ 4186382 w 8266922"/>
              <a:gd name="connsiteY933" fmla="*/ 1888770 h 7305087"/>
              <a:gd name="connsiteX934" fmla="*/ 4178768 w 8266922"/>
              <a:gd name="connsiteY934" fmla="*/ 1935414 h 7305087"/>
              <a:gd name="connsiteX935" fmla="*/ 4173215 w 8266922"/>
              <a:gd name="connsiteY935" fmla="*/ 1984990 h 7305087"/>
              <a:gd name="connsiteX936" fmla="*/ 4169510 w 8266922"/>
              <a:gd name="connsiteY936" fmla="*/ 2037383 h 7305087"/>
              <a:gd name="connsiteX937" fmla="*/ 4167443 w 8266922"/>
              <a:gd name="connsiteY937" fmla="*/ 2092472 h 7305087"/>
              <a:gd name="connsiteX938" fmla="*/ 4166801 w 8266922"/>
              <a:gd name="connsiteY938" fmla="*/ 2150141 h 7305087"/>
              <a:gd name="connsiteX939" fmla="*/ 4167427 w 8266922"/>
              <a:gd name="connsiteY939" fmla="*/ 2208380 h 7305087"/>
              <a:gd name="connsiteX940" fmla="*/ 4169449 w 8266922"/>
              <a:gd name="connsiteY940" fmla="*/ 2264006 h 7305087"/>
              <a:gd name="connsiteX941" fmla="*/ 4173087 w 8266922"/>
              <a:gd name="connsiteY941" fmla="*/ 2316901 h 7305087"/>
              <a:gd name="connsiteX942" fmla="*/ 4178556 w 8266922"/>
              <a:gd name="connsiteY942" fmla="*/ 2366946 h 7305087"/>
              <a:gd name="connsiteX943" fmla="*/ 4186077 w 8266922"/>
              <a:gd name="connsiteY943" fmla="*/ 2414022 h 7305087"/>
              <a:gd name="connsiteX944" fmla="*/ 4195866 w 8266922"/>
              <a:gd name="connsiteY944" fmla="*/ 2458012 h 7305087"/>
              <a:gd name="connsiteX945" fmla="*/ 4208143 w 8266922"/>
              <a:gd name="connsiteY945" fmla="*/ 2498797 h 7305087"/>
              <a:gd name="connsiteX946" fmla="*/ 4223125 w 8266922"/>
              <a:gd name="connsiteY946" fmla="*/ 2536259 h 7305087"/>
              <a:gd name="connsiteX947" fmla="*/ 4241031 w 8266922"/>
              <a:gd name="connsiteY947" fmla="*/ 2570280 h 7305087"/>
              <a:gd name="connsiteX948" fmla="*/ 4286485 w 8266922"/>
              <a:gd name="connsiteY948" fmla="*/ 2627524 h 7305087"/>
              <a:gd name="connsiteX949" fmla="*/ 4346251 w 8266922"/>
              <a:gd name="connsiteY949" fmla="*/ 2669584 h 7305087"/>
              <a:gd name="connsiteX950" fmla="*/ 4382046 w 8266922"/>
              <a:gd name="connsiteY950" fmla="*/ 2684624 h 7305087"/>
              <a:gd name="connsiteX951" fmla="*/ 4422074 w 8266922"/>
              <a:gd name="connsiteY951" fmla="*/ 2695513 h 7305087"/>
              <a:gd name="connsiteX952" fmla="*/ 4466552 w 8266922"/>
              <a:gd name="connsiteY952" fmla="*/ 2702134 h 7305087"/>
              <a:gd name="connsiteX953" fmla="*/ 4515699 w 8266922"/>
              <a:gd name="connsiteY953" fmla="*/ 2704367 h 7305087"/>
              <a:gd name="connsiteX954" fmla="*/ 4515699 w 8266922"/>
              <a:gd name="connsiteY954" fmla="*/ 2801189 h 7305087"/>
              <a:gd name="connsiteX955" fmla="*/ 4462176 w 8266922"/>
              <a:gd name="connsiteY955" fmla="*/ 2799300 h 7305087"/>
              <a:gd name="connsiteX956" fmla="*/ 4412696 w 8266922"/>
              <a:gd name="connsiteY956" fmla="*/ 2793687 h 7305087"/>
              <a:gd name="connsiteX957" fmla="*/ 4367116 w 8266922"/>
              <a:gd name="connsiteY957" fmla="*/ 2784433 h 7305087"/>
              <a:gd name="connsiteX958" fmla="*/ 4325298 w 8266922"/>
              <a:gd name="connsiteY958" fmla="*/ 2771621 h 7305087"/>
              <a:gd name="connsiteX959" fmla="*/ 4287101 w 8266922"/>
              <a:gd name="connsiteY959" fmla="*/ 2755334 h 7305087"/>
              <a:gd name="connsiteX960" fmla="*/ 4252384 w 8266922"/>
              <a:gd name="connsiteY960" fmla="*/ 2735653 h 7305087"/>
              <a:gd name="connsiteX961" fmla="*/ 4221007 w 8266922"/>
              <a:gd name="connsiteY961" fmla="*/ 2712663 h 7305087"/>
              <a:gd name="connsiteX962" fmla="*/ 4192831 w 8266922"/>
              <a:gd name="connsiteY962" fmla="*/ 2686444 h 7305087"/>
              <a:gd name="connsiteX963" fmla="*/ 4167714 w 8266922"/>
              <a:gd name="connsiteY963" fmla="*/ 2657081 h 7305087"/>
              <a:gd name="connsiteX964" fmla="*/ 4145517 w 8266922"/>
              <a:gd name="connsiteY964" fmla="*/ 2624655 h 7305087"/>
              <a:gd name="connsiteX965" fmla="*/ 4126100 w 8266922"/>
              <a:gd name="connsiteY965" fmla="*/ 2589249 h 7305087"/>
              <a:gd name="connsiteX966" fmla="*/ 4109322 w 8266922"/>
              <a:gd name="connsiteY966" fmla="*/ 2550946 h 7305087"/>
              <a:gd name="connsiteX967" fmla="*/ 4095043 w 8266922"/>
              <a:gd name="connsiteY967" fmla="*/ 2509828 h 7305087"/>
              <a:gd name="connsiteX968" fmla="*/ 4083123 w 8266922"/>
              <a:gd name="connsiteY968" fmla="*/ 2465979 h 7305087"/>
              <a:gd name="connsiteX969" fmla="*/ 4073422 w 8266922"/>
              <a:gd name="connsiteY969" fmla="*/ 2419480 h 7305087"/>
              <a:gd name="connsiteX970" fmla="*/ 4065799 w 8266922"/>
              <a:gd name="connsiteY970" fmla="*/ 2370415 h 7305087"/>
              <a:gd name="connsiteX971" fmla="*/ 4060114 w 8266922"/>
              <a:gd name="connsiteY971" fmla="*/ 2318865 h 7305087"/>
              <a:gd name="connsiteX972" fmla="*/ 4056227 w 8266922"/>
              <a:gd name="connsiteY972" fmla="*/ 2264915 h 7305087"/>
              <a:gd name="connsiteX973" fmla="*/ 4053997 w 8266922"/>
              <a:gd name="connsiteY973" fmla="*/ 2208645 h 7305087"/>
              <a:gd name="connsiteX974" fmla="*/ 4053286 w 8266922"/>
              <a:gd name="connsiteY974" fmla="*/ 2150141 h 7305087"/>
              <a:gd name="connsiteX975" fmla="*/ 4054021 w 8266922"/>
              <a:gd name="connsiteY975" fmla="*/ 2091886 h 7305087"/>
              <a:gd name="connsiteX976" fmla="*/ 4056317 w 8266922"/>
              <a:gd name="connsiteY976" fmla="*/ 2035865 h 7305087"/>
              <a:gd name="connsiteX977" fmla="*/ 4060306 w 8266922"/>
              <a:gd name="connsiteY977" fmla="*/ 1982160 h 7305087"/>
              <a:gd name="connsiteX978" fmla="*/ 4066119 w 8266922"/>
              <a:gd name="connsiteY978" fmla="*/ 1930854 h 7305087"/>
              <a:gd name="connsiteX979" fmla="*/ 4073892 w 8266922"/>
              <a:gd name="connsiteY979" fmla="*/ 1882026 h 7305087"/>
              <a:gd name="connsiteX980" fmla="*/ 4083755 w 8266922"/>
              <a:gd name="connsiteY980" fmla="*/ 1835759 h 7305087"/>
              <a:gd name="connsiteX981" fmla="*/ 4095841 w 8266922"/>
              <a:gd name="connsiteY981" fmla="*/ 1792133 h 7305087"/>
              <a:gd name="connsiteX982" fmla="*/ 4110284 w 8266922"/>
              <a:gd name="connsiteY982" fmla="*/ 1751231 h 7305087"/>
              <a:gd name="connsiteX983" fmla="*/ 4127216 w 8266922"/>
              <a:gd name="connsiteY983" fmla="*/ 1713133 h 7305087"/>
              <a:gd name="connsiteX984" fmla="*/ 4146769 w 8266922"/>
              <a:gd name="connsiteY984" fmla="*/ 1677921 h 7305087"/>
              <a:gd name="connsiteX985" fmla="*/ 4169077 w 8266922"/>
              <a:gd name="connsiteY985" fmla="*/ 1645676 h 7305087"/>
              <a:gd name="connsiteX986" fmla="*/ 4194274 w 8266922"/>
              <a:gd name="connsiteY986" fmla="*/ 1616479 h 7305087"/>
              <a:gd name="connsiteX987" fmla="*/ 4222489 w 8266922"/>
              <a:gd name="connsiteY987" fmla="*/ 1590414 h 7305087"/>
              <a:gd name="connsiteX988" fmla="*/ 4253856 w 8266922"/>
              <a:gd name="connsiteY988" fmla="*/ 1567559 h 7305087"/>
              <a:gd name="connsiteX989" fmla="*/ 4288509 w 8266922"/>
              <a:gd name="connsiteY989" fmla="*/ 1547998 h 7305087"/>
              <a:gd name="connsiteX990" fmla="*/ 4326580 w 8266922"/>
              <a:gd name="connsiteY990" fmla="*/ 1531810 h 7305087"/>
              <a:gd name="connsiteX991" fmla="*/ 4368202 w 8266922"/>
              <a:gd name="connsiteY991" fmla="*/ 1519078 h 7305087"/>
              <a:gd name="connsiteX992" fmla="*/ 4413507 w 8266922"/>
              <a:gd name="connsiteY992" fmla="*/ 1509883 h 7305087"/>
              <a:gd name="connsiteX993" fmla="*/ 4462628 w 8266922"/>
              <a:gd name="connsiteY993" fmla="*/ 1504306 h 7305087"/>
              <a:gd name="connsiteX994" fmla="*/ 462412 w 8266922"/>
              <a:gd name="connsiteY994" fmla="*/ 1502430 h 7305087"/>
              <a:gd name="connsiteX995" fmla="*/ 462412 w 8266922"/>
              <a:gd name="connsiteY995" fmla="*/ 1600921 h 7305087"/>
              <a:gd name="connsiteX996" fmla="*/ 413526 w 8266922"/>
              <a:gd name="connsiteY996" fmla="*/ 1603138 h 7305087"/>
              <a:gd name="connsiteX997" fmla="*/ 369246 w 8266922"/>
              <a:gd name="connsiteY997" fmla="*/ 1609705 h 7305087"/>
              <a:gd name="connsiteX998" fmla="*/ 329359 w 8266922"/>
              <a:gd name="connsiteY998" fmla="*/ 1620509 h 7305087"/>
              <a:gd name="connsiteX999" fmla="*/ 293653 w 8266922"/>
              <a:gd name="connsiteY999" fmla="*/ 1635428 h 7305087"/>
              <a:gd name="connsiteX1000" fmla="*/ 233938 w 8266922"/>
              <a:gd name="connsiteY1000" fmla="*/ 1677141 h 7305087"/>
              <a:gd name="connsiteX1001" fmla="*/ 188404 w 8266922"/>
              <a:gd name="connsiteY1001" fmla="*/ 1733900 h 7305087"/>
              <a:gd name="connsiteX1002" fmla="*/ 170425 w 8266922"/>
              <a:gd name="connsiteY1002" fmla="*/ 1767626 h 7305087"/>
              <a:gd name="connsiteX1003" fmla="*/ 155356 w 8266922"/>
              <a:gd name="connsiteY1003" fmla="*/ 1804759 h 7305087"/>
              <a:gd name="connsiteX1004" fmla="*/ 142983 w 8266922"/>
              <a:gd name="connsiteY1004" fmla="*/ 1845179 h 7305087"/>
              <a:gd name="connsiteX1005" fmla="*/ 133096 w 8266922"/>
              <a:gd name="connsiteY1005" fmla="*/ 1888770 h 7305087"/>
              <a:gd name="connsiteX1006" fmla="*/ 125482 w 8266922"/>
              <a:gd name="connsiteY1006" fmla="*/ 1935414 h 7305087"/>
              <a:gd name="connsiteX1007" fmla="*/ 119929 w 8266922"/>
              <a:gd name="connsiteY1007" fmla="*/ 1984990 h 7305087"/>
              <a:gd name="connsiteX1008" fmla="*/ 116225 w 8266922"/>
              <a:gd name="connsiteY1008" fmla="*/ 2037383 h 7305087"/>
              <a:gd name="connsiteX1009" fmla="*/ 114158 w 8266922"/>
              <a:gd name="connsiteY1009" fmla="*/ 2092472 h 7305087"/>
              <a:gd name="connsiteX1010" fmla="*/ 113516 w 8266922"/>
              <a:gd name="connsiteY1010" fmla="*/ 2150141 h 7305087"/>
              <a:gd name="connsiteX1011" fmla="*/ 114141 w 8266922"/>
              <a:gd name="connsiteY1011" fmla="*/ 2208380 h 7305087"/>
              <a:gd name="connsiteX1012" fmla="*/ 116163 w 8266922"/>
              <a:gd name="connsiteY1012" fmla="*/ 2264006 h 7305087"/>
              <a:gd name="connsiteX1013" fmla="*/ 119800 w 8266922"/>
              <a:gd name="connsiteY1013" fmla="*/ 2316901 h 7305087"/>
              <a:gd name="connsiteX1014" fmla="*/ 125270 w 8266922"/>
              <a:gd name="connsiteY1014" fmla="*/ 2366946 h 7305087"/>
              <a:gd name="connsiteX1015" fmla="*/ 132790 w 8266922"/>
              <a:gd name="connsiteY1015" fmla="*/ 2414022 h 7305087"/>
              <a:gd name="connsiteX1016" fmla="*/ 142580 w 8266922"/>
              <a:gd name="connsiteY1016" fmla="*/ 2458012 h 7305087"/>
              <a:gd name="connsiteX1017" fmla="*/ 154856 w 8266922"/>
              <a:gd name="connsiteY1017" fmla="*/ 2498797 h 7305087"/>
              <a:gd name="connsiteX1018" fmla="*/ 169838 w 8266922"/>
              <a:gd name="connsiteY1018" fmla="*/ 2536259 h 7305087"/>
              <a:gd name="connsiteX1019" fmla="*/ 187744 w 8266922"/>
              <a:gd name="connsiteY1019" fmla="*/ 2570280 h 7305087"/>
              <a:gd name="connsiteX1020" fmla="*/ 233198 w 8266922"/>
              <a:gd name="connsiteY1020" fmla="*/ 2627524 h 7305087"/>
              <a:gd name="connsiteX1021" fmla="*/ 292964 w 8266922"/>
              <a:gd name="connsiteY1021" fmla="*/ 2669584 h 7305087"/>
              <a:gd name="connsiteX1022" fmla="*/ 328759 w 8266922"/>
              <a:gd name="connsiteY1022" fmla="*/ 2684624 h 7305087"/>
              <a:gd name="connsiteX1023" fmla="*/ 368787 w 8266922"/>
              <a:gd name="connsiteY1023" fmla="*/ 2695513 h 7305087"/>
              <a:gd name="connsiteX1024" fmla="*/ 413265 w 8266922"/>
              <a:gd name="connsiteY1024" fmla="*/ 2702134 h 7305087"/>
              <a:gd name="connsiteX1025" fmla="*/ 462412 w 8266922"/>
              <a:gd name="connsiteY1025" fmla="*/ 2704367 h 7305087"/>
              <a:gd name="connsiteX1026" fmla="*/ 462412 w 8266922"/>
              <a:gd name="connsiteY1026" fmla="*/ 2801189 h 7305087"/>
              <a:gd name="connsiteX1027" fmla="*/ 408890 w 8266922"/>
              <a:gd name="connsiteY1027" fmla="*/ 2799300 h 7305087"/>
              <a:gd name="connsiteX1028" fmla="*/ 359409 w 8266922"/>
              <a:gd name="connsiteY1028" fmla="*/ 2793687 h 7305087"/>
              <a:gd name="connsiteX1029" fmla="*/ 313830 w 8266922"/>
              <a:gd name="connsiteY1029" fmla="*/ 2784433 h 7305087"/>
              <a:gd name="connsiteX1030" fmla="*/ 272011 w 8266922"/>
              <a:gd name="connsiteY1030" fmla="*/ 2771621 h 7305087"/>
              <a:gd name="connsiteX1031" fmla="*/ 233814 w 8266922"/>
              <a:gd name="connsiteY1031" fmla="*/ 2755334 h 7305087"/>
              <a:gd name="connsiteX1032" fmla="*/ 199097 w 8266922"/>
              <a:gd name="connsiteY1032" fmla="*/ 2735653 h 7305087"/>
              <a:gd name="connsiteX1033" fmla="*/ 167721 w 8266922"/>
              <a:gd name="connsiteY1033" fmla="*/ 2712663 h 7305087"/>
              <a:gd name="connsiteX1034" fmla="*/ 139544 w 8266922"/>
              <a:gd name="connsiteY1034" fmla="*/ 2686444 h 7305087"/>
              <a:gd name="connsiteX1035" fmla="*/ 114428 w 8266922"/>
              <a:gd name="connsiteY1035" fmla="*/ 2657081 h 7305087"/>
              <a:gd name="connsiteX1036" fmla="*/ 92232 w 8266922"/>
              <a:gd name="connsiteY1036" fmla="*/ 2624655 h 7305087"/>
              <a:gd name="connsiteX1037" fmla="*/ 72814 w 8266922"/>
              <a:gd name="connsiteY1037" fmla="*/ 2589249 h 7305087"/>
              <a:gd name="connsiteX1038" fmla="*/ 56037 w 8266922"/>
              <a:gd name="connsiteY1038" fmla="*/ 2550946 h 7305087"/>
              <a:gd name="connsiteX1039" fmla="*/ 41758 w 8266922"/>
              <a:gd name="connsiteY1039" fmla="*/ 2509828 h 7305087"/>
              <a:gd name="connsiteX1040" fmla="*/ 29838 w 8266922"/>
              <a:gd name="connsiteY1040" fmla="*/ 2465979 h 7305087"/>
              <a:gd name="connsiteX1041" fmla="*/ 20136 w 8266922"/>
              <a:gd name="connsiteY1041" fmla="*/ 2419480 h 7305087"/>
              <a:gd name="connsiteX1042" fmla="*/ 12513 w 8266922"/>
              <a:gd name="connsiteY1042" fmla="*/ 2370415 h 7305087"/>
              <a:gd name="connsiteX1043" fmla="*/ 6828 w 8266922"/>
              <a:gd name="connsiteY1043" fmla="*/ 2318865 h 7305087"/>
              <a:gd name="connsiteX1044" fmla="*/ 2941 w 8266922"/>
              <a:gd name="connsiteY1044" fmla="*/ 2264915 h 7305087"/>
              <a:gd name="connsiteX1045" fmla="*/ 711 w 8266922"/>
              <a:gd name="connsiteY1045" fmla="*/ 2208645 h 7305087"/>
              <a:gd name="connsiteX1046" fmla="*/ 0 w 8266922"/>
              <a:gd name="connsiteY1046" fmla="*/ 2150141 h 7305087"/>
              <a:gd name="connsiteX1047" fmla="*/ 735 w 8266922"/>
              <a:gd name="connsiteY1047" fmla="*/ 2091886 h 7305087"/>
              <a:gd name="connsiteX1048" fmla="*/ 3031 w 8266922"/>
              <a:gd name="connsiteY1048" fmla="*/ 2035865 h 7305087"/>
              <a:gd name="connsiteX1049" fmla="*/ 7020 w 8266922"/>
              <a:gd name="connsiteY1049" fmla="*/ 1982160 h 7305087"/>
              <a:gd name="connsiteX1050" fmla="*/ 12834 w 8266922"/>
              <a:gd name="connsiteY1050" fmla="*/ 1930854 h 7305087"/>
              <a:gd name="connsiteX1051" fmla="*/ 20606 w 8266922"/>
              <a:gd name="connsiteY1051" fmla="*/ 1882026 h 7305087"/>
              <a:gd name="connsiteX1052" fmla="*/ 30469 w 8266922"/>
              <a:gd name="connsiteY1052" fmla="*/ 1835759 h 7305087"/>
              <a:gd name="connsiteX1053" fmla="*/ 42555 w 8266922"/>
              <a:gd name="connsiteY1053" fmla="*/ 1792133 h 7305087"/>
              <a:gd name="connsiteX1054" fmla="*/ 56998 w 8266922"/>
              <a:gd name="connsiteY1054" fmla="*/ 1751231 h 7305087"/>
              <a:gd name="connsiteX1055" fmla="*/ 73930 w 8266922"/>
              <a:gd name="connsiteY1055" fmla="*/ 1713133 h 7305087"/>
              <a:gd name="connsiteX1056" fmla="*/ 93484 w 8266922"/>
              <a:gd name="connsiteY1056" fmla="*/ 1677921 h 7305087"/>
              <a:gd name="connsiteX1057" fmla="*/ 115792 w 8266922"/>
              <a:gd name="connsiteY1057" fmla="*/ 1645676 h 7305087"/>
              <a:gd name="connsiteX1058" fmla="*/ 140987 w 8266922"/>
              <a:gd name="connsiteY1058" fmla="*/ 1616479 h 7305087"/>
              <a:gd name="connsiteX1059" fmla="*/ 169202 w 8266922"/>
              <a:gd name="connsiteY1059" fmla="*/ 1590414 h 7305087"/>
              <a:gd name="connsiteX1060" fmla="*/ 200570 w 8266922"/>
              <a:gd name="connsiteY1060" fmla="*/ 1567559 h 7305087"/>
              <a:gd name="connsiteX1061" fmla="*/ 235222 w 8266922"/>
              <a:gd name="connsiteY1061" fmla="*/ 1547998 h 7305087"/>
              <a:gd name="connsiteX1062" fmla="*/ 273293 w 8266922"/>
              <a:gd name="connsiteY1062" fmla="*/ 1531810 h 7305087"/>
              <a:gd name="connsiteX1063" fmla="*/ 314915 w 8266922"/>
              <a:gd name="connsiteY1063" fmla="*/ 1519078 h 7305087"/>
              <a:gd name="connsiteX1064" fmla="*/ 360220 w 8266922"/>
              <a:gd name="connsiteY1064" fmla="*/ 1509883 h 7305087"/>
              <a:gd name="connsiteX1065" fmla="*/ 409342 w 8266922"/>
              <a:gd name="connsiteY1065" fmla="*/ 1504306 h 7305087"/>
              <a:gd name="connsiteX1066" fmla="*/ 5280527 w 8266922"/>
              <a:gd name="connsiteY1066" fmla="*/ 871409 h 7305087"/>
              <a:gd name="connsiteX1067" fmla="*/ 6185319 w 8266922"/>
              <a:gd name="connsiteY1067" fmla="*/ 871409 h 7305087"/>
              <a:gd name="connsiteX1068" fmla="*/ 6185319 w 8266922"/>
              <a:gd name="connsiteY1068" fmla="*/ 978246 h 7305087"/>
              <a:gd name="connsiteX1069" fmla="*/ 5280527 w 8266922"/>
              <a:gd name="connsiteY1069" fmla="*/ 978246 h 7305087"/>
              <a:gd name="connsiteX1070" fmla="*/ 1874462 w 8266922"/>
              <a:gd name="connsiteY1070" fmla="*/ 871408 h 7305087"/>
              <a:gd name="connsiteX1071" fmla="*/ 2779254 w 8266922"/>
              <a:gd name="connsiteY1071" fmla="*/ 871408 h 7305087"/>
              <a:gd name="connsiteX1072" fmla="*/ 2779254 w 8266922"/>
              <a:gd name="connsiteY1072" fmla="*/ 978246 h 7305087"/>
              <a:gd name="connsiteX1073" fmla="*/ 1874462 w 8266922"/>
              <a:gd name="connsiteY1073" fmla="*/ 978246 h 7305087"/>
              <a:gd name="connsiteX1074" fmla="*/ 5280527 w 8266922"/>
              <a:gd name="connsiteY1074" fmla="*/ 522512 h 7305087"/>
              <a:gd name="connsiteX1075" fmla="*/ 6185319 w 8266922"/>
              <a:gd name="connsiteY1075" fmla="*/ 522512 h 7305087"/>
              <a:gd name="connsiteX1076" fmla="*/ 6185319 w 8266922"/>
              <a:gd name="connsiteY1076" fmla="*/ 629349 h 7305087"/>
              <a:gd name="connsiteX1077" fmla="*/ 5280527 w 8266922"/>
              <a:gd name="connsiteY1077" fmla="*/ 629349 h 7305087"/>
              <a:gd name="connsiteX1078" fmla="*/ 1874462 w 8266922"/>
              <a:gd name="connsiteY1078" fmla="*/ 522511 h 7305087"/>
              <a:gd name="connsiteX1079" fmla="*/ 2779254 w 8266922"/>
              <a:gd name="connsiteY1079" fmla="*/ 522511 h 7305087"/>
              <a:gd name="connsiteX1080" fmla="*/ 2779254 w 8266922"/>
              <a:gd name="connsiteY1080" fmla="*/ 629349 h 7305087"/>
              <a:gd name="connsiteX1081" fmla="*/ 1874462 w 8266922"/>
              <a:gd name="connsiteY1081" fmla="*/ 629349 h 7305087"/>
              <a:gd name="connsiteX1082" fmla="*/ 4621539 w 8266922"/>
              <a:gd name="connsiteY1082" fmla="*/ 116859 h 7305087"/>
              <a:gd name="connsiteX1083" fmla="*/ 4740064 w 8266922"/>
              <a:gd name="connsiteY1083" fmla="*/ 116859 h 7305087"/>
              <a:gd name="connsiteX1084" fmla="*/ 4386160 w 8266922"/>
              <a:gd name="connsiteY1084" fmla="*/ 1185248 h 7305087"/>
              <a:gd name="connsiteX1085" fmla="*/ 4264297 w 8266922"/>
              <a:gd name="connsiteY1085" fmla="*/ 1185248 h 7305087"/>
              <a:gd name="connsiteX1086" fmla="*/ 3314617 w 8266922"/>
              <a:gd name="connsiteY1086" fmla="*/ 116858 h 7305087"/>
              <a:gd name="connsiteX1087" fmla="*/ 3439819 w 8266922"/>
              <a:gd name="connsiteY1087" fmla="*/ 116858 h 7305087"/>
              <a:gd name="connsiteX1088" fmla="*/ 3795392 w 8266922"/>
              <a:gd name="connsiteY1088" fmla="*/ 1185248 h 7305087"/>
              <a:gd name="connsiteX1089" fmla="*/ 3670190 w 8266922"/>
              <a:gd name="connsiteY1089" fmla="*/ 1185248 h 7305087"/>
              <a:gd name="connsiteX1090" fmla="*/ 1312489 w 8266922"/>
              <a:gd name="connsiteY1090" fmla="*/ 1 h 7305087"/>
              <a:gd name="connsiteX1091" fmla="*/ 1312489 w 8266922"/>
              <a:gd name="connsiteY1091" fmla="*/ 98493 h 7305087"/>
              <a:gd name="connsiteX1092" fmla="*/ 1263604 w 8266922"/>
              <a:gd name="connsiteY1092" fmla="*/ 100709 h 7305087"/>
              <a:gd name="connsiteX1093" fmla="*/ 1219322 w 8266922"/>
              <a:gd name="connsiteY1093" fmla="*/ 107277 h 7305087"/>
              <a:gd name="connsiteX1094" fmla="*/ 1179437 w 8266922"/>
              <a:gd name="connsiteY1094" fmla="*/ 118080 h 7305087"/>
              <a:gd name="connsiteX1095" fmla="*/ 1143731 w 8266922"/>
              <a:gd name="connsiteY1095" fmla="*/ 132999 h 7305087"/>
              <a:gd name="connsiteX1096" fmla="*/ 1084016 w 8266922"/>
              <a:gd name="connsiteY1096" fmla="*/ 174712 h 7305087"/>
              <a:gd name="connsiteX1097" fmla="*/ 1038482 w 8266922"/>
              <a:gd name="connsiteY1097" fmla="*/ 231471 h 7305087"/>
              <a:gd name="connsiteX1098" fmla="*/ 1020503 w 8266922"/>
              <a:gd name="connsiteY1098" fmla="*/ 265197 h 7305087"/>
              <a:gd name="connsiteX1099" fmla="*/ 1005433 w 8266922"/>
              <a:gd name="connsiteY1099" fmla="*/ 302330 h 7305087"/>
              <a:gd name="connsiteX1100" fmla="*/ 993061 w 8266922"/>
              <a:gd name="connsiteY1100" fmla="*/ 342750 h 7305087"/>
              <a:gd name="connsiteX1101" fmla="*/ 983172 w 8266922"/>
              <a:gd name="connsiteY1101" fmla="*/ 386342 h 7305087"/>
              <a:gd name="connsiteX1102" fmla="*/ 975559 w 8266922"/>
              <a:gd name="connsiteY1102" fmla="*/ 432985 h 7305087"/>
              <a:gd name="connsiteX1103" fmla="*/ 970006 w 8266922"/>
              <a:gd name="connsiteY1103" fmla="*/ 482562 h 7305087"/>
              <a:gd name="connsiteX1104" fmla="*/ 966302 w 8266922"/>
              <a:gd name="connsiteY1104" fmla="*/ 534954 h 7305087"/>
              <a:gd name="connsiteX1105" fmla="*/ 964235 w 8266922"/>
              <a:gd name="connsiteY1105" fmla="*/ 590043 h 7305087"/>
              <a:gd name="connsiteX1106" fmla="*/ 963593 w 8266922"/>
              <a:gd name="connsiteY1106" fmla="*/ 647712 h 7305087"/>
              <a:gd name="connsiteX1107" fmla="*/ 964219 w 8266922"/>
              <a:gd name="connsiteY1107" fmla="*/ 705953 h 7305087"/>
              <a:gd name="connsiteX1108" fmla="*/ 966241 w 8266922"/>
              <a:gd name="connsiteY1108" fmla="*/ 761579 h 7305087"/>
              <a:gd name="connsiteX1109" fmla="*/ 969878 w 8266922"/>
              <a:gd name="connsiteY1109" fmla="*/ 814474 h 7305087"/>
              <a:gd name="connsiteX1110" fmla="*/ 975347 w 8266922"/>
              <a:gd name="connsiteY1110" fmla="*/ 864518 h 7305087"/>
              <a:gd name="connsiteX1111" fmla="*/ 982868 w 8266922"/>
              <a:gd name="connsiteY1111" fmla="*/ 911596 h 7305087"/>
              <a:gd name="connsiteX1112" fmla="*/ 992658 w 8266922"/>
              <a:gd name="connsiteY1112" fmla="*/ 955586 h 7305087"/>
              <a:gd name="connsiteX1113" fmla="*/ 1004934 w 8266922"/>
              <a:gd name="connsiteY1113" fmla="*/ 996370 h 7305087"/>
              <a:gd name="connsiteX1114" fmla="*/ 1019916 w 8266922"/>
              <a:gd name="connsiteY1114" fmla="*/ 1033831 h 7305087"/>
              <a:gd name="connsiteX1115" fmla="*/ 1037822 w 8266922"/>
              <a:gd name="connsiteY1115" fmla="*/ 1067851 h 7305087"/>
              <a:gd name="connsiteX1116" fmla="*/ 1083276 w 8266922"/>
              <a:gd name="connsiteY1116" fmla="*/ 1125096 h 7305087"/>
              <a:gd name="connsiteX1117" fmla="*/ 1143042 w 8266922"/>
              <a:gd name="connsiteY1117" fmla="*/ 1167155 h 7305087"/>
              <a:gd name="connsiteX1118" fmla="*/ 1178837 w 8266922"/>
              <a:gd name="connsiteY1118" fmla="*/ 1182194 h 7305087"/>
              <a:gd name="connsiteX1119" fmla="*/ 1218864 w 8266922"/>
              <a:gd name="connsiteY1119" fmla="*/ 1193084 h 7305087"/>
              <a:gd name="connsiteX1120" fmla="*/ 1263342 w 8266922"/>
              <a:gd name="connsiteY1120" fmla="*/ 1199705 h 7305087"/>
              <a:gd name="connsiteX1121" fmla="*/ 1312489 w 8266922"/>
              <a:gd name="connsiteY1121" fmla="*/ 1201938 h 7305087"/>
              <a:gd name="connsiteX1122" fmla="*/ 1312489 w 8266922"/>
              <a:gd name="connsiteY1122" fmla="*/ 1298761 h 7305087"/>
              <a:gd name="connsiteX1123" fmla="*/ 1258966 w 8266922"/>
              <a:gd name="connsiteY1123" fmla="*/ 1296873 h 7305087"/>
              <a:gd name="connsiteX1124" fmla="*/ 1209487 w 8266922"/>
              <a:gd name="connsiteY1124" fmla="*/ 1291259 h 7305087"/>
              <a:gd name="connsiteX1125" fmla="*/ 1163908 w 8266922"/>
              <a:gd name="connsiteY1125" fmla="*/ 1282006 h 7305087"/>
              <a:gd name="connsiteX1126" fmla="*/ 1122089 w 8266922"/>
              <a:gd name="connsiteY1126" fmla="*/ 1269194 h 7305087"/>
              <a:gd name="connsiteX1127" fmla="*/ 1083893 w 8266922"/>
              <a:gd name="connsiteY1127" fmla="*/ 1252907 h 7305087"/>
              <a:gd name="connsiteX1128" fmla="*/ 1049176 w 8266922"/>
              <a:gd name="connsiteY1128" fmla="*/ 1233225 h 7305087"/>
              <a:gd name="connsiteX1129" fmla="*/ 1017798 w 8266922"/>
              <a:gd name="connsiteY1129" fmla="*/ 1210234 h 7305087"/>
              <a:gd name="connsiteX1130" fmla="*/ 989622 w 8266922"/>
              <a:gd name="connsiteY1130" fmla="*/ 1184015 h 7305087"/>
              <a:gd name="connsiteX1131" fmla="*/ 964506 w 8266922"/>
              <a:gd name="connsiteY1131" fmla="*/ 1154652 h 7305087"/>
              <a:gd name="connsiteX1132" fmla="*/ 942309 w 8266922"/>
              <a:gd name="connsiteY1132" fmla="*/ 1122226 h 7305087"/>
              <a:gd name="connsiteX1133" fmla="*/ 922891 w 8266922"/>
              <a:gd name="connsiteY1133" fmla="*/ 1086820 h 7305087"/>
              <a:gd name="connsiteX1134" fmla="*/ 906113 w 8266922"/>
              <a:gd name="connsiteY1134" fmla="*/ 1048518 h 7305087"/>
              <a:gd name="connsiteX1135" fmla="*/ 891835 w 8266922"/>
              <a:gd name="connsiteY1135" fmla="*/ 1007402 h 7305087"/>
              <a:gd name="connsiteX1136" fmla="*/ 879914 w 8266922"/>
              <a:gd name="connsiteY1136" fmla="*/ 963551 h 7305087"/>
              <a:gd name="connsiteX1137" fmla="*/ 870214 w 8266922"/>
              <a:gd name="connsiteY1137" fmla="*/ 917053 h 7305087"/>
              <a:gd name="connsiteX1138" fmla="*/ 862590 w 8266922"/>
              <a:gd name="connsiteY1138" fmla="*/ 867987 h 7305087"/>
              <a:gd name="connsiteX1139" fmla="*/ 856906 w 8266922"/>
              <a:gd name="connsiteY1139" fmla="*/ 816438 h 7305087"/>
              <a:gd name="connsiteX1140" fmla="*/ 853019 w 8266922"/>
              <a:gd name="connsiteY1140" fmla="*/ 762487 h 7305087"/>
              <a:gd name="connsiteX1141" fmla="*/ 850789 w 8266922"/>
              <a:gd name="connsiteY1141" fmla="*/ 706217 h 7305087"/>
              <a:gd name="connsiteX1142" fmla="*/ 850077 w 8266922"/>
              <a:gd name="connsiteY1142" fmla="*/ 647712 h 7305087"/>
              <a:gd name="connsiteX1143" fmla="*/ 850812 w 8266922"/>
              <a:gd name="connsiteY1143" fmla="*/ 589457 h 7305087"/>
              <a:gd name="connsiteX1144" fmla="*/ 853109 w 8266922"/>
              <a:gd name="connsiteY1144" fmla="*/ 533437 h 7305087"/>
              <a:gd name="connsiteX1145" fmla="*/ 857098 w 8266922"/>
              <a:gd name="connsiteY1145" fmla="*/ 479733 h 7305087"/>
              <a:gd name="connsiteX1146" fmla="*/ 862911 w 8266922"/>
              <a:gd name="connsiteY1146" fmla="*/ 428425 h 7305087"/>
              <a:gd name="connsiteX1147" fmla="*/ 870684 w 8266922"/>
              <a:gd name="connsiteY1147" fmla="*/ 379597 h 7305087"/>
              <a:gd name="connsiteX1148" fmla="*/ 880547 w 8266922"/>
              <a:gd name="connsiteY1148" fmla="*/ 333331 h 7305087"/>
              <a:gd name="connsiteX1149" fmla="*/ 892633 w 8266922"/>
              <a:gd name="connsiteY1149" fmla="*/ 289705 h 7305087"/>
              <a:gd name="connsiteX1150" fmla="*/ 907076 w 8266922"/>
              <a:gd name="connsiteY1150" fmla="*/ 248802 h 7305087"/>
              <a:gd name="connsiteX1151" fmla="*/ 924008 w 8266922"/>
              <a:gd name="connsiteY1151" fmla="*/ 210704 h 7305087"/>
              <a:gd name="connsiteX1152" fmla="*/ 943561 w 8266922"/>
              <a:gd name="connsiteY1152" fmla="*/ 175493 h 7305087"/>
              <a:gd name="connsiteX1153" fmla="*/ 965869 w 8266922"/>
              <a:gd name="connsiteY1153" fmla="*/ 143247 h 7305087"/>
              <a:gd name="connsiteX1154" fmla="*/ 991066 w 8266922"/>
              <a:gd name="connsiteY1154" fmla="*/ 114051 h 7305087"/>
              <a:gd name="connsiteX1155" fmla="*/ 1019280 w 8266922"/>
              <a:gd name="connsiteY1155" fmla="*/ 87986 h 7305087"/>
              <a:gd name="connsiteX1156" fmla="*/ 1050647 w 8266922"/>
              <a:gd name="connsiteY1156" fmla="*/ 65131 h 7305087"/>
              <a:gd name="connsiteX1157" fmla="*/ 1085300 w 8266922"/>
              <a:gd name="connsiteY1157" fmla="*/ 45570 h 7305087"/>
              <a:gd name="connsiteX1158" fmla="*/ 1123371 w 8266922"/>
              <a:gd name="connsiteY1158" fmla="*/ 29382 h 7305087"/>
              <a:gd name="connsiteX1159" fmla="*/ 1164993 w 8266922"/>
              <a:gd name="connsiteY1159" fmla="*/ 16650 h 7305087"/>
              <a:gd name="connsiteX1160" fmla="*/ 1210299 w 8266922"/>
              <a:gd name="connsiteY1160" fmla="*/ 7455 h 7305087"/>
              <a:gd name="connsiteX1161" fmla="*/ 1259419 w 8266922"/>
              <a:gd name="connsiteY1161" fmla="*/ 1877 h 7305087"/>
              <a:gd name="connsiteX1162" fmla="*/ 6747401 w 8266922"/>
              <a:gd name="connsiteY1162" fmla="*/ 0 h 7305087"/>
              <a:gd name="connsiteX1163" fmla="*/ 6800471 w 8266922"/>
              <a:gd name="connsiteY1163" fmla="*/ 1876 h 7305087"/>
              <a:gd name="connsiteX1164" fmla="*/ 6849592 w 8266922"/>
              <a:gd name="connsiteY1164" fmla="*/ 7453 h 7305087"/>
              <a:gd name="connsiteX1165" fmla="*/ 6894897 w 8266922"/>
              <a:gd name="connsiteY1165" fmla="*/ 16648 h 7305087"/>
              <a:gd name="connsiteX1166" fmla="*/ 6936519 w 8266922"/>
              <a:gd name="connsiteY1166" fmla="*/ 29380 h 7305087"/>
              <a:gd name="connsiteX1167" fmla="*/ 6974590 w 8266922"/>
              <a:gd name="connsiteY1167" fmla="*/ 45568 h 7305087"/>
              <a:gd name="connsiteX1168" fmla="*/ 7009243 w 8266922"/>
              <a:gd name="connsiteY1168" fmla="*/ 65130 h 7305087"/>
              <a:gd name="connsiteX1169" fmla="*/ 7040610 w 8266922"/>
              <a:gd name="connsiteY1169" fmla="*/ 87984 h 7305087"/>
              <a:gd name="connsiteX1170" fmla="*/ 7068825 w 8266922"/>
              <a:gd name="connsiteY1170" fmla="*/ 114050 h 7305087"/>
              <a:gd name="connsiteX1171" fmla="*/ 7094021 w 8266922"/>
              <a:gd name="connsiteY1171" fmla="*/ 143246 h 7305087"/>
              <a:gd name="connsiteX1172" fmla="*/ 7116329 w 8266922"/>
              <a:gd name="connsiteY1172" fmla="*/ 175491 h 7305087"/>
              <a:gd name="connsiteX1173" fmla="*/ 7135882 w 8266922"/>
              <a:gd name="connsiteY1173" fmla="*/ 210703 h 7305087"/>
              <a:gd name="connsiteX1174" fmla="*/ 7152814 w 8266922"/>
              <a:gd name="connsiteY1174" fmla="*/ 248801 h 7305087"/>
              <a:gd name="connsiteX1175" fmla="*/ 7167257 w 8266922"/>
              <a:gd name="connsiteY1175" fmla="*/ 289704 h 7305087"/>
              <a:gd name="connsiteX1176" fmla="*/ 7179344 w 8266922"/>
              <a:gd name="connsiteY1176" fmla="*/ 333329 h 7305087"/>
              <a:gd name="connsiteX1177" fmla="*/ 7189207 w 8266922"/>
              <a:gd name="connsiteY1177" fmla="*/ 379596 h 7305087"/>
              <a:gd name="connsiteX1178" fmla="*/ 7196979 w 8266922"/>
              <a:gd name="connsiteY1178" fmla="*/ 428424 h 7305087"/>
              <a:gd name="connsiteX1179" fmla="*/ 7202793 w 8266922"/>
              <a:gd name="connsiteY1179" fmla="*/ 479731 h 7305087"/>
              <a:gd name="connsiteX1180" fmla="*/ 7206781 w 8266922"/>
              <a:gd name="connsiteY1180" fmla="*/ 533435 h 7305087"/>
              <a:gd name="connsiteX1181" fmla="*/ 7209077 w 8266922"/>
              <a:gd name="connsiteY1181" fmla="*/ 589455 h 7305087"/>
              <a:gd name="connsiteX1182" fmla="*/ 7209813 w 8266922"/>
              <a:gd name="connsiteY1182" fmla="*/ 647711 h 7305087"/>
              <a:gd name="connsiteX1183" fmla="*/ 7209113 w 8266922"/>
              <a:gd name="connsiteY1183" fmla="*/ 706216 h 7305087"/>
              <a:gd name="connsiteX1184" fmla="*/ 7206916 w 8266922"/>
              <a:gd name="connsiteY1184" fmla="*/ 762486 h 7305087"/>
              <a:gd name="connsiteX1185" fmla="*/ 7203080 w 8266922"/>
              <a:gd name="connsiteY1185" fmla="*/ 816437 h 7305087"/>
              <a:gd name="connsiteX1186" fmla="*/ 7197459 w 8266922"/>
              <a:gd name="connsiteY1186" fmla="*/ 867986 h 7305087"/>
              <a:gd name="connsiteX1187" fmla="*/ 7189911 w 8266922"/>
              <a:gd name="connsiteY1187" fmla="*/ 917051 h 7305087"/>
              <a:gd name="connsiteX1188" fmla="*/ 7180290 w 8266922"/>
              <a:gd name="connsiteY1188" fmla="*/ 963550 h 7305087"/>
              <a:gd name="connsiteX1189" fmla="*/ 7168453 w 8266922"/>
              <a:gd name="connsiteY1189" fmla="*/ 1007400 h 7305087"/>
              <a:gd name="connsiteX1190" fmla="*/ 7154256 w 8266922"/>
              <a:gd name="connsiteY1190" fmla="*/ 1048517 h 7305087"/>
              <a:gd name="connsiteX1191" fmla="*/ 7137555 w 8266922"/>
              <a:gd name="connsiteY1191" fmla="*/ 1086819 h 7305087"/>
              <a:gd name="connsiteX1192" fmla="*/ 7118206 w 8266922"/>
              <a:gd name="connsiteY1192" fmla="*/ 1122225 h 7305087"/>
              <a:gd name="connsiteX1193" fmla="*/ 7096065 w 8266922"/>
              <a:gd name="connsiteY1193" fmla="*/ 1154652 h 7305087"/>
              <a:gd name="connsiteX1194" fmla="*/ 7070989 w 8266922"/>
              <a:gd name="connsiteY1194" fmla="*/ 1184015 h 7305087"/>
              <a:gd name="connsiteX1195" fmla="*/ 7042832 w 8266922"/>
              <a:gd name="connsiteY1195" fmla="*/ 1210234 h 7305087"/>
              <a:gd name="connsiteX1196" fmla="*/ 7011451 w 8266922"/>
              <a:gd name="connsiteY1196" fmla="*/ 1233224 h 7305087"/>
              <a:gd name="connsiteX1197" fmla="*/ 6976702 w 8266922"/>
              <a:gd name="connsiteY1197" fmla="*/ 1252906 h 7305087"/>
              <a:gd name="connsiteX1198" fmla="*/ 6938442 w 8266922"/>
              <a:gd name="connsiteY1198" fmla="*/ 1269193 h 7305087"/>
              <a:gd name="connsiteX1199" fmla="*/ 6896525 w 8266922"/>
              <a:gd name="connsiteY1199" fmla="*/ 1282004 h 7305087"/>
              <a:gd name="connsiteX1200" fmla="*/ 6850809 w 8266922"/>
              <a:gd name="connsiteY1200" fmla="*/ 1291259 h 7305087"/>
              <a:gd name="connsiteX1201" fmla="*/ 6801149 w 8266922"/>
              <a:gd name="connsiteY1201" fmla="*/ 1296872 h 7305087"/>
              <a:gd name="connsiteX1202" fmla="*/ 6747401 w 8266922"/>
              <a:gd name="connsiteY1202" fmla="*/ 1298760 h 7305087"/>
              <a:gd name="connsiteX1203" fmla="*/ 6747401 w 8266922"/>
              <a:gd name="connsiteY1203" fmla="*/ 1201937 h 7305087"/>
              <a:gd name="connsiteX1204" fmla="*/ 6797086 w 8266922"/>
              <a:gd name="connsiteY1204" fmla="*/ 1199704 h 7305087"/>
              <a:gd name="connsiteX1205" fmla="*/ 6842006 w 8266922"/>
              <a:gd name="connsiteY1205" fmla="*/ 1193083 h 7305087"/>
              <a:gd name="connsiteX1206" fmla="*/ 6882389 w 8266922"/>
              <a:gd name="connsiteY1206" fmla="*/ 1182194 h 7305087"/>
              <a:gd name="connsiteX1207" fmla="*/ 6918460 w 8266922"/>
              <a:gd name="connsiteY1207" fmla="*/ 1167155 h 7305087"/>
              <a:gd name="connsiteX1208" fmla="*/ 6978571 w 8266922"/>
              <a:gd name="connsiteY1208" fmla="*/ 1125095 h 7305087"/>
              <a:gd name="connsiteX1209" fmla="*/ 7024150 w 8266922"/>
              <a:gd name="connsiteY1209" fmla="*/ 1067850 h 7305087"/>
              <a:gd name="connsiteX1210" fmla="*/ 7042056 w 8266922"/>
              <a:gd name="connsiteY1210" fmla="*/ 1033830 h 7305087"/>
              <a:gd name="connsiteX1211" fmla="*/ 7057008 w 8266922"/>
              <a:gd name="connsiteY1211" fmla="*/ 996368 h 7305087"/>
              <a:gd name="connsiteX1212" fmla="*/ 7069232 w 8266922"/>
              <a:gd name="connsiteY1212" fmla="*/ 955584 h 7305087"/>
              <a:gd name="connsiteX1213" fmla="*/ 7078955 w 8266922"/>
              <a:gd name="connsiteY1213" fmla="*/ 911594 h 7305087"/>
              <a:gd name="connsiteX1214" fmla="*/ 7086402 w 8266922"/>
              <a:gd name="connsiteY1214" fmla="*/ 864517 h 7305087"/>
              <a:gd name="connsiteX1215" fmla="*/ 7091801 w 8266922"/>
              <a:gd name="connsiteY1215" fmla="*/ 814473 h 7305087"/>
              <a:gd name="connsiteX1216" fmla="*/ 7095377 w 8266922"/>
              <a:gd name="connsiteY1216" fmla="*/ 761578 h 7305087"/>
              <a:gd name="connsiteX1217" fmla="*/ 7097356 w 8266922"/>
              <a:gd name="connsiteY1217" fmla="*/ 705951 h 7305087"/>
              <a:gd name="connsiteX1218" fmla="*/ 7097966 w 8266922"/>
              <a:gd name="connsiteY1218" fmla="*/ 647711 h 7305087"/>
              <a:gd name="connsiteX1219" fmla="*/ 7097324 w 8266922"/>
              <a:gd name="connsiteY1219" fmla="*/ 590042 h 7305087"/>
              <a:gd name="connsiteX1220" fmla="*/ 7095254 w 8266922"/>
              <a:gd name="connsiteY1220" fmla="*/ 534953 h 7305087"/>
              <a:gd name="connsiteX1221" fmla="*/ 7091544 w 8266922"/>
              <a:gd name="connsiteY1221" fmla="*/ 482560 h 7305087"/>
              <a:gd name="connsiteX1222" fmla="*/ 7085978 w 8266922"/>
              <a:gd name="connsiteY1222" fmla="*/ 432984 h 7305087"/>
              <a:gd name="connsiteX1223" fmla="*/ 7078343 w 8266922"/>
              <a:gd name="connsiteY1223" fmla="*/ 386340 h 7305087"/>
              <a:gd name="connsiteX1224" fmla="*/ 7068425 w 8266922"/>
              <a:gd name="connsiteY1224" fmla="*/ 342749 h 7305087"/>
              <a:gd name="connsiteX1225" fmla="*/ 7056009 w 8266922"/>
              <a:gd name="connsiteY1225" fmla="*/ 302328 h 7305087"/>
              <a:gd name="connsiteX1226" fmla="*/ 7040882 w 8266922"/>
              <a:gd name="connsiteY1226" fmla="*/ 265196 h 7305087"/>
              <a:gd name="connsiteX1227" fmla="*/ 7022829 w 8266922"/>
              <a:gd name="connsiteY1227" fmla="*/ 231470 h 7305087"/>
              <a:gd name="connsiteX1228" fmla="*/ 6977091 w 8266922"/>
              <a:gd name="connsiteY1228" fmla="*/ 174711 h 7305087"/>
              <a:gd name="connsiteX1229" fmla="*/ 6917082 w 8266922"/>
              <a:gd name="connsiteY1229" fmla="*/ 132998 h 7305087"/>
              <a:gd name="connsiteX1230" fmla="*/ 6881190 w 8266922"/>
              <a:gd name="connsiteY1230" fmla="*/ 118079 h 7305087"/>
              <a:gd name="connsiteX1231" fmla="*/ 6841089 w 8266922"/>
              <a:gd name="connsiteY1231" fmla="*/ 107276 h 7305087"/>
              <a:gd name="connsiteX1232" fmla="*/ 6796564 w 8266922"/>
              <a:gd name="connsiteY1232" fmla="*/ 100708 h 7305087"/>
              <a:gd name="connsiteX1233" fmla="*/ 6747401 w 8266922"/>
              <a:gd name="connsiteY1233" fmla="*/ 98492 h 73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Lst>
            <a:rect l="l" t="t" r="r" b="b"/>
            <a:pathLst>
              <a:path w="8266922" h="7305087">
                <a:moveTo>
                  <a:pt x="5241587" y="7031344"/>
                </a:moveTo>
                <a:lnTo>
                  <a:pt x="5448586" y="7031344"/>
                </a:lnTo>
                <a:lnTo>
                  <a:pt x="5448586" y="7204957"/>
                </a:lnTo>
                <a:lnTo>
                  <a:pt x="5241587" y="7204957"/>
                </a:lnTo>
                <a:close/>
                <a:moveTo>
                  <a:pt x="2946862" y="7031344"/>
                </a:moveTo>
                <a:lnTo>
                  <a:pt x="3153861" y="7031344"/>
                </a:lnTo>
                <a:lnTo>
                  <a:pt x="3153861" y="7204957"/>
                </a:lnTo>
                <a:lnTo>
                  <a:pt x="2946862" y="7204957"/>
                </a:lnTo>
                <a:close/>
                <a:moveTo>
                  <a:pt x="4247643" y="6016037"/>
                </a:moveTo>
                <a:lnTo>
                  <a:pt x="4621582" y="6016037"/>
                </a:lnTo>
                <a:lnTo>
                  <a:pt x="4621582" y="6111287"/>
                </a:lnTo>
                <a:lnTo>
                  <a:pt x="4621582" y="7209837"/>
                </a:lnTo>
                <a:lnTo>
                  <a:pt x="4621582" y="7305087"/>
                </a:lnTo>
                <a:lnTo>
                  <a:pt x="4247643" y="7305087"/>
                </a:lnTo>
                <a:lnTo>
                  <a:pt x="4247643" y="7209837"/>
                </a:lnTo>
                <a:lnTo>
                  <a:pt x="4506393" y="7209837"/>
                </a:lnTo>
                <a:lnTo>
                  <a:pt x="4506393" y="6111287"/>
                </a:lnTo>
                <a:lnTo>
                  <a:pt x="4247643" y="6111287"/>
                </a:lnTo>
                <a:close/>
                <a:moveTo>
                  <a:pt x="3773921" y="6016037"/>
                </a:moveTo>
                <a:lnTo>
                  <a:pt x="4147860" y="6016037"/>
                </a:lnTo>
                <a:lnTo>
                  <a:pt x="4147860" y="6111287"/>
                </a:lnTo>
                <a:lnTo>
                  <a:pt x="3889111" y="6111287"/>
                </a:lnTo>
                <a:lnTo>
                  <a:pt x="3889111" y="7209837"/>
                </a:lnTo>
                <a:lnTo>
                  <a:pt x="4147860" y="7209837"/>
                </a:lnTo>
                <a:lnTo>
                  <a:pt x="4147860" y="7305087"/>
                </a:lnTo>
                <a:lnTo>
                  <a:pt x="3773921" y="7305087"/>
                </a:lnTo>
                <a:lnTo>
                  <a:pt x="3773921" y="7209837"/>
                </a:lnTo>
                <a:lnTo>
                  <a:pt x="3773921" y="6111287"/>
                </a:lnTo>
                <a:close/>
                <a:moveTo>
                  <a:pt x="6688042" y="5528924"/>
                </a:moveTo>
                <a:lnTo>
                  <a:pt x="6895043" y="5528924"/>
                </a:lnTo>
                <a:lnTo>
                  <a:pt x="6895043" y="5702536"/>
                </a:lnTo>
                <a:lnTo>
                  <a:pt x="6688042" y="5702536"/>
                </a:lnTo>
                <a:close/>
                <a:moveTo>
                  <a:pt x="3990746" y="5378675"/>
                </a:moveTo>
                <a:lnTo>
                  <a:pt x="4895538" y="5378675"/>
                </a:lnTo>
                <a:lnTo>
                  <a:pt x="4895538" y="5485512"/>
                </a:lnTo>
                <a:lnTo>
                  <a:pt x="3990746" y="5485512"/>
                </a:lnTo>
                <a:close/>
                <a:moveTo>
                  <a:pt x="1270097" y="5378675"/>
                </a:moveTo>
                <a:lnTo>
                  <a:pt x="2174890" y="5378675"/>
                </a:lnTo>
                <a:lnTo>
                  <a:pt x="2174890" y="5485512"/>
                </a:lnTo>
                <a:lnTo>
                  <a:pt x="1270097" y="5485512"/>
                </a:lnTo>
                <a:close/>
                <a:moveTo>
                  <a:pt x="3990746" y="5029777"/>
                </a:moveTo>
                <a:lnTo>
                  <a:pt x="4895538" y="5029777"/>
                </a:lnTo>
                <a:lnTo>
                  <a:pt x="4895538" y="5136615"/>
                </a:lnTo>
                <a:lnTo>
                  <a:pt x="3990746" y="5136615"/>
                </a:lnTo>
                <a:close/>
                <a:moveTo>
                  <a:pt x="1270097" y="5029777"/>
                </a:moveTo>
                <a:lnTo>
                  <a:pt x="2174890" y="5029777"/>
                </a:lnTo>
                <a:lnTo>
                  <a:pt x="2174890" y="5136615"/>
                </a:lnTo>
                <a:lnTo>
                  <a:pt x="1270097" y="5136615"/>
                </a:lnTo>
                <a:close/>
                <a:moveTo>
                  <a:pt x="6062007" y="4507277"/>
                </a:moveTo>
                <a:lnTo>
                  <a:pt x="6115077" y="4509153"/>
                </a:lnTo>
                <a:lnTo>
                  <a:pt x="6164198" y="4514730"/>
                </a:lnTo>
                <a:lnTo>
                  <a:pt x="6209503" y="4523925"/>
                </a:lnTo>
                <a:lnTo>
                  <a:pt x="6251125" y="4536657"/>
                </a:lnTo>
                <a:lnTo>
                  <a:pt x="6289196" y="4552845"/>
                </a:lnTo>
                <a:lnTo>
                  <a:pt x="6323849" y="4572406"/>
                </a:lnTo>
                <a:lnTo>
                  <a:pt x="6355216" y="4595261"/>
                </a:lnTo>
                <a:lnTo>
                  <a:pt x="6383431" y="4621327"/>
                </a:lnTo>
                <a:lnTo>
                  <a:pt x="6408627" y="4650523"/>
                </a:lnTo>
                <a:lnTo>
                  <a:pt x="6430935" y="4682768"/>
                </a:lnTo>
                <a:lnTo>
                  <a:pt x="6450488" y="4717980"/>
                </a:lnTo>
                <a:lnTo>
                  <a:pt x="6467420" y="4756077"/>
                </a:lnTo>
                <a:lnTo>
                  <a:pt x="6481863" y="4796980"/>
                </a:lnTo>
                <a:lnTo>
                  <a:pt x="6493950" y="4840605"/>
                </a:lnTo>
                <a:lnTo>
                  <a:pt x="6503813" y="4886873"/>
                </a:lnTo>
                <a:lnTo>
                  <a:pt x="6511585" y="4935701"/>
                </a:lnTo>
                <a:lnTo>
                  <a:pt x="6517399" y="4987008"/>
                </a:lnTo>
                <a:lnTo>
                  <a:pt x="6521387" y="5040712"/>
                </a:lnTo>
                <a:lnTo>
                  <a:pt x="6523683" y="5096732"/>
                </a:lnTo>
                <a:lnTo>
                  <a:pt x="6524419" y="5154988"/>
                </a:lnTo>
                <a:lnTo>
                  <a:pt x="6523719" y="5213493"/>
                </a:lnTo>
                <a:lnTo>
                  <a:pt x="6521522" y="5269763"/>
                </a:lnTo>
                <a:lnTo>
                  <a:pt x="6517686" y="5323713"/>
                </a:lnTo>
                <a:lnTo>
                  <a:pt x="6512065" y="5375263"/>
                </a:lnTo>
                <a:lnTo>
                  <a:pt x="6504517" y="5424328"/>
                </a:lnTo>
                <a:lnTo>
                  <a:pt x="6494896" y="5470827"/>
                </a:lnTo>
                <a:lnTo>
                  <a:pt x="6483059" y="5514676"/>
                </a:lnTo>
                <a:lnTo>
                  <a:pt x="6468862" y="5555794"/>
                </a:lnTo>
                <a:lnTo>
                  <a:pt x="6452162" y="5594097"/>
                </a:lnTo>
                <a:lnTo>
                  <a:pt x="6432813" y="5629503"/>
                </a:lnTo>
                <a:lnTo>
                  <a:pt x="6410672" y="5661929"/>
                </a:lnTo>
                <a:lnTo>
                  <a:pt x="6385595" y="5691293"/>
                </a:lnTo>
                <a:lnTo>
                  <a:pt x="6357438" y="5717511"/>
                </a:lnTo>
                <a:lnTo>
                  <a:pt x="6326057" y="5740502"/>
                </a:lnTo>
                <a:lnTo>
                  <a:pt x="6291309" y="5760183"/>
                </a:lnTo>
                <a:lnTo>
                  <a:pt x="6253048" y="5776470"/>
                </a:lnTo>
                <a:lnTo>
                  <a:pt x="6211131" y="5789282"/>
                </a:lnTo>
                <a:lnTo>
                  <a:pt x="6165415" y="5798536"/>
                </a:lnTo>
                <a:lnTo>
                  <a:pt x="6115755" y="5804149"/>
                </a:lnTo>
                <a:lnTo>
                  <a:pt x="6062007" y="5806038"/>
                </a:lnTo>
                <a:lnTo>
                  <a:pt x="6062007" y="5709215"/>
                </a:lnTo>
                <a:lnTo>
                  <a:pt x="6111692" y="5706982"/>
                </a:lnTo>
                <a:lnTo>
                  <a:pt x="6156613" y="5700361"/>
                </a:lnTo>
                <a:lnTo>
                  <a:pt x="6196995" y="5689472"/>
                </a:lnTo>
                <a:lnTo>
                  <a:pt x="6233066" y="5674432"/>
                </a:lnTo>
                <a:lnTo>
                  <a:pt x="6293177" y="5632372"/>
                </a:lnTo>
                <a:lnTo>
                  <a:pt x="6338757" y="5575128"/>
                </a:lnTo>
                <a:lnTo>
                  <a:pt x="6356662" y="5541107"/>
                </a:lnTo>
                <a:lnTo>
                  <a:pt x="6371614" y="5503645"/>
                </a:lnTo>
                <a:lnTo>
                  <a:pt x="6383838" y="5462861"/>
                </a:lnTo>
                <a:lnTo>
                  <a:pt x="6393561" y="5418871"/>
                </a:lnTo>
                <a:lnTo>
                  <a:pt x="6401008" y="5371794"/>
                </a:lnTo>
                <a:lnTo>
                  <a:pt x="6406407" y="5321750"/>
                </a:lnTo>
                <a:lnTo>
                  <a:pt x="6409983" y="5268855"/>
                </a:lnTo>
                <a:lnTo>
                  <a:pt x="6411962" y="5213228"/>
                </a:lnTo>
                <a:lnTo>
                  <a:pt x="6412572" y="5154988"/>
                </a:lnTo>
                <a:lnTo>
                  <a:pt x="6411930" y="5097319"/>
                </a:lnTo>
                <a:lnTo>
                  <a:pt x="6409860" y="5042230"/>
                </a:lnTo>
                <a:lnTo>
                  <a:pt x="6406150" y="4989837"/>
                </a:lnTo>
                <a:lnTo>
                  <a:pt x="6400584" y="4940261"/>
                </a:lnTo>
                <a:lnTo>
                  <a:pt x="6392949" y="4893617"/>
                </a:lnTo>
                <a:lnTo>
                  <a:pt x="6383031" y="4850025"/>
                </a:lnTo>
                <a:lnTo>
                  <a:pt x="6370615" y="4809604"/>
                </a:lnTo>
                <a:lnTo>
                  <a:pt x="6355488" y="4772472"/>
                </a:lnTo>
                <a:lnTo>
                  <a:pt x="6337435" y="4738746"/>
                </a:lnTo>
                <a:lnTo>
                  <a:pt x="6291697" y="4681987"/>
                </a:lnTo>
                <a:lnTo>
                  <a:pt x="6231688" y="4640273"/>
                </a:lnTo>
                <a:lnTo>
                  <a:pt x="6195796" y="4625355"/>
                </a:lnTo>
                <a:lnTo>
                  <a:pt x="6155695" y="4614552"/>
                </a:lnTo>
                <a:lnTo>
                  <a:pt x="6111170" y="4607983"/>
                </a:lnTo>
                <a:lnTo>
                  <a:pt x="6062007" y="4605768"/>
                </a:lnTo>
                <a:close/>
                <a:moveTo>
                  <a:pt x="5970138" y="4507277"/>
                </a:moveTo>
                <a:lnTo>
                  <a:pt x="5970138" y="4605768"/>
                </a:lnTo>
                <a:lnTo>
                  <a:pt x="5921252" y="4607983"/>
                </a:lnTo>
                <a:lnTo>
                  <a:pt x="5876971" y="4614552"/>
                </a:lnTo>
                <a:lnTo>
                  <a:pt x="5837085" y="4625355"/>
                </a:lnTo>
                <a:lnTo>
                  <a:pt x="5801379" y="4640273"/>
                </a:lnTo>
                <a:lnTo>
                  <a:pt x="5741664" y="4681987"/>
                </a:lnTo>
                <a:lnTo>
                  <a:pt x="5696130" y="4738746"/>
                </a:lnTo>
                <a:lnTo>
                  <a:pt x="5678151" y="4772472"/>
                </a:lnTo>
                <a:lnTo>
                  <a:pt x="5663081" y="4809604"/>
                </a:lnTo>
                <a:lnTo>
                  <a:pt x="5650709" y="4850025"/>
                </a:lnTo>
                <a:lnTo>
                  <a:pt x="5640821" y="4893617"/>
                </a:lnTo>
                <a:lnTo>
                  <a:pt x="5633207" y="4940261"/>
                </a:lnTo>
                <a:lnTo>
                  <a:pt x="5627654" y="4989837"/>
                </a:lnTo>
                <a:lnTo>
                  <a:pt x="5623950" y="5042230"/>
                </a:lnTo>
                <a:lnTo>
                  <a:pt x="5621883" y="5097319"/>
                </a:lnTo>
                <a:lnTo>
                  <a:pt x="5621241" y="5154988"/>
                </a:lnTo>
                <a:lnTo>
                  <a:pt x="5621867" y="5213228"/>
                </a:lnTo>
                <a:lnTo>
                  <a:pt x="5623889" y="5268855"/>
                </a:lnTo>
                <a:lnTo>
                  <a:pt x="5627526" y="5321750"/>
                </a:lnTo>
                <a:lnTo>
                  <a:pt x="5632995" y="5371794"/>
                </a:lnTo>
                <a:lnTo>
                  <a:pt x="5640516" y="5418871"/>
                </a:lnTo>
                <a:lnTo>
                  <a:pt x="5650305" y="5462861"/>
                </a:lnTo>
                <a:lnTo>
                  <a:pt x="5662582" y="5503645"/>
                </a:lnTo>
                <a:lnTo>
                  <a:pt x="5677564" y="5541107"/>
                </a:lnTo>
                <a:lnTo>
                  <a:pt x="5695470" y="5575128"/>
                </a:lnTo>
                <a:lnTo>
                  <a:pt x="5740924" y="5632372"/>
                </a:lnTo>
                <a:lnTo>
                  <a:pt x="5800690" y="5674432"/>
                </a:lnTo>
                <a:lnTo>
                  <a:pt x="5836485" y="5689472"/>
                </a:lnTo>
                <a:lnTo>
                  <a:pt x="5876513" y="5700361"/>
                </a:lnTo>
                <a:lnTo>
                  <a:pt x="5920991" y="5706982"/>
                </a:lnTo>
                <a:lnTo>
                  <a:pt x="5970138" y="5709215"/>
                </a:lnTo>
                <a:lnTo>
                  <a:pt x="5970138" y="5806038"/>
                </a:lnTo>
                <a:lnTo>
                  <a:pt x="5916615" y="5804149"/>
                </a:lnTo>
                <a:lnTo>
                  <a:pt x="5867135" y="5798536"/>
                </a:lnTo>
                <a:lnTo>
                  <a:pt x="5821555" y="5789282"/>
                </a:lnTo>
                <a:lnTo>
                  <a:pt x="5779737" y="5776470"/>
                </a:lnTo>
                <a:lnTo>
                  <a:pt x="5741540" y="5760183"/>
                </a:lnTo>
                <a:lnTo>
                  <a:pt x="5706823" y="5740502"/>
                </a:lnTo>
                <a:lnTo>
                  <a:pt x="5675446" y="5717511"/>
                </a:lnTo>
                <a:lnTo>
                  <a:pt x="5647270" y="5691293"/>
                </a:lnTo>
                <a:lnTo>
                  <a:pt x="5622154" y="5661929"/>
                </a:lnTo>
                <a:lnTo>
                  <a:pt x="5599957" y="5629503"/>
                </a:lnTo>
                <a:lnTo>
                  <a:pt x="5580540" y="5594097"/>
                </a:lnTo>
                <a:lnTo>
                  <a:pt x="5563762" y="5555794"/>
                </a:lnTo>
                <a:lnTo>
                  <a:pt x="5549483" y="5514676"/>
                </a:lnTo>
                <a:lnTo>
                  <a:pt x="5537563" y="5470827"/>
                </a:lnTo>
                <a:lnTo>
                  <a:pt x="5527862" y="5424328"/>
                </a:lnTo>
                <a:lnTo>
                  <a:pt x="5520239" y="5375263"/>
                </a:lnTo>
                <a:lnTo>
                  <a:pt x="5514554" y="5323713"/>
                </a:lnTo>
                <a:lnTo>
                  <a:pt x="5510667" y="5269763"/>
                </a:lnTo>
                <a:lnTo>
                  <a:pt x="5508437" y="5213493"/>
                </a:lnTo>
                <a:lnTo>
                  <a:pt x="5507726" y="5154988"/>
                </a:lnTo>
                <a:lnTo>
                  <a:pt x="5508461" y="5096732"/>
                </a:lnTo>
                <a:lnTo>
                  <a:pt x="5510757" y="5040712"/>
                </a:lnTo>
                <a:lnTo>
                  <a:pt x="5514746" y="4987008"/>
                </a:lnTo>
                <a:lnTo>
                  <a:pt x="5520559" y="4935701"/>
                </a:lnTo>
                <a:lnTo>
                  <a:pt x="5528332" y="4886873"/>
                </a:lnTo>
                <a:lnTo>
                  <a:pt x="5538195" y="4840605"/>
                </a:lnTo>
                <a:lnTo>
                  <a:pt x="5550281" y="4796980"/>
                </a:lnTo>
                <a:lnTo>
                  <a:pt x="5564724" y="4756077"/>
                </a:lnTo>
                <a:lnTo>
                  <a:pt x="5581656" y="4717980"/>
                </a:lnTo>
                <a:lnTo>
                  <a:pt x="5601209" y="4682768"/>
                </a:lnTo>
                <a:lnTo>
                  <a:pt x="5623517" y="4650523"/>
                </a:lnTo>
                <a:lnTo>
                  <a:pt x="5648713" y="4621327"/>
                </a:lnTo>
                <a:lnTo>
                  <a:pt x="5676928" y="4595261"/>
                </a:lnTo>
                <a:lnTo>
                  <a:pt x="5708295" y="4572406"/>
                </a:lnTo>
                <a:lnTo>
                  <a:pt x="5742948" y="4552845"/>
                </a:lnTo>
                <a:lnTo>
                  <a:pt x="5781019" y="4536657"/>
                </a:lnTo>
                <a:lnTo>
                  <a:pt x="5822641" y="4523925"/>
                </a:lnTo>
                <a:lnTo>
                  <a:pt x="5867946" y="4514730"/>
                </a:lnTo>
                <a:lnTo>
                  <a:pt x="5917067" y="4509153"/>
                </a:lnTo>
                <a:close/>
                <a:moveTo>
                  <a:pt x="2916306" y="4507277"/>
                </a:moveTo>
                <a:lnTo>
                  <a:pt x="2969376" y="4509153"/>
                </a:lnTo>
                <a:lnTo>
                  <a:pt x="3018497" y="4514730"/>
                </a:lnTo>
                <a:lnTo>
                  <a:pt x="3063803" y="4523925"/>
                </a:lnTo>
                <a:lnTo>
                  <a:pt x="3105426" y="4536657"/>
                </a:lnTo>
                <a:lnTo>
                  <a:pt x="3143497" y="4552845"/>
                </a:lnTo>
                <a:lnTo>
                  <a:pt x="3178150" y="4572406"/>
                </a:lnTo>
                <a:lnTo>
                  <a:pt x="3209516" y="4595261"/>
                </a:lnTo>
                <a:lnTo>
                  <a:pt x="3237732" y="4621327"/>
                </a:lnTo>
                <a:lnTo>
                  <a:pt x="3262928" y="4650523"/>
                </a:lnTo>
                <a:lnTo>
                  <a:pt x="3285236" y="4682768"/>
                </a:lnTo>
                <a:lnTo>
                  <a:pt x="3304789" y="4717980"/>
                </a:lnTo>
                <a:lnTo>
                  <a:pt x="3321718" y="4756077"/>
                </a:lnTo>
                <a:lnTo>
                  <a:pt x="3336161" y="4796980"/>
                </a:lnTo>
                <a:lnTo>
                  <a:pt x="3348248" y="4840605"/>
                </a:lnTo>
                <a:lnTo>
                  <a:pt x="3358111" y="4886873"/>
                </a:lnTo>
                <a:lnTo>
                  <a:pt x="3365883" y="4935701"/>
                </a:lnTo>
                <a:lnTo>
                  <a:pt x="3371697" y="4987008"/>
                </a:lnTo>
                <a:lnTo>
                  <a:pt x="3375685" y="5040712"/>
                </a:lnTo>
                <a:lnTo>
                  <a:pt x="3377981" y="5096732"/>
                </a:lnTo>
                <a:lnTo>
                  <a:pt x="3378717" y="5154988"/>
                </a:lnTo>
                <a:lnTo>
                  <a:pt x="3378017" y="5213493"/>
                </a:lnTo>
                <a:lnTo>
                  <a:pt x="3375820" y="5269763"/>
                </a:lnTo>
                <a:lnTo>
                  <a:pt x="3371984" y="5323713"/>
                </a:lnTo>
                <a:lnTo>
                  <a:pt x="3366363" y="5375263"/>
                </a:lnTo>
                <a:lnTo>
                  <a:pt x="3358815" y="5424328"/>
                </a:lnTo>
                <a:lnTo>
                  <a:pt x="3349194" y="5470827"/>
                </a:lnTo>
                <a:lnTo>
                  <a:pt x="3337357" y="5514676"/>
                </a:lnTo>
                <a:lnTo>
                  <a:pt x="3323160" y="5555794"/>
                </a:lnTo>
                <a:lnTo>
                  <a:pt x="3306462" y="5594097"/>
                </a:lnTo>
                <a:lnTo>
                  <a:pt x="3287114" y="5629503"/>
                </a:lnTo>
                <a:lnTo>
                  <a:pt x="3264973" y="5661929"/>
                </a:lnTo>
                <a:lnTo>
                  <a:pt x="3239895" y="5691293"/>
                </a:lnTo>
                <a:lnTo>
                  <a:pt x="3211738" y="5717511"/>
                </a:lnTo>
                <a:lnTo>
                  <a:pt x="3180357" y="5740502"/>
                </a:lnTo>
                <a:lnTo>
                  <a:pt x="3145609" y="5760183"/>
                </a:lnTo>
                <a:lnTo>
                  <a:pt x="3107348" y="5776470"/>
                </a:lnTo>
                <a:lnTo>
                  <a:pt x="3065431" y="5789282"/>
                </a:lnTo>
                <a:lnTo>
                  <a:pt x="3019716" y="5798536"/>
                </a:lnTo>
                <a:lnTo>
                  <a:pt x="2970054" y="5804149"/>
                </a:lnTo>
                <a:lnTo>
                  <a:pt x="2916306" y="5806038"/>
                </a:lnTo>
                <a:lnTo>
                  <a:pt x="2916306" y="5709215"/>
                </a:lnTo>
                <a:lnTo>
                  <a:pt x="2965992" y="5706982"/>
                </a:lnTo>
                <a:lnTo>
                  <a:pt x="3010913" y="5700361"/>
                </a:lnTo>
                <a:lnTo>
                  <a:pt x="3051294" y="5689472"/>
                </a:lnTo>
                <a:lnTo>
                  <a:pt x="3087367" y="5674432"/>
                </a:lnTo>
                <a:lnTo>
                  <a:pt x="3147477" y="5632372"/>
                </a:lnTo>
                <a:lnTo>
                  <a:pt x="3193057" y="5575128"/>
                </a:lnTo>
                <a:lnTo>
                  <a:pt x="3210963" y="5541107"/>
                </a:lnTo>
                <a:lnTo>
                  <a:pt x="3225916" y="5503645"/>
                </a:lnTo>
                <a:lnTo>
                  <a:pt x="3238139" y="5462861"/>
                </a:lnTo>
                <a:lnTo>
                  <a:pt x="3247862" y="5418871"/>
                </a:lnTo>
                <a:lnTo>
                  <a:pt x="3255309" y="5371794"/>
                </a:lnTo>
                <a:lnTo>
                  <a:pt x="3260708" y="5321750"/>
                </a:lnTo>
                <a:lnTo>
                  <a:pt x="3264284" y="5268855"/>
                </a:lnTo>
                <a:lnTo>
                  <a:pt x="3266263" y="5213228"/>
                </a:lnTo>
                <a:lnTo>
                  <a:pt x="3266872" y="5154988"/>
                </a:lnTo>
                <a:lnTo>
                  <a:pt x="3266231" y="5097319"/>
                </a:lnTo>
                <a:lnTo>
                  <a:pt x="3264161" y="5042230"/>
                </a:lnTo>
                <a:lnTo>
                  <a:pt x="3260451" y="4989837"/>
                </a:lnTo>
                <a:lnTo>
                  <a:pt x="3254885" y="4940261"/>
                </a:lnTo>
                <a:lnTo>
                  <a:pt x="3247250" y="4893617"/>
                </a:lnTo>
                <a:lnTo>
                  <a:pt x="3237332" y="4850025"/>
                </a:lnTo>
                <a:lnTo>
                  <a:pt x="3224916" y="4809604"/>
                </a:lnTo>
                <a:lnTo>
                  <a:pt x="3209789" y="4772472"/>
                </a:lnTo>
                <a:lnTo>
                  <a:pt x="3191735" y="4738746"/>
                </a:lnTo>
                <a:lnTo>
                  <a:pt x="3145998" y="4681987"/>
                </a:lnTo>
                <a:lnTo>
                  <a:pt x="3085988" y="4640273"/>
                </a:lnTo>
                <a:lnTo>
                  <a:pt x="3050095" y="4625355"/>
                </a:lnTo>
                <a:lnTo>
                  <a:pt x="3009995" y="4614552"/>
                </a:lnTo>
                <a:lnTo>
                  <a:pt x="2965470" y="4607983"/>
                </a:lnTo>
                <a:lnTo>
                  <a:pt x="2916306" y="4605768"/>
                </a:lnTo>
                <a:close/>
                <a:moveTo>
                  <a:pt x="2824439" y="4507277"/>
                </a:moveTo>
                <a:lnTo>
                  <a:pt x="2824439" y="4605768"/>
                </a:lnTo>
                <a:lnTo>
                  <a:pt x="2775553" y="4607983"/>
                </a:lnTo>
                <a:lnTo>
                  <a:pt x="2731271" y="4614552"/>
                </a:lnTo>
                <a:lnTo>
                  <a:pt x="2691385" y="4625355"/>
                </a:lnTo>
                <a:lnTo>
                  <a:pt x="2655680" y="4640273"/>
                </a:lnTo>
                <a:lnTo>
                  <a:pt x="2595965" y="4681987"/>
                </a:lnTo>
                <a:lnTo>
                  <a:pt x="2550430" y="4738746"/>
                </a:lnTo>
                <a:lnTo>
                  <a:pt x="2532451" y="4772472"/>
                </a:lnTo>
                <a:lnTo>
                  <a:pt x="2517381" y="4809604"/>
                </a:lnTo>
                <a:lnTo>
                  <a:pt x="2505009" y="4850025"/>
                </a:lnTo>
                <a:lnTo>
                  <a:pt x="2495121" y="4893617"/>
                </a:lnTo>
                <a:lnTo>
                  <a:pt x="2487508" y="4940261"/>
                </a:lnTo>
                <a:lnTo>
                  <a:pt x="2481955" y="4989837"/>
                </a:lnTo>
                <a:lnTo>
                  <a:pt x="2478251" y="5042230"/>
                </a:lnTo>
                <a:lnTo>
                  <a:pt x="2476183" y="5097319"/>
                </a:lnTo>
                <a:lnTo>
                  <a:pt x="2475541" y="5154988"/>
                </a:lnTo>
                <a:lnTo>
                  <a:pt x="2476168" y="5213228"/>
                </a:lnTo>
                <a:lnTo>
                  <a:pt x="2478189" y="5268855"/>
                </a:lnTo>
                <a:lnTo>
                  <a:pt x="2481827" y="5321750"/>
                </a:lnTo>
                <a:lnTo>
                  <a:pt x="2487296" y="5371794"/>
                </a:lnTo>
                <a:lnTo>
                  <a:pt x="2494816" y="5418871"/>
                </a:lnTo>
                <a:lnTo>
                  <a:pt x="2504605" y="5462861"/>
                </a:lnTo>
                <a:lnTo>
                  <a:pt x="2516882" y="5503645"/>
                </a:lnTo>
                <a:lnTo>
                  <a:pt x="2531865" y="5541107"/>
                </a:lnTo>
                <a:lnTo>
                  <a:pt x="2549770" y="5575128"/>
                </a:lnTo>
                <a:lnTo>
                  <a:pt x="2595224" y="5632372"/>
                </a:lnTo>
                <a:lnTo>
                  <a:pt x="2654990" y="5674432"/>
                </a:lnTo>
                <a:lnTo>
                  <a:pt x="2690785" y="5689472"/>
                </a:lnTo>
                <a:lnTo>
                  <a:pt x="2730814" y="5700361"/>
                </a:lnTo>
                <a:lnTo>
                  <a:pt x="2775291" y="5706982"/>
                </a:lnTo>
                <a:lnTo>
                  <a:pt x="2824439" y="5709215"/>
                </a:lnTo>
                <a:lnTo>
                  <a:pt x="2824439" y="5806038"/>
                </a:lnTo>
                <a:lnTo>
                  <a:pt x="2770915" y="5804149"/>
                </a:lnTo>
                <a:lnTo>
                  <a:pt x="2721436" y="5798536"/>
                </a:lnTo>
                <a:lnTo>
                  <a:pt x="2675855" y="5789282"/>
                </a:lnTo>
                <a:lnTo>
                  <a:pt x="2634037" y="5776470"/>
                </a:lnTo>
                <a:lnTo>
                  <a:pt x="2595840" y="5760183"/>
                </a:lnTo>
                <a:lnTo>
                  <a:pt x="2561122" y="5740502"/>
                </a:lnTo>
                <a:lnTo>
                  <a:pt x="2529747" y="5717511"/>
                </a:lnTo>
                <a:lnTo>
                  <a:pt x="2501571" y="5691293"/>
                </a:lnTo>
                <a:lnTo>
                  <a:pt x="2476454" y="5661929"/>
                </a:lnTo>
                <a:lnTo>
                  <a:pt x="2454257" y="5629503"/>
                </a:lnTo>
                <a:lnTo>
                  <a:pt x="2434840" y="5594097"/>
                </a:lnTo>
                <a:lnTo>
                  <a:pt x="2418062" y="5555794"/>
                </a:lnTo>
                <a:lnTo>
                  <a:pt x="2403783" y="5514676"/>
                </a:lnTo>
                <a:lnTo>
                  <a:pt x="2391863" y="5470827"/>
                </a:lnTo>
                <a:lnTo>
                  <a:pt x="2382162" y="5424328"/>
                </a:lnTo>
                <a:lnTo>
                  <a:pt x="2374539" y="5375263"/>
                </a:lnTo>
                <a:lnTo>
                  <a:pt x="2368854" y="5323713"/>
                </a:lnTo>
                <a:lnTo>
                  <a:pt x="2364967" y="5269763"/>
                </a:lnTo>
                <a:lnTo>
                  <a:pt x="2362736" y="5213493"/>
                </a:lnTo>
                <a:lnTo>
                  <a:pt x="2362026" y="5154988"/>
                </a:lnTo>
                <a:lnTo>
                  <a:pt x="2362760" y="5096732"/>
                </a:lnTo>
                <a:lnTo>
                  <a:pt x="2365057" y="5040712"/>
                </a:lnTo>
                <a:lnTo>
                  <a:pt x="2369046" y="4987008"/>
                </a:lnTo>
                <a:lnTo>
                  <a:pt x="2374859" y="4935701"/>
                </a:lnTo>
                <a:lnTo>
                  <a:pt x="2382632" y="4886873"/>
                </a:lnTo>
                <a:lnTo>
                  <a:pt x="2392495" y="4840605"/>
                </a:lnTo>
                <a:lnTo>
                  <a:pt x="2404581" y="4796980"/>
                </a:lnTo>
                <a:lnTo>
                  <a:pt x="2419024" y="4756077"/>
                </a:lnTo>
                <a:lnTo>
                  <a:pt x="2435956" y="4717980"/>
                </a:lnTo>
                <a:lnTo>
                  <a:pt x="2455509" y="4682768"/>
                </a:lnTo>
                <a:lnTo>
                  <a:pt x="2477817" y="4650523"/>
                </a:lnTo>
                <a:lnTo>
                  <a:pt x="2503013" y="4621327"/>
                </a:lnTo>
                <a:lnTo>
                  <a:pt x="2531228" y="4595261"/>
                </a:lnTo>
                <a:lnTo>
                  <a:pt x="2562596" y="4572406"/>
                </a:lnTo>
                <a:lnTo>
                  <a:pt x="2597248" y="4552845"/>
                </a:lnTo>
                <a:lnTo>
                  <a:pt x="2635318" y="4536657"/>
                </a:lnTo>
                <a:lnTo>
                  <a:pt x="2676942" y="4523925"/>
                </a:lnTo>
                <a:lnTo>
                  <a:pt x="2722247" y="4514730"/>
                </a:lnTo>
                <a:lnTo>
                  <a:pt x="2771367" y="4509153"/>
                </a:lnTo>
                <a:close/>
                <a:moveTo>
                  <a:pt x="2506783" y="4026496"/>
                </a:moveTo>
                <a:lnTo>
                  <a:pt x="2549012" y="4030174"/>
                </a:lnTo>
                <a:lnTo>
                  <a:pt x="2581695" y="4043398"/>
                </a:lnTo>
                <a:lnTo>
                  <a:pt x="2602796" y="4069456"/>
                </a:lnTo>
                <a:lnTo>
                  <a:pt x="2610283" y="4111633"/>
                </a:lnTo>
                <a:lnTo>
                  <a:pt x="2602796" y="4155741"/>
                </a:lnTo>
                <a:lnTo>
                  <a:pt x="2581695" y="4182790"/>
                </a:lnTo>
                <a:lnTo>
                  <a:pt x="2549012" y="4196380"/>
                </a:lnTo>
                <a:lnTo>
                  <a:pt x="2506783" y="4200110"/>
                </a:lnTo>
                <a:lnTo>
                  <a:pt x="2464554" y="4196380"/>
                </a:lnTo>
                <a:lnTo>
                  <a:pt x="2431870" y="4182790"/>
                </a:lnTo>
                <a:lnTo>
                  <a:pt x="2410769" y="4155741"/>
                </a:lnTo>
                <a:lnTo>
                  <a:pt x="2403283" y="4111633"/>
                </a:lnTo>
                <a:lnTo>
                  <a:pt x="2411003" y="4069456"/>
                </a:lnTo>
                <a:lnTo>
                  <a:pt x="2432496" y="4043398"/>
                </a:lnTo>
                <a:lnTo>
                  <a:pt x="2465257" y="4030174"/>
                </a:lnTo>
                <a:close/>
                <a:moveTo>
                  <a:pt x="2506783" y="3325365"/>
                </a:moveTo>
                <a:lnTo>
                  <a:pt x="2549012" y="3328834"/>
                </a:lnTo>
                <a:lnTo>
                  <a:pt x="2581695" y="3341849"/>
                </a:lnTo>
                <a:lnTo>
                  <a:pt x="2602796" y="3368324"/>
                </a:lnTo>
                <a:lnTo>
                  <a:pt x="2610283" y="3412171"/>
                </a:lnTo>
                <a:lnTo>
                  <a:pt x="2602796" y="3454609"/>
                </a:lnTo>
                <a:lnTo>
                  <a:pt x="2581695" y="3481240"/>
                </a:lnTo>
                <a:lnTo>
                  <a:pt x="2549012" y="3495038"/>
                </a:lnTo>
                <a:lnTo>
                  <a:pt x="2506783" y="3498977"/>
                </a:lnTo>
                <a:lnTo>
                  <a:pt x="2465519" y="3495038"/>
                </a:lnTo>
                <a:lnTo>
                  <a:pt x="2433331" y="3481240"/>
                </a:lnTo>
                <a:lnTo>
                  <a:pt x="2412411" y="3454609"/>
                </a:lnTo>
                <a:lnTo>
                  <a:pt x="2404952" y="3412171"/>
                </a:lnTo>
                <a:lnTo>
                  <a:pt x="2412411" y="3368324"/>
                </a:lnTo>
                <a:lnTo>
                  <a:pt x="2433331" y="3341849"/>
                </a:lnTo>
                <a:lnTo>
                  <a:pt x="2465519" y="3328834"/>
                </a:lnTo>
                <a:close/>
                <a:moveTo>
                  <a:pt x="3576931" y="3011218"/>
                </a:moveTo>
                <a:lnTo>
                  <a:pt x="3950858" y="3011218"/>
                </a:lnTo>
                <a:lnTo>
                  <a:pt x="3950858" y="3106468"/>
                </a:lnTo>
                <a:lnTo>
                  <a:pt x="3950858" y="4205018"/>
                </a:lnTo>
                <a:lnTo>
                  <a:pt x="3950858" y="4300268"/>
                </a:lnTo>
                <a:lnTo>
                  <a:pt x="3576931" y="4300268"/>
                </a:lnTo>
                <a:lnTo>
                  <a:pt x="3576931" y="4205018"/>
                </a:lnTo>
                <a:lnTo>
                  <a:pt x="3835681" y="4205018"/>
                </a:lnTo>
                <a:lnTo>
                  <a:pt x="3835681" y="3106468"/>
                </a:lnTo>
                <a:lnTo>
                  <a:pt x="3576931" y="3106468"/>
                </a:lnTo>
                <a:close/>
                <a:moveTo>
                  <a:pt x="1487809" y="3011218"/>
                </a:moveTo>
                <a:lnTo>
                  <a:pt x="1861748" y="3011218"/>
                </a:lnTo>
                <a:lnTo>
                  <a:pt x="1861748" y="3106468"/>
                </a:lnTo>
                <a:lnTo>
                  <a:pt x="1602998" y="3106468"/>
                </a:lnTo>
                <a:lnTo>
                  <a:pt x="1602998" y="4205018"/>
                </a:lnTo>
                <a:lnTo>
                  <a:pt x="1861748" y="4205018"/>
                </a:lnTo>
                <a:lnTo>
                  <a:pt x="1861748" y="4300268"/>
                </a:lnTo>
                <a:lnTo>
                  <a:pt x="1487809" y="4300268"/>
                </a:lnTo>
                <a:lnTo>
                  <a:pt x="1487809" y="4205018"/>
                </a:lnTo>
                <a:lnTo>
                  <a:pt x="1487809" y="3106468"/>
                </a:lnTo>
                <a:close/>
                <a:moveTo>
                  <a:pt x="7212302" y="3004847"/>
                </a:moveTo>
                <a:lnTo>
                  <a:pt x="7265372" y="3006723"/>
                </a:lnTo>
                <a:lnTo>
                  <a:pt x="7314493" y="3012300"/>
                </a:lnTo>
                <a:lnTo>
                  <a:pt x="7359798" y="3021495"/>
                </a:lnTo>
                <a:lnTo>
                  <a:pt x="7401420" y="3034227"/>
                </a:lnTo>
                <a:lnTo>
                  <a:pt x="7439491" y="3050415"/>
                </a:lnTo>
                <a:lnTo>
                  <a:pt x="7474144" y="3069977"/>
                </a:lnTo>
                <a:lnTo>
                  <a:pt x="7505511" y="3092831"/>
                </a:lnTo>
                <a:lnTo>
                  <a:pt x="7533726" y="3118897"/>
                </a:lnTo>
                <a:lnTo>
                  <a:pt x="7558922" y="3148093"/>
                </a:lnTo>
                <a:lnTo>
                  <a:pt x="7581230" y="3180338"/>
                </a:lnTo>
                <a:lnTo>
                  <a:pt x="7600783" y="3215550"/>
                </a:lnTo>
                <a:lnTo>
                  <a:pt x="7617715" y="3253648"/>
                </a:lnTo>
                <a:lnTo>
                  <a:pt x="7632158" y="3294551"/>
                </a:lnTo>
                <a:lnTo>
                  <a:pt x="7644245" y="3338176"/>
                </a:lnTo>
                <a:lnTo>
                  <a:pt x="7654108" y="3384443"/>
                </a:lnTo>
                <a:lnTo>
                  <a:pt x="7661880" y="3433271"/>
                </a:lnTo>
                <a:lnTo>
                  <a:pt x="7667694" y="3484578"/>
                </a:lnTo>
                <a:lnTo>
                  <a:pt x="7671682" y="3538282"/>
                </a:lnTo>
                <a:lnTo>
                  <a:pt x="7673978" y="3594302"/>
                </a:lnTo>
                <a:lnTo>
                  <a:pt x="7674714" y="3652558"/>
                </a:lnTo>
                <a:lnTo>
                  <a:pt x="7674014" y="3711063"/>
                </a:lnTo>
                <a:lnTo>
                  <a:pt x="7671817" y="3767333"/>
                </a:lnTo>
                <a:lnTo>
                  <a:pt x="7667981" y="3821283"/>
                </a:lnTo>
                <a:lnTo>
                  <a:pt x="7662360" y="3872833"/>
                </a:lnTo>
                <a:lnTo>
                  <a:pt x="7654812" y="3921898"/>
                </a:lnTo>
                <a:lnTo>
                  <a:pt x="7645191" y="3968397"/>
                </a:lnTo>
                <a:lnTo>
                  <a:pt x="7633354" y="4012246"/>
                </a:lnTo>
                <a:lnTo>
                  <a:pt x="7619157" y="4053364"/>
                </a:lnTo>
                <a:lnTo>
                  <a:pt x="7602457" y="4091667"/>
                </a:lnTo>
                <a:lnTo>
                  <a:pt x="7583108" y="4127073"/>
                </a:lnTo>
                <a:lnTo>
                  <a:pt x="7560967" y="4159499"/>
                </a:lnTo>
                <a:lnTo>
                  <a:pt x="7535890" y="4188862"/>
                </a:lnTo>
                <a:lnTo>
                  <a:pt x="7507733" y="4215081"/>
                </a:lnTo>
                <a:lnTo>
                  <a:pt x="7476352" y="4238071"/>
                </a:lnTo>
                <a:lnTo>
                  <a:pt x="7441604" y="4257752"/>
                </a:lnTo>
                <a:lnTo>
                  <a:pt x="7403343" y="4274039"/>
                </a:lnTo>
                <a:lnTo>
                  <a:pt x="7361426" y="4286851"/>
                </a:lnTo>
                <a:lnTo>
                  <a:pt x="7315710" y="4296105"/>
                </a:lnTo>
                <a:lnTo>
                  <a:pt x="7266050" y="4301718"/>
                </a:lnTo>
                <a:lnTo>
                  <a:pt x="7212302" y="4303607"/>
                </a:lnTo>
                <a:lnTo>
                  <a:pt x="7212302" y="4206785"/>
                </a:lnTo>
                <a:lnTo>
                  <a:pt x="7261987" y="4204552"/>
                </a:lnTo>
                <a:lnTo>
                  <a:pt x="7306907" y="4197931"/>
                </a:lnTo>
                <a:lnTo>
                  <a:pt x="7347290" y="4187042"/>
                </a:lnTo>
                <a:lnTo>
                  <a:pt x="7383361" y="4172002"/>
                </a:lnTo>
                <a:lnTo>
                  <a:pt x="7443472" y="4129942"/>
                </a:lnTo>
                <a:lnTo>
                  <a:pt x="7489051" y="4072698"/>
                </a:lnTo>
                <a:lnTo>
                  <a:pt x="7506957" y="4038677"/>
                </a:lnTo>
                <a:lnTo>
                  <a:pt x="7521909" y="4001216"/>
                </a:lnTo>
                <a:lnTo>
                  <a:pt x="7534133" y="3960431"/>
                </a:lnTo>
                <a:lnTo>
                  <a:pt x="7543856" y="3916441"/>
                </a:lnTo>
                <a:lnTo>
                  <a:pt x="7551303" y="3869364"/>
                </a:lnTo>
                <a:lnTo>
                  <a:pt x="7556702" y="3819320"/>
                </a:lnTo>
                <a:lnTo>
                  <a:pt x="7560278" y="3766425"/>
                </a:lnTo>
                <a:lnTo>
                  <a:pt x="7562257" y="3710798"/>
                </a:lnTo>
                <a:lnTo>
                  <a:pt x="7562867" y="3652558"/>
                </a:lnTo>
                <a:lnTo>
                  <a:pt x="7562225" y="3594889"/>
                </a:lnTo>
                <a:lnTo>
                  <a:pt x="7560155" y="3539800"/>
                </a:lnTo>
                <a:lnTo>
                  <a:pt x="7556445" y="3487407"/>
                </a:lnTo>
                <a:lnTo>
                  <a:pt x="7550879" y="3437831"/>
                </a:lnTo>
                <a:lnTo>
                  <a:pt x="7543244" y="3391187"/>
                </a:lnTo>
                <a:lnTo>
                  <a:pt x="7533326" y="3347596"/>
                </a:lnTo>
                <a:lnTo>
                  <a:pt x="7520910" y="3307175"/>
                </a:lnTo>
                <a:lnTo>
                  <a:pt x="7505783" y="3270043"/>
                </a:lnTo>
                <a:lnTo>
                  <a:pt x="7487730" y="3236317"/>
                </a:lnTo>
                <a:lnTo>
                  <a:pt x="7441992" y="3179558"/>
                </a:lnTo>
                <a:lnTo>
                  <a:pt x="7381983" y="3137845"/>
                </a:lnTo>
                <a:lnTo>
                  <a:pt x="7346091" y="3122926"/>
                </a:lnTo>
                <a:lnTo>
                  <a:pt x="7305990" y="3112123"/>
                </a:lnTo>
                <a:lnTo>
                  <a:pt x="7261465" y="3105555"/>
                </a:lnTo>
                <a:lnTo>
                  <a:pt x="7212302" y="3103339"/>
                </a:lnTo>
                <a:close/>
                <a:moveTo>
                  <a:pt x="6695380" y="3004847"/>
                </a:moveTo>
                <a:lnTo>
                  <a:pt x="6695380" y="3103339"/>
                </a:lnTo>
                <a:lnTo>
                  <a:pt x="6646494" y="3105555"/>
                </a:lnTo>
                <a:lnTo>
                  <a:pt x="6602213" y="3112123"/>
                </a:lnTo>
                <a:lnTo>
                  <a:pt x="6562327" y="3122926"/>
                </a:lnTo>
                <a:lnTo>
                  <a:pt x="6526621" y="3137845"/>
                </a:lnTo>
                <a:lnTo>
                  <a:pt x="6466906" y="3179558"/>
                </a:lnTo>
                <a:lnTo>
                  <a:pt x="6421372" y="3236317"/>
                </a:lnTo>
                <a:lnTo>
                  <a:pt x="6403393" y="3270043"/>
                </a:lnTo>
                <a:lnTo>
                  <a:pt x="6388323" y="3307175"/>
                </a:lnTo>
                <a:lnTo>
                  <a:pt x="6375951" y="3347596"/>
                </a:lnTo>
                <a:lnTo>
                  <a:pt x="6366063" y="3391187"/>
                </a:lnTo>
                <a:lnTo>
                  <a:pt x="6358449" y="3437831"/>
                </a:lnTo>
                <a:lnTo>
                  <a:pt x="6352896" y="3487407"/>
                </a:lnTo>
                <a:lnTo>
                  <a:pt x="6349192" y="3539800"/>
                </a:lnTo>
                <a:lnTo>
                  <a:pt x="6347125" y="3594889"/>
                </a:lnTo>
                <a:lnTo>
                  <a:pt x="6346483" y="3652558"/>
                </a:lnTo>
                <a:lnTo>
                  <a:pt x="6347109" y="3710798"/>
                </a:lnTo>
                <a:lnTo>
                  <a:pt x="6349131" y="3766425"/>
                </a:lnTo>
                <a:lnTo>
                  <a:pt x="6352768" y="3819320"/>
                </a:lnTo>
                <a:lnTo>
                  <a:pt x="6358237" y="3869364"/>
                </a:lnTo>
                <a:lnTo>
                  <a:pt x="6365758" y="3916441"/>
                </a:lnTo>
                <a:lnTo>
                  <a:pt x="6375547" y="3960431"/>
                </a:lnTo>
                <a:lnTo>
                  <a:pt x="6387824" y="4001216"/>
                </a:lnTo>
                <a:lnTo>
                  <a:pt x="6402806" y="4038677"/>
                </a:lnTo>
                <a:lnTo>
                  <a:pt x="6420712" y="4072698"/>
                </a:lnTo>
                <a:lnTo>
                  <a:pt x="6466166" y="4129942"/>
                </a:lnTo>
                <a:lnTo>
                  <a:pt x="6525932" y="4172002"/>
                </a:lnTo>
                <a:lnTo>
                  <a:pt x="6561727" y="4187042"/>
                </a:lnTo>
                <a:lnTo>
                  <a:pt x="6601755" y="4197931"/>
                </a:lnTo>
                <a:lnTo>
                  <a:pt x="6646233" y="4204552"/>
                </a:lnTo>
                <a:lnTo>
                  <a:pt x="6695380" y="4206785"/>
                </a:lnTo>
                <a:lnTo>
                  <a:pt x="6695380" y="4303607"/>
                </a:lnTo>
                <a:lnTo>
                  <a:pt x="6641857" y="4301718"/>
                </a:lnTo>
                <a:lnTo>
                  <a:pt x="6592377" y="4296105"/>
                </a:lnTo>
                <a:lnTo>
                  <a:pt x="6546797" y="4286851"/>
                </a:lnTo>
                <a:lnTo>
                  <a:pt x="6504979" y="4274039"/>
                </a:lnTo>
                <a:lnTo>
                  <a:pt x="6466782" y="4257752"/>
                </a:lnTo>
                <a:lnTo>
                  <a:pt x="6432065" y="4238071"/>
                </a:lnTo>
                <a:lnTo>
                  <a:pt x="6400688" y="4215081"/>
                </a:lnTo>
                <a:lnTo>
                  <a:pt x="6372512" y="4188862"/>
                </a:lnTo>
                <a:lnTo>
                  <a:pt x="6347396" y="4159499"/>
                </a:lnTo>
                <a:lnTo>
                  <a:pt x="6325199" y="4127073"/>
                </a:lnTo>
                <a:lnTo>
                  <a:pt x="6305782" y="4091667"/>
                </a:lnTo>
                <a:lnTo>
                  <a:pt x="6289004" y="4053364"/>
                </a:lnTo>
                <a:lnTo>
                  <a:pt x="6274725" y="4012246"/>
                </a:lnTo>
                <a:lnTo>
                  <a:pt x="6262805" y="3968397"/>
                </a:lnTo>
                <a:lnTo>
                  <a:pt x="6253104" y="3921898"/>
                </a:lnTo>
                <a:lnTo>
                  <a:pt x="6245481" y="3872833"/>
                </a:lnTo>
                <a:lnTo>
                  <a:pt x="6239796" y="3821283"/>
                </a:lnTo>
                <a:lnTo>
                  <a:pt x="6235909" y="3767333"/>
                </a:lnTo>
                <a:lnTo>
                  <a:pt x="6233679" y="3711063"/>
                </a:lnTo>
                <a:lnTo>
                  <a:pt x="6232968" y="3652558"/>
                </a:lnTo>
                <a:lnTo>
                  <a:pt x="6233703" y="3594302"/>
                </a:lnTo>
                <a:lnTo>
                  <a:pt x="6235999" y="3538282"/>
                </a:lnTo>
                <a:lnTo>
                  <a:pt x="6239988" y="3484578"/>
                </a:lnTo>
                <a:lnTo>
                  <a:pt x="6245801" y="3433271"/>
                </a:lnTo>
                <a:lnTo>
                  <a:pt x="6253574" y="3384443"/>
                </a:lnTo>
                <a:lnTo>
                  <a:pt x="6263437" y="3338176"/>
                </a:lnTo>
                <a:lnTo>
                  <a:pt x="6275523" y="3294551"/>
                </a:lnTo>
                <a:lnTo>
                  <a:pt x="6289966" y="3253648"/>
                </a:lnTo>
                <a:lnTo>
                  <a:pt x="6306898" y="3215550"/>
                </a:lnTo>
                <a:lnTo>
                  <a:pt x="6326451" y="3180338"/>
                </a:lnTo>
                <a:lnTo>
                  <a:pt x="6348759" y="3148093"/>
                </a:lnTo>
                <a:lnTo>
                  <a:pt x="6373955" y="3118897"/>
                </a:lnTo>
                <a:lnTo>
                  <a:pt x="6402170" y="3092831"/>
                </a:lnTo>
                <a:lnTo>
                  <a:pt x="6433537" y="3069977"/>
                </a:lnTo>
                <a:lnTo>
                  <a:pt x="6468190" y="3050415"/>
                </a:lnTo>
                <a:lnTo>
                  <a:pt x="6506261" y="3034227"/>
                </a:lnTo>
                <a:lnTo>
                  <a:pt x="6547883" y="3021495"/>
                </a:lnTo>
                <a:lnTo>
                  <a:pt x="6593188" y="3012300"/>
                </a:lnTo>
                <a:lnTo>
                  <a:pt x="6642309" y="3006723"/>
                </a:lnTo>
                <a:close/>
                <a:moveTo>
                  <a:pt x="5578527" y="3004847"/>
                </a:moveTo>
                <a:lnTo>
                  <a:pt x="5631597" y="3006723"/>
                </a:lnTo>
                <a:lnTo>
                  <a:pt x="5680718" y="3012300"/>
                </a:lnTo>
                <a:lnTo>
                  <a:pt x="5726023" y="3021495"/>
                </a:lnTo>
                <a:lnTo>
                  <a:pt x="5767645" y="3034227"/>
                </a:lnTo>
                <a:lnTo>
                  <a:pt x="5805716" y="3050415"/>
                </a:lnTo>
                <a:lnTo>
                  <a:pt x="5840369" y="3069977"/>
                </a:lnTo>
                <a:lnTo>
                  <a:pt x="5871736" y="3092831"/>
                </a:lnTo>
                <a:lnTo>
                  <a:pt x="5899951" y="3118897"/>
                </a:lnTo>
                <a:lnTo>
                  <a:pt x="5925147" y="3148093"/>
                </a:lnTo>
                <a:lnTo>
                  <a:pt x="5947455" y="3180338"/>
                </a:lnTo>
                <a:lnTo>
                  <a:pt x="5967008" y="3215550"/>
                </a:lnTo>
                <a:lnTo>
                  <a:pt x="5983940" y="3253648"/>
                </a:lnTo>
                <a:lnTo>
                  <a:pt x="5998383" y="3294551"/>
                </a:lnTo>
                <a:lnTo>
                  <a:pt x="6010470" y="3338176"/>
                </a:lnTo>
                <a:lnTo>
                  <a:pt x="6020333" y="3384443"/>
                </a:lnTo>
                <a:lnTo>
                  <a:pt x="6028105" y="3433271"/>
                </a:lnTo>
                <a:lnTo>
                  <a:pt x="6033919" y="3484578"/>
                </a:lnTo>
                <a:lnTo>
                  <a:pt x="6037907" y="3538282"/>
                </a:lnTo>
                <a:lnTo>
                  <a:pt x="6040203" y="3594302"/>
                </a:lnTo>
                <a:lnTo>
                  <a:pt x="6040939" y="3652558"/>
                </a:lnTo>
                <a:lnTo>
                  <a:pt x="6040239" y="3711063"/>
                </a:lnTo>
                <a:lnTo>
                  <a:pt x="6038042" y="3767333"/>
                </a:lnTo>
                <a:lnTo>
                  <a:pt x="6034206" y="3821283"/>
                </a:lnTo>
                <a:lnTo>
                  <a:pt x="6028585" y="3872833"/>
                </a:lnTo>
                <a:lnTo>
                  <a:pt x="6021037" y="3921898"/>
                </a:lnTo>
                <a:lnTo>
                  <a:pt x="6011416" y="3968397"/>
                </a:lnTo>
                <a:lnTo>
                  <a:pt x="5999579" y="4012246"/>
                </a:lnTo>
                <a:lnTo>
                  <a:pt x="5985382" y="4053364"/>
                </a:lnTo>
                <a:lnTo>
                  <a:pt x="5968682" y="4091667"/>
                </a:lnTo>
                <a:lnTo>
                  <a:pt x="5949333" y="4127073"/>
                </a:lnTo>
                <a:lnTo>
                  <a:pt x="5927192" y="4159499"/>
                </a:lnTo>
                <a:lnTo>
                  <a:pt x="5902115" y="4188862"/>
                </a:lnTo>
                <a:lnTo>
                  <a:pt x="5873958" y="4215081"/>
                </a:lnTo>
                <a:lnTo>
                  <a:pt x="5842577" y="4238071"/>
                </a:lnTo>
                <a:lnTo>
                  <a:pt x="5807829" y="4257752"/>
                </a:lnTo>
                <a:lnTo>
                  <a:pt x="5769568" y="4274039"/>
                </a:lnTo>
                <a:lnTo>
                  <a:pt x="5727651" y="4286851"/>
                </a:lnTo>
                <a:lnTo>
                  <a:pt x="5681935" y="4296105"/>
                </a:lnTo>
                <a:lnTo>
                  <a:pt x="5632275" y="4301718"/>
                </a:lnTo>
                <a:lnTo>
                  <a:pt x="5578527" y="4303607"/>
                </a:lnTo>
                <a:lnTo>
                  <a:pt x="5578527" y="4206785"/>
                </a:lnTo>
                <a:lnTo>
                  <a:pt x="5628212" y="4204552"/>
                </a:lnTo>
                <a:lnTo>
                  <a:pt x="5673133" y="4197931"/>
                </a:lnTo>
                <a:lnTo>
                  <a:pt x="5713515" y="4187042"/>
                </a:lnTo>
                <a:lnTo>
                  <a:pt x="5749586" y="4172002"/>
                </a:lnTo>
                <a:lnTo>
                  <a:pt x="5809697" y="4129942"/>
                </a:lnTo>
                <a:lnTo>
                  <a:pt x="5855277" y="4072698"/>
                </a:lnTo>
                <a:lnTo>
                  <a:pt x="5873182" y="4038677"/>
                </a:lnTo>
                <a:lnTo>
                  <a:pt x="5888134" y="4001216"/>
                </a:lnTo>
                <a:lnTo>
                  <a:pt x="5900358" y="3960431"/>
                </a:lnTo>
                <a:lnTo>
                  <a:pt x="5910081" y="3916441"/>
                </a:lnTo>
                <a:lnTo>
                  <a:pt x="5917528" y="3869364"/>
                </a:lnTo>
                <a:lnTo>
                  <a:pt x="5922927" y="3819320"/>
                </a:lnTo>
                <a:lnTo>
                  <a:pt x="5926503" y="3766425"/>
                </a:lnTo>
                <a:lnTo>
                  <a:pt x="5928482" y="3710798"/>
                </a:lnTo>
                <a:lnTo>
                  <a:pt x="5929092" y="3652558"/>
                </a:lnTo>
                <a:lnTo>
                  <a:pt x="5928450" y="3594889"/>
                </a:lnTo>
                <a:lnTo>
                  <a:pt x="5926380" y="3539800"/>
                </a:lnTo>
                <a:lnTo>
                  <a:pt x="5922670" y="3487407"/>
                </a:lnTo>
                <a:lnTo>
                  <a:pt x="5917104" y="3437831"/>
                </a:lnTo>
                <a:lnTo>
                  <a:pt x="5909469" y="3391187"/>
                </a:lnTo>
                <a:lnTo>
                  <a:pt x="5899551" y="3347596"/>
                </a:lnTo>
                <a:lnTo>
                  <a:pt x="5887135" y="3307175"/>
                </a:lnTo>
                <a:lnTo>
                  <a:pt x="5872008" y="3270043"/>
                </a:lnTo>
                <a:lnTo>
                  <a:pt x="5853955" y="3236317"/>
                </a:lnTo>
                <a:lnTo>
                  <a:pt x="5808217" y="3179558"/>
                </a:lnTo>
                <a:lnTo>
                  <a:pt x="5748208" y="3137845"/>
                </a:lnTo>
                <a:lnTo>
                  <a:pt x="5712316" y="3122926"/>
                </a:lnTo>
                <a:lnTo>
                  <a:pt x="5672215" y="3112123"/>
                </a:lnTo>
                <a:lnTo>
                  <a:pt x="5627690" y="3105555"/>
                </a:lnTo>
                <a:lnTo>
                  <a:pt x="5578527" y="3103339"/>
                </a:lnTo>
                <a:close/>
                <a:moveTo>
                  <a:pt x="5061625" y="3004847"/>
                </a:moveTo>
                <a:lnTo>
                  <a:pt x="5061625" y="3103339"/>
                </a:lnTo>
                <a:lnTo>
                  <a:pt x="5012739" y="3105555"/>
                </a:lnTo>
                <a:lnTo>
                  <a:pt x="4968459" y="3112123"/>
                </a:lnTo>
                <a:lnTo>
                  <a:pt x="4928572" y="3122926"/>
                </a:lnTo>
                <a:lnTo>
                  <a:pt x="4892867" y="3137845"/>
                </a:lnTo>
                <a:lnTo>
                  <a:pt x="4833152" y="3179558"/>
                </a:lnTo>
                <a:lnTo>
                  <a:pt x="4787618" y="3236317"/>
                </a:lnTo>
                <a:lnTo>
                  <a:pt x="4769639" y="3270043"/>
                </a:lnTo>
                <a:lnTo>
                  <a:pt x="4754569" y="3307175"/>
                </a:lnTo>
                <a:lnTo>
                  <a:pt x="4742197" y="3347596"/>
                </a:lnTo>
                <a:lnTo>
                  <a:pt x="4732309" y="3391187"/>
                </a:lnTo>
                <a:lnTo>
                  <a:pt x="4724695" y="3437831"/>
                </a:lnTo>
                <a:lnTo>
                  <a:pt x="4719142" y="3487407"/>
                </a:lnTo>
                <a:lnTo>
                  <a:pt x="4715437" y="3539800"/>
                </a:lnTo>
                <a:lnTo>
                  <a:pt x="4713370" y="3594889"/>
                </a:lnTo>
                <a:lnTo>
                  <a:pt x="4712728" y="3652558"/>
                </a:lnTo>
                <a:lnTo>
                  <a:pt x="4713354" y="3710798"/>
                </a:lnTo>
                <a:lnTo>
                  <a:pt x="4715376" y="3766425"/>
                </a:lnTo>
                <a:lnTo>
                  <a:pt x="4719014" y="3819320"/>
                </a:lnTo>
                <a:lnTo>
                  <a:pt x="4724483" y="3869364"/>
                </a:lnTo>
                <a:lnTo>
                  <a:pt x="4732004" y="3916441"/>
                </a:lnTo>
                <a:lnTo>
                  <a:pt x="4741793" y="3960431"/>
                </a:lnTo>
                <a:lnTo>
                  <a:pt x="4754070" y="4001216"/>
                </a:lnTo>
                <a:lnTo>
                  <a:pt x="4769052" y="4038677"/>
                </a:lnTo>
                <a:lnTo>
                  <a:pt x="4786958" y="4072698"/>
                </a:lnTo>
                <a:lnTo>
                  <a:pt x="4832412" y="4129942"/>
                </a:lnTo>
                <a:lnTo>
                  <a:pt x="4892178" y="4172002"/>
                </a:lnTo>
                <a:lnTo>
                  <a:pt x="4927973" y="4187042"/>
                </a:lnTo>
                <a:lnTo>
                  <a:pt x="4968000" y="4197931"/>
                </a:lnTo>
                <a:lnTo>
                  <a:pt x="5012478" y="4204552"/>
                </a:lnTo>
                <a:lnTo>
                  <a:pt x="5061625" y="4206785"/>
                </a:lnTo>
                <a:lnTo>
                  <a:pt x="5061625" y="4303607"/>
                </a:lnTo>
                <a:lnTo>
                  <a:pt x="5008102" y="4301718"/>
                </a:lnTo>
                <a:lnTo>
                  <a:pt x="4958622" y="4296105"/>
                </a:lnTo>
                <a:lnTo>
                  <a:pt x="4913043" y="4286851"/>
                </a:lnTo>
                <a:lnTo>
                  <a:pt x="4871225" y="4274039"/>
                </a:lnTo>
                <a:lnTo>
                  <a:pt x="4833027" y="4257752"/>
                </a:lnTo>
                <a:lnTo>
                  <a:pt x="4798310" y="4238071"/>
                </a:lnTo>
                <a:lnTo>
                  <a:pt x="4766934" y="4215081"/>
                </a:lnTo>
                <a:lnTo>
                  <a:pt x="4738758" y="4188862"/>
                </a:lnTo>
                <a:lnTo>
                  <a:pt x="4713641" y="4159499"/>
                </a:lnTo>
                <a:lnTo>
                  <a:pt x="4691444" y="4127073"/>
                </a:lnTo>
                <a:lnTo>
                  <a:pt x="4672027" y="4091667"/>
                </a:lnTo>
                <a:lnTo>
                  <a:pt x="4655249" y="4053364"/>
                </a:lnTo>
                <a:lnTo>
                  <a:pt x="4640970" y="4012246"/>
                </a:lnTo>
                <a:lnTo>
                  <a:pt x="4629050" y="3968397"/>
                </a:lnTo>
                <a:lnTo>
                  <a:pt x="4619349" y="3921898"/>
                </a:lnTo>
                <a:lnTo>
                  <a:pt x="4611726" y="3872833"/>
                </a:lnTo>
                <a:lnTo>
                  <a:pt x="4606041" y="3821283"/>
                </a:lnTo>
                <a:lnTo>
                  <a:pt x="4602154" y="3767333"/>
                </a:lnTo>
                <a:lnTo>
                  <a:pt x="4599924" y="3711063"/>
                </a:lnTo>
                <a:lnTo>
                  <a:pt x="4599213" y="3652558"/>
                </a:lnTo>
                <a:lnTo>
                  <a:pt x="4599948" y="3594302"/>
                </a:lnTo>
                <a:lnTo>
                  <a:pt x="4602244" y="3538282"/>
                </a:lnTo>
                <a:lnTo>
                  <a:pt x="4606233" y="3484578"/>
                </a:lnTo>
                <a:lnTo>
                  <a:pt x="4612046" y="3433271"/>
                </a:lnTo>
                <a:lnTo>
                  <a:pt x="4619819" y="3384443"/>
                </a:lnTo>
                <a:lnTo>
                  <a:pt x="4629682" y="3338176"/>
                </a:lnTo>
                <a:lnTo>
                  <a:pt x="4641768" y="3294551"/>
                </a:lnTo>
                <a:lnTo>
                  <a:pt x="4656211" y="3253648"/>
                </a:lnTo>
                <a:lnTo>
                  <a:pt x="4673143" y="3215550"/>
                </a:lnTo>
                <a:lnTo>
                  <a:pt x="4692696" y="3180338"/>
                </a:lnTo>
                <a:lnTo>
                  <a:pt x="4715004" y="3148093"/>
                </a:lnTo>
                <a:lnTo>
                  <a:pt x="4740200" y="3118897"/>
                </a:lnTo>
                <a:lnTo>
                  <a:pt x="4768415" y="3092831"/>
                </a:lnTo>
                <a:lnTo>
                  <a:pt x="4799783" y="3069977"/>
                </a:lnTo>
                <a:lnTo>
                  <a:pt x="4834436" y="3050415"/>
                </a:lnTo>
                <a:lnTo>
                  <a:pt x="4872507" y="3034227"/>
                </a:lnTo>
                <a:lnTo>
                  <a:pt x="4914128" y="3021495"/>
                </a:lnTo>
                <a:lnTo>
                  <a:pt x="4959433" y="3012300"/>
                </a:lnTo>
                <a:lnTo>
                  <a:pt x="5008555" y="3006723"/>
                </a:lnTo>
                <a:close/>
                <a:moveTo>
                  <a:pt x="887436" y="3004847"/>
                </a:moveTo>
                <a:lnTo>
                  <a:pt x="887436" y="3103339"/>
                </a:lnTo>
                <a:lnTo>
                  <a:pt x="838550" y="3105555"/>
                </a:lnTo>
                <a:lnTo>
                  <a:pt x="794269" y="3112123"/>
                </a:lnTo>
                <a:lnTo>
                  <a:pt x="754383" y="3122926"/>
                </a:lnTo>
                <a:lnTo>
                  <a:pt x="718677" y="3137845"/>
                </a:lnTo>
                <a:lnTo>
                  <a:pt x="658962" y="3179558"/>
                </a:lnTo>
                <a:lnTo>
                  <a:pt x="613427" y="3236317"/>
                </a:lnTo>
                <a:lnTo>
                  <a:pt x="595448" y="3270043"/>
                </a:lnTo>
                <a:lnTo>
                  <a:pt x="580378" y="3307175"/>
                </a:lnTo>
                <a:lnTo>
                  <a:pt x="568006" y="3347596"/>
                </a:lnTo>
                <a:lnTo>
                  <a:pt x="558118" y="3391187"/>
                </a:lnTo>
                <a:lnTo>
                  <a:pt x="550504" y="3437831"/>
                </a:lnTo>
                <a:lnTo>
                  <a:pt x="544951" y="3487407"/>
                </a:lnTo>
                <a:lnTo>
                  <a:pt x="541247" y="3539800"/>
                </a:lnTo>
                <a:lnTo>
                  <a:pt x="539180" y="3594889"/>
                </a:lnTo>
                <a:lnTo>
                  <a:pt x="538538" y="3652558"/>
                </a:lnTo>
                <a:lnTo>
                  <a:pt x="539164" y="3710798"/>
                </a:lnTo>
                <a:lnTo>
                  <a:pt x="541186" y="3766425"/>
                </a:lnTo>
                <a:lnTo>
                  <a:pt x="544823" y="3819320"/>
                </a:lnTo>
                <a:lnTo>
                  <a:pt x="550292" y="3869364"/>
                </a:lnTo>
                <a:lnTo>
                  <a:pt x="557813" y="3916441"/>
                </a:lnTo>
                <a:lnTo>
                  <a:pt x="567602" y="3960431"/>
                </a:lnTo>
                <a:lnTo>
                  <a:pt x="579880" y="4001216"/>
                </a:lnTo>
                <a:lnTo>
                  <a:pt x="594862" y="4038677"/>
                </a:lnTo>
                <a:lnTo>
                  <a:pt x="612768" y="4072698"/>
                </a:lnTo>
                <a:lnTo>
                  <a:pt x="658222" y="4129942"/>
                </a:lnTo>
                <a:lnTo>
                  <a:pt x="717988" y="4172002"/>
                </a:lnTo>
                <a:lnTo>
                  <a:pt x="753783" y="4187042"/>
                </a:lnTo>
                <a:lnTo>
                  <a:pt x="793811" y="4197931"/>
                </a:lnTo>
                <a:lnTo>
                  <a:pt x="838289" y="4204552"/>
                </a:lnTo>
                <a:lnTo>
                  <a:pt x="887436" y="4206785"/>
                </a:lnTo>
                <a:lnTo>
                  <a:pt x="887436" y="4303607"/>
                </a:lnTo>
                <a:lnTo>
                  <a:pt x="833914" y="4301718"/>
                </a:lnTo>
                <a:lnTo>
                  <a:pt x="784433" y="4296105"/>
                </a:lnTo>
                <a:lnTo>
                  <a:pt x="738854" y="4286851"/>
                </a:lnTo>
                <a:lnTo>
                  <a:pt x="697035" y="4274039"/>
                </a:lnTo>
                <a:lnTo>
                  <a:pt x="658838" y="4257752"/>
                </a:lnTo>
                <a:lnTo>
                  <a:pt x="624121" y="4238071"/>
                </a:lnTo>
                <a:lnTo>
                  <a:pt x="592745" y="4215081"/>
                </a:lnTo>
                <a:lnTo>
                  <a:pt x="564568" y="4188862"/>
                </a:lnTo>
                <a:lnTo>
                  <a:pt x="539451" y="4159499"/>
                </a:lnTo>
                <a:lnTo>
                  <a:pt x="517255" y="4127073"/>
                </a:lnTo>
                <a:lnTo>
                  <a:pt x="497837" y="4091667"/>
                </a:lnTo>
                <a:lnTo>
                  <a:pt x="481060" y="4053364"/>
                </a:lnTo>
                <a:lnTo>
                  <a:pt x="466781" y="4012246"/>
                </a:lnTo>
                <a:lnTo>
                  <a:pt x="454861" y="3968397"/>
                </a:lnTo>
                <a:lnTo>
                  <a:pt x="445159" y="3921898"/>
                </a:lnTo>
                <a:lnTo>
                  <a:pt x="437536" y="3872833"/>
                </a:lnTo>
                <a:lnTo>
                  <a:pt x="431851" y="3821283"/>
                </a:lnTo>
                <a:lnTo>
                  <a:pt x="427964" y="3767333"/>
                </a:lnTo>
                <a:lnTo>
                  <a:pt x="425734" y="3711063"/>
                </a:lnTo>
                <a:lnTo>
                  <a:pt x="425023" y="3652558"/>
                </a:lnTo>
                <a:lnTo>
                  <a:pt x="425758" y="3594302"/>
                </a:lnTo>
                <a:lnTo>
                  <a:pt x="428054" y="3538282"/>
                </a:lnTo>
                <a:lnTo>
                  <a:pt x="432043" y="3484578"/>
                </a:lnTo>
                <a:lnTo>
                  <a:pt x="437856" y="3433271"/>
                </a:lnTo>
                <a:lnTo>
                  <a:pt x="445629" y="3384443"/>
                </a:lnTo>
                <a:lnTo>
                  <a:pt x="455492" y="3338176"/>
                </a:lnTo>
                <a:lnTo>
                  <a:pt x="467578" y="3294551"/>
                </a:lnTo>
                <a:lnTo>
                  <a:pt x="482021" y="3253648"/>
                </a:lnTo>
                <a:lnTo>
                  <a:pt x="498953" y="3215550"/>
                </a:lnTo>
                <a:lnTo>
                  <a:pt x="518506" y="3180338"/>
                </a:lnTo>
                <a:lnTo>
                  <a:pt x="540814" y="3148093"/>
                </a:lnTo>
                <a:lnTo>
                  <a:pt x="566010" y="3118897"/>
                </a:lnTo>
                <a:lnTo>
                  <a:pt x="594226" y="3092831"/>
                </a:lnTo>
                <a:lnTo>
                  <a:pt x="625592" y="3069977"/>
                </a:lnTo>
                <a:lnTo>
                  <a:pt x="660246" y="3050415"/>
                </a:lnTo>
                <a:lnTo>
                  <a:pt x="698317" y="3034227"/>
                </a:lnTo>
                <a:lnTo>
                  <a:pt x="739939" y="3021495"/>
                </a:lnTo>
                <a:lnTo>
                  <a:pt x="785244" y="3012300"/>
                </a:lnTo>
                <a:lnTo>
                  <a:pt x="834365" y="3006723"/>
                </a:lnTo>
                <a:close/>
                <a:moveTo>
                  <a:pt x="7060934" y="2524077"/>
                </a:moveTo>
                <a:lnTo>
                  <a:pt x="7267935" y="2524077"/>
                </a:lnTo>
                <a:lnTo>
                  <a:pt x="7267935" y="2697690"/>
                </a:lnTo>
                <a:lnTo>
                  <a:pt x="7060934" y="2697690"/>
                </a:lnTo>
                <a:close/>
                <a:moveTo>
                  <a:pt x="2536338" y="2373825"/>
                </a:moveTo>
                <a:lnTo>
                  <a:pt x="3441128" y="2373825"/>
                </a:lnTo>
                <a:lnTo>
                  <a:pt x="3441128" y="2480664"/>
                </a:lnTo>
                <a:lnTo>
                  <a:pt x="2536338" y="2480664"/>
                </a:lnTo>
                <a:close/>
                <a:moveTo>
                  <a:pt x="1024388" y="2373825"/>
                </a:moveTo>
                <a:lnTo>
                  <a:pt x="1929180" y="2373825"/>
                </a:lnTo>
                <a:lnTo>
                  <a:pt x="1929180" y="2480664"/>
                </a:lnTo>
                <a:lnTo>
                  <a:pt x="1024388" y="2480664"/>
                </a:lnTo>
                <a:close/>
                <a:moveTo>
                  <a:pt x="2536338" y="2024932"/>
                </a:moveTo>
                <a:lnTo>
                  <a:pt x="3441128" y="2024932"/>
                </a:lnTo>
                <a:lnTo>
                  <a:pt x="3441128" y="2131770"/>
                </a:lnTo>
                <a:lnTo>
                  <a:pt x="2536338" y="2131770"/>
                </a:lnTo>
                <a:close/>
                <a:moveTo>
                  <a:pt x="1024388" y="2024932"/>
                </a:moveTo>
                <a:lnTo>
                  <a:pt x="1929180" y="2024932"/>
                </a:lnTo>
                <a:lnTo>
                  <a:pt x="1929180" y="2131770"/>
                </a:lnTo>
                <a:lnTo>
                  <a:pt x="1024388" y="2131770"/>
                </a:lnTo>
                <a:close/>
                <a:moveTo>
                  <a:pt x="6145468" y="1508808"/>
                </a:moveTo>
                <a:lnTo>
                  <a:pt x="6519394" y="1508808"/>
                </a:lnTo>
                <a:lnTo>
                  <a:pt x="6519394" y="1604058"/>
                </a:lnTo>
                <a:lnTo>
                  <a:pt x="6260644" y="1604058"/>
                </a:lnTo>
                <a:lnTo>
                  <a:pt x="6260644" y="2702607"/>
                </a:lnTo>
                <a:lnTo>
                  <a:pt x="6519394" y="2702607"/>
                </a:lnTo>
                <a:lnTo>
                  <a:pt x="6519394" y="2797857"/>
                </a:lnTo>
                <a:lnTo>
                  <a:pt x="6145468" y="2797857"/>
                </a:lnTo>
                <a:lnTo>
                  <a:pt x="6145468" y="2702607"/>
                </a:lnTo>
                <a:lnTo>
                  <a:pt x="6145468" y="1604058"/>
                </a:lnTo>
                <a:close/>
                <a:moveTo>
                  <a:pt x="7804510" y="1502430"/>
                </a:moveTo>
                <a:lnTo>
                  <a:pt x="7857580" y="1504306"/>
                </a:lnTo>
                <a:lnTo>
                  <a:pt x="7906701" y="1509883"/>
                </a:lnTo>
                <a:lnTo>
                  <a:pt x="7952006" y="1519078"/>
                </a:lnTo>
                <a:lnTo>
                  <a:pt x="7993628" y="1531810"/>
                </a:lnTo>
                <a:lnTo>
                  <a:pt x="8031699" y="1547998"/>
                </a:lnTo>
                <a:lnTo>
                  <a:pt x="8066352" y="1567559"/>
                </a:lnTo>
                <a:lnTo>
                  <a:pt x="8097719" y="1590414"/>
                </a:lnTo>
                <a:lnTo>
                  <a:pt x="8125934" y="1616479"/>
                </a:lnTo>
                <a:lnTo>
                  <a:pt x="8151130" y="1645676"/>
                </a:lnTo>
                <a:lnTo>
                  <a:pt x="8173438" y="1677921"/>
                </a:lnTo>
                <a:lnTo>
                  <a:pt x="8192991" y="1713133"/>
                </a:lnTo>
                <a:lnTo>
                  <a:pt x="8209923" y="1751231"/>
                </a:lnTo>
                <a:lnTo>
                  <a:pt x="8224366" y="1792133"/>
                </a:lnTo>
                <a:lnTo>
                  <a:pt x="8236453" y="1835759"/>
                </a:lnTo>
                <a:lnTo>
                  <a:pt x="8246316" y="1882026"/>
                </a:lnTo>
                <a:lnTo>
                  <a:pt x="8254088" y="1930854"/>
                </a:lnTo>
                <a:lnTo>
                  <a:pt x="8259902" y="1982160"/>
                </a:lnTo>
                <a:lnTo>
                  <a:pt x="8263890" y="2035865"/>
                </a:lnTo>
                <a:lnTo>
                  <a:pt x="8266186" y="2091886"/>
                </a:lnTo>
                <a:lnTo>
                  <a:pt x="8266922" y="2150141"/>
                </a:lnTo>
                <a:lnTo>
                  <a:pt x="8266222" y="2208645"/>
                </a:lnTo>
                <a:lnTo>
                  <a:pt x="8264025" y="2264915"/>
                </a:lnTo>
                <a:lnTo>
                  <a:pt x="8260189" y="2318865"/>
                </a:lnTo>
                <a:lnTo>
                  <a:pt x="8254568" y="2370415"/>
                </a:lnTo>
                <a:lnTo>
                  <a:pt x="8247020" y="2419480"/>
                </a:lnTo>
                <a:lnTo>
                  <a:pt x="8237399" y="2465979"/>
                </a:lnTo>
                <a:lnTo>
                  <a:pt x="8225562" y="2509828"/>
                </a:lnTo>
                <a:lnTo>
                  <a:pt x="8211365" y="2550946"/>
                </a:lnTo>
                <a:lnTo>
                  <a:pt x="8194665" y="2589249"/>
                </a:lnTo>
                <a:lnTo>
                  <a:pt x="8175316" y="2624655"/>
                </a:lnTo>
                <a:lnTo>
                  <a:pt x="8153175" y="2657081"/>
                </a:lnTo>
                <a:lnTo>
                  <a:pt x="8128098" y="2686444"/>
                </a:lnTo>
                <a:lnTo>
                  <a:pt x="8099941" y="2712663"/>
                </a:lnTo>
                <a:lnTo>
                  <a:pt x="8068560" y="2735653"/>
                </a:lnTo>
                <a:lnTo>
                  <a:pt x="8033812" y="2755334"/>
                </a:lnTo>
                <a:lnTo>
                  <a:pt x="7995551" y="2771621"/>
                </a:lnTo>
                <a:lnTo>
                  <a:pt x="7953634" y="2784433"/>
                </a:lnTo>
                <a:lnTo>
                  <a:pt x="7907918" y="2793687"/>
                </a:lnTo>
                <a:lnTo>
                  <a:pt x="7858258" y="2799300"/>
                </a:lnTo>
                <a:lnTo>
                  <a:pt x="7804510" y="2801189"/>
                </a:lnTo>
                <a:lnTo>
                  <a:pt x="7804510" y="2704367"/>
                </a:lnTo>
                <a:lnTo>
                  <a:pt x="7854195" y="2702134"/>
                </a:lnTo>
                <a:lnTo>
                  <a:pt x="7899116" y="2695513"/>
                </a:lnTo>
                <a:lnTo>
                  <a:pt x="7939498" y="2684624"/>
                </a:lnTo>
                <a:lnTo>
                  <a:pt x="7975569" y="2669584"/>
                </a:lnTo>
                <a:lnTo>
                  <a:pt x="8035680" y="2627524"/>
                </a:lnTo>
                <a:lnTo>
                  <a:pt x="8081260" y="2570280"/>
                </a:lnTo>
                <a:lnTo>
                  <a:pt x="8099165" y="2536259"/>
                </a:lnTo>
                <a:lnTo>
                  <a:pt x="8114117" y="2498797"/>
                </a:lnTo>
                <a:lnTo>
                  <a:pt x="8126341" y="2458012"/>
                </a:lnTo>
                <a:lnTo>
                  <a:pt x="8136064" y="2414022"/>
                </a:lnTo>
                <a:lnTo>
                  <a:pt x="8143511" y="2366946"/>
                </a:lnTo>
                <a:lnTo>
                  <a:pt x="8148910" y="2316901"/>
                </a:lnTo>
                <a:lnTo>
                  <a:pt x="8152486" y="2264006"/>
                </a:lnTo>
                <a:lnTo>
                  <a:pt x="8154465" y="2208380"/>
                </a:lnTo>
                <a:lnTo>
                  <a:pt x="8155075" y="2150141"/>
                </a:lnTo>
                <a:lnTo>
                  <a:pt x="8154433" y="2092472"/>
                </a:lnTo>
                <a:lnTo>
                  <a:pt x="8152363" y="2037383"/>
                </a:lnTo>
                <a:lnTo>
                  <a:pt x="8148653" y="1984990"/>
                </a:lnTo>
                <a:lnTo>
                  <a:pt x="8143087" y="1935414"/>
                </a:lnTo>
                <a:lnTo>
                  <a:pt x="8135452" y="1888770"/>
                </a:lnTo>
                <a:lnTo>
                  <a:pt x="8125534" y="1845179"/>
                </a:lnTo>
                <a:lnTo>
                  <a:pt x="8113118" y="1804759"/>
                </a:lnTo>
                <a:lnTo>
                  <a:pt x="8097991" y="1767626"/>
                </a:lnTo>
                <a:lnTo>
                  <a:pt x="8079938" y="1733900"/>
                </a:lnTo>
                <a:lnTo>
                  <a:pt x="8034200" y="1677141"/>
                </a:lnTo>
                <a:lnTo>
                  <a:pt x="7974191" y="1635428"/>
                </a:lnTo>
                <a:lnTo>
                  <a:pt x="7938299" y="1620509"/>
                </a:lnTo>
                <a:lnTo>
                  <a:pt x="7898198" y="1609705"/>
                </a:lnTo>
                <a:lnTo>
                  <a:pt x="7853673" y="1603138"/>
                </a:lnTo>
                <a:lnTo>
                  <a:pt x="7804510" y="1600921"/>
                </a:lnTo>
                <a:close/>
                <a:moveTo>
                  <a:pt x="5032599" y="1502430"/>
                </a:moveTo>
                <a:lnTo>
                  <a:pt x="5085669" y="1504306"/>
                </a:lnTo>
                <a:lnTo>
                  <a:pt x="5134790" y="1509883"/>
                </a:lnTo>
                <a:lnTo>
                  <a:pt x="5180096" y="1519078"/>
                </a:lnTo>
                <a:lnTo>
                  <a:pt x="5221718" y="1531810"/>
                </a:lnTo>
                <a:lnTo>
                  <a:pt x="5259789" y="1547998"/>
                </a:lnTo>
                <a:lnTo>
                  <a:pt x="5294442" y="1567559"/>
                </a:lnTo>
                <a:lnTo>
                  <a:pt x="5325809" y="1590414"/>
                </a:lnTo>
                <a:lnTo>
                  <a:pt x="5354024" y="1616479"/>
                </a:lnTo>
                <a:lnTo>
                  <a:pt x="5379220" y="1645676"/>
                </a:lnTo>
                <a:lnTo>
                  <a:pt x="5401528" y="1677921"/>
                </a:lnTo>
                <a:lnTo>
                  <a:pt x="5421081" y="1713133"/>
                </a:lnTo>
                <a:lnTo>
                  <a:pt x="5438013" y="1751231"/>
                </a:lnTo>
                <a:lnTo>
                  <a:pt x="5452456" y="1792133"/>
                </a:lnTo>
                <a:lnTo>
                  <a:pt x="5464543" y="1835759"/>
                </a:lnTo>
                <a:lnTo>
                  <a:pt x="5474406" y="1882026"/>
                </a:lnTo>
                <a:lnTo>
                  <a:pt x="5482178" y="1930854"/>
                </a:lnTo>
                <a:lnTo>
                  <a:pt x="5487992" y="1982160"/>
                </a:lnTo>
                <a:lnTo>
                  <a:pt x="5491980" y="2035865"/>
                </a:lnTo>
                <a:lnTo>
                  <a:pt x="5494276" y="2091886"/>
                </a:lnTo>
                <a:lnTo>
                  <a:pt x="5495012" y="2150141"/>
                </a:lnTo>
                <a:lnTo>
                  <a:pt x="5494312" y="2208645"/>
                </a:lnTo>
                <a:lnTo>
                  <a:pt x="5492115" y="2264915"/>
                </a:lnTo>
                <a:lnTo>
                  <a:pt x="5488279" y="2318865"/>
                </a:lnTo>
                <a:lnTo>
                  <a:pt x="5482658" y="2370415"/>
                </a:lnTo>
                <a:lnTo>
                  <a:pt x="5475110" y="2419480"/>
                </a:lnTo>
                <a:lnTo>
                  <a:pt x="5465489" y="2465979"/>
                </a:lnTo>
                <a:lnTo>
                  <a:pt x="5453652" y="2509828"/>
                </a:lnTo>
                <a:lnTo>
                  <a:pt x="5439455" y="2550946"/>
                </a:lnTo>
                <a:lnTo>
                  <a:pt x="5422755" y="2589249"/>
                </a:lnTo>
                <a:lnTo>
                  <a:pt x="5403406" y="2624655"/>
                </a:lnTo>
                <a:lnTo>
                  <a:pt x="5381265" y="2657081"/>
                </a:lnTo>
                <a:lnTo>
                  <a:pt x="5356188" y="2686444"/>
                </a:lnTo>
                <a:lnTo>
                  <a:pt x="5328031" y="2712663"/>
                </a:lnTo>
                <a:lnTo>
                  <a:pt x="5296650" y="2735653"/>
                </a:lnTo>
                <a:lnTo>
                  <a:pt x="5261902" y="2755334"/>
                </a:lnTo>
                <a:lnTo>
                  <a:pt x="5223641" y="2771621"/>
                </a:lnTo>
                <a:lnTo>
                  <a:pt x="5181724" y="2784433"/>
                </a:lnTo>
                <a:lnTo>
                  <a:pt x="5136007" y="2793687"/>
                </a:lnTo>
                <a:lnTo>
                  <a:pt x="5086347" y="2799300"/>
                </a:lnTo>
                <a:lnTo>
                  <a:pt x="5032599" y="2801189"/>
                </a:lnTo>
                <a:lnTo>
                  <a:pt x="5032599" y="2704367"/>
                </a:lnTo>
                <a:lnTo>
                  <a:pt x="5082284" y="2702134"/>
                </a:lnTo>
                <a:lnTo>
                  <a:pt x="5127205" y="2695513"/>
                </a:lnTo>
                <a:lnTo>
                  <a:pt x="5167588" y="2684624"/>
                </a:lnTo>
                <a:lnTo>
                  <a:pt x="5203659" y="2669584"/>
                </a:lnTo>
                <a:lnTo>
                  <a:pt x="5263770" y="2627524"/>
                </a:lnTo>
                <a:lnTo>
                  <a:pt x="5309350" y="2570280"/>
                </a:lnTo>
                <a:lnTo>
                  <a:pt x="5327255" y="2536259"/>
                </a:lnTo>
                <a:lnTo>
                  <a:pt x="5342207" y="2498797"/>
                </a:lnTo>
                <a:lnTo>
                  <a:pt x="5354431" y="2458012"/>
                </a:lnTo>
                <a:lnTo>
                  <a:pt x="5364154" y="2414022"/>
                </a:lnTo>
                <a:lnTo>
                  <a:pt x="5371601" y="2366946"/>
                </a:lnTo>
                <a:lnTo>
                  <a:pt x="5377000" y="2316901"/>
                </a:lnTo>
                <a:lnTo>
                  <a:pt x="5380576" y="2264006"/>
                </a:lnTo>
                <a:lnTo>
                  <a:pt x="5382555" y="2208380"/>
                </a:lnTo>
                <a:lnTo>
                  <a:pt x="5383165" y="2150141"/>
                </a:lnTo>
                <a:lnTo>
                  <a:pt x="5382523" y="2092472"/>
                </a:lnTo>
                <a:lnTo>
                  <a:pt x="5380453" y="2037383"/>
                </a:lnTo>
                <a:lnTo>
                  <a:pt x="5376743" y="1984990"/>
                </a:lnTo>
                <a:lnTo>
                  <a:pt x="5371177" y="1935414"/>
                </a:lnTo>
                <a:lnTo>
                  <a:pt x="5363542" y="1888770"/>
                </a:lnTo>
                <a:lnTo>
                  <a:pt x="5353624" y="1845179"/>
                </a:lnTo>
                <a:lnTo>
                  <a:pt x="5341208" y="1804759"/>
                </a:lnTo>
                <a:lnTo>
                  <a:pt x="5326081" y="1767626"/>
                </a:lnTo>
                <a:lnTo>
                  <a:pt x="5308028" y="1733900"/>
                </a:lnTo>
                <a:lnTo>
                  <a:pt x="5262290" y="1677141"/>
                </a:lnTo>
                <a:lnTo>
                  <a:pt x="5202281" y="1635428"/>
                </a:lnTo>
                <a:lnTo>
                  <a:pt x="5166389" y="1620509"/>
                </a:lnTo>
                <a:lnTo>
                  <a:pt x="5126287" y="1609705"/>
                </a:lnTo>
                <a:lnTo>
                  <a:pt x="5081762" y="1603138"/>
                </a:lnTo>
                <a:lnTo>
                  <a:pt x="5032599" y="1600921"/>
                </a:lnTo>
                <a:close/>
                <a:moveTo>
                  <a:pt x="4515699" y="1502430"/>
                </a:moveTo>
                <a:lnTo>
                  <a:pt x="4515699" y="1600921"/>
                </a:lnTo>
                <a:lnTo>
                  <a:pt x="4466813" y="1603138"/>
                </a:lnTo>
                <a:lnTo>
                  <a:pt x="4422532" y="1609705"/>
                </a:lnTo>
                <a:lnTo>
                  <a:pt x="4382646" y="1620509"/>
                </a:lnTo>
                <a:lnTo>
                  <a:pt x="4346940" y="1635428"/>
                </a:lnTo>
                <a:lnTo>
                  <a:pt x="4287225" y="1677141"/>
                </a:lnTo>
                <a:lnTo>
                  <a:pt x="4241691" y="1733900"/>
                </a:lnTo>
                <a:lnTo>
                  <a:pt x="4223712" y="1767626"/>
                </a:lnTo>
                <a:lnTo>
                  <a:pt x="4208642" y="1804759"/>
                </a:lnTo>
                <a:lnTo>
                  <a:pt x="4196270" y="1845179"/>
                </a:lnTo>
                <a:lnTo>
                  <a:pt x="4186382" y="1888770"/>
                </a:lnTo>
                <a:lnTo>
                  <a:pt x="4178768" y="1935414"/>
                </a:lnTo>
                <a:lnTo>
                  <a:pt x="4173215" y="1984990"/>
                </a:lnTo>
                <a:lnTo>
                  <a:pt x="4169510" y="2037383"/>
                </a:lnTo>
                <a:lnTo>
                  <a:pt x="4167443" y="2092472"/>
                </a:lnTo>
                <a:lnTo>
                  <a:pt x="4166801" y="2150141"/>
                </a:lnTo>
                <a:lnTo>
                  <a:pt x="4167427" y="2208380"/>
                </a:lnTo>
                <a:lnTo>
                  <a:pt x="4169449" y="2264006"/>
                </a:lnTo>
                <a:lnTo>
                  <a:pt x="4173087" y="2316901"/>
                </a:lnTo>
                <a:lnTo>
                  <a:pt x="4178556" y="2366946"/>
                </a:lnTo>
                <a:lnTo>
                  <a:pt x="4186077" y="2414022"/>
                </a:lnTo>
                <a:lnTo>
                  <a:pt x="4195866" y="2458012"/>
                </a:lnTo>
                <a:lnTo>
                  <a:pt x="4208143" y="2498797"/>
                </a:lnTo>
                <a:lnTo>
                  <a:pt x="4223125" y="2536259"/>
                </a:lnTo>
                <a:lnTo>
                  <a:pt x="4241031" y="2570280"/>
                </a:lnTo>
                <a:lnTo>
                  <a:pt x="4286485" y="2627524"/>
                </a:lnTo>
                <a:lnTo>
                  <a:pt x="4346251" y="2669584"/>
                </a:lnTo>
                <a:lnTo>
                  <a:pt x="4382046" y="2684624"/>
                </a:lnTo>
                <a:lnTo>
                  <a:pt x="4422074" y="2695513"/>
                </a:lnTo>
                <a:lnTo>
                  <a:pt x="4466552" y="2702134"/>
                </a:lnTo>
                <a:lnTo>
                  <a:pt x="4515699" y="2704367"/>
                </a:lnTo>
                <a:lnTo>
                  <a:pt x="4515699" y="2801189"/>
                </a:lnTo>
                <a:lnTo>
                  <a:pt x="4462176" y="2799300"/>
                </a:lnTo>
                <a:lnTo>
                  <a:pt x="4412696" y="2793687"/>
                </a:lnTo>
                <a:lnTo>
                  <a:pt x="4367116" y="2784433"/>
                </a:lnTo>
                <a:lnTo>
                  <a:pt x="4325298" y="2771621"/>
                </a:lnTo>
                <a:lnTo>
                  <a:pt x="4287101" y="2755334"/>
                </a:lnTo>
                <a:lnTo>
                  <a:pt x="4252384" y="2735653"/>
                </a:lnTo>
                <a:lnTo>
                  <a:pt x="4221007" y="2712663"/>
                </a:lnTo>
                <a:lnTo>
                  <a:pt x="4192831" y="2686444"/>
                </a:lnTo>
                <a:lnTo>
                  <a:pt x="4167714" y="2657081"/>
                </a:lnTo>
                <a:lnTo>
                  <a:pt x="4145517" y="2624655"/>
                </a:lnTo>
                <a:lnTo>
                  <a:pt x="4126100" y="2589249"/>
                </a:lnTo>
                <a:lnTo>
                  <a:pt x="4109322" y="2550946"/>
                </a:lnTo>
                <a:lnTo>
                  <a:pt x="4095043" y="2509828"/>
                </a:lnTo>
                <a:lnTo>
                  <a:pt x="4083123" y="2465979"/>
                </a:lnTo>
                <a:lnTo>
                  <a:pt x="4073422" y="2419480"/>
                </a:lnTo>
                <a:lnTo>
                  <a:pt x="4065799" y="2370415"/>
                </a:lnTo>
                <a:lnTo>
                  <a:pt x="4060114" y="2318865"/>
                </a:lnTo>
                <a:lnTo>
                  <a:pt x="4056227" y="2264915"/>
                </a:lnTo>
                <a:lnTo>
                  <a:pt x="4053997" y="2208645"/>
                </a:lnTo>
                <a:lnTo>
                  <a:pt x="4053286" y="2150141"/>
                </a:lnTo>
                <a:lnTo>
                  <a:pt x="4054021" y="2091886"/>
                </a:lnTo>
                <a:lnTo>
                  <a:pt x="4056317" y="2035865"/>
                </a:lnTo>
                <a:lnTo>
                  <a:pt x="4060306" y="1982160"/>
                </a:lnTo>
                <a:lnTo>
                  <a:pt x="4066119" y="1930854"/>
                </a:lnTo>
                <a:lnTo>
                  <a:pt x="4073892" y="1882026"/>
                </a:lnTo>
                <a:lnTo>
                  <a:pt x="4083755" y="1835759"/>
                </a:lnTo>
                <a:lnTo>
                  <a:pt x="4095841" y="1792133"/>
                </a:lnTo>
                <a:lnTo>
                  <a:pt x="4110284" y="1751231"/>
                </a:lnTo>
                <a:lnTo>
                  <a:pt x="4127216" y="1713133"/>
                </a:lnTo>
                <a:lnTo>
                  <a:pt x="4146769" y="1677921"/>
                </a:lnTo>
                <a:lnTo>
                  <a:pt x="4169077" y="1645676"/>
                </a:lnTo>
                <a:lnTo>
                  <a:pt x="4194274" y="1616479"/>
                </a:lnTo>
                <a:lnTo>
                  <a:pt x="4222489" y="1590414"/>
                </a:lnTo>
                <a:lnTo>
                  <a:pt x="4253856" y="1567559"/>
                </a:lnTo>
                <a:lnTo>
                  <a:pt x="4288509" y="1547998"/>
                </a:lnTo>
                <a:lnTo>
                  <a:pt x="4326580" y="1531810"/>
                </a:lnTo>
                <a:lnTo>
                  <a:pt x="4368202" y="1519078"/>
                </a:lnTo>
                <a:lnTo>
                  <a:pt x="4413507" y="1509883"/>
                </a:lnTo>
                <a:lnTo>
                  <a:pt x="4462628" y="1504306"/>
                </a:lnTo>
                <a:close/>
                <a:moveTo>
                  <a:pt x="462412" y="1502430"/>
                </a:moveTo>
                <a:lnTo>
                  <a:pt x="462412" y="1600921"/>
                </a:lnTo>
                <a:lnTo>
                  <a:pt x="413526" y="1603138"/>
                </a:lnTo>
                <a:lnTo>
                  <a:pt x="369246" y="1609705"/>
                </a:lnTo>
                <a:lnTo>
                  <a:pt x="329359" y="1620509"/>
                </a:lnTo>
                <a:lnTo>
                  <a:pt x="293653" y="1635428"/>
                </a:lnTo>
                <a:lnTo>
                  <a:pt x="233938" y="1677141"/>
                </a:lnTo>
                <a:lnTo>
                  <a:pt x="188404" y="1733900"/>
                </a:lnTo>
                <a:lnTo>
                  <a:pt x="170425" y="1767626"/>
                </a:lnTo>
                <a:lnTo>
                  <a:pt x="155356" y="1804759"/>
                </a:lnTo>
                <a:lnTo>
                  <a:pt x="142983" y="1845179"/>
                </a:lnTo>
                <a:lnTo>
                  <a:pt x="133096" y="1888770"/>
                </a:lnTo>
                <a:lnTo>
                  <a:pt x="125482" y="1935414"/>
                </a:lnTo>
                <a:lnTo>
                  <a:pt x="119929" y="1984990"/>
                </a:lnTo>
                <a:lnTo>
                  <a:pt x="116225" y="2037383"/>
                </a:lnTo>
                <a:lnTo>
                  <a:pt x="114158" y="2092472"/>
                </a:lnTo>
                <a:lnTo>
                  <a:pt x="113516" y="2150141"/>
                </a:lnTo>
                <a:lnTo>
                  <a:pt x="114141" y="2208380"/>
                </a:lnTo>
                <a:lnTo>
                  <a:pt x="116163" y="2264006"/>
                </a:lnTo>
                <a:lnTo>
                  <a:pt x="119800" y="2316901"/>
                </a:lnTo>
                <a:lnTo>
                  <a:pt x="125270" y="2366946"/>
                </a:lnTo>
                <a:lnTo>
                  <a:pt x="132790" y="2414022"/>
                </a:lnTo>
                <a:lnTo>
                  <a:pt x="142580" y="2458012"/>
                </a:lnTo>
                <a:lnTo>
                  <a:pt x="154856" y="2498797"/>
                </a:lnTo>
                <a:lnTo>
                  <a:pt x="169838" y="2536259"/>
                </a:lnTo>
                <a:lnTo>
                  <a:pt x="187744" y="2570280"/>
                </a:lnTo>
                <a:lnTo>
                  <a:pt x="233198" y="2627524"/>
                </a:lnTo>
                <a:lnTo>
                  <a:pt x="292964" y="2669584"/>
                </a:lnTo>
                <a:lnTo>
                  <a:pt x="328759" y="2684624"/>
                </a:lnTo>
                <a:lnTo>
                  <a:pt x="368787" y="2695513"/>
                </a:lnTo>
                <a:lnTo>
                  <a:pt x="413265" y="2702134"/>
                </a:lnTo>
                <a:lnTo>
                  <a:pt x="462412" y="2704367"/>
                </a:lnTo>
                <a:lnTo>
                  <a:pt x="462412" y="2801189"/>
                </a:lnTo>
                <a:lnTo>
                  <a:pt x="408890" y="2799300"/>
                </a:lnTo>
                <a:lnTo>
                  <a:pt x="359409" y="2793687"/>
                </a:lnTo>
                <a:lnTo>
                  <a:pt x="313830" y="2784433"/>
                </a:lnTo>
                <a:lnTo>
                  <a:pt x="272011" y="2771621"/>
                </a:lnTo>
                <a:lnTo>
                  <a:pt x="233814" y="2755334"/>
                </a:lnTo>
                <a:lnTo>
                  <a:pt x="199097" y="2735653"/>
                </a:lnTo>
                <a:lnTo>
                  <a:pt x="167721" y="2712663"/>
                </a:lnTo>
                <a:lnTo>
                  <a:pt x="139544" y="2686444"/>
                </a:lnTo>
                <a:lnTo>
                  <a:pt x="114428" y="2657081"/>
                </a:lnTo>
                <a:lnTo>
                  <a:pt x="92232" y="2624655"/>
                </a:lnTo>
                <a:lnTo>
                  <a:pt x="72814" y="2589249"/>
                </a:lnTo>
                <a:lnTo>
                  <a:pt x="56037" y="2550946"/>
                </a:lnTo>
                <a:lnTo>
                  <a:pt x="41758" y="2509828"/>
                </a:lnTo>
                <a:lnTo>
                  <a:pt x="29838" y="2465979"/>
                </a:lnTo>
                <a:lnTo>
                  <a:pt x="20136" y="2419480"/>
                </a:lnTo>
                <a:lnTo>
                  <a:pt x="12513" y="2370415"/>
                </a:lnTo>
                <a:lnTo>
                  <a:pt x="6828" y="2318865"/>
                </a:lnTo>
                <a:lnTo>
                  <a:pt x="2941" y="2264915"/>
                </a:lnTo>
                <a:lnTo>
                  <a:pt x="711" y="2208645"/>
                </a:lnTo>
                <a:lnTo>
                  <a:pt x="0" y="2150141"/>
                </a:lnTo>
                <a:lnTo>
                  <a:pt x="735" y="2091886"/>
                </a:lnTo>
                <a:lnTo>
                  <a:pt x="3031" y="2035865"/>
                </a:lnTo>
                <a:lnTo>
                  <a:pt x="7020" y="1982160"/>
                </a:lnTo>
                <a:lnTo>
                  <a:pt x="12834" y="1930854"/>
                </a:lnTo>
                <a:lnTo>
                  <a:pt x="20606" y="1882026"/>
                </a:lnTo>
                <a:lnTo>
                  <a:pt x="30469" y="1835759"/>
                </a:lnTo>
                <a:lnTo>
                  <a:pt x="42555" y="1792133"/>
                </a:lnTo>
                <a:lnTo>
                  <a:pt x="56998" y="1751231"/>
                </a:lnTo>
                <a:lnTo>
                  <a:pt x="73930" y="1713133"/>
                </a:lnTo>
                <a:lnTo>
                  <a:pt x="93484" y="1677921"/>
                </a:lnTo>
                <a:lnTo>
                  <a:pt x="115792" y="1645676"/>
                </a:lnTo>
                <a:lnTo>
                  <a:pt x="140987" y="1616479"/>
                </a:lnTo>
                <a:lnTo>
                  <a:pt x="169202" y="1590414"/>
                </a:lnTo>
                <a:lnTo>
                  <a:pt x="200570" y="1567559"/>
                </a:lnTo>
                <a:lnTo>
                  <a:pt x="235222" y="1547998"/>
                </a:lnTo>
                <a:lnTo>
                  <a:pt x="273293" y="1531810"/>
                </a:lnTo>
                <a:lnTo>
                  <a:pt x="314915" y="1519078"/>
                </a:lnTo>
                <a:lnTo>
                  <a:pt x="360220" y="1509883"/>
                </a:lnTo>
                <a:lnTo>
                  <a:pt x="409342" y="1504306"/>
                </a:lnTo>
                <a:close/>
                <a:moveTo>
                  <a:pt x="5280527" y="871409"/>
                </a:moveTo>
                <a:lnTo>
                  <a:pt x="6185319" y="871409"/>
                </a:lnTo>
                <a:lnTo>
                  <a:pt x="6185319" y="978246"/>
                </a:lnTo>
                <a:lnTo>
                  <a:pt x="5280527" y="978246"/>
                </a:lnTo>
                <a:close/>
                <a:moveTo>
                  <a:pt x="1874462" y="871408"/>
                </a:moveTo>
                <a:lnTo>
                  <a:pt x="2779254" y="871408"/>
                </a:lnTo>
                <a:lnTo>
                  <a:pt x="2779254" y="978246"/>
                </a:lnTo>
                <a:lnTo>
                  <a:pt x="1874462" y="978246"/>
                </a:lnTo>
                <a:close/>
                <a:moveTo>
                  <a:pt x="5280527" y="522512"/>
                </a:moveTo>
                <a:lnTo>
                  <a:pt x="6185319" y="522512"/>
                </a:lnTo>
                <a:lnTo>
                  <a:pt x="6185319" y="629349"/>
                </a:lnTo>
                <a:lnTo>
                  <a:pt x="5280527" y="629349"/>
                </a:lnTo>
                <a:close/>
                <a:moveTo>
                  <a:pt x="1874462" y="522511"/>
                </a:moveTo>
                <a:lnTo>
                  <a:pt x="2779254" y="522511"/>
                </a:lnTo>
                <a:lnTo>
                  <a:pt x="2779254" y="629349"/>
                </a:lnTo>
                <a:lnTo>
                  <a:pt x="1874462" y="629349"/>
                </a:lnTo>
                <a:close/>
                <a:moveTo>
                  <a:pt x="4621539" y="116859"/>
                </a:moveTo>
                <a:lnTo>
                  <a:pt x="4740064" y="116859"/>
                </a:lnTo>
                <a:lnTo>
                  <a:pt x="4386160" y="1185248"/>
                </a:lnTo>
                <a:lnTo>
                  <a:pt x="4264297" y="1185248"/>
                </a:lnTo>
                <a:close/>
                <a:moveTo>
                  <a:pt x="3314617" y="116858"/>
                </a:moveTo>
                <a:lnTo>
                  <a:pt x="3439819" y="116858"/>
                </a:lnTo>
                <a:lnTo>
                  <a:pt x="3795392" y="1185248"/>
                </a:lnTo>
                <a:lnTo>
                  <a:pt x="3670190" y="1185248"/>
                </a:lnTo>
                <a:close/>
                <a:moveTo>
                  <a:pt x="1312489" y="1"/>
                </a:moveTo>
                <a:lnTo>
                  <a:pt x="1312489" y="98493"/>
                </a:lnTo>
                <a:lnTo>
                  <a:pt x="1263604" y="100709"/>
                </a:lnTo>
                <a:lnTo>
                  <a:pt x="1219322" y="107277"/>
                </a:lnTo>
                <a:lnTo>
                  <a:pt x="1179437" y="118080"/>
                </a:lnTo>
                <a:lnTo>
                  <a:pt x="1143731" y="132999"/>
                </a:lnTo>
                <a:lnTo>
                  <a:pt x="1084016" y="174712"/>
                </a:lnTo>
                <a:lnTo>
                  <a:pt x="1038482" y="231471"/>
                </a:lnTo>
                <a:lnTo>
                  <a:pt x="1020503" y="265197"/>
                </a:lnTo>
                <a:lnTo>
                  <a:pt x="1005433" y="302330"/>
                </a:lnTo>
                <a:lnTo>
                  <a:pt x="993061" y="342750"/>
                </a:lnTo>
                <a:lnTo>
                  <a:pt x="983172" y="386342"/>
                </a:lnTo>
                <a:lnTo>
                  <a:pt x="975559" y="432985"/>
                </a:lnTo>
                <a:lnTo>
                  <a:pt x="970006" y="482562"/>
                </a:lnTo>
                <a:lnTo>
                  <a:pt x="966302" y="534954"/>
                </a:lnTo>
                <a:lnTo>
                  <a:pt x="964235" y="590043"/>
                </a:lnTo>
                <a:lnTo>
                  <a:pt x="963593" y="647712"/>
                </a:lnTo>
                <a:lnTo>
                  <a:pt x="964219" y="705953"/>
                </a:lnTo>
                <a:lnTo>
                  <a:pt x="966241" y="761579"/>
                </a:lnTo>
                <a:lnTo>
                  <a:pt x="969878" y="814474"/>
                </a:lnTo>
                <a:lnTo>
                  <a:pt x="975347" y="864518"/>
                </a:lnTo>
                <a:lnTo>
                  <a:pt x="982868" y="911596"/>
                </a:lnTo>
                <a:lnTo>
                  <a:pt x="992658" y="955586"/>
                </a:lnTo>
                <a:lnTo>
                  <a:pt x="1004934" y="996370"/>
                </a:lnTo>
                <a:lnTo>
                  <a:pt x="1019916" y="1033831"/>
                </a:lnTo>
                <a:lnTo>
                  <a:pt x="1037822" y="1067851"/>
                </a:lnTo>
                <a:lnTo>
                  <a:pt x="1083276" y="1125096"/>
                </a:lnTo>
                <a:lnTo>
                  <a:pt x="1143042" y="1167155"/>
                </a:lnTo>
                <a:lnTo>
                  <a:pt x="1178837" y="1182194"/>
                </a:lnTo>
                <a:lnTo>
                  <a:pt x="1218864" y="1193084"/>
                </a:lnTo>
                <a:lnTo>
                  <a:pt x="1263342" y="1199705"/>
                </a:lnTo>
                <a:lnTo>
                  <a:pt x="1312489" y="1201938"/>
                </a:lnTo>
                <a:lnTo>
                  <a:pt x="1312489" y="1298761"/>
                </a:lnTo>
                <a:lnTo>
                  <a:pt x="1258966" y="1296873"/>
                </a:lnTo>
                <a:lnTo>
                  <a:pt x="1209487" y="1291259"/>
                </a:lnTo>
                <a:lnTo>
                  <a:pt x="1163908" y="1282006"/>
                </a:lnTo>
                <a:lnTo>
                  <a:pt x="1122089" y="1269194"/>
                </a:lnTo>
                <a:lnTo>
                  <a:pt x="1083893" y="1252907"/>
                </a:lnTo>
                <a:lnTo>
                  <a:pt x="1049176" y="1233225"/>
                </a:lnTo>
                <a:lnTo>
                  <a:pt x="1017798" y="1210234"/>
                </a:lnTo>
                <a:lnTo>
                  <a:pt x="989622" y="1184015"/>
                </a:lnTo>
                <a:lnTo>
                  <a:pt x="964506" y="1154652"/>
                </a:lnTo>
                <a:lnTo>
                  <a:pt x="942309" y="1122226"/>
                </a:lnTo>
                <a:lnTo>
                  <a:pt x="922891" y="1086820"/>
                </a:lnTo>
                <a:lnTo>
                  <a:pt x="906113" y="1048518"/>
                </a:lnTo>
                <a:lnTo>
                  <a:pt x="891835" y="1007402"/>
                </a:lnTo>
                <a:lnTo>
                  <a:pt x="879914" y="963551"/>
                </a:lnTo>
                <a:lnTo>
                  <a:pt x="870214" y="917053"/>
                </a:lnTo>
                <a:lnTo>
                  <a:pt x="862590" y="867987"/>
                </a:lnTo>
                <a:lnTo>
                  <a:pt x="856906" y="816438"/>
                </a:lnTo>
                <a:lnTo>
                  <a:pt x="853019" y="762487"/>
                </a:lnTo>
                <a:lnTo>
                  <a:pt x="850789" y="706217"/>
                </a:lnTo>
                <a:lnTo>
                  <a:pt x="850077" y="647712"/>
                </a:lnTo>
                <a:lnTo>
                  <a:pt x="850812" y="589457"/>
                </a:lnTo>
                <a:lnTo>
                  <a:pt x="853109" y="533437"/>
                </a:lnTo>
                <a:lnTo>
                  <a:pt x="857098" y="479733"/>
                </a:lnTo>
                <a:lnTo>
                  <a:pt x="862911" y="428425"/>
                </a:lnTo>
                <a:lnTo>
                  <a:pt x="870684" y="379597"/>
                </a:lnTo>
                <a:lnTo>
                  <a:pt x="880547" y="333331"/>
                </a:lnTo>
                <a:lnTo>
                  <a:pt x="892633" y="289705"/>
                </a:lnTo>
                <a:lnTo>
                  <a:pt x="907076" y="248802"/>
                </a:lnTo>
                <a:lnTo>
                  <a:pt x="924008" y="210704"/>
                </a:lnTo>
                <a:lnTo>
                  <a:pt x="943561" y="175493"/>
                </a:lnTo>
                <a:lnTo>
                  <a:pt x="965869" y="143247"/>
                </a:lnTo>
                <a:lnTo>
                  <a:pt x="991066" y="114051"/>
                </a:lnTo>
                <a:lnTo>
                  <a:pt x="1019280" y="87986"/>
                </a:lnTo>
                <a:lnTo>
                  <a:pt x="1050647" y="65131"/>
                </a:lnTo>
                <a:lnTo>
                  <a:pt x="1085300" y="45570"/>
                </a:lnTo>
                <a:lnTo>
                  <a:pt x="1123371" y="29382"/>
                </a:lnTo>
                <a:lnTo>
                  <a:pt x="1164993" y="16650"/>
                </a:lnTo>
                <a:lnTo>
                  <a:pt x="1210299" y="7455"/>
                </a:lnTo>
                <a:lnTo>
                  <a:pt x="1259419" y="1877"/>
                </a:lnTo>
                <a:close/>
                <a:moveTo>
                  <a:pt x="6747401" y="0"/>
                </a:moveTo>
                <a:lnTo>
                  <a:pt x="6800471" y="1876"/>
                </a:lnTo>
                <a:lnTo>
                  <a:pt x="6849592" y="7453"/>
                </a:lnTo>
                <a:lnTo>
                  <a:pt x="6894897" y="16648"/>
                </a:lnTo>
                <a:lnTo>
                  <a:pt x="6936519" y="29380"/>
                </a:lnTo>
                <a:lnTo>
                  <a:pt x="6974590" y="45568"/>
                </a:lnTo>
                <a:lnTo>
                  <a:pt x="7009243" y="65130"/>
                </a:lnTo>
                <a:lnTo>
                  <a:pt x="7040610" y="87984"/>
                </a:lnTo>
                <a:lnTo>
                  <a:pt x="7068825" y="114050"/>
                </a:lnTo>
                <a:lnTo>
                  <a:pt x="7094021" y="143246"/>
                </a:lnTo>
                <a:lnTo>
                  <a:pt x="7116329" y="175491"/>
                </a:lnTo>
                <a:lnTo>
                  <a:pt x="7135882" y="210703"/>
                </a:lnTo>
                <a:lnTo>
                  <a:pt x="7152814" y="248801"/>
                </a:lnTo>
                <a:lnTo>
                  <a:pt x="7167257" y="289704"/>
                </a:lnTo>
                <a:lnTo>
                  <a:pt x="7179344" y="333329"/>
                </a:lnTo>
                <a:lnTo>
                  <a:pt x="7189207" y="379596"/>
                </a:lnTo>
                <a:lnTo>
                  <a:pt x="7196979" y="428424"/>
                </a:lnTo>
                <a:lnTo>
                  <a:pt x="7202793" y="479731"/>
                </a:lnTo>
                <a:lnTo>
                  <a:pt x="7206781" y="533435"/>
                </a:lnTo>
                <a:lnTo>
                  <a:pt x="7209077" y="589455"/>
                </a:lnTo>
                <a:lnTo>
                  <a:pt x="7209813" y="647711"/>
                </a:lnTo>
                <a:lnTo>
                  <a:pt x="7209113" y="706216"/>
                </a:lnTo>
                <a:lnTo>
                  <a:pt x="7206916" y="762486"/>
                </a:lnTo>
                <a:lnTo>
                  <a:pt x="7203080" y="816437"/>
                </a:lnTo>
                <a:lnTo>
                  <a:pt x="7197459" y="867986"/>
                </a:lnTo>
                <a:lnTo>
                  <a:pt x="7189911" y="917051"/>
                </a:lnTo>
                <a:lnTo>
                  <a:pt x="7180290" y="963550"/>
                </a:lnTo>
                <a:lnTo>
                  <a:pt x="7168453" y="1007400"/>
                </a:lnTo>
                <a:lnTo>
                  <a:pt x="7154256" y="1048517"/>
                </a:lnTo>
                <a:lnTo>
                  <a:pt x="7137555" y="1086819"/>
                </a:lnTo>
                <a:lnTo>
                  <a:pt x="7118206" y="1122225"/>
                </a:lnTo>
                <a:lnTo>
                  <a:pt x="7096065" y="1154652"/>
                </a:lnTo>
                <a:lnTo>
                  <a:pt x="7070989" y="1184015"/>
                </a:lnTo>
                <a:lnTo>
                  <a:pt x="7042832" y="1210234"/>
                </a:lnTo>
                <a:lnTo>
                  <a:pt x="7011451" y="1233224"/>
                </a:lnTo>
                <a:lnTo>
                  <a:pt x="6976702" y="1252906"/>
                </a:lnTo>
                <a:lnTo>
                  <a:pt x="6938442" y="1269193"/>
                </a:lnTo>
                <a:lnTo>
                  <a:pt x="6896525" y="1282004"/>
                </a:lnTo>
                <a:lnTo>
                  <a:pt x="6850809" y="1291259"/>
                </a:lnTo>
                <a:lnTo>
                  <a:pt x="6801149" y="1296872"/>
                </a:lnTo>
                <a:lnTo>
                  <a:pt x="6747401" y="1298760"/>
                </a:lnTo>
                <a:lnTo>
                  <a:pt x="6747401" y="1201937"/>
                </a:lnTo>
                <a:lnTo>
                  <a:pt x="6797086" y="1199704"/>
                </a:lnTo>
                <a:lnTo>
                  <a:pt x="6842006" y="1193083"/>
                </a:lnTo>
                <a:lnTo>
                  <a:pt x="6882389" y="1182194"/>
                </a:lnTo>
                <a:lnTo>
                  <a:pt x="6918460" y="1167155"/>
                </a:lnTo>
                <a:lnTo>
                  <a:pt x="6978571" y="1125095"/>
                </a:lnTo>
                <a:lnTo>
                  <a:pt x="7024150" y="1067850"/>
                </a:lnTo>
                <a:lnTo>
                  <a:pt x="7042056" y="1033830"/>
                </a:lnTo>
                <a:lnTo>
                  <a:pt x="7057008" y="996368"/>
                </a:lnTo>
                <a:lnTo>
                  <a:pt x="7069232" y="955584"/>
                </a:lnTo>
                <a:lnTo>
                  <a:pt x="7078955" y="911594"/>
                </a:lnTo>
                <a:lnTo>
                  <a:pt x="7086402" y="864517"/>
                </a:lnTo>
                <a:lnTo>
                  <a:pt x="7091801" y="814473"/>
                </a:lnTo>
                <a:lnTo>
                  <a:pt x="7095377" y="761578"/>
                </a:lnTo>
                <a:lnTo>
                  <a:pt x="7097356" y="705951"/>
                </a:lnTo>
                <a:lnTo>
                  <a:pt x="7097966" y="647711"/>
                </a:lnTo>
                <a:lnTo>
                  <a:pt x="7097324" y="590042"/>
                </a:lnTo>
                <a:lnTo>
                  <a:pt x="7095254" y="534953"/>
                </a:lnTo>
                <a:lnTo>
                  <a:pt x="7091544" y="482560"/>
                </a:lnTo>
                <a:lnTo>
                  <a:pt x="7085978" y="432984"/>
                </a:lnTo>
                <a:lnTo>
                  <a:pt x="7078343" y="386340"/>
                </a:lnTo>
                <a:lnTo>
                  <a:pt x="7068425" y="342749"/>
                </a:lnTo>
                <a:lnTo>
                  <a:pt x="7056009" y="302328"/>
                </a:lnTo>
                <a:lnTo>
                  <a:pt x="7040882" y="265196"/>
                </a:lnTo>
                <a:lnTo>
                  <a:pt x="7022829" y="231470"/>
                </a:lnTo>
                <a:lnTo>
                  <a:pt x="6977091" y="174711"/>
                </a:lnTo>
                <a:lnTo>
                  <a:pt x="6917082" y="132998"/>
                </a:lnTo>
                <a:lnTo>
                  <a:pt x="6881190" y="118079"/>
                </a:lnTo>
                <a:lnTo>
                  <a:pt x="6841089" y="107276"/>
                </a:lnTo>
                <a:lnTo>
                  <a:pt x="6796564" y="100708"/>
                </a:lnTo>
                <a:lnTo>
                  <a:pt x="6747401" y="98492"/>
                </a:lnTo>
                <a:close/>
              </a:path>
            </a:pathLst>
          </a:custGeom>
          <a:solidFill>
            <a:srgbClr val="4D7836"/>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6815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002998-56E0-B41C-4611-6E392593EFA3}"/>
              </a:ext>
            </a:extLst>
          </p:cNvPr>
          <p:cNvSpPr>
            <a:spLocks noGrp="1"/>
          </p:cNvSpPr>
          <p:nvPr>
            <p:ph type="title"/>
          </p:nvPr>
        </p:nvSpPr>
        <p:spPr>
          <a:xfrm>
            <a:off x="468313" y="555625"/>
            <a:ext cx="3537335" cy="647973"/>
          </a:xfrm>
        </p:spPr>
        <p:txBody>
          <a:bodyPr/>
          <a:lstStyle/>
          <a:p>
            <a:r>
              <a:rPr lang="da-DK"/>
              <a:t>Klik for at redigere titeltypografien i masteren</a:t>
            </a:r>
            <a:endParaRPr lang="en-GB"/>
          </a:p>
        </p:txBody>
      </p:sp>
      <p:sp>
        <p:nvSpPr>
          <p:cNvPr id="4" name="Pladsholder til tekst 3">
            <a:extLst>
              <a:ext uri="{FF2B5EF4-FFF2-40B4-BE49-F238E27FC236}">
                <a16:creationId xmlns:a16="http://schemas.microsoft.com/office/drawing/2014/main" id="{E4635518-A0E4-AE02-8A01-B963156D663C}"/>
              </a:ext>
            </a:extLst>
          </p:cNvPr>
          <p:cNvSpPr>
            <a:spLocks noGrp="1"/>
          </p:cNvSpPr>
          <p:nvPr>
            <p:ph type="body" sz="quarter" idx="10"/>
          </p:nvPr>
        </p:nvSpPr>
        <p:spPr>
          <a:xfrm>
            <a:off x="4572000" y="1419225"/>
            <a:ext cx="4103688" cy="2736702"/>
          </a:xfrm>
        </p:spPr>
        <p:txBody>
          <a:bodyPr anchor="ctr"/>
          <a:lstStyle>
            <a:lvl1pPr marL="180000" indent="-180000">
              <a:spcBef>
                <a:spcPts val="1200"/>
              </a:spcBef>
              <a:spcAft>
                <a:spcPts val="0"/>
              </a:spcAft>
              <a:buFont typeface="+mj-lt"/>
              <a:buAutoNum type="arabicPeriod"/>
              <a:defRPr sz="1200" b="1" i="0">
                <a:latin typeface="Neue Haas Grotesk Text Pro" panose="020B0504020202020204" pitchFamily="34" charset="77"/>
              </a:defRPr>
            </a:lvl1pPr>
            <a:lvl2pPr marL="351450" indent="-171450">
              <a:spcBef>
                <a:spcPts val="100"/>
              </a:spcBef>
              <a:spcAft>
                <a:spcPts val="100"/>
              </a:spcAft>
              <a:buClr>
                <a:schemeClr val="tx1"/>
              </a:buClr>
              <a:buFont typeface="Normal systemskrift"/>
              <a:buChar char="–"/>
              <a:defRPr/>
            </a:lvl2pPr>
            <a:lvl3pPr marL="252000" indent="0">
              <a:buNone/>
              <a:defRPr/>
            </a:lvl3pPr>
          </a:lstStyle>
          <a:p>
            <a:pPr lvl="0"/>
            <a:r>
              <a:rPr lang="da-DK"/>
              <a:t>Klik for at redigere teksttypografierne i masteren</a:t>
            </a:r>
          </a:p>
          <a:p>
            <a:pPr lvl="1"/>
            <a:r>
              <a:rPr lang="da-DK"/>
              <a:t>Andet niveau</a:t>
            </a:r>
          </a:p>
        </p:txBody>
      </p:sp>
      <p:sp>
        <p:nvSpPr>
          <p:cNvPr id="3" name="Pladsholder til billede 5">
            <a:extLst>
              <a:ext uri="{FF2B5EF4-FFF2-40B4-BE49-F238E27FC236}">
                <a16:creationId xmlns:a16="http://schemas.microsoft.com/office/drawing/2014/main" id="{87DB21CB-4EE7-18D5-FFC4-F2591CC30315}"/>
              </a:ext>
            </a:extLst>
          </p:cNvPr>
          <p:cNvSpPr>
            <a:spLocks noGrp="1"/>
          </p:cNvSpPr>
          <p:nvPr>
            <p:ph type="pic" sz="quarter" idx="12"/>
          </p:nvPr>
        </p:nvSpPr>
        <p:spPr>
          <a:xfrm>
            <a:off x="478024" y="1419225"/>
            <a:ext cx="3527624" cy="2736701"/>
          </a:xfrm>
        </p:spPr>
        <p:txBody>
          <a:bodyPr>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Tree>
    <p:extLst>
      <p:ext uri="{BB962C8B-B14F-4D97-AF65-F5344CB8AC3E}">
        <p14:creationId xmlns:p14="http://schemas.microsoft.com/office/powerpoint/2010/main" val="130513682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reaker J">
    <p:bg>
      <p:bgRef idx="1001">
        <a:schemeClr val="bg1"/>
      </p:bgRef>
    </p:bg>
    <p:spTree>
      <p:nvGrpSpPr>
        <p:cNvPr id="1" name=""/>
        <p:cNvGrpSpPr/>
        <p:nvPr/>
      </p:nvGrpSpPr>
      <p:grpSpPr>
        <a:xfrm>
          <a:off x="0" y="0"/>
          <a:ext cx="0" cy="0"/>
          <a:chOff x="0" y="0"/>
          <a:chExt cx="0" cy="0"/>
        </a:xfrm>
      </p:grpSpPr>
      <p:sp>
        <p:nvSpPr>
          <p:cNvPr id="7" name="Baggrund"/>
          <p:cNvSpPr/>
          <p:nvPr userDrawn="1"/>
        </p:nvSpPr>
        <p:spPr bwMode="white">
          <a:xfrm>
            <a:off x="0" y="0"/>
            <a:ext cx="9144900" cy="5143500"/>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3" name="Subtitle 2"/>
          <p:cNvSpPr>
            <a:spLocks noGrp="1"/>
          </p:cNvSpPr>
          <p:nvPr>
            <p:ph type="subTitle" idx="1" hasCustomPrompt="1"/>
          </p:nvPr>
        </p:nvSpPr>
        <p:spPr>
          <a:xfrm>
            <a:off x="5344715" y="2029164"/>
            <a:ext cx="3396600" cy="270000"/>
          </a:xfrm>
        </p:spPr>
        <p:txBody>
          <a:bodyPr anchor="b" anchorCtr="0"/>
          <a:lstStyle>
            <a:lvl1pPr marL="0" indent="0" algn="l">
              <a:lnSpc>
                <a:spcPct val="100000"/>
              </a:lnSpc>
              <a:spcBef>
                <a:spcPts val="0"/>
              </a:spcBef>
              <a:spcAft>
                <a:spcPts val="0"/>
              </a:spcAft>
              <a:buFont typeface="Arial" panose="020B0604020202020204" pitchFamily="34" charset="0"/>
              <a:buNone/>
              <a:defRPr sz="1200">
                <a:solidFill>
                  <a:schemeClr val="bg1"/>
                </a:solidFill>
                <a:latin typeface="+mn-lt"/>
              </a:defRPr>
            </a:lvl1pPr>
            <a:lvl2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2pPr>
            <a:lvl3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3pPr>
            <a:lvl4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4pPr>
            <a:lvl5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5pPr>
            <a:lvl6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6pPr>
            <a:lvl7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7pPr>
            <a:lvl8pPr marL="0" indent="0" algn="l">
              <a:lnSpc>
                <a:spcPct val="100000"/>
              </a:lnSpc>
              <a:spcBef>
                <a:spcPts val="0"/>
              </a:spcBef>
              <a:spcAft>
                <a:spcPts val="0"/>
              </a:spcAft>
              <a:buFont typeface="Arial" panose="020B0604020202020204" pitchFamily="34" charset="0"/>
              <a:buChar char="​"/>
              <a:defRPr sz="1200" b="0">
                <a:solidFill>
                  <a:schemeClr val="bg1"/>
                </a:solidFill>
                <a:latin typeface="+mn-lt"/>
              </a:defRPr>
            </a:lvl8pPr>
            <a:lvl9pPr marL="0" indent="0" algn="l">
              <a:lnSpc>
                <a:spcPct val="100000"/>
              </a:lnSpc>
              <a:spcBef>
                <a:spcPts val="0"/>
              </a:spcBef>
              <a:spcAft>
                <a:spcPts val="0"/>
              </a:spcAft>
              <a:buFont typeface="Arial" panose="020B0604020202020204" pitchFamily="34" charset="0"/>
              <a:buChar char="​"/>
              <a:tabLst/>
              <a:defRPr sz="1200" b="0">
                <a:solidFill>
                  <a:schemeClr val="bg1"/>
                </a:solidFill>
                <a:latin typeface="+mn-lt"/>
              </a:defRPr>
            </a:lvl9pPr>
          </a:lstStyle>
          <a:p>
            <a:r>
              <a:rPr lang="da-DK" dirty="0"/>
              <a:t>Klik for at tilføje sektionstitel</a:t>
            </a:r>
          </a:p>
        </p:txBody>
      </p:sp>
      <p:sp>
        <p:nvSpPr>
          <p:cNvPr id="2" name="Title 1"/>
          <p:cNvSpPr>
            <a:spLocks noGrp="1"/>
          </p:cNvSpPr>
          <p:nvPr>
            <p:ph type="ctrTitle" hasCustomPrompt="1"/>
          </p:nvPr>
        </p:nvSpPr>
        <p:spPr>
          <a:xfrm>
            <a:off x="5344716" y="2373963"/>
            <a:ext cx="3396600" cy="931500"/>
          </a:xfrm>
        </p:spPr>
        <p:txBody>
          <a:bodyPr anchor="t" anchorCtr="0"/>
          <a:lstStyle>
            <a:lvl1pPr algn="l">
              <a:defRPr sz="2400">
                <a:solidFill>
                  <a:schemeClr val="bg1"/>
                </a:solidFill>
              </a:defRPr>
            </a:lvl1pPr>
          </a:lstStyle>
          <a:p>
            <a:r>
              <a:rPr lang="da-DK" dirty="0"/>
              <a:t>Klik for at tilføje titel</a:t>
            </a:r>
          </a:p>
        </p:txBody>
      </p:sp>
      <p:sp>
        <p:nvSpPr>
          <p:cNvPr id="11" name="Pladsholder til dato 10">
            <a:extLst>
              <a:ext uri="{FF2B5EF4-FFF2-40B4-BE49-F238E27FC236}">
                <a16:creationId xmlns:a16="http://schemas.microsoft.com/office/drawing/2014/main" id="{ECF1C836-21A0-0331-A849-E61A90896536}"/>
              </a:ext>
            </a:extLst>
          </p:cNvPr>
          <p:cNvSpPr>
            <a:spLocks noGrp="1"/>
          </p:cNvSpPr>
          <p:nvPr>
            <p:ph type="dt" sz="half" idx="15"/>
          </p:nvPr>
        </p:nvSpPr>
        <p:spPr/>
        <p:txBody>
          <a:bodyPr/>
          <a:lstStyle>
            <a:lvl1pPr>
              <a:defRPr>
                <a:solidFill>
                  <a:schemeClr val="bg1"/>
                </a:solidFill>
              </a:defRPr>
            </a:lvl1pPr>
          </a:lstStyle>
          <a:p>
            <a:fld id="{C478D43B-6DB1-49ED-A3EC-43DFBB246817}" type="datetime2">
              <a:rPr lang="da-DK" smtClean="0"/>
              <a:t>11. december 2025</a:t>
            </a:fld>
            <a:endParaRPr lang="da-DK" dirty="0"/>
          </a:p>
        </p:txBody>
      </p:sp>
      <p:sp>
        <p:nvSpPr>
          <p:cNvPr id="12" name="Pladsholder til sidefod 11">
            <a:extLst>
              <a:ext uri="{FF2B5EF4-FFF2-40B4-BE49-F238E27FC236}">
                <a16:creationId xmlns:a16="http://schemas.microsoft.com/office/drawing/2014/main" id="{F8D5FDD7-8020-3589-F424-24D4FE9B564D}"/>
              </a:ext>
            </a:extLst>
          </p:cNvPr>
          <p:cNvSpPr>
            <a:spLocks noGrp="1"/>
          </p:cNvSpPr>
          <p:nvPr>
            <p:ph type="ftr" sz="quarter" idx="16"/>
          </p:nvPr>
        </p:nvSpPr>
        <p:spPr/>
        <p:txBody>
          <a:bodyPr/>
          <a:lstStyle>
            <a:lvl1pPr>
              <a:defRPr>
                <a:solidFill>
                  <a:schemeClr val="bg1"/>
                </a:solidFill>
              </a:defRPr>
            </a:lvl1pPr>
          </a:lstStyle>
          <a:p>
            <a:r>
              <a:rPr lang="da-DK" dirty="0"/>
              <a:t>Digitaliseringsstyrelsen</a:t>
            </a:r>
          </a:p>
        </p:txBody>
      </p:sp>
      <p:sp>
        <p:nvSpPr>
          <p:cNvPr id="13" name="Pladsholder til slidenummer 12">
            <a:extLst>
              <a:ext uri="{FF2B5EF4-FFF2-40B4-BE49-F238E27FC236}">
                <a16:creationId xmlns:a16="http://schemas.microsoft.com/office/drawing/2014/main" id="{94C0154D-C90A-C45E-44EB-A9BE528AF3BC}"/>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dirty="0"/>
          </a:p>
        </p:txBody>
      </p:sp>
      <p:sp>
        <p:nvSpPr>
          <p:cNvPr id="5" name="Mikro grafik 1">
            <a:extLst>
              <a:ext uri="{FF2B5EF4-FFF2-40B4-BE49-F238E27FC236}">
                <a16:creationId xmlns:a16="http://schemas.microsoft.com/office/drawing/2014/main" id="{8E8246C8-AEEC-66A0-3B85-75D6EBE031F7}"/>
              </a:ext>
            </a:extLst>
          </p:cNvPr>
          <p:cNvSpPr/>
          <p:nvPr userDrawn="1"/>
        </p:nvSpPr>
        <p:spPr>
          <a:xfrm>
            <a:off x="405001" y="915672"/>
            <a:ext cx="3748256" cy="3312156"/>
          </a:xfrm>
          <a:custGeom>
            <a:avLst/>
            <a:gdLst>
              <a:gd name="connsiteX0" fmla="*/ 5241587 w 8266922"/>
              <a:gd name="connsiteY0" fmla="*/ 7031344 h 7305087"/>
              <a:gd name="connsiteX1" fmla="*/ 5448586 w 8266922"/>
              <a:gd name="connsiteY1" fmla="*/ 7031344 h 7305087"/>
              <a:gd name="connsiteX2" fmla="*/ 5448586 w 8266922"/>
              <a:gd name="connsiteY2" fmla="*/ 7204957 h 7305087"/>
              <a:gd name="connsiteX3" fmla="*/ 5241587 w 8266922"/>
              <a:gd name="connsiteY3" fmla="*/ 7204957 h 7305087"/>
              <a:gd name="connsiteX4" fmla="*/ 2946862 w 8266922"/>
              <a:gd name="connsiteY4" fmla="*/ 7031344 h 7305087"/>
              <a:gd name="connsiteX5" fmla="*/ 3153861 w 8266922"/>
              <a:gd name="connsiteY5" fmla="*/ 7031344 h 7305087"/>
              <a:gd name="connsiteX6" fmla="*/ 3153861 w 8266922"/>
              <a:gd name="connsiteY6" fmla="*/ 7204957 h 7305087"/>
              <a:gd name="connsiteX7" fmla="*/ 2946862 w 8266922"/>
              <a:gd name="connsiteY7" fmla="*/ 7204957 h 7305087"/>
              <a:gd name="connsiteX8" fmla="*/ 4247643 w 8266922"/>
              <a:gd name="connsiteY8" fmla="*/ 6016037 h 7305087"/>
              <a:gd name="connsiteX9" fmla="*/ 4621582 w 8266922"/>
              <a:gd name="connsiteY9" fmla="*/ 6016037 h 7305087"/>
              <a:gd name="connsiteX10" fmla="*/ 4621582 w 8266922"/>
              <a:gd name="connsiteY10" fmla="*/ 6111287 h 7305087"/>
              <a:gd name="connsiteX11" fmla="*/ 4621582 w 8266922"/>
              <a:gd name="connsiteY11" fmla="*/ 7209837 h 7305087"/>
              <a:gd name="connsiteX12" fmla="*/ 4621582 w 8266922"/>
              <a:gd name="connsiteY12" fmla="*/ 7305087 h 7305087"/>
              <a:gd name="connsiteX13" fmla="*/ 4247643 w 8266922"/>
              <a:gd name="connsiteY13" fmla="*/ 7305087 h 7305087"/>
              <a:gd name="connsiteX14" fmla="*/ 4247643 w 8266922"/>
              <a:gd name="connsiteY14" fmla="*/ 7209837 h 7305087"/>
              <a:gd name="connsiteX15" fmla="*/ 4506393 w 8266922"/>
              <a:gd name="connsiteY15" fmla="*/ 7209837 h 7305087"/>
              <a:gd name="connsiteX16" fmla="*/ 4506393 w 8266922"/>
              <a:gd name="connsiteY16" fmla="*/ 6111287 h 7305087"/>
              <a:gd name="connsiteX17" fmla="*/ 4247643 w 8266922"/>
              <a:gd name="connsiteY17" fmla="*/ 6111287 h 7305087"/>
              <a:gd name="connsiteX18" fmla="*/ 3773921 w 8266922"/>
              <a:gd name="connsiteY18" fmla="*/ 6016037 h 7305087"/>
              <a:gd name="connsiteX19" fmla="*/ 4147860 w 8266922"/>
              <a:gd name="connsiteY19" fmla="*/ 6016037 h 7305087"/>
              <a:gd name="connsiteX20" fmla="*/ 4147860 w 8266922"/>
              <a:gd name="connsiteY20" fmla="*/ 6111287 h 7305087"/>
              <a:gd name="connsiteX21" fmla="*/ 3889111 w 8266922"/>
              <a:gd name="connsiteY21" fmla="*/ 6111287 h 7305087"/>
              <a:gd name="connsiteX22" fmla="*/ 3889111 w 8266922"/>
              <a:gd name="connsiteY22" fmla="*/ 7209837 h 7305087"/>
              <a:gd name="connsiteX23" fmla="*/ 4147860 w 8266922"/>
              <a:gd name="connsiteY23" fmla="*/ 7209837 h 7305087"/>
              <a:gd name="connsiteX24" fmla="*/ 4147860 w 8266922"/>
              <a:gd name="connsiteY24" fmla="*/ 7305087 h 7305087"/>
              <a:gd name="connsiteX25" fmla="*/ 3773921 w 8266922"/>
              <a:gd name="connsiteY25" fmla="*/ 7305087 h 7305087"/>
              <a:gd name="connsiteX26" fmla="*/ 3773921 w 8266922"/>
              <a:gd name="connsiteY26" fmla="*/ 7209837 h 7305087"/>
              <a:gd name="connsiteX27" fmla="*/ 3773921 w 8266922"/>
              <a:gd name="connsiteY27" fmla="*/ 6111287 h 7305087"/>
              <a:gd name="connsiteX28" fmla="*/ 6688042 w 8266922"/>
              <a:gd name="connsiteY28" fmla="*/ 5528924 h 7305087"/>
              <a:gd name="connsiteX29" fmla="*/ 6895043 w 8266922"/>
              <a:gd name="connsiteY29" fmla="*/ 5528924 h 7305087"/>
              <a:gd name="connsiteX30" fmla="*/ 6895043 w 8266922"/>
              <a:gd name="connsiteY30" fmla="*/ 5702536 h 7305087"/>
              <a:gd name="connsiteX31" fmla="*/ 6688042 w 8266922"/>
              <a:gd name="connsiteY31" fmla="*/ 5702536 h 7305087"/>
              <a:gd name="connsiteX32" fmla="*/ 3990746 w 8266922"/>
              <a:gd name="connsiteY32" fmla="*/ 5378675 h 7305087"/>
              <a:gd name="connsiteX33" fmla="*/ 4895538 w 8266922"/>
              <a:gd name="connsiteY33" fmla="*/ 5378675 h 7305087"/>
              <a:gd name="connsiteX34" fmla="*/ 4895538 w 8266922"/>
              <a:gd name="connsiteY34" fmla="*/ 5485512 h 7305087"/>
              <a:gd name="connsiteX35" fmla="*/ 3990746 w 8266922"/>
              <a:gd name="connsiteY35" fmla="*/ 5485512 h 7305087"/>
              <a:gd name="connsiteX36" fmla="*/ 1270097 w 8266922"/>
              <a:gd name="connsiteY36" fmla="*/ 5378675 h 7305087"/>
              <a:gd name="connsiteX37" fmla="*/ 2174890 w 8266922"/>
              <a:gd name="connsiteY37" fmla="*/ 5378675 h 7305087"/>
              <a:gd name="connsiteX38" fmla="*/ 2174890 w 8266922"/>
              <a:gd name="connsiteY38" fmla="*/ 5485512 h 7305087"/>
              <a:gd name="connsiteX39" fmla="*/ 1270097 w 8266922"/>
              <a:gd name="connsiteY39" fmla="*/ 5485512 h 7305087"/>
              <a:gd name="connsiteX40" fmla="*/ 3990746 w 8266922"/>
              <a:gd name="connsiteY40" fmla="*/ 5029777 h 7305087"/>
              <a:gd name="connsiteX41" fmla="*/ 4895538 w 8266922"/>
              <a:gd name="connsiteY41" fmla="*/ 5029777 h 7305087"/>
              <a:gd name="connsiteX42" fmla="*/ 4895538 w 8266922"/>
              <a:gd name="connsiteY42" fmla="*/ 5136615 h 7305087"/>
              <a:gd name="connsiteX43" fmla="*/ 3990746 w 8266922"/>
              <a:gd name="connsiteY43" fmla="*/ 5136615 h 7305087"/>
              <a:gd name="connsiteX44" fmla="*/ 1270097 w 8266922"/>
              <a:gd name="connsiteY44" fmla="*/ 5029777 h 7305087"/>
              <a:gd name="connsiteX45" fmla="*/ 2174890 w 8266922"/>
              <a:gd name="connsiteY45" fmla="*/ 5029777 h 7305087"/>
              <a:gd name="connsiteX46" fmla="*/ 2174890 w 8266922"/>
              <a:gd name="connsiteY46" fmla="*/ 5136615 h 7305087"/>
              <a:gd name="connsiteX47" fmla="*/ 1270097 w 8266922"/>
              <a:gd name="connsiteY47" fmla="*/ 5136615 h 7305087"/>
              <a:gd name="connsiteX48" fmla="*/ 6062007 w 8266922"/>
              <a:gd name="connsiteY48" fmla="*/ 4507277 h 7305087"/>
              <a:gd name="connsiteX49" fmla="*/ 6115077 w 8266922"/>
              <a:gd name="connsiteY49" fmla="*/ 4509153 h 7305087"/>
              <a:gd name="connsiteX50" fmla="*/ 6164198 w 8266922"/>
              <a:gd name="connsiteY50" fmla="*/ 4514730 h 7305087"/>
              <a:gd name="connsiteX51" fmla="*/ 6209503 w 8266922"/>
              <a:gd name="connsiteY51" fmla="*/ 4523925 h 7305087"/>
              <a:gd name="connsiteX52" fmla="*/ 6251125 w 8266922"/>
              <a:gd name="connsiteY52" fmla="*/ 4536657 h 7305087"/>
              <a:gd name="connsiteX53" fmla="*/ 6289196 w 8266922"/>
              <a:gd name="connsiteY53" fmla="*/ 4552845 h 7305087"/>
              <a:gd name="connsiteX54" fmla="*/ 6323849 w 8266922"/>
              <a:gd name="connsiteY54" fmla="*/ 4572406 h 7305087"/>
              <a:gd name="connsiteX55" fmla="*/ 6355216 w 8266922"/>
              <a:gd name="connsiteY55" fmla="*/ 4595261 h 7305087"/>
              <a:gd name="connsiteX56" fmla="*/ 6383431 w 8266922"/>
              <a:gd name="connsiteY56" fmla="*/ 4621327 h 7305087"/>
              <a:gd name="connsiteX57" fmla="*/ 6408627 w 8266922"/>
              <a:gd name="connsiteY57" fmla="*/ 4650523 h 7305087"/>
              <a:gd name="connsiteX58" fmla="*/ 6430935 w 8266922"/>
              <a:gd name="connsiteY58" fmla="*/ 4682768 h 7305087"/>
              <a:gd name="connsiteX59" fmla="*/ 6450488 w 8266922"/>
              <a:gd name="connsiteY59" fmla="*/ 4717980 h 7305087"/>
              <a:gd name="connsiteX60" fmla="*/ 6467420 w 8266922"/>
              <a:gd name="connsiteY60" fmla="*/ 4756077 h 7305087"/>
              <a:gd name="connsiteX61" fmla="*/ 6481863 w 8266922"/>
              <a:gd name="connsiteY61" fmla="*/ 4796980 h 7305087"/>
              <a:gd name="connsiteX62" fmla="*/ 6493950 w 8266922"/>
              <a:gd name="connsiteY62" fmla="*/ 4840605 h 7305087"/>
              <a:gd name="connsiteX63" fmla="*/ 6503813 w 8266922"/>
              <a:gd name="connsiteY63" fmla="*/ 4886873 h 7305087"/>
              <a:gd name="connsiteX64" fmla="*/ 6511585 w 8266922"/>
              <a:gd name="connsiteY64" fmla="*/ 4935701 h 7305087"/>
              <a:gd name="connsiteX65" fmla="*/ 6517399 w 8266922"/>
              <a:gd name="connsiteY65" fmla="*/ 4987008 h 7305087"/>
              <a:gd name="connsiteX66" fmla="*/ 6521387 w 8266922"/>
              <a:gd name="connsiteY66" fmla="*/ 5040712 h 7305087"/>
              <a:gd name="connsiteX67" fmla="*/ 6523683 w 8266922"/>
              <a:gd name="connsiteY67" fmla="*/ 5096732 h 7305087"/>
              <a:gd name="connsiteX68" fmla="*/ 6524419 w 8266922"/>
              <a:gd name="connsiteY68" fmla="*/ 5154988 h 7305087"/>
              <a:gd name="connsiteX69" fmla="*/ 6523719 w 8266922"/>
              <a:gd name="connsiteY69" fmla="*/ 5213493 h 7305087"/>
              <a:gd name="connsiteX70" fmla="*/ 6521522 w 8266922"/>
              <a:gd name="connsiteY70" fmla="*/ 5269763 h 7305087"/>
              <a:gd name="connsiteX71" fmla="*/ 6517686 w 8266922"/>
              <a:gd name="connsiteY71" fmla="*/ 5323713 h 7305087"/>
              <a:gd name="connsiteX72" fmla="*/ 6512065 w 8266922"/>
              <a:gd name="connsiteY72" fmla="*/ 5375263 h 7305087"/>
              <a:gd name="connsiteX73" fmla="*/ 6504517 w 8266922"/>
              <a:gd name="connsiteY73" fmla="*/ 5424328 h 7305087"/>
              <a:gd name="connsiteX74" fmla="*/ 6494896 w 8266922"/>
              <a:gd name="connsiteY74" fmla="*/ 5470827 h 7305087"/>
              <a:gd name="connsiteX75" fmla="*/ 6483059 w 8266922"/>
              <a:gd name="connsiteY75" fmla="*/ 5514676 h 7305087"/>
              <a:gd name="connsiteX76" fmla="*/ 6468862 w 8266922"/>
              <a:gd name="connsiteY76" fmla="*/ 5555794 h 7305087"/>
              <a:gd name="connsiteX77" fmla="*/ 6452162 w 8266922"/>
              <a:gd name="connsiteY77" fmla="*/ 5594097 h 7305087"/>
              <a:gd name="connsiteX78" fmla="*/ 6432813 w 8266922"/>
              <a:gd name="connsiteY78" fmla="*/ 5629503 h 7305087"/>
              <a:gd name="connsiteX79" fmla="*/ 6410672 w 8266922"/>
              <a:gd name="connsiteY79" fmla="*/ 5661929 h 7305087"/>
              <a:gd name="connsiteX80" fmla="*/ 6385595 w 8266922"/>
              <a:gd name="connsiteY80" fmla="*/ 5691293 h 7305087"/>
              <a:gd name="connsiteX81" fmla="*/ 6357438 w 8266922"/>
              <a:gd name="connsiteY81" fmla="*/ 5717511 h 7305087"/>
              <a:gd name="connsiteX82" fmla="*/ 6326057 w 8266922"/>
              <a:gd name="connsiteY82" fmla="*/ 5740502 h 7305087"/>
              <a:gd name="connsiteX83" fmla="*/ 6291309 w 8266922"/>
              <a:gd name="connsiteY83" fmla="*/ 5760183 h 7305087"/>
              <a:gd name="connsiteX84" fmla="*/ 6253048 w 8266922"/>
              <a:gd name="connsiteY84" fmla="*/ 5776470 h 7305087"/>
              <a:gd name="connsiteX85" fmla="*/ 6211131 w 8266922"/>
              <a:gd name="connsiteY85" fmla="*/ 5789282 h 7305087"/>
              <a:gd name="connsiteX86" fmla="*/ 6165415 w 8266922"/>
              <a:gd name="connsiteY86" fmla="*/ 5798536 h 7305087"/>
              <a:gd name="connsiteX87" fmla="*/ 6115755 w 8266922"/>
              <a:gd name="connsiteY87" fmla="*/ 5804149 h 7305087"/>
              <a:gd name="connsiteX88" fmla="*/ 6062007 w 8266922"/>
              <a:gd name="connsiteY88" fmla="*/ 5806038 h 7305087"/>
              <a:gd name="connsiteX89" fmla="*/ 6062007 w 8266922"/>
              <a:gd name="connsiteY89" fmla="*/ 5709215 h 7305087"/>
              <a:gd name="connsiteX90" fmla="*/ 6111692 w 8266922"/>
              <a:gd name="connsiteY90" fmla="*/ 5706982 h 7305087"/>
              <a:gd name="connsiteX91" fmla="*/ 6156613 w 8266922"/>
              <a:gd name="connsiteY91" fmla="*/ 5700361 h 7305087"/>
              <a:gd name="connsiteX92" fmla="*/ 6196995 w 8266922"/>
              <a:gd name="connsiteY92" fmla="*/ 5689472 h 7305087"/>
              <a:gd name="connsiteX93" fmla="*/ 6233066 w 8266922"/>
              <a:gd name="connsiteY93" fmla="*/ 5674432 h 7305087"/>
              <a:gd name="connsiteX94" fmla="*/ 6293177 w 8266922"/>
              <a:gd name="connsiteY94" fmla="*/ 5632372 h 7305087"/>
              <a:gd name="connsiteX95" fmla="*/ 6338757 w 8266922"/>
              <a:gd name="connsiteY95" fmla="*/ 5575128 h 7305087"/>
              <a:gd name="connsiteX96" fmla="*/ 6356662 w 8266922"/>
              <a:gd name="connsiteY96" fmla="*/ 5541107 h 7305087"/>
              <a:gd name="connsiteX97" fmla="*/ 6371614 w 8266922"/>
              <a:gd name="connsiteY97" fmla="*/ 5503645 h 7305087"/>
              <a:gd name="connsiteX98" fmla="*/ 6383838 w 8266922"/>
              <a:gd name="connsiteY98" fmla="*/ 5462861 h 7305087"/>
              <a:gd name="connsiteX99" fmla="*/ 6393561 w 8266922"/>
              <a:gd name="connsiteY99" fmla="*/ 5418871 h 7305087"/>
              <a:gd name="connsiteX100" fmla="*/ 6401008 w 8266922"/>
              <a:gd name="connsiteY100" fmla="*/ 5371794 h 7305087"/>
              <a:gd name="connsiteX101" fmla="*/ 6406407 w 8266922"/>
              <a:gd name="connsiteY101" fmla="*/ 5321750 h 7305087"/>
              <a:gd name="connsiteX102" fmla="*/ 6409983 w 8266922"/>
              <a:gd name="connsiteY102" fmla="*/ 5268855 h 7305087"/>
              <a:gd name="connsiteX103" fmla="*/ 6411962 w 8266922"/>
              <a:gd name="connsiteY103" fmla="*/ 5213228 h 7305087"/>
              <a:gd name="connsiteX104" fmla="*/ 6412572 w 8266922"/>
              <a:gd name="connsiteY104" fmla="*/ 5154988 h 7305087"/>
              <a:gd name="connsiteX105" fmla="*/ 6411930 w 8266922"/>
              <a:gd name="connsiteY105" fmla="*/ 5097319 h 7305087"/>
              <a:gd name="connsiteX106" fmla="*/ 6409860 w 8266922"/>
              <a:gd name="connsiteY106" fmla="*/ 5042230 h 7305087"/>
              <a:gd name="connsiteX107" fmla="*/ 6406150 w 8266922"/>
              <a:gd name="connsiteY107" fmla="*/ 4989837 h 7305087"/>
              <a:gd name="connsiteX108" fmla="*/ 6400584 w 8266922"/>
              <a:gd name="connsiteY108" fmla="*/ 4940261 h 7305087"/>
              <a:gd name="connsiteX109" fmla="*/ 6392949 w 8266922"/>
              <a:gd name="connsiteY109" fmla="*/ 4893617 h 7305087"/>
              <a:gd name="connsiteX110" fmla="*/ 6383031 w 8266922"/>
              <a:gd name="connsiteY110" fmla="*/ 4850025 h 7305087"/>
              <a:gd name="connsiteX111" fmla="*/ 6370615 w 8266922"/>
              <a:gd name="connsiteY111" fmla="*/ 4809604 h 7305087"/>
              <a:gd name="connsiteX112" fmla="*/ 6355488 w 8266922"/>
              <a:gd name="connsiteY112" fmla="*/ 4772472 h 7305087"/>
              <a:gd name="connsiteX113" fmla="*/ 6337435 w 8266922"/>
              <a:gd name="connsiteY113" fmla="*/ 4738746 h 7305087"/>
              <a:gd name="connsiteX114" fmla="*/ 6291697 w 8266922"/>
              <a:gd name="connsiteY114" fmla="*/ 4681987 h 7305087"/>
              <a:gd name="connsiteX115" fmla="*/ 6231688 w 8266922"/>
              <a:gd name="connsiteY115" fmla="*/ 4640273 h 7305087"/>
              <a:gd name="connsiteX116" fmla="*/ 6195796 w 8266922"/>
              <a:gd name="connsiteY116" fmla="*/ 4625355 h 7305087"/>
              <a:gd name="connsiteX117" fmla="*/ 6155695 w 8266922"/>
              <a:gd name="connsiteY117" fmla="*/ 4614552 h 7305087"/>
              <a:gd name="connsiteX118" fmla="*/ 6111170 w 8266922"/>
              <a:gd name="connsiteY118" fmla="*/ 4607983 h 7305087"/>
              <a:gd name="connsiteX119" fmla="*/ 6062007 w 8266922"/>
              <a:gd name="connsiteY119" fmla="*/ 4605768 h 7305087"/>
              <a:gd name="connsiteX120" fmla="*/ 5970138 w 8266922"/>
              <a:gd name="connsiteY120" fmla="*/ 4507277 h 7305087"/>
              <a:gd name="connsiteX121" fmla="*/ 5970138 w 8266922"/>
              <a:gd name="connsiteY121" fmla="*/ 4605768 h 7305087"/>
              <a:gd name="connsiteX122" fmla="*/ 5921252 w 8266922"/>
              <a:gd name="connsiteY122" fmla="*/ 4607983 h 7305087"/>
              <a:gd name="connsiteX123" fmla="*/ 5876971 w 8266922"/>
              <a:gd name="connsiteY123" fmla="*/ 4614552 h 7305087"/>
              <a:gd name="connsiteX124" fmla="*/ 5837085 w 8266922"/>
              <a:gd name="connsiteY124" fmla="*/ 4625355 h 7305087"/>
              <a:gd name="connsiteX125" fmla="*/ 5801379 w 8266922"/>
              <a:gd name="connsiteY125" fmla="*/ 4640273 h 7305087"/>
              <a:gd name="connsiteX126" fmla="*/ 5741664 w 8266922"/>
              <a:gd name="connsiteY126" fmla="*/ 4681987 h 7305087"/>
              <a:gd name="connsiteX127" fmla="*/ 5696130 w 8266922"/>
              <a:gd name="connsiteY127" fmla="*/ 4738746 h 7305087"/>
              <a:gd name="connsiteX128" fmla="*/ 5678151 w 8266922"/>
              <a:gd name="connsiteY128" fmla="*/ 4772472 h 7305087"/>
              <a:gd name="connsiteX129" fmla="*/ 5663081 w 8266922"/>
              <a:gd name="connsiteY129" fmla="*/ 4809604 h 7305087"/>
              <a:gd name="connsiteX130" fmla="*/ 5650709 w 8266922"/>
              <a:gd name="connsiteY130" fmla="*/ 4850025 h 7305087"/>
              <a:gd name="connsiteX131" fmla="*/ 5640821 w 8266922"/>
              <a:gd name="connsiteY131" fmla="*/ 4893617 h 7305087"/>
              <a:gd name="connsiteX132" fmla="*/ 5633207 w 8266922"/>
              <a:gd name="connsiteY132" fmla="*/ 4940261 h 7305087"/>
              <a:gd name="connsiteX133" fmla="*/ 5627654 w 8266922"/>
              <a:gd name="connsiteY133" fmla="*/ 4989837 h 7305087"/>
              <a:gd name="connsiteX134" fmla="*/ 5623950 w 8266922"/>
              <a:gd name="connsiteY134" fmla="*/ 5042230 h 7305087"/>
              <a:gd name="connsiteX135" fmla="*/ 5621883 w 8266922"/>
              <a:gd name="connsiteY135" fmla="*/ 5097319 h 7305087"/>
              <a:gd name="connsiteX136" fmla="*/ 5621241 w 8266922"/>
              <a:gd name="connsiteY136" fmla="*/ 5154988 h 7305087"/>
              <a:gd name="connsiteX137" fmla="*/ 5621867 w 8266922"/>
              <a:gd name="connsiteY137" fmla="*/ 5213228 h 7305087"/>
              <a:gd name="connsiteX138" fmla="*/ 5623889 w 8266922"/>
              <a:gd name="connsiteY138" fmla="*/ 5268855 h 7305087"/>
              <a:gd name="connsiteX139" fmla="*/ 5627526 w 8266922"/>
              <a:gd name="connsiteY139" fmla="*/ 5321750 h 7305087"/>
              <a:gd name="connsiteX140" fmla="*/ 5632995 w 8266922"/>
              <a:gd name="connsiteY140" fmla="*/ 5371794 h 7305087"/>
              <a:gd name="connsiteX141" fmla="*/ 5640516 w 8266922"/>
              <a:gd name="connsiteY141" fmla="*/ 5418871 h 7305087"/>
              <a:gd name="connsiteX142" fmla="*/ 5650305 w 8266922"/>
              <a:gd name="connsiteY142" fmla="*/ 5462861 h 7305087"/>
              <a:gd name="connsiteX143" fmla="*/ 5662582 w 8266922"/>
              <a:gd name="connsiteY143" fmla="*/ 5503645 h 7305087"/>
              <a:gd name="connsiteX144" fmla="*/ 5677564 w 8266922"/>
              <a:gd name="connsiteY144" fmla="*/ 5541107 h 7305087"/>
              <a:gd name="connsiteX145" fmla="*/ 5695470 w 8266922"/>
              <a:gd name="connsiteY145" fmla="*/ 5575128 h 7305087"/>
              <a:gd name="connsiteX146" fmla="*/ 5740924 w 8266922"/>
              <a:gd name="connsiteY146" fmla="*/ 5632372 h 7305087"/>
              <a:gd name="connsiteX147" fmla="*/ 5800690 w 8266922"/>
              <a:gd name="connsiteY147" fmla="*/ 5674432 h 7305087"/>
              <a:gd name="connsiteX148" fmla="*/ 5836485 w 8266922"/>
              <a:gd name="connsiteY148" fmla="*/ 5689472 h 7305087"/>
              <a:gd name="connsiteX149" fmla="*/ 5876513 w 8266922"/>
              <a:gd name="connsiteY149" fmla="*/ 5700361 h 7305087"/>
              <a:gd name="connsiteX150" fmla="*/ 5920991 w 8266922"/>
              <a:gd name="connsiteY150" fmla="*/ 5706982 h 7305087"/>
              <a:gd name="connsiteX151" fmla="*/ 5970138 w 8266922"/>
              <a:gd name="connsiteY151" fmla="*/ 5709215 h 7305087"/>
              <a:gd name="connsiteX152" fmla="*/ 5970138 w 8266922"/>
              <a:gd name="connsiteY152" fmla="*/ 5806038 h 7305087"/>
              <a:gd name="connsiteX153" fmla="*/ 5916615 w 8266922"/>
              <a:gd name="connsiteY153" fmla="*/ 5804149 h 7305087"/>
              <a:gd name="connsiteX154" fmla="*/ 5867135 w 8266922"/>
              <a:gd name="connsiteY154" fmla="*/ 5798536 h 7305087"/>
              <a:gd name="connsiteX155" fmla="*/ 5821555 w 8266922"/>
              <a:gd name="connsiteY155" fmla="*/ 5789282 h 7305087"/>
              <a:gd name="connsiteX156" fmla="*/ 5779737 w 8266922"/>
              <a:gd name="connsiteY156" fmla="*/ 5776470 h 7305087"/>
              <a:gd name="connsiteX157" fmla="*/ 5741540 w 8266922"/>
              <a:gd name="connsiteY157" fmla="*/ 5760183 h 7305087"/>
              <a:gd name="connsiteX158" fmla="*/ 5706823 w 8266922"/>
              <a:gd name="connsiteY158" fmla="*/ 5740502 h 7305087"/>
              <a:gd name="connsiteX159" fmla="*/ 5675446 w 8266922"/>
              <a:gd name="connsiteY159" fmla="*/ 5717511 h 7305087"/>
              <a:gd name="connsiteX160" fmla="*/ 5647270 w 8266922"/>
              <a:gd name="connsiteY160" fmla="*/ 5691293 h 7305087"/>
              <a:gd name="connsiteX161" fmla="*/ 5622154 w 8266922"/>
              <a:gd name="connsiteY161" fmla="*/ 5661929 h 7305087"/>
              <a:gd name="connsiteX162" fmla="*/ 5599957 w 8266922"/>
              <a:gd name="connsiteY162" fmla="*/ 5629503 h 7305087"/>
              <a:gd name="connsiteX163" fmla="*/ 5580540 w 8266922"/>
              <a:gd name="connsiteY163" fmla="*/ 5594097 h 7305087"/>
              <a:gd name="connsiteX164" fmla="*/ 5563762 w 8266922"/>
              <a:gd name="connsiteY164" fmla="*/ 5555794 h 7305087"/>
              <a:gd name="connsiteX165" fmla="*/ 5549483 w 8266922"/>
              <a:gd name="connsiteY165" fmla="*/ 5514676 h 7305087"/>
              <a:gd name="connsiteX166" fmla="*/ 5537563 w 8266922"/>
              <a:gd name="connsiteY166" fmla="*/ 5470827 h 7305087"/>
              <a:gd name="connsiteX167" fmla="*/ 5527862 w 8266922"/>
              <a:gd name="connsiteY167" fmla="*/ 5424328 h 7305087"/>
              <a:gd name="connsiteX168" fmla="*/ 5520239 w 8266922"/>
              <a:gd name="connsiteY168" fmla="*/ 5375263 h 7305087"/>
              <a:gd name="connsiteX169" fmla="*/ 5514554 w 8266922"/>
              <a:gd name="connsiteY169" fmla="*/ 5323713 h 7305087"/>
              <a:gd name="connsiteX170" fmla="*/ 5510667 w 8266922"/>
              <a:gd name="connsiteY170" fmla="*/ 5269763 h 7305087"/>
              <a:gd name="connsiteX171" fmla="*/ 5508437 w 8266922"/>
              <a:gd name="connsiteY171" fmla="*/ 5213493 h 7305087"/>
              <a:gd name="connsiteX172" fmla="*/ 5507726 w 8266922"/>
              <a:gd name="connsiteY172" fmla="*/ 5154988 h 7305087"/>
              <a:gd name="connsiteX173" fmla="*/ 5508461 w 8266922"/>
              <a:gd name="connsiteY173" fmla="*/ 5096732 h 7305087"/>
              <a:gd name="connsiteX174" fmla="*/ 5510757 w 8266922"/>
              <a:gd name="connsiteY174" fmla="*/ 5040712 h 7305087"/>
              <a:gd name="connsiteX175" fmla="*/ 5514746 w 8266922"/>
              <a:gd name="connsiteY175" fmla="*/ 4987008 h 7305087"/>
              <a:gd name="connsiteX176" fmla="*/ 5520559 w 8266922"/>
              <a:gd name="connsiteY176" fmla="*/ 4935701 h 7305087"/>
              <a:gd name="connsiteX177" fmla="*/ 5528332 w 8266922"/>
              <a:gd name="connsiteY177" fmla="*/ 4886873 h 7305087"/>
              <a:gd name="connsiteX178" fmla="*/ 5538195 w 8266922"/>
              <a:gd name="connsiteY178" fmla="*/ 4840605 h 7305087"/>
              <a:gd name="connsiteX179" fmla="*/ 5550281 w 8266922"/>
              <a:gd name="connsiteY179" fmla="*/ 4796980 h 7305087"/>
              <a:gd name="connsiteX180" fmla="*/ 5564724 w 8266922"/>
              <a:gd name="connsiteY180" fmla="*/ 4756077 h 7305087"/>
              <a:gd name="connsiteX181" fmla="*/ 5581656 w 8266922"/>
              <a:gd name="connsiteY181" fmla="*/ 4717980 h 7305087"/>
              <a:gd name="connsiteX182" fmla="*/ 5601209 w 8266922"/>
              <a:gd name="connsiteY182" fmla="*/ 4682768 h 7305087"/>
              <a:gd name="connsiteX183" fmla="*/ 5623517 w 8266922"/>
              <a:gd name="connsiteY183" fmla="*/ 4650523 h 7305087"/>
              <a:gd name="connsiteX184" fmla="*/ 5648713 w 8266922"/>
              <a:gd name="connsiteY184" fmla="*/ 4621327 h 7305087"/>
              <a:gd name="connsiteX185" fmla="*/ 5676928 w 8266922"/>
              <a:gd name="connsiteY185" fmla="*/ 4595261 h 7305087"/>
              <a:gd name="connsiteX186" fmla="*/ 5708295 w 8266922"/>
              <a:gd name="connsiteY186" fmla="*/ 4572406 h 7305087"/>
              <a:gd name="connsiteX187" fmla="*/ 5742948 w 8266922"/>
              <a:gd name="connsiteY187" fmla="*/ 4552845 h 7305087"/>
              <a:gd name="connsiteX188" fmla="*/ 5781019 w 8266922"/>
              <a:gd name="connsiteY188" fmla="*/ 4536657 h 7305087"/>
              <a:gd name="connsiteX189" fmla="*/ 5822641 w 8266922"/>
              <a:gd name="connsiteY189" fmla="*/ 4523925 h 7305087"/>
              <a:gd name="connsiteX190" fmla="*/ 5867946 w 8266922"/>
              <a:gd name="connsiteY190" fmla="*/ 4514730 h 7305087"/>
              <a:gd name="connsiteX191" fmla="*/ 5917067 w 8266922"/>
              <a:gd name="connsiteY191" fmla="*/ 4509153 h 7305087"/>
              <a:gd name="connsiteX192" fmla="*/ 2916306 w 8266922"/>
              <a:gd name="connsiteY192" fmla="*/ 4507277 h 7305087"/>
              <a:gd name="connsiteX193" fmla="*/ 2969376 w 8266922"/>
              <a:gd name="connsiteY193" fmla="*/ 4509153 h 7305087"/>
              <a:gd name="connsiteX194" fmla="*/ 3018497 w 8266922"/>
              <a:gd name="connsiteY194" fmla="*/ 4514730 h 7305087"/>
              <a:gd name="connsiteX195" fmla="*/ 3063803 w 8266922"/>
              <a:gd name="connsiteY195" fmla="*/ 4523925 h 7305087"/>
              <a:gd name="connsiteX196" fmla="*/ 3105426 w 8266922"/>
              <a:gd name="connsiteY196" fmla="*/ 4536657 h 7305087"/>
              <a:gd name="connsiteX197" fmla="*/ 3143497 w 8266922"/>
              <a:gd name="connsiteY197" fmla="*/ 4552845 h 7305087"/>
              <a:gd name="connsiteX198" fmla="*/ 3178150 w 8266922"/>
              <a:gd name="connsiteY198" fmla="*/ 4572406 h 7305087"/>
              <a:gd name="connsiteX199" fmla="*/ 3209516 w 8266922"/>
              <a:gd name="connsiteY199" fmla="*/ 4595261 h 7305087"/>
              <a:gd name="connsiteX200" fmla="*/ 3237732 w 8266922"/>
              <a:gd name="connsiteY200" fmla="*/ 4621327 h 7305087"/>
              <a:gd name="connsiteX201" fmla="*/ 3262928 w 8266922"/>
              <a:gd name="connsiteY201" fmla="*/ 4650523 h 7305087"/>
              <a:gd name="connsiteX202" fmla="*/ 3285236 w 8266922"/>
              <a:gd name="connsiteY202" fmla="*/ 4682768 h 7305087"/>
              <a:gd name="connsiteX203" fmla="*/ 3304789 w 8266922"/>
              <a:gd name="connsiteY203" fmla="*/ 4717980 h 7305087"/>
              <a:gd name="connsiteX204" fmla="*/ 3321718 w 8266922"/>
              <a:gd name="connsiteY204" fmla="*/ 4756077 h 7305087"/>
              <a:gd name="connsiteX205" fmla="*/ 3336161 w 8266922"/>
              <a:gd name="connsiteY205" fmla="*/ 4796980 h 7305087"/>
              <a:gd name="connsiteX206" fmla="*/ 3348248 w 8266922"/>
              <a:gd name="connsiteY206" fmla="*/ 4840605 h 7305087"/>
              <a:gd name="connsiteX207" fmla="*/ 3358111 w 8266922"/>
              <a:gd name="connsiteY207" fmla="*/ 4886873 h 7305087"/>
              <a:gd name="connsiteX208" fmla="*/ 3365883 w 8266922"/>
              <a:gd name="connsiteY208" fmla="*/ 4935701 h 7305087"/>
              <a:gd name="connsiteX209" fmla="*/ 3371697 w 8266922"/>
              <a:gd name="connsiteY209" fmla="*/ 4987008 h 7305087"/>
              <a:gd name="connsiteX210" fmla="*/ 3375685 w 8266922"/>
              <a:gd name="connsiteY210" fmla="*/ 5040712 h 7305087"/>
              <a:gd name="connsiteX211" fmla="*/ 3377981 w 8266922"/>
              <a:gd name="connsiteY211" fmla="*/ 5096732 h 7305087"/>
              <a:gd name="connsiteX212" fmla="*/ 3378717 w 8266922"/>
              <a:gd name="connsiteY212" fmla="*/ 5154988 h 7305087"/>
              <a:gd name="connsiteX213" fmla="*/ 3378017 w 8266922"/>
              <a:gd name="connsiteY213" fmla="*/ 5213493 h 7305087"/>
              <a:gd name="connsiteX214" fmla="*/ 3375820 w 8266922"/>
              <a:gd name="connsiteY214" fmla="*/ 5269763 h 7305087"/>
              <a:gd name="connsiteX215" fmla="*/ 3371984 w 8266922"/>
              <a:gd name="connsiteY215" fmla="*/ 5323713 h 7305087"/>
              <a:gd name="connsiteX216" fmla="*/ 3366363 w 8266922"/>
              <a:gd name="connsiteY216" fmla="*/ 5375263 h 7305087"/>
              <a:gd name="connsiteX217" fmla="*/ 3358815 w 8266922"/>
              <a:gd name="connsiteY217" fmla="*/ 5424328 h 7305087"/>
              <a:gd name="connsiteX218" fmla="*/ 3349194 w 8266922"/>
              <a:gd name="connsiteY218" fmla="*/ 5470827 h 7305087"/>
              <a:gd name="connsiteX219" fmla="*/ 3337357 w 8266922"/>
              <a:gd name="connsiteY219" fmla="*/ 5514676 h 7305087"/>
              <a:gd name="connsiteX220" fmla="*/ 3323160 w 8266922"/>
              <a:gd name="connsiteY220" fmla="*/ 5555794 h 7305087"/>
              <a:gd name="connsiteX221" fmla="*/ 3306462 w 8266922"/>
              <a:gd name="connsiteY221" fmla="*/ 5594097 h 7305087"/>
              <a:gd name="connsiteX222" fmla="*/ 3287114 w 8266922"/>
              <a:gd name="connsiteY222" fmla="*/ 5629503 h 7305087"/>
              <a:gd name="connsiteX223" fmla="*/ 3264973 w 8266922"/>
              <a:gd name="connsiteY223" fmla="*/ 5661929 h 7305087"/>
              <a:gd name="connsiteX224" fmla="*/ 3239895 w 8266922"/>
              <a:gd name="connsiteY224" fmla="*/ 5691293 h 7305087"/>
              <a:gd name="connsiteX225" fmla="*/ 3211738 w 8266922"/>
              <a:gd name="connsiteY225" fmla="*/ 5717511 h 7305087"/>
              <a:gd name="connsiteX226" fmla="*/ 3180357 w 8266922"/>
              <a:gd name="connsiteY226" fmla="*/ 5740502 h 7305087"/>
              <a:gd name="connsiteX227" fmla="*/ 3145609 w 8266922"/>
              <a:gd name="connsiteY227" fmla="*/ 5760183 h 7305087"/>
              <a:gd name="connsiteX228" fmla="*/ 3107348 w 8266922"/>
              <a:gd name="connsiteY228" fmla="*/ 5776470 h 7305087"/>
              <a:gd name="connsiteX229" fmla="*/ 3065431 w 8266922"/>
              <a:gd name="connsiteY229" fmla="*/ 5789282 h 7305087"/>
              <a:gd name="connsiteX230" fmla="*/ 3019716 w 8266922"/>
              <a:gd name="connsiteY230" fmla="*/ 5798536 h 7305087"/>
              <a:gd name="connsiteX231" fmla="*/ 2970054 w 8266922"/>
              <a:gd name="connsiteY231" fmla="*/ 5804149 h 7305087"/>
              <a:gd name="connsiteX232" fmla="*/ 2916306 w 8266922"/>
              <a:gd name="connsiteY232" fmla="*/ 5806038 h 7305087"/>
              <a:gd name="connsiteX233" fmla="*/ 2916306 w 8266922"/>
              <a:gd name="connsiteY233" fmla="*/ 5709215 h 7305087"/>
              <a:gd name="connsiteX234" fmla="*/ 2965992 w 8266922"/>
              <a:gd name="connsiteY234" fmla="*/ 5706982 h 7305087"/>
              <a:gd name="connsiteX235" fmla="*/ 3010913 w 8266922"/>
              <a:gd name="connsiteY235" fmla="*/ 5700361 h 7305087"/>
              <a:gd name="connsiteX236" fmla="*/ 3051294 w 8266922"/>
              <a:gd name="connsiteY236" fmla="*/ 5689472 h 7305087"/>
              <a:gd name="connsiteX237" fmla="*/ 3087367 w 8266922"/>
              <a:gd name="connsiteY237" fmla="*/ 5674432 h 7305087"/>
              <a:gd name="connsiteX238" fmla="*/ 3147477 w 8266922"/>
              <a:gd name="connsiteY238" fmla="*/ 5632372 h 7305087"/>
              <a:gd name="connsiteX239" fmla="*/ 3193057 w 8266922"/>
              <a:gd name="connsiteY239" fmla="*/ 5575128 h 7305087"/>
              <a:gd name="connsiteX240" fmla="*/ 3210963 w 8266922"/>
              <a:gd name="connsiteY240" fmla="*/ 5541107 h 7305087"/>
              <a:gd name="connsiteX241" fmla="*/ 3225916 w 8266922"/>
              <a:gd name="connsiteY241" fmla="*/ 5503645 h 7305087"/>
              <a:gd name="connsiteX242" fmla="*/ 3238139 w 8266922"/>
              <a:gd name="connsiteY242" fmla="*/ 5462861 h 7305087"/>
              <a:gd name="connsiteX243" fmla="*/ 3247862 w 8266922"/>
              <a:gd name="connsiteY243" fmla="*/ 5418871 h 7305087"/>
              <a:gd name="connsiteX244" fmla="*/ 3255309 w 8266922"/>
              <a:gd name="connsiteY244" fmla="*/ 5371794 h 7305087"/>
              <a:gd name="connsiteX245" fmla="*/ 3260708 w 8266922"/>
              <a:gd name="connsiteY245" fmla="*/ 5321750 h 7305087"/>
              <a:gd name="connsiteX246" fmla="*/ 3264284 w 8266922"/>
              <a:gd name="connsiteY246" fmla="*/ 5268855 h 7305087"/>
              <a:gd name="connsiteX247" fmla="*/ 3266263 w 8266922"/>
              <a:gd name="connsiteY247" fmla="*/ 5213228 h 7305087"/>
              <a:gd name="connsiteX248" fmla="*/ 3266872 w 8266922"/>
              <a:gd name="connsiteY248" fmla="*/ 5154988 h 7305087"/>
              <a:gd name="connsiteX249" fmla="*/ 3266231 w 8266922"/>
              <a:gd name="connsiteY249" fmla="*/ 5097319 h 7305087"/>
              <a:gd name="connsiteX250" fmla="*/ 3264161 w 8266922"/>
              <a:gd name="connsiteY250" fmla="*/ 5042230 h 7305087"/>
              <a:gd name="connsiteX251" fmla="*/ 3260451 w 8266922"/>
              <a:gd name="connsiteY251" fmla="*/ 4989837 h 7305087"/>
              <a:gd name="connsiteX252" fmla="*/ 3254885 w 8266922"/>
              <a:gd name="connsiteY252" fmla="*/ 4940261 h 7305087"/>
              <a:gd name="connsiteX253" fmla="*/ 3247250 w 8266922"/>
              <a:gd name="connsiteY253" fmla="*/ 4893617 h 7305087"/>
              <a:gd name="connsiteX254" fmla="*/ 3237332 w 8266922"/>
              <a:gd name="connsiteY254" fmla="*/ 4850025 h 7305087"/>
              <a:gd name="connsiteX255" fmla="*/ 3224916 w 8266922"/>
              <a:gd name="connsiteY255" fmla="*/ 4809604 h 7305087"/>
              <a:gd name="connsiteX256" fmla="*/ 3209789 w 8266922"/>
              <a:gd name="connsiteY256" fmla="*/ 4772472 h 7305087"/>
              <a:gd name="connsiteX257" fmla="*/ 3191735 w 8266922"/>
              <a:gd name="connsiteY257" fmla="*/ 4738746 h 7305087"/>
              <a:gd name="connsiteX258" fmla="*/ 3145998 w 8266922"/>
              <a:gd name="connsiteY258" fmla="*/ 4681987 h 7305087"/>
              <a:gd name="connsiteX259" fmla="*/ 3085988 w 8266922"/>
              <a:gd name="connsiteY259" fmla="*/ 4640273 h 7305087"/>
              <a:gd name="connsiteX260" fmla="*/ 3050095 w 8266922"/>
              <a:gd name="connsiteY260" fmla="*/ 4625355 h 7305087"/>
              <a:gd name="connsiteX261" fmla="*/ 3009995 w 8266922"/>
              <a:gd name="connsiteY261" fmla="*/ 4614552 h 7305087"/>
              <a:gd name="connsiteX262" fmla="*/ 2965470 w 8266922"/>
              <a:gd name="connsiteY262" fmla="*/ 4607983 h 7305087"/>
              <a:gd name="connsiteX263" fmla="*/ 2916306 w 8266922"/>
              <a:gd name="connsiteY263" fmla="*/ 4605768 h 7305087"/>
              <a:gd name="connsiteX264" fmla="*/ 2824439 w 8266922"/>
              <a:gd name="connsiteY264" fmla="*/ 4507277 h 7305087"/>
              <a:gd name="connsiteX265" fmla="*/ 2824439 w 8266922"/>
              <a:gd name="connsiteY265" fmla="*/ 4605768 h 7305087"/>
              <a:gd name="connsiteX266" fmla="*/ 2775553 w 8266922"/>
              <a:gd name="connsiteY266" fmla="*/ 4607983 h 7305087"/>
              <a:gd name="connsiteX267" fmla="*/ 2731271 w 8266922"/>
              <a:gd name="connsiteY267" fmla="*/ 4614552 h 7305087"/>
              <a:gd name="connsiteX268" fmla="*/ 2691385 w 8266922"/>
              <a:gd name="connsiteY268" fmla="*/ 4625355 h 7305087"/>
              <a:gd name="connsiteX269" fmla="*/ 2655680 w 8266922"/>
              <a:gd name="connsiteY269" fmla="*/ 4640273 h 7305087"/>
              <a:gd name="connsiteX270" fmla="*/ 2595965 w 8266922"/>
              <a:gd name="connsiteY270" fmla="*/ 4681987 h 7305087"/>
              <a:gd name="connsiteX271" fmla="*/ 2550430 w 8266922"/>
              <a:gd name="connsiteY271" fmla="*/ 4738746 h 7305087"/>
              <a:gd name="connsiteX272" fmla="*/ 2532451 w 8266922"/>
              <a:gd name="connsiteY272" fmla="*/ 4772472 h 7305087"/>
              <a:gd name="connsiteX273" fmla="*/ 2517381 w 8266922"/>
              <a:gd name="connsiteY273" fmla="*/ 4809604 h 7305087"/>
              <a:gd name="connsiteX274" fmla="*/ 2505009 w 8266922"/>
              <a:gd name="connsiteY274" fmla="*/ 4850025 h 7305087"/>
              <a:gd name="connsiteX275" fmla="*/ 2495121 w 8266922"/>
              <a:gd name="connsiteY275" fmla="*/ 4893617 h 7305087"/>
              <a:gd name="connsiteX276" fmla="*/ 2487508 w 8266922"/>
              <a:gd name="connsiteY276" fmla="*/ 4940261 h 7305087"/>
              <a:gd name="connsiteX277" fmla="*/ 2481955 w 8266922"/>
              <a:gd name="connsiteY277" fmla="*/ 4989837 h 7305087"/>
              <a:gd name="connsiteX278" fmla="*/ 2478251 w 8266922"/>
              <a:gd name="connsiteY278" fmla="*/ 5042230 h 7305087"/>
              <a:gd name="connsiteX279" fmla="*/ 2476183 w 8266922"/>
              <a:gd name="connsiteY279" fmla="*/ 5097319 h 7305087"/>
              <a:gd name="connsiteX280" fmla="*/ 2475541 w 8266922"/>
              <a:gd name="connsiteY280" fmla="*/ 5154988 h 7305087"/>
              <a:gd name="connsiteX281" fmla="*/ 2476168 w 8266922"/>
              <a:gd name="connsiteY281" fmla="*/ 5213228 h 7305087"/>
              <a:gd name="connsiteX282" fmla="*/ 2478189 w 8266922"/>
              <a:gd name="connsiteY282" fmla="*/ 5268855 h 7305087"/>
              <a:gd name="connsiteX283" fmla="*/ 2481827 w 8266922"/>
              <a:gd name="connsiteY283" fmla="*/ 5321750 h 7305087"/>
              <a:gd name="connsiteX284" fmla="*/ 2487296 w 8266922"/>
              <a:gd name="connsiteY284" fmla="*/ 5371794 h 7305087"/>
              <a:gd name="connsiteX285" fmla="*/ 2494816 w 8266922"/>
              <a:gd name="connsiteY285" fmla="*/ 5418871 h 7305087"/>
              <a:gd name="connsiteX286" fmla="*/ 2504605 w 8266922"/>
              <a:gd name="connsiteY286" fmla="*/ 5462861 h 7305087"/>
              <a:gd name="connsiteX287" fmla="*/ 2516882 w 8266922"/>
              <a:gd name="connsiteY287" fmla="*/ 5503645 h 7305087"/>
              <a:gd name="connsiteX288" fmla="*/ 2531865 w 8266922"/>
              <a:gd name="connsiteY288" fmla="*/ 5541107 h 7305087"/>
              <a:gd name="connsiteX289" fmla="*/ 2549770 w 8266922"/>
              <a:gd name="connsiteY289" fmla="*/ 5575128 h 7305087"/>
              <a:gd name="connsiteX290" fmla="*/ 2595224 w 8266922"/>
              <a:gd name="connsiteY290" fmla="*/ 5632372 h 7305087"/>
              <a:gd name="connsiteX291" fmla="*/ 2654990 w 8266922"/>
              <a:gd name="connsiteY291" fmla="*/ 5674432 h 7305087"/>
              <a:gd name="connsiteX292" fmla="*/ 2690785 w 8266922"/>
              <a:gd name="connsiteY292" fmla="*/ 5689472 h 7305087"/>
              <a:gd name="connsiteX293" fmla="*/ 2730814 w 8266922"/>
              <a:gd name="connsiteY293" fmla="*/ 5700361 h 7305087"/>
              <a:gd name="connsiteX294" fmla="*/ 2775291 w 8266922"/>
              <a:gd name="connsiteY294" fmla="*/ 5706982 h 7305087"/>
              <a:gd name="connsiteX295" fmla="*/ 2824439 w 8266922"/>
              <a:gd name="connsiteY295" fmla="*/ 5709215 h 7305087"/>
              <a:gd name="connsiteX296" fmla="*/ 2824439 w 8266922"/>
              <a:gd name="connsiteY296" fmla="*/ 5806038 h 7305087"/>
              <a:gd name="connsiteX297" fmla="*/ 2770915 w 8266922"/>
              <a:gd name="connsiteY297" fmla="*/ 5804149 h 7305087"/>
              <a:gd name="connsiteX298" fmla="*/ 2721436 w 8266922"/>
              <a:gd name="connsiteY298" fmla="*/ 5798536 h 7305087"/>
              <a:gd name="connsiteX299" fmla="*/ 2675855 w 8266922"/>
              <a:gd name="connsiteY299" fmla="*/ 5789282 h 7305087"/>
              <a:gd name="connsiteX300" fmla="*/ 2634037 w 8266922"/>
              <a:gd name="connsiteY300" fmla="*/ 5776470 h 7305087"/>
              <a:gd name="connsiteX301" fmla="*/ 2595840 w 8266922"/>
              <a:gd name="connsiteY301" fmla="*/ 5760183 h 7305087"/>
              <a:gd name="connsiteX302" fmla="*/ 2561122 w 8266922"/>
              <a:gd name="connsiteY302" fmla="*/ 5740502 h 7305087"/>
              <a:gd name="connsiteX303" fmla="*/ 2529747 w 8266922"/>
              <a:gd name="connsiteY303" fmla="*/ 5717511 h 7305087"/>
              <a:gd name="connsiteX304" fmla="*/ 2501571 w 8266922"/>
              <a:gd name="connsiteY304" fmla="*/ 5691293 h 7305087"/>
              <a:gd name="connsiteX305" fmla="*/ 2476454 w 8266922"/>
              <a:gd name="connsiteY305" fmla="*/ 5661929 h 7305087"/>
              <a:gd name="connsiteX306" fmla="*/ 2454257 w 8266922"/>
              <a:gd name="connsiteY306" fmla="*/ 5629503 h 7305087"/>
              <a:gd name="connsiteX307" fmla="*/ 2434840 w 8266922"/>
              <a:gd name="connsiteY307" fmla="*/ 5594097 h 7305087"/>
              <a:gd name="connsiteX308" fmla="*/ 2418062 w 8266922"/>
              <a:gd name="connsiteY308" fmla="*/ 5555794 h 7305087"/>
              <a:gd name="connsiteX309" fmla="*/ 2403783 w 8266922"/>
              <a:gd name="connsiteY309" fmla="*/ 5514676 h 7305087"/>
              <a:gd name="connsiteX310" fmla="*/ 2391863 w 8266922"/>
              <a:gd name="connsiteY310" fmla="*/ 5470827 h 7305087"/>
              <a:gd name="connsiteX311" fmla="*/ 2382162 w 8266922"/>
              <a:gd name="connsiteY311" fmla="*/ 5424328 h 7305087"/>
              <a:gd name="connsiteX312" fmla="*/ 2374539 w 8266922"/>
              <a:gd name="connsiteY312" fmla="*/ 5375263 h 7305087"/>
              <a:gd name="connsiteX313" fmla="*/ 2368854 w 8266922"/>
              <a:gd name="connsiteY313" fmla="*/ 5323713 h 7305087"/>
              <a:gd name="connsiteX314" fmla="*/ 2364967 w 8266922"/>
              <a:gd name="connsiteY314" fmla="*/ 5269763 h 7305087"/>
              <a:gd name="connsiteX315" fmla="*/ 2362736 w 8266922"/>
              <a:gd name="connsiteY315" fmla="*/ 5213493 h 7305087"/>
              <a:gd name="connsiteX316" fmla="*/ 2362026 w 8266922"/>
              <a:gd name="connsiteY316" fmla="*/ 5154988 h 7305087"/>
              <a:gd name="connsiteX317" fmla="*/ 2362760 w 8266922"/>
              <a:gd name="connsiteY317" fmla="*/ 5096732 h 7305087"/>
              <a:gd name="connsiteX318" fmla="*/ 2365057 w 8266922"/>
              <a:gd name="connsiteY318" fmla="*/ 5040712 h 7305087"/>
              <a:gd name="connsiteX319" fmla="*/ 2369046 w 8266922"/>
              <a:gd name="connsiteY319" fmla="*/ 4987008 h 7305087"/>
              <a:gd name="connsiteX320" fmla="*/ 2374859 w 8266922"/>
              <a:gd name="connsiteY320" fmla="*/ 4935701 h 7305087"/>
              <a:gd name="connsiteX321" fmla="*/ 2382632 w 8266922"/>
              <a:gd name="connsiteY321" fmla="*/ 4886873 h 7305087"/>
              <a:gd name="connsiteX322" fmla="*/ 2392495 w 8266922"/>
              <a:gd name="connsiteY322" fmla="*/ 4840605 h 7305087"/>
              <a:gd name="connsiteX323" fmla="*/ 2404581 w 8266922"/>
              <a:gd name="connsiteY323" fmla="*/ 4796980 h 7305087"/>
              <a:gd name="connsiteX324" fmla="*/ 2419024 w 8266922"/>
              <a:gd name="connsiteY324" fmla="*/ 4756077 h 7305087"/>
              <a:gd name="connsiteX325" fmla="*/ 2435956 w 8266922"/>
              <a:gd name="connsiteY325" fmla="*/ 4717980 h 7305087"/>
              <a:gd name="connsiteX326" fmla="*/ 2455509 w 8266922"/>
              <a:gd name="connsiteY326" fmla="*/ 4682768 h 7305087"/>
              <a:gd name="connsiteX327" fmla="*/ 2477817 w 8266922"/>
              <a:gd name="connsiteY327" fmla="*/ 4650523 h 7305087"/>
              <a:gd name="connsiteX328" fmla="*/ 2503013 w 8266922"/>
              <a:gd name="connsiteY328" fmla="*/ 4621327 h 7305087"/>
              <a:gd name="connsiteX329" fmla="*/ 2531228 w 8266922"/>
              <a:gd name="connsiteY329" fmla="*/ 4595261 h 7305087"/>
              <a:gd name="connsiteX330" fmla="*/ 2562596 w 8266922"/>
              <a:gd name="connsiteY330" fmla="*/ 4572406 h 7305087"/>
              <a:gd name="connsiteX331" fmla="*/ 2597248 w 8266922"/>
              <a:gd name="connsiteY331" fmla="*/ 4552845 h 7305087"/>
              <a:gd name="connsiteX332" fmla="*/ 2635318 w 8266922"/>
              <a:gd name="connsiteY332" fmla="*/ 4536657 h 7305087"/>
              <a:gd name="connsiteX333" fmla="*/ 2676942 w 8266922"/>
              <a:gd name="connsiteY333" fmla="*/ 4523925 h 7305087"/>
              <a:gd name="connsiteX334" fmla="*/ 2722247 w 8266922"/>
              <a:gd name="connsiteY334" fmla="*/ 4514730 h 7305087"/>
              <a:gd name="connsiteX335" fmla="*/ 2771367 w 8266922"/>
              <a:gd name="connsiteY335" fmla="*/ 4509153 h 7305087"/>
              <a:gd name="connsiteX336" fmla="*/ 2506783 w 8266922"/>
              <a:gd name="connsiteY336" fmla="*/ 4026496 h 7305087"/>
              <a:gd name="connsiteX337" fmla="*/ 2549012 w 8266922"/>
              <a:gd name="connsiteY337" fmla="*/ 4030174 h 7305087"/>
              <a:gd name="connsiteX338" fmla="*/ 2581695 w 8266922"/>
              <a:gd name="connsiteY338" fmla="*/ 4043398 h 7305087"/>
              <a:gd name="connsiteX339" fmla="*/ 2602796 w 8266922"/>
              <a:gd name="connsiteY339" fmla="*/ 4069456 h 7305087"/>
              <a:gd name="connsiteX340" fmla="*/ 2610283 w 8266922"/>
              <a:gd name="connsiteY340" fmla="*/ 4111633 h 7305087"/>
              <a:gd name="connsiteX341" fmla="*/ 2602796 w 8266922"/>
              <a:gd name="connsiteY341" fmla="*/ 4155741 h 7305087"/>
              <a:gd name="connsiteX342" fmla="*/ 2581695 w 8266922"/>
              <a:gd name="connsiteY342" fmla="*/ 4182790 h 7305087"/>
              <a:gd name="connsiteX343" fmla="*/ 2549012 w 8266922"/>
              <a:gd name="connsiteY343" fmla="*/ 4196380 h 7305087"/>
              <a:gd name="connsiteX344" fmla="*/ 2506783 w 8266922"/>
              <a:gd name="connsiteY344" fmla="*/ 4200110 h 7305087"/>
              <a:gd name="connsiteX345" fmla="*/ 2464554 w 8266922"/>
              <a:gd name="connsiteY345" fmla="*/ 4196380 h 7305087"/>
              <a:gd name="connsiteX346" fmla="*/ 2431870 w 8266922"/>
              <a:gd name="connsiteY346" fmla="*/ 4182790 h 7305087"/>
              <a:gd name="connsiteX347" fmla="*/ 2410769 w 8266922"/>
              <a:gd name="connsiteY347" fmla="*/ 4155741 h 7305087"/>
              <a:gd name="connsiteX348" fmla="*/ 2403283 w 8266922"/>
              <a:gd name="connsiteY348" fmla="*/ 4111633 h 7305087"/>
              <a:gd name="connsiteX349" fmla="*/ 2411003 w 8266922"/>
              <a:gd name="connsiteY349" fmla="*/ 4069456 h 7305087"/>
              <a:gd name="connsiteX350" fmla="*/ 2432496 w 8266922"/>
              <a:gd name="connsiteY350" fmla="*/ 4043398 h 7305087"/>
              <a:gd name="connsiteX351" fmla="*/ 2465257 w 8266922"/>
              <a:gd name="connsiteY351" fmla="*/ 4030174 h 7305087"/>
              <a:gd name="connsiteX352" fmla="*/ 2506783 w 8266922"/>
              <a:gd name="connsiteY352" fmla="*/ 3325365 h 7305087"/>
              <a:gd name="connsiteX353" fmla="*/ 2549012 w 8266922"/>
              <a:gd name="connsiteY353" fmla="*/ 3328834 h 7305087"/>
              <a:gd name="connsiteX354" fmla="*/ 2581695 w 8266922"/>
              <a:gd name="connsiteY354" fmla="*/ 3341849 h 7305087"/>
              <a:gd name="connsiteX355" fmla="*/ 2602796 w 8266922"/>
              <a:gd name="connsiteY355" fmla="*/ 3368324 h 7305087"/>
              <a:gd name="connsiteX356" fmla="*/ 2610283 w 8266922"/>
              <a:gd name="connsiteY356" fmla="*/ 3412171 h 7305087"/>
              <a:gd name="connsiteX357" fmla="*/ 2602796 w 8266922"/>
              <a:gd name="connsiteY357" fmla="*/ 3454609 h 7305087"/>
              <a:gd name="connsiteX358" fmla="*/ 2581695 w 8266922"/>
              <a:gd name="connsiteY358" fmla="*/ 3481240 h 7305087"/>
              <a:gd name="connsiteX359" fmla="*/ 2549012 w 8266922"/>
              <a:gd name="connsiteY359" fmla="*/ 3495038 h 7305087"/>
              <a:gd name="connsiteX360" fmla="*/ 2506783 w 8266922"/>
              <a:gd name="connsiteY360" fmla="*/ 3498977 h 7305087"/>
              <a:gd name="connsiteX361" fmla="*/ 2465519 w 8266922"/>
              <a:gd name="connsiteY361" fmla="*/ 3495038 h 7305087"/>
              <a:gd name="connsiteX362" fmla="*/ 2433331 w 8266922"/>
              <a:gd name="connsiteY362" fmla="*/ 3481240 h 7305087"/>
              <a:gd name="connsiteX363" fmla="*/ 2412411 w 8266922"/>
              <a:gd name="connsiteY363" fmla="*/ 3454609 h 7305087"/>
              <a:gd name="connsiteX364" fmla="*/ 2404952 w 8266922"/>
              <a:gd name="connsiteY364" fmla="*/ 3412171 h 7305087"/>
              <a:gd name="connsiteX365" fmla="*/ 2412411 w 8266922"/>
              <a:gd name="connsiteY365" fmla="*/ 3368324 h 7305087"/>
              <a:gd name="connsiteX366" fmla="*/ 2433331 w 8266922"/>
              <a:gd name="connsiteY366" fmla="*/ 3341849 h 7305087"/>
              <a:gd name="connsiteX367" fmla="*/ 2465519 w 8266922"/>
              <a:gd name="connsiteY367" fmla="*/ 3328834 h 7305087"/>
              <a:gd name="connsiteX368" fmla="*/ 3576931 w 8266922"/>
              <a:gd name="connsiteY368" fmla="*/ 3011218 h 7305087"/>
              <a:gd name="connsiteX369" fmla="*/ 3950858 w 8266922"/>
              <a:gd name="connsiteY369" fmla="*/ 3011218 h 7305087"/>
              <a:gd name="connsiteX370" fmla="*/ 3950858 w 8266922"/>
              <a:gd name="connsiteY370" fmla="*/ 3106468 h 7305087"/>
              <a:gd name="connsiteX371" fmla="*/ 3950858 w 8266922"/>
              <a:gd name="connsiteY371" fmla="*/ 4205018 h 7305087"/>
              <a:gd name="connsiteX372" fmla="*/ 3950858 w 8266922"/>
              <a:gd name="connsiteY372" fmla="*/ 4300268 h 7305087"/>
              <a:gd name="connsiteX373" fmla="*/ 3576931 w 8266922"/>
              <a:gd name="connsiteY373" fmla="*/ 4300268 h 7305087"/>
              <a:gd name="connsiteX374" fmla="*/ 3576931 w 8266922"/>
              <a:gd name="connsiteY374" fmla="*/ 4205018 h 7305087"/>
              <a:gd name="connsiteX375" fmla="*/ 3835681 w 8266922"/>
              <a:gd name="connsiteY375" fmla="*/ 4205018 h 7305087"/>
              <a:gd name="connsiteX376" fmla="*/ 3835681 w 8266922"/>
              <a:gd name="connsiteY376" fmla="*/ 3106468 h 7305087"/>
              <a:gd name="connsiteX377" fmla="*/ 3576931 w 8266922"/>
              <a:gd name="connsiteY377" fmla="*/ 3106468 h 7305087"/>
              <a:gd name="connsiteX378" fmla="*/ 1487809 w 8266922"/>
              <a:gd name="connsiteY378" fmla="*/ 3011218 h 7305087"/>
              <a:gd name="connsiteX379" fmla="*/ 1861748 w 8266922"/>
              <a:gd name="connsiteY379" fmla="*/ 3011218 h 7305087"/>
              <a:gd name="connsiteX380" fmla="*/ 1861748 w 8266922"/>
              <a:gd name="connsiteY380" fmla="*/ 3106468 h 7305087"/>
              <a:gd name="connsiteX381" fmla="*/ 1602998 w 8266922"/>
              <a:gd name="connsiteY381" fmla="*/ 3106468 h 7305087"/>
              <a:gd name="connsiteX382" fmla="*/ 1602998 w 8266922"/>
              <a:gd name="connsiteY382" fmla="*/ 4205018 h 7305087"/>
              <a:gd name="connsiteX383" fmla="*/ 1861748 w 8266922"/>
              <a:gd name="connsiteY383" fmla="*/ 4205018 h 7305087"/>
              <a:gd name="connsiteX384" fmla="*/ 1861748 w 8266922"/>
              <a:gd name="connsiteY384" fmla="*/ 4300268 h 7305087"/>
              <a:gd name="connsiteX385" fmla="*/ 1487809 w 8266922"/>
              <a:gd name="connsiteY385" fmla="*/ 4300268 h 7305087"/>
              <a:gd name="connsiteX386" fmla="*/ 1487809 w 8266922"/>
              <a:gd name="connsiteY386" fmla="*/ 4205018 h 7305087"/>
              <a:gd name="connsiteX387" fmla="*/ 1487809 w 8266922"/>
              <a:gd name="connsiteY387" fmla="*/ 3106468 h 7305087"/>
              <a:gd name="connsiteX388" fmla="*/ 7212302 w 8266922"/>
              <a:gd name="connsiteY388" fmla="*/ 3004847 h 7305087"/>
              <a:gd name="connsiteX389" fmla="*/ 7265372 w 8266922"/>
              <a:gd name="connsiteY389" fmla="*/ 3006723 h 7305087"/>
              <a:gd name="connsiteX390" fmla="*/ 7314493 w 8266922"/>
              <a:gd name="connsiteY390" fmla="*/ 3012300 h 7305087"/>
              <a:gd name="connsiteX391" fmla="*/ 7359798 w 8266922"/>
              <a:gd name="connsiteY391" fmla="*/ 3021495 h 7305087"/>
              <a:gd name="connsiteX392" fmla="*/ 7401420 w 8266922"/>
              <a:gd name="connsiteY392" fmla="*/ 3034227 h 7305087"/>
              <a:gd name="connsiteX393" fmla="*/ 7439491 w 8266922"/>
              <a:gd name="connsiteY393" fmla="*/ 3050415 h 7305087"/>
              <a:gd name="connsiteX394" fmla="*/ 7474144 w 8266922"/>
              <a:gd name="connsiteY394" fmla="*/ 3069977 h 7305087"/>
              <a:gd name="connsiteX395" fmla="*/ 7505511 w 8266922"/>
              <a:gd name="connsiteY395" fmla="*/ 3092831 h 7305087"/>
              <a:gd name="connsiteX396" fmla="*/ 7533726 w 8266922"/>
              <a:gd name="connsiteY396" fmla="*/ 3118897 h 7305087"/>
              <a:gd name="connsiteX397" fmla="*/ 7558922 w 8266922"/>
              <a:gd name="connsiteY397" fmla="*/ 3148093 h 7305087"/>
              <a:gd name="connsiteX398" fmla="*/ 7581230 w 8266922"/>
              <a:gd name="connsiteY398" fmla="*/ 3180338 h 7305087"/>
              <a:gd name="connsiteX399" fmla="*/ 7600783 w 8266922"/>
              <a:gd name="connsiteY399" fmla="*/ 3215550 h 7305087"/>
              <a:gd name="connsiteX400" fmla="*/ 7617715 w 8266922"/>
              <a:gd name="connsiteY400" fmla="*/ 3253648 h 7305087"/>
              <a:gd name="connsiteX401" fmla="*/ 7632158 w 8266922"/>
              <a:gd name="connsiteY401" fmla="*/ 3294551 h 7305087"/>
              <a:gd name="connsiteX402" fmla="*/ 7644245 w 8266922"/>
              <a:gd name="connsiteY402" fmla="*/ 3338176 h 7305087"/>
              <a:gd name="connsiteX403" fmla="*/ 7654108 w 8266922"/>
              <a:gd name="connsiteY403" fmla="*/ 3384443 h 7305087"/>
              <a:gd name="connsiteX404" fmla="*/ 7661880 w 8266922"/>
              <a:gd name="connsiteY404" fmla="*/ 3433271 h 7305087"/>
              <a:gd name="connsiteX405" fmla="*/ 7667694 w 8266922"/>
              <a:gd name="connsiteY405" fmla="*/ 3484578 h 7305087"/>
              <a:gd name="connsiteX406" fmla="*/ 7671682 w 8266922"/>
              <a:gd name="connsiteY406" fmla="*/ 3538282 h 7305087"/>
              <a:gd name="connsiteX407" fmla="*/ 7673978 w 8266922"/>
              <a:gd name="connsiteY407" fmla="*/ 3594302 h 7305087"/>
              <a:gd name="connsiteX408" fmla="*/ 7674714 w 8266922"/>
              <a:gd name="connsiteY408" fmla="*/ 3652558 h 7305087"/>
              <a:gd name="connsiteX409" fmla="*/ 7674014 w 8266922"/>
              <a:gd name="connsiteY409" fmla="*/ 3711063 h 7305087"/>
              <a:gd name="connsiteX410" fmla="*/ 7671817 w 8266922"/>
              <a:gd name="connsiteY410" fmla="*/ 3767333 h 7305087"/>
              <a:gd name="connsiteX411" fmla="*/ 7667981 w 8266922"/>
              <a:gd name="connsiteY411" fmla="*/ 3821283 h 7305087"/>
              <a:gd name="connsiteX412" fmla="*/ 7662360 w 8266922"/>
              <a:gd name="connsiteY412" fmla="*/ 3872833 h 7305087"/>
              <a:gd name="connsiteX413" fmla="*/ 7654812 w 8266922"/>
              <a:gd name="connsiteY413" fmla="*/ 3921898 h 7305087"/>
              <a:gd name="connsiteX414" fmla="*/ 7645191 w 8266922"/>
              <a:gd name="connsiteY414" fmla="*/ 3968397 h 7305087"/>
              <a:gd name="connsiteX415" fmla="*/ 7633354 w 8266922"/>
              <a:gd name="connsiteY415" fmla="*/ 4012246 h 7305087"/>
              <a:gd name="connsiteX416" fmla="*/ 7619157 w 8266922"/>
              <a:gd name="connsiteY416" fmla="*/ 4053364 h 7305087"/>
              <a:gd name="connsiteX417" fmla="*/ 7602457 w 8266922"/>
              <a:gd name="connsiteY417" fmla="*/ 4091667 h 7305087"/>
              <a:gd name="connsiteX418" fmla="*/ 7583108 w 8266922"/>
              <a:gd name="connsiteY418" fmla="*/ 4127073 h 7305087"/>
              <a:gd name="connsiteX419" fmla="*/ 7560967 w 8266922"/>
              <a:gd name="connsiteY419" fmla="*/ 4159499 h 7305087"/>
              <a:gd name="connsiteX420" fmla="*/ 7535890 w 8266922"/>
              <a:gd name="connsiteY420" fmla="*/ 4188862 h 7305087"/>
              <a:gd name="connsiteX421" fmla="*/ 7507733 w 8266922"/>
              <a:gd name="connsiteY421" fmla="*/ 4215081 h 7305087"/>
              <a:gd name="connsiteX422" fmla="*/ 7476352 w 8266922"/>
              <a:gd name="connsiteY422" fmla="*/ 4238071 h 7305087"/>
              <a:gd name="connsiteX423" fmla="*/ 7441604 w 8266922"/>
              <a:gd name="connsiteY423" fmla="*/ 4257752 h 7305087"/>
              <a:gd name="connsiteX424" fmla="*/ 7403343 w 8266922"/>
              <a:gd name="connsiteY424" fmla="*/ 4274039 h 7305087"/>
              <a:gd name="connsiteX425" fmla="*/ 7361426 w 8266922"/>
              <a:gd name="connsiteY425" fmla="*/ 4286851 h 7305087"/>
              <a:gd name="connsiteX426" fmla="*/ 7315710 w 8266922"/>
              <a:gd name="connsiteY426" fmla="*/ 4296105 h 7305087"/>
              <a:gd name="connsiteX427" fmla="*/ 7266050 w 8266922"/>
              <a:gd name="connsiteY427" fmla="*/ 4301718 h 7305087"/>
              <a:gd name="connsiteX428" fmla="*/ 7212302 w 8266922"/>
              <a:gd name="connsiteY428" fmla="*/ 4303607 h 7305087"/>
              <a:gd name="connsiteX429" fmla="*/ 7212302 w 8266922"/>
              <a:gd name="connsiteY429" fmla="*/ 4206785 h 7305087"/>
              <a:gd name="connsiteX430" fmla="*/ 7261987 w 8266922"/>
              <a:gd name="connsiteY430" fmla="*/ 4204552 h 7305087"/>
              <a:gd name="connsiteX431" fmla="*/ 7306907 w 8266922"/>
              <a:gd name="connsiteY431" fmla="*/ 4197931 h 7305087"/>
              <a:gd name="connsiteX432" fmla="*/ 7347290 w 8266922"/>
              <a:gd name="connsiteY432" fmla="*/ 4187042 h 7305087"/>
              <a:gd name="connsiteX433" fmla="*/ 7383361 w 8266922"/>
              <a:gd name="connsiteY433" fmla="*/ 4172002 h 7305087"/>
              <a:gd name="connsiteX434" fmla="*/ 7443472 w 8266922"/>
              <a:gd name="connsiteY434" fmla="*/ 4129942 h 7305087"/>
              <a:gd name="connsiteX435" fmla="*/ 7489051 w 8266922"/>
              <a:gd name="connsiteY435" fmla="*/ 4072698 h 7305087"/>
              <a:gd name="connsiteX436" fmla="*/ 7506957 w 8266922"/>
              <a:gd name="connsiteY436" fmla="*/ 4038677 h 7305087"/>
              <a:gd name="connsiteX437" fmla="*/ 7521909 w 8266922"/>
              <a:gd name="connsiteY437" fmla="*/ 4001216 h 7305087"/>
              <a:gd name="connsiteX438" fmla="*/ 7534133 w 8266922"/>
              <a:gd name="connsiteY438" fmla="*/ 3960431 h 7305087"/>
              <a:gd name="connsiteX439" fmla="*/ 7543856 w 8266922"/>
              <a:gd name="connsiteY439" fmla="*/ 3916441 h 7305087"/>
              <a:gd name="connsiteX440" fmla="*/ 7551303 w 8266922"/>
              <a:gd name="connsiteY440" fmla="*/ 3869364 h 7305087"/>
              <a:gd name="connsiteX441" fmla="*/ 7556702 w 8266922"/>
              <a:gd name="connsiteY441" fmla="*/ 3819320 h 7305087"/>
              <a:gd name="connsiteX442" fmla="*/ 7560278 w 8266922"/>
              <a:gd name="connsiteY442" fmla="*/ 3766425 h 7305087"/>
              <a:gd name="connsiteX443" fmla="*/ 7562257 w 8266922"/>
              <a:gd name="connsiteY443" fmla="*/ 3710798 h 7305087"/>
              <a:gd name="connsiteX444" fmla="*/ 7562867 w 8266922"/>
              <a:gd name="connsiteY444" fmla="*/ 3652558 h 7305087"/>
              <a:gd name="connsiteX445" fmla="*/ 7562225 w 8266922"/>
              <a:gd name="connsiteY445" fmla="*/ 3594889 h 7305087"/>
              <a:gd name="connsiteX446" fmla="*/ 7560155 w 8266922"/>
              <a:gd name="connsiteY446" fmla="*/ 3539800 h 7305087"/>
              <a:gd name="connsiteX447" fmla="*/ 7556445 w 8266922"/>
              <a:gd name="connsiteY447" fmla="*/ 3487407 h 7305087"/>
              <a:gd name="connsiteX448" fmla="*/ 7550879 w 8266922"/>
              <a:gd name="connsiteY448" fmla="*/ 3437831 h 7305087"/>
              <a:gd name="connsiteX449" fmla="*/ 7543244 w 8266922"/>
              <a:gd name="connsiteY449" fmla="*/ 3391187 h 7305087"/>
              <a:gd name="connsiteX450" fmla="*/ 7533326 w 8266922"/>
              <a:gd name="connsiteY450" fmla="*/ 3347596 h 7305087"/>
              <a:gd name="connsiteX451" fmla="*/ 7520910 w 8266922"/>
              <a:gd name="connsiteY451" fmla="*/ 3307175 h 7305087"/>
              <a:gd name="connsiteX452" fmla="*/ 7505783 w 8266922"/>
              <a:gd name="connsiteY452" fmla="*/ 3270043 h 7305087"/>
              <a:gd name="connsiteX453" fmla="*/ 7487730 w 8266922"/>
              <a:gd name="connsiteY453" fmla="*/ 3236317 h 7305087"/>
              <a:gd name="connsiteX454" fmla="*/ 7441992 w 8266922"/>
              <a:gd name="connsiteY454" fmla="*/ 3179558 h 7305087"/>
              <a:gd name="connsiteX455" fmla="*/ 7381983 w 8266922"/>
              <a:gd name="connsiteY455" fmla="*/ 3137845 h 7305087"/>
              <a:gd name="connsiteX456" fmla="*/ 7346091 w 8266922"/>
              <a:gd name="connsiteY456" fmla="*/ 3122926 h 7305087"/>
              <a:gd name="connsiteX457" fmla="*/ 7305990 w 8266922"/>
              <a:gd name="connsiteY457" fmla="*/ 3112123 h 7305087"/>
              <a:gd name="connsiteX458" fmla="*/ 7261465 w 8266922"/>
              <a:gd name="connsiteY458" fmla="*/ 3105555 h 7305087"/>
              <a:gd name="connsiteX459" fmla="*/ 7212302 w 8266922"/>
              <a:gd name="connsiteY459" fmla="*/ 3103339 h 7305087"/>
              <a:gd name="connsiteX460" fmla="*/ 6695380 w 8266922"/>
              <a:gd name="connsiteY460" fmla="*/ 3004847 h 7305087"/>
              <a:gd name="connsiteX461" fmla="*/ 6695380 w 8266922"/>
              <a:gd name="connsiteY461" fmla="*/ 3103339 h 7305087"/>
              <a:gd name="connsiteX462" fmla="*/ 6646494 w 8266922"/>
              <a:gd name="connsiteY462" fmla="*/ 3105555 h 7305087"/>
              <a:gd name="connsiteX463" fmla="*/ 6602213 w 8266922"/>
              <a:gd name="connsiteY463" fmla="*/ 3112123 h 7305087"/>
              <a:gd name="connsiteX464" fmla="*/ 6562327 w 8266922"/>
              <a:gd name="connsiteY464" fmla="*/ 3122926 h 7305087"/>
              <a:gd name="connsiteX465" fmla="*/ 6526621 w 8266922"/>
              <a:gd name="connsiteY465" fmla="*/ 3137845 h 7305087"/>
              <a:gd name="connsiteX466" fmla="*/ 6466906 w 8266922"/>
              <a:gd name="connsiteY466" fmla="*/ 3179558 h 7305087"/>
              <a:gd name="connsiteX467" fmla="*/ 6421372 w 8266922"/>
              <a:gd name="connsiteY467" fmla="*/ 3236317 h 7305087"/>
              <a:gd name="connsiteX468" fmla="*/ 6403393 w 8266922"/>
              <a:gd name="connsiteY468" fmla="*/ 3270043 h 7305087"/>
              <a:gd name="connsiteX469" fmla="*/ 6388323 w 8266922"/>
              <a:gd name="connsiteY469" fmla="*/ 3307175 h 7305087"/>
              <a:gd name="connsiteX470" fmla="*/ 6375951 w 8266922"/>
              <a:gd name="connsiteY470" fmla="*/ 3347596 h 7305087"/>
              <a:gd name="connsiteX471" fmla="*/ 6366063 w 8266922"/>
              <a:gd name="connsiteY471" fmla="*/ 3391187 h 7305087"/>
              <a:gd name="connsiteX472" fmla="*/ 6358449 w 8266922"/>
              <a:gd name="connsiteY472" fmla="*/ 3437831 h 7305087"/>
              <a:gd name="connsiteX473" fmla="*/ 6352896 w 8266922"/>
              <a:gd name="connsiteY473" fmla="*/ 3487407 h 7305087"/>
              <a:gd name="connsiteX474" fmla="*/ 6349192 w 8266922"/>
              <a:gd name="connsiteY474" fmla="*/ 3539800 h 7305087"/>
              <a:gd name="connsiteX475" fmla="*/ 6347125 w 8266922"/>
              <a:gd name="connsiteY475" fmla="*/ 3594889 h 7305087"/>
              <a:gd name="connsiteX476" fmla="*/ 6346483 w 8266922"/>
              <a:gd name="connsiteY476" fmla="*/ 3652558 h 7305087"/>
              <a:gd name="connsiteX477" fmla="*/ 6347109 w 8266922"/>
              <a:gd name="connsiteY477" fmla="*/ 3710798 h 7305087"/>
              <a:gd name="connsiteX478" fmla="*/ 6349131 w 8266922"/>
              <a:gd name="connsiteY478" fmla="*/ 3766425 h 7305087"/>
              <a:gd name="connsiteX479" fmla="*/ 6352768 w 8266922"/>
              <a:gd name="connsiteY479" fmla="*/ 3819320 h 7305087"/>
              <a:gd name="connsiteX480" fmla="*/ 6358237 w 8266922"/>
              <a:gd name="connsiteY480" fmla="*/ 3869364 h 7305087"/>
              <a:gd name="connsiteX481" fmla="*/ 6365758 w 8266922"/>
              <a:gd name="connsiteY481" fmla="*/ 3916441 h 7305087"/>
              <a:gd name="connsiteX482" fmla="*/ 6375547 w 8266922"/>
              <a:gd name="connsiteY482" fmla="*/ 3960431 h 7305087"/>
              <a:gd name="connsiteX483" fmla="*/ 6387824 w 8266922"/>
              <a:gd name="connsiteY483" fmla="*/ 4001216 h 7305087"/>
              <a:gd name="connsiteX484" fmla="*/ 6402806 w 8266922"/>
              <a:gd name="connsiteY484" fmla="*/ 4038677 h 7305087"/>
              <a:gd name="connsiteX485" fmla="*/ 6420712 w 8266922"/>
              <a:gd name="connsiteY485" fmla="*/ 4072698 h 7305087"/>
              <a:gd name="connsiteX486" fmla="*/ 6466166 w 8266922"/>
              <a:gd name="connsiteY486" fmla="*/ 4129942 h 7305087"/>
              <a:gd name="connsiteX487" fmla="*/ 6525932 w 8266922"/>
              <a:gd name="connsiteY487" fmla="*/ 4172002 h 7305087"/>
              <a:gd name="connsiteX488" fmla="*/ 6561727 w 8266922"/>
              <a:gd name="connsiteY488" fmla="*/ 4187042 h 7305087"/>
              <a:gd name="connsiteX489" fmla="*/ 6601755 w 8266922"/>
              <a:gd name="connsiteY489" fmla="*/ 4197931 h 7305087"/>
              <a:gd name="connsiteX490" fmla="*/ 6646233 w 8266922"/>
              <a:gd name="connsiteY490" fmla="*/ 4204552 h 7305087"/>
              <a:gd name="connsiteX491" fmla="*/ 6695380 w 8266922"/>
              <a:gd name="connsiteY491" fmla="*/ 4206785 h 7305087"/>
              <a:gd name="connsiteX492" fmla="*/ 6695380 w 8266922"/>
              <a:gd name="connsiteY492" fmla="*/ 4303607 h 7305087"/>
              <a:gd name="connsiteX493" fmla="*/ 6641857 w 8266922"/>
              <a:gd name="connsiteY493" fmla="*/ 4301718 h 7305087"/>
              <a:gd name="connsiteX494" fmla="*/ 6592377 w 8266922"/>
              <a:gd name="connsiteY494" fmla="*/ 4296105 h 7305087"/>
              <a:gd name="connsiteX495" fmla="*/ 6546797 w 8266922"/>
              <a:gd name="connsiteY495" fmla="*/ 4286851 h 7305087"/>
              <a:gd name="connsiteX496" fmla="*/ 6504979 w 8266922"/>
              <a:gd name="connsiteY496" fmla="*/ 4274039 h 7305087"/>
              <a:gd name="connsiteX497" fmla="*/ 6466782 w 8266922"/>
              <a:gd name="connsiteY497" fmla="*/ 4257752 h 7305087"/>
              <a:gd name="connsiteX498" fmla="*/ 6432065 w 8266922"/>
              <a:gd name="connsiteY498" fmla="*/ 4238071 h 7305087"/>
              <a:gd name="connsiteX499" fmla="*/ 6400688 w 8266922"/>
              <a:gd name="connsiteY499" fmla="*/ 4215081 h 7305087"/>
              <a:gd name="connsiteX500" fmla="*/ 6372512 w 8266922"/>
              <a:gd name="connsiteY500" fmla="*/ 4188862 h 7305087"/>
              <a:gd name="connsiteX501" fmla="*/ 6347396 w 8266922"/>
              <a:gd name="connsiteY501" fmla="*/ 4159499 h 7305087"/>
              <a:gd name="connsiteX502" fmla="*/ 6325199 w 8266922"/>
              <a:gd name="connsiteY502" fmla="*/ 4127073 h 7305087"/>
              <a:gd name="connsiteX503" fmla="*/ 6305782 w 8266922"/>
              <a:gd name="connsiteY503" fmla="*/ 4091667 h 7305087"/>
              <a:gd name="connsiteX504" fmla="*/ 6289004 w 8266922"/>
              <a:gd name="connsiteY504" fmla="*/ 4053364 h 7305087"/>
              <a:gd name="connsiteX505" fmla="*/ 6274725 w 8266922"/>
              <a:gd name="connsiteY505" fmla="*/ 4012246 h 7305087"/>
              <a:gd name="connsiteX506" fmla="*/ 6262805 w 8266922"/>
              <a:gd name="connsiteY506" fmla="*/ 3968397 h 7305087"/>
              <a:gd name="connsiteX507" fmla="*/ 6253104 w 8266922"/>
              <a:gd name="connsiteY507" fmla="*/ 3921898 h 7305087"/>
              <a:gd name="connsiteX508" fmla="*/ 6245481 w 8266922"/>
              <a:gd name="connsiteY508" fmla="*/ 3872833 h 7305087"/>
              <a:gd name="connsiteX509" fmla="*/ 6239796 w 8266922"/>
              <a:gd name="connsiteY509" fmla="*/ 3821283 h 7305087"/>
              <a:gd name="connsiteX510" fmla="*/ 6235909 w 8266922"/>
              <a:gd name="connsiteY510" fmla="*/ 3767333 h 7305087"/>
              <a:gd name="connsiteX511" fmla="*/ 6233679 w 8266922"/>
              <a:gd name="connsiteY511" fmla="*/ 3711063 h 7305087"/>
              <a:gd name="connsiteX512" fmla="*/ 6232968 w 8266922"/>
              <a:gd name="connsiteY512" fmla="*/ 3652558 h 7305087"/>
              <a:gd name="connsiteX513" fmla="*/ 6233703 w 8266922"/>
              <a:gd name="connsiteY513" fmla="*/ 3594302 h 7305087"/>
              <a:gd name="connsiteX514" fmla="*/ 6235999 w 8266922"/>
              <a:gd name="connsiteY514" fmla="*/ 3538282 h 7305087"/>
              <a:gd name="connsiteX515" fmla="*/ 6239988 w 8266922"/>
              <a:gd name="connsiteY515" fmla="*/ 3484578 h 7305087"/>
              <a:gd name="connsiteX516" fmla="*/ 6245801 w 8266922"/>
              <a:gd name="connsiteY516" fmla="*/ 3433271 h 7305087"/>
              <a:gd name="connsiteX517" fmla="*/ 6253574 w 8266922"/>
              <a:gd name="connsiteY517" fmla="*/ 3384443 h 7305087"/>
              <a:gd name="connsiteX518" fmla="*/ 6263437 w 8266922"/>
              <a:gd name="connsiteY518" fmla="*/ 3338176 h 7305087"/>
              <a:gd name="connsiteX519" fmla="*/ 6275523 w 8266922"/>
              <a:gd name="connsiteY519" fmla="*/ 3294551 h 7305087"/>
              <a:gd name="connsiteX520" fmla="*/ 6289966 w 8266922"/>
              <a:gd name="connsiteY520" fmla="*/ 3253648 h 7305087"/>
              <a:gd name="connsiteX521" fmla="*/ 6306898 w 8266922"/>
              <a:gd name="connsiteY521" fmla="*/ 3215550 h 7305087"/>
              <a:gd name="connsiteX522" fmla="*/ 6326451 w 8266922"/>
              <a:gd name="connsiteY522" fmla="*/ 3180338 h 7305087"/>
              <a:gd name="connsiteX523" fmla="*/ 6348759 w 8266922"/>
              <a:gd name="connsiteY523" fmla="*/ 3148093 h 7305087"/>
              <a:gd name="connsiteX524" fmla="*/ 6373955 w 8266922"/>
              <a:gd name="connsiteY524" fmla="*/ 3118897 h 7305087"/>
              <a:gd name="connsiteX525" fmla="*/ 6402170 w 8266922"/>
              <a:gd name="connsiteY525" fmla="*/ 3092831 h 7305087"/>
              <a:gd name="connsiteX526" fmla="*/ 6433537 w 8266922"/>
              <a:gd name="connsiteY526" fmla="*/ 3069977 h 7305087"/>
              <a:gd name="connsiteX527" fmla="*/ 6468190 w 8266922"/>
              <a:gd name="connsiteY527" fmla="*/ 3050415 h 7305087"/>
              <a:gd name="connsiteX528" fmla="*/ 6506261 w 8266922"/>
              <a:gd name="connsiteY528" fmla="*/ 3034227 h 7305087"/>
              <a:gd name="connsiteX529" fmla="*/ 6547883 w 8266922"/>
              <a:gd name="connsiteY529" fmla="*/ 3021495 h 7305087"/>
              <a:gd name="connsiteX530" fmla="*/ 6593188 w 8266922"/>
              <a:gd name="connsiteY530" fmla="*/ 3012300 h 7305087"/>
              <a:gd name="connsiteX531" fmla="*/ 6642309 w 8266922"/>
              <a:gd name="connsiteY531" fmla="*/ 3006723 h 7305087"/>
              <a:gd name="connsiteX532" fmla="*/ 5578527 w 8266922"/>
              <a:gd name="connsiteY532" fmla="*/ 3004847 h 7305087"/>
              <a:gd name="connsiteX533" fmla="*/ 5631597 w 8266922"/>
              <a:gd name="connsiteY533" fmla="*/ 3006723 h 7305087"/>
              <a:gd name="connsiteX534" fmla="*/ 5680718 w 8266922"/>
              <a:gd name="connsiteY534" fmla="*/ 3012300 h 7305087"/>
              <a:gd name="connsiteX535" fmla="*/ 5726023 w 8266922"/>
              <a:gd name="connsiteY535" fmla="*/ 3021495 h 7305087"/>
              <a:gd name="connsiteX536" fmla="*/ 5767645 w 8266922"/>
              <a:gd name="connsiteY536" fmla="*/ 3034227 h 7305087"/>
              <a:gd name="connsiteX537" fmla="*/ 5805716 w 8266922"/>
              <a:gd name="connsiteY537" fmla="*/ 3050415 h 7305087"/>
              <a:gd name="connsiteX538" fmla="*/ 5840369 w 8266922"/>
              <a:gd name="connsiteY538" fmla="*/ 3069977 h 7305087"/>
              <a:gd name="connsiteX539" fmla="*/ 5871736 w 8266922"/>
              <a:gd name="connsiteY539" fmla="*/ 3092831 h 7305087"/>
              <a:gd name="connsiteX540" fmla="*/ 5899951 w 8266922"/>
              <a:gd name="connsiteY540" fmla="*/ 3118897 h 7305087"/>
              <a:gd name="connsiteX541" fmla="*/ 5925147 w 8266922"/>
              <a:gd name="connsiteY541" fmla="*/ 3148093 h 7305087"/>
              <a:gd name="connsiteX542" fmla="*/ 5947455 w 8266922"/>
              <a:gd name="connsiteY542" fmla="*/ 3180338 h 7305087"/>
              <a:gd name="connsiteX543" fmla="*/ 5967008 w 8266922"/>
              <a:gd name="connsiteY543" fmla="*/ 3215550 h 7305087"/>
              <a:gd name="connsiteX544" fmla="*/ 5983940 w 8266922"/>
              <a:gd name="connsiteY544" fmla="*/ 3253648 h 7305087"/>
              <a:gd name="connsiteX545" fmla="*/ 5998383 w 8266922"/>
              <a:gd name="connsiteY545" fmla="*/ 3294551 h 7305087"/>
              <a:gd name="connsiteX546" fmla="*/ 6010470 w 8266922"/>
              <a:gd name="connsiteY546" fmla="*/ 3338176 h 7305087"/>
              <a:gd name="connsiteX547" fmla="*/ 6020333 w 8266922"/>
              <a:gd name="connsiteY547" fmla="*/ 3384443 h 7305087"/>
              <a:gd name="connsiteX548" fmla="*/ 6028105 w 8266922"/>
              <a:gd name="connsiteY548" fmla="*/ 3433271 h 7305087"/>
              <a:gd name="connsiteX549" fmla="*/ 6033919 w 8266922"/>
              <a:gd name="connsiteY549" fmla="*/ 3484578 h 7305087"/>
              <a:gd name="connsiteX550" fmla="*/ 6037907 w 8266922"/>
              <a:gd name="connsiteY550" fmla="*/ 3538282 h 7305087"/>
              <a:gd name="connsiteX551" fmla="*/ 6040203 w 8266922"/>
              <a:gd name="connsiteY551" fmla="*/ 3594302 h 7305087"/>
              <a:gd name="connsiteX552" fmla="*/ 6040939 w 8266922"/>
              <a:gd name="connsiteY552" fmla="*/ 3652558 h 7305087"/>
              <a:gd name="connsiteX553" fmla="*/ 6040239 w 8266922"/>
              <a:gd name="connsiteY553" fmla="*/ 3711063 h 7305087"/>
              <a:gd name="connsiteX554" fmla="*/ 6038042 w 8266922"/>
              <a:gd name="connsiteY554" fmla="*/ 3767333 h 7305087"/>
              <a:gd name="connsiteX555" fmla="*/ 6034206 w 8266922"/>
              <a:gd name="connsiteY555" fmla="*/ 3821283 h 7305087"/>
              <a:gd name="connsiteX556" fmla="*/ 6028585 w 8266922"/>
              <a:gd name="connsiteY556" fmla="*/ 3872833 h 7305087"/>
              <a:gd name="connsiteX557" fmla="*/ 6021037 w 8266922"/>
              <a:gd name="connsiteY557" fmla="*/ 3921898 h 7305087"/>
              <a:gd name="connsiteX558" fmla="*/ 6011416 w 8266922"/>
              <a:gd name="connsiteY558" fmla="*/ 3968397 h 7305087"/>
              <a:gd name="connsiteX559" fmla="*/ 5999579 w 8266922"/>
              <a:gd name="connsiteY559" fmla="*/ 4012246 h 7305087"/>
              <a:gd name="connsiteX560" fmla="*/ 5985382 w 8266922"/>
              <a:gd name="connsiteY560" fmla="*/ 4053364 h 7305087"/>
              <a:gd name="connsiteX561" fmla="*/ 5968682 w 8266922"/>
              <a:gd name="connsiteY561" fmla="*/ 4091667 h 7305087"/>
              <a:gd name="connsiteX562" fmla="*/ 5949333 w 8266922"/>
              <a:gd name="connsiteY562" fmla="*/ 4127073 h 7305087"/>
              <a:gd name="connsiteX563" fmla="*/ 5927192 w 8266922"/>
              <a:gd name="connsiteY563" fmla="*/ 4159499 h 7305087"/>
              <a:gd name="connsiteX564" fmla="*/ 5902115 w 8266922"/>
              <a:gd name="connsiteY564" fmla="*/ 4188862 h 7305087"/>
              <a:gd name="connsiteX565" fmla="*/ 5873958 w 8266922"/>
              <a:gd name="connsiteY565" fmla="*/ 4215081 h 7305087"/>
              <a:gd name="connsiteX566" fmla="*/ 5842577 w 8266922"/>
              <a:gd name="connsiteY566" fmla="*/ 4238071 h 7305087"/>
              <a:gd name="connsiteX567" fmla="*/ 5807829 w 8266922"/>
              <a:gd name="connsiteY567" fmla="*/ 4257752 h 7305087"/>
              <a:gd name="connsiteX568" fmla="*/ 5769568 w 8266922"/>
              <a:gd name="connsiteY568" fmla="*/ 4274039 h 7305087"/>
              <a:gd name="connsiteX569" fmla="*/ 5727651 w 8266922"/>
              <a:gd name="connsiteY569" fmla="*/ 4286851 h 7305087"/>
              <a:gd name="connsiteX570" fmla="*/ 5681935 w 8266922"/>
              <a:gd name="connsiteY570" fmla="*/ 4296105 h 7305087"/>
              <a:gd name="connsiteX571" fmla="*/ 5632275 w 8266922"/>
              <a:gd name="connsiteY571" fmla="*/ 4301718 h 7305087"/>
              <a:gd name="connsiteX572" fmla="*/ 5578527 w 8266922"/>
              <a:gd name="connsiteY572" fmla="*/ 4303607 h 7305087"/>
              <a:gd name="connsiteX573" fmla="*/ 5578527 w 8266922"/>
              <a:gd name="connsiteY573" fmla="*/ 4206785 h 7305087"/>
              <a:gd name="connsiteX574" fmla="*/ 5628212 w 8266922"/>
              <a:gd name="connsiteY574" fmla="*/ 4204552 h 7305087"/>
              <a:gd name="connsiteX575" fmla="*/ 5673133 w 8266922"/>
              <a:gd name="connsiteY575" fmla="*/ 4197931 h 7305087"/>
              <a:gd name="connsiteX576" fmla="*/ 5713515 w 8266922"/>
              <a:gd name="connsiteY576" fmla="*/ 4187042 h 7305087"/>
              <a:gd name="connsiteX577" fmla="*/ 5749586 w 8266922"/>
              <a:gd name="connsiteY577" fmla="*/ 4172002 h 7305087"/>
              <a:gd name="connsiteX578" fmla="*/ 5809697 w 8266922"/>
              <a:gd name="connsiteY578" fmla="*/ 4129942 h 7305087"/>
              <a:gd name="connsiteX579" fmla="*/ 5855277 w 8266922"/>
              <a:gd name="connsiteY579" fmla="*/ 4072698 h 7305087"/>
              <a:gd name="connsiteX580" fmla="*/ 5873182 w 8266922"/>
              <a:gd name="connsiteY580" fmla="*/ 4038677 h 7305087"/>
              <a:gd name="connsiteX581" fmla="*/ 5888134 w 8266922"/>
              <a:gd name="connsiteY581" fmla="*/ 4001216 h 7305087"/>
              <a:gd name="connsiteX582" fmla="*/ 5900358 w 8266922"/>
              <a:gd name="connsiteY582" fmla="*/ 3960431 h 7305087"/>
              <a:gd name="connsiteX583" fmla="*/ 5910081 w 8266922"/>
              <a:gd name="connsiteY583" fmla="*/ 3916441 h 7305087"/>
              <a:gd name="connsiteX584" fmla="*/ 5917528 w 8266922"/>
              <a:gd name="connsiteY584" fmla="*/ 3869364 h 7305087"/>
              <a:gd name="connsiteX585" fmla="*/ 5922927 w 8266922"/>
              <a:gd name="connsiteY585" fmla="*/ 3819320 h 7305087"/>
              <a:gd name="connsiteX586" fmla="*/ 5926503 w 8266922"/>
              <a:gd name="connsiteY586" fmla="*/ 3766425 h 7305087"/>
              <a:gd name="connsiteX587" fmla="*/ 5928482 w 8266922"/>
              <a:gd name="connsiteY587" fmla="*/ 3710798 h 7305087"/>
              <a:gd name="connsiteX588" fmla="*/ 5929092 w 8266922"/>
              <a:gd name="connsiteY588" fmla="*/ 3652558 h 7305087"/>
              <a:gd name="connsiteX589" fmla="*/ 5928450 w 8266922"/>
              <a:gd name="connsiteY589" fmla="*/ 3594889 h 7305087"/>
              <a:gd name="connsiteX590" fmla="*/ 5926380 w 8266922"/>
              <a:gd name="connsiteY590" fmla="*/ 3539800 h 7305087"/>
              <a:gd name="connsiteX591" fmla="*/ 5922670 w 8266922"/>
              <a:gd name="connsiteY591" fmla="*/ 3487407 h 7305087"/>
              <a:gd name="connsiteX592" fmla="*/ 5917104 w 8266922"/>
              <a:gd name="connsiteY592" fmla="*/ 3437831 h 7305087"/>
              <a:gd name="connsiteX593" fmla="*/ 5909469 w 8266922"/>
              <a:gd name="connsiteY593" fmla="*/ 3391187 h 7305087"/>
              <a:gd name="connsiteX594" fmla="*/ 5899551 w 8266922"/>
              <a:gd name="connsiteY594" fmla="*/ 3347596 h 7305087"/>
              <a:gd name="connsiteX595" fmla="*/ 5887135 w 8266922"/>
              <a:gd name="connsiteY595" fmla="*/ 3307175 h 7305087"/>
              <a:gd name="connsiteX596" fmla="*/ 5872008 w 8266922"/>
              <a:gd name="connsiteY596" fmla="*/ 3270043 h 7305087"/>
              <a:gd name="connsiteX597" fmla="*/ 5853955 w 8266922"/>
              <a:gd name="connsiteY597" fmla="*/ 3236317 h 7305087"/>
              <a:gd name="connsiteX598" fmla="*/ 5808217 w 8266922"/>
              <a:gd name="connsiteY598" fmla="*/ 3179558 h 7305087"/>
              <a:gd name="connsiteX599" fmla="*/ 5748208 w 8266922"/>
              <a:gd name="connsiteY599" fmla="*/ 3137845 h 7305087"/>
              <a:gd name="connsiteX600" fmla="*/ 5712316 w 8266922"/>
              <a:gd name="connsiteY600" fmla="*/ 3122926 h 7305087"/>
              <a:gd name="connsiteX601" fmla="*/ 5672215 w 8266922"/>
              <a:gd name="connsiteY601" fmla="*/ 3112123 h 7305087"/>
              <a:gd name="connsiteX602" fmla="*/ 5627690 w 8266922"/>
              <a:gd name="connsiteY602" fmla="*/ 3105555 h 7305087"/>
              <a:gd name="connsiteX603" fmla="*/ 5578527 w 8266922"/>
              <a:gd name="connsiteY603" fmla="*/ 3103339 h 7305087"/>
              <a:gd name="connsiteX604" fmla="*/ 5061625 w 8266922"/>
              <a:gd name="connsiteY604" fmla="*/ 3004847 h 7305087"/>
              <a:gd name="connsiteX605" fmla="*/ 5061625 w 8266922"/>
              <a:gd name="connsiteY605" fmla="*/ 3103339 h 7305087"/>
              <a:gd name="connsiteX606" fmla="*/ 5012739 w 8266922"/>
              <a:gd name="connsiteY606" fmla="*/ 3105555 h 7305087"/>
              <a:gd name="connsiteX607" fmla="*/ 4968459 w 8266922"/>
              <a:gd name="connsiteY607" fmla="*/ 3112123 h 7305087"/>
              <a:gd name="connsiteX608" fmla="*/ 4928572 w 8266922"/>
              <a:gd name="connsiteY608" fmla="*/ 3122926 h 7305087"/>
              <a:gd name="connsiteX609" fmla="*/ 4892867 w 8266922"/>
              <a:gd name="connsiteY609" fmla="*/ 3137845 h 7305087"/>
              <a:gd name="connsiteX610" fmla="*/ 4833152 w 8266922"/>
              <a:gd name="connsiteY610" fmla="*/ 3179558 h 7305087"/>
              <a:gd name="connsiteX611" fmla="*/ 4787618 w 8266922"/>
              <a:gd name="connsiteY611" fmla="*/ 3236317 h 7305087"/>
              <a:gd name="connsiteX612" fmla="*/ 4769639 w 8266922"/>
              <a:gd name="connsiteY612" fmla="*/ 3270043 h 7305087"/>
              <a:gd name="connsiteX613" fmla="*/ 4754569 w 8266922"/>
              <a:gd name="connsiteY613" fmla="*/ 3307175 h 7305087"/>
              <a:gd name="connsiteX614" fmla="*/ 4742197 w 8266922"/>
              <a:gd name="connsiteY614" fmla="*/ 3347596 h 7305087"/>
              <a:gd name="connsiteX615" fmla="*/ 4732309 w 8266922"/>
              <a:gd name="connsiteY615" fmla="*/ 3391187 h 7305087"/>
              <a:gd name="connsiteX616" fmla="*/ 4724695 w 8266922"/>
              <a:gd name="connsiteY616" fmla="*/ 3437831 h 7305087"/>
              <a:gd name="connsiteX617" fmla="*/ 4719142 w 8266922"/>
              <a:gd name="connsiteY617" fmla="*/ 3487407 h 7305087"/>
              <a:gd name="connsiteX618" fmla="*/ 4715437 w 8266922"/>
              <a:gd name="connsiteY618" fmla="*/ 3539800 h 7305087"/>
              <a:gd name="connsiteX619" fmla="*/ 4713370 w 8266922"/>
              <a:gd name="connsiteY619" fmla="*/ 3594889 h 7305087"/>
              <a:gd name="connsiteX620" fmla="*/ 4712728 w 8266922"/>
              <a:gd name="connsiteY620" fmla="*/ 3652558 h 7305087"/>
              <a:gd name="connsiteX621" fmla="*/ 4713354 w 8266922"/>
              <a:gd name="connsiteY621" fmla="*/ 3710798 h 7305087"/>
              <a:gd name="connsiteX622" fmla="*/ 4715376 w 8266922"/>
              <a:gd name="connsiteY622" fmla="*/ 3766425 h 7305087"/>
              <a:gd name="connsiteX623" fmla="*/ 4719014 w 8266922"/>
              <a:gd name="connsiteY623" fmla="*/ 3819320 h 7305087"/>
              <a:gd name="connsiteX624" fmla="*/ 4724483 w 8266922"/>
              <a:gd name="connsiteY624" fmla="*/ 3869364 h 7305087"/>
              <a:gd name="connsiteX625" fmla="*/ 4732004 w 8266922"/>
              <a:gd name="connsiteY625" fmla="*/ 3916441 h 7305087"/>
              <a:gd name="connsiteX626" fmla="*/ 4741793 w 8266922"/>
              <a:gd name="connsiteY626" fmla="*/ 3960431 h 7305087"/>
              <a:gd name="connsiteX627" fmla="*/ 4754070 w 8266922"/>
              <a:gd name="connsiteY627" fmla="*/ 4001216 h 7305087"/>
              <a:gd name="connsiteX628" fmla="*/ 4769052 w 8266922"/>
              <a:gd name="connsiteY628" fmla="*/ 4038677 h 7305087"/>
              <a:gd name="connsiteX629" fmla="*/ 4786958 w 8266922"/>
              <a:gd name="connsiteY629" fmla="*/ 4072698 h 7305087"/>
              <a:gd name="connsiteX630" fmla="*/ 4832412 w 8266922"/>
              <a:gd name="connsiteY630" fmla="*/ 4129942 h 7305087"/>
              <a:gd name="connsiteX631" fmla="*/ 4892178 w 8266922"/>
              <a:gd name="connsiteY631" fmla="*/ 4172002 h 7305087"/>
              <a:gd name="connsiteX632" fmla="*/ 4927973 w 8266922"/>
              <a:gd name="connsiteY632" fmla="*/ 4187042 h 7305087"/>
              <a:gd name="connsiteX633" fmla="*/ 4968000 w 8266922"/>
              <a:gd name="connsiteY633" fmla="*/ 4197931 h 7305087"/>
              <a:gd name="connsiteX634" fmla="*/ 5012478 w 8266922"/>
              <a:gd name="connsiteY634" fmla="*/ 4204552 h 7305087"/>
              <a:gd name="connsiteX635" fmla="*/ 5061625 w 8266922"/>
              <a:gd name="connsiteY635" fmla="*/ 4206785 h 7305087"/>
              <a:gd name="connsiteX636" fmla="*/ 5061625 w 8266922"/>
              <a:gd name="connsiteY636" fmla="*/ 4303607 h 7305087"/>
              <a:gd name="connsiteX637" fmla="*/ 5008102 w 8266922"/>
              <a:gd name="connsiteY637" fmla="*/ 4301718 h 7305087"/>
              <a:gd name="connsiteX638" fmla="*/ 4958622 w 8266922"/>
              <a:gd name="connsiteY638" fmla="*/ 4296105 h 7305087"/>
              <a:gd name="connsiteX639" fmla="*/ 4913043 w 8266922"/>
              <a:gd name="connsiteY639" fmla="*/ 4286851 h 7305087"/>
              <a:gd name="connsiteX640" fmla="*/ 4871225 w 8266922"/>
              <a:gd name="connsiteY640" fmla="*/ 4274039 h 7305087"/>
              <a:gd name="connsiteX641" fmla="*/ 4833027 w 8266922"/>
              <a:gd name="connsiteY641" fmla="*/ 4257752 h 7305087"/>
              <a:gd name="connsiteX642" fmla="*/ 4798310 w 8266922"/>
              <a:gd name="connsiteY642" fmla="*/ 4238071 h 7305087"/>
              <a:gd name="connsiteX643" fmla="*/ 4766934 w 8266922"/>
              <a:gd name="connsiteY643" fmla="*/ 4215081 h 7305087"/>
              <a:gd name="connsiteX644" fmla="*/ 4738758 w 8266922"/>
              <a:gd name="connsiteY644" fmla="*/ 4188862 h 7305087"/>
              <a:gd name="connsiteX645" fmla="*/ 4713641 w 8266922"/>
              <a:gd name="connsiteY645" fmla="*/ 4159499 h 7305087"/>
              <a:gd name="connsiteX646" fmla="*/ 4691444 w 8266922"/>
              <a:gd name="connsiteY646" fmla="*/ 4127073 h 7305087"/>
              <a:gd name="connsiteX647" fmla="*/ 4672027 w 8266922"/>
              <a:gd name="connsiteY647" fmla="*/ 4091667 h 7305087"/>
              <a:gd name="connsiteX648" fmla="*/ 4655249 w 8266922"/>
              <a:gd name="connsiteY648" fmla="*/ 4053364 h 7305087"/>
              <a:gd name="connsiteX649" fmla="*/ 4640970 w 8266922"/>
              <a:gd name="connsiteY649" fmla="*/ 4012246 h 7305087"/>
              <a:gd name="connsiteX650" fmla="*/ 4629050 w 8266922"/>
              <a:gd name="connsiteY650" fmla="*/ 3968397 h 7305087"/>
              <a:gd name="connsiteX651" fmla="*/ 4619349 w 8266922"/>
              <a:gd name="connsiteY651" fmla="*/ 3921898 h 7305087"/>
              <a:gd name="connsiteX652" fmla="*/ 4611726 w 8266922"/>
              <a:gd name="connsiteY652" fmla="*/ 3872833 h 7305087"/>
              <a:gd name="connsiteX653" fmla="*/ 4606041 w 8266922"/>
              <a:gd name="connsiteY653" fmla="*/ 3821283 h 7305087"/>
              <a:gd name="connsiteX654" fmla="*/ 4602154 w 8266922"/>
              <a:gd name="connsiteY654" fmla="*/ 3767333 h 7305087"/>
              <a:gd name="connsiteX655" fmla="*/ 4599924 w 8266922"/>
              <a:gd name="connsiteY655" fmla="*/ 3711063 h 7305087"/>
              <a:gd name="connsiteX656" fmla="*/ 4599213 w 8266922"/>
              <a:gd name="connsiteY656" fmla="*/ 3652558 h 7305087"/>
              <a:gd name="connsiteX657" fmla="*/ 4599948 w 8266922"/>
              <a:gd name="connsiteY657" fmla="*/ 3594302 h 7305087"/>
              <a:gd name="connsiteX658" fmla="*/ 4602244 w 8266922"/>
              <a:gd name="connsiteY658" fmla="*/ 3538282 h 7305087"/>
              <a:gd name="connsiteX659" fmla="*/ 4606233 w 8266922"/>
              <a:gd name="connsiteY659" fmla="*/ 3484578 h 7305087"/>
              <a:gd name="connsiteX660" fmla="*/ 4612046 w 8266922"/>
              <a:gd name="connsiteY660" fmla="*/ 3433271 h 7305087"/>
              <a:gd name="connsiteX661" fmla="*/ 4619819 w 8266922"/>
              <a:gd name="connsiteY661" fmla="*/ 3384443 h 7305087"/>
              <a:gd name="connsiteX662" fmla="*/ 4629682 w 8266922"/>
              <a:gd name="connsiteY662" fmla="*/ 3338176 h 7305087"/>
              <a:gd name="connsiteX663" fmla="*/ 4641768 w 8266922"/>
              <a:gd name="connsiteY663" fmla="*/ 3294551 h 7305087"/>
              <a:gd name="connsiteX664" fmla="*/ 4656211 w 8266922"/>
              <a:gd name="connsiteY664" fmla="*/ 3253648 h 7305087"/>
              <a:gd name="connsiteX665" fmla="*/ 4673143 w 8266922"/>
              <a:gd name="connsiteY665" fmla="*/ 3215550 h 7305087"/>
              <a:gd name="connsiteX666" fmla="*/ 4692696 w 8266922"/>
              <a:gd name="connsiteY666" fmla="*/ 3180338 h 7305087"/>
              <a:gd name="connsiteX667" fmla="*/ 4715004 w 8266922"/>
              <a:gd name="connsiteY667" fmla="*/ 3148093 h 7305087"/>
              <a:gd name="connsiteX668" fmla="*/ 4740200 w 8266922"/>
              <a:gd name="connsiteY668" fmla="*/ 3118897 h 7305087"/>
              <a:gd name="connsiteX669" fmla="*/ 4768415 w 8266922"/>
              <a:gd name="connsiteY669" fmla="*/ 3092831 h 7305087"/>
              <a:gd name="connsiteX670" fmla="*/ 4799783 w 8266922"/>
              <a:gd name="connsiteY670" fmla="*/ 3069977 h 7305087"/>
              <a:gd name="connsiteX671" fmla="*/ 4834436 w 8266922"/>
              <a:gd name="connsiteY671" fmla="*/ 3050415 h 7305087"/>
              <a:gd name="connsiteX672" fmla="*/ 4872507 w 8266922"/>
              <a:gd name="connsiteY672" fmla="*/ 3034227 h 7305087"/>
              <a:gd name="connsiteX673" fmla="*/ 4914128 w 8266922"/>
              <a:gd name="connsiteY673" fmla="*/ 3021495 h 7305087"/>
              <a:gd name="connsiteX674" fmla="*/ 4959433 w 8266922"/>
              <a:gd name="connsiteY674" fmla="*/ 3012300 h 7305087"/>
              <a:gd name="connsiteX675" fmla="*/ 5008555 w 8266922"/>
              <a:gd name="connsiteY675" fmla="*/ 3006723 h 7305087"/>
              <a:gd name="connsiteX676" fmla="*/ 887436 w 8266922"/>
              <a:gd name="connsiteY676" fmla="*/ 3004847 h 7305087"/>
              <a:gd name="connsiteX677" fmla="*/ 887436 w 8266922"/>
              <a:gd name="connsiteY677" fmla="*/ 3103339 h 7305087"/>
              <a:gd name="connsiteX678" fmla="*/ 838550 w 8266922"/>
              <a:gd name="connsiteY678" fmla="*/ 3105555 h 7305087"/>
              <a:gd name="connsiteX679" fmla="*/ 794269 w 8266922"/>
              <a:gd name="connsiteY679" fmla="*/ 3112123 h 7305087"/>
              <a:gd name="connsiteX680" fmla="*/ 754383 w 8266922"/>
              <a:gd name="connsiteY680" fmla="*/ 3122926 h 7305087"/>
              <a:gd name="connsiteX681" fmla="*/ 718677 w 8266922"/>
              <a:gd name="connsiteY681" fmla="*/ 3137845 h 7305087"/>
              <a:gd name="connsiteX682" fmla="*/ 658962 w 8266922"/>
              <a:gd name="connsiteY682" fmla="*/ 3179558 h 7305087"/>
              <a:gd name="connsiteX683" fmla="*/ 613427 w 8266922"/>
              <a:gd name="connsiteY683" fmla="*/ 3236317 h 7305087"/>
              <a:gd name="connsiteX684" fmla="*/ 595448 w 8266922"/>
              <a:gd name="connsiteY684" fmla="*/ 3270043 h 7305087"/>
              <a:gd name="connsiteX685" fmla="*/ 580378 w 8266922"/>
              <a:gd name="connsiteY685" fmla="*/ 3307175 h 7305087"/>
              <a:gd name="connsiteX686" fmla="*/ 568006 w 8266922"/>
              <a:gd name="connsiteY686" fmla="*/ 3347596 h 7305087"/>
              <a:gd name="connsiteX687" fmla="*/ 558118 w 8266922"/>
              <a:gd name="connsiteY687" fmla="*/ 3391187 h 7305087"/>
              <a:gd name="connsiteX688" fmla="*/ 550504 w 8266922"/>
              <a:gd name="connsiteY688" fmla="*/ 3437831 h 7305087"/>
              <a:gd name="connsiteX689" fmla="*/ 544951 w 8266922"/>
              <a:gd name="connsiteY689" fmla="*/ 3487407 h 7305087"/>
              <a:gd name="connsiteX690" fmla="*/ 541247 w 8266922"/>
              <a:gd name="connsiteY690" fmla="*/ 3539800 h 7305087"/>
              <a:gd name="connsiteX691" fmla="*/ 539180 w 8266922"/>
              <a:gd name="connsiteY691" fmla="*/ 3594889 h 7305087"/>
              <a:gd name="connsiteX692" fmla="*/ 538538 w 8266922"/>
              <a:gd name="connsiteY692" fmla="*/ 3652558 h 7305087"/>
              <a:gd name="connsiteX693" fmla="*/ 539164 w 8266922"/>
              <a:gd name="connsiteY693" fmla="*/ 3710798 h 7305087"/>
              <a:gd name="connsiteX694" fmla="*/ 541186 w 8266922"/>
              <a:gd name="connsiteY694" fmla="*/ 3766425 h 7305087"/>
              <a:gd name="connsiteX695" fmla="*/ 544823 w 8266922"/>
              <a:gd name="connsiteY695" fmla="*/ 3819320 h 7305087"/>
              <a:gd name="connsiteX696" fmla="*/ 550292 w 8266922"/>
              <a:gd name="connsiteY696" fmla="*/ 3869364 h 7305087"/>
              <a:gd name="connsiteX697" fmla="*/ 557813 w 8266922"/>
              <a:gd name="connsiteY697" fmla="*/ 3916441 h 7305087"/>
              <a:gd name="connsiteX698" fmla="*/ 567602 w 8266922"/>
              <a:gd name="connsiteY698" fmla="*/ 3960431 h 7305087"/>
              <a:gd name="connsiteX699" fmla="*/ 579880 w 8266922"/>
              <a:gd name="connsiteY699" fmla="*/ 4001216 h 7305087"/>
              <a:gd name="connsiteX700" fmla="*/ 594862 w 8266922"/>
              <a:gd name="connsiteY700" fmla="*/ 4038677 h 7305087"/>
              <a:gd name="connsiteX701" fmla="*/ 612768 w 8266922"/>
              <a:gd name="connsiteY701" fmla="*/ 4072698 h 7305087"/>
              <a:gd name="connsiteX702" fmla="*/ 658222 w 8266922"/>
              <a:gd name="connsiteY702" fmla="*/ 4129942 h 7305087"/>
              <a:gd name="connsiteX703" fmla="*/ 717988 w 8266922"/>
              <a:gd name="connsiteY703" fmla="*/ 4172002 h 7305087"/>
              <a:gd name="connsiteX704" fmla="*/ 753783 w 8266922"/>
              <a:gd name="connsiteY704" fmla="*/ 4187042 h 7305087"/>
              <a:gd name="connsiteX705" fmla="*/ 793811 w 8266922"/>
              <a:gd name="connsiteY705" fmla="*/ 4197931 h 7305087"/>
              <a:gd name="connsiteX706" fmla="*/ 838289 w 8266922"/>
              <a:gd name="connsiteY706" fmla="*/ 4204552 h 7305087"/>
              <a:gd name="connsiteX707" fmla="*/ 887436 w 8266922"/>
              <a:gd name="connsiteY707" fmla="*/ 4206785 h 7305087"/>
              <a:gd name="connsiteX708" fmla="*/ 887436 w 8266922"/>
              <a:gd name="connsiteY708" fmla="*/ 4303607 h 7305087"/>
              <a:gd name="connsiteX709" fmla="*/ 833914 w 8266922"/>
              <a:gd name="connsiteY709" fmla="*/ 4301718 h 7305087"/>
              <a:gd name="connsiteX710" fmla="*/ 784433 w 8266922"/>
              <a:gd name="connsiteY710" fmla="*/ 4296105 h 7305087"/>
              <a:gd name="connsiteX711" fmla="*/ 738854 w 8266922"/>
              <a:gd name="connsiteY711" fmla="*/ 4286851 h 7305087"/>
              <a:gd name="connsiteX712" fmla="*/ 697035 w 8266922"/>
              <a:gd name="connsiteY712" fmla="*/ 4274039 h 7305087"/>
              <a:gd name="connsiteX713" fmla="*/ 658838 w 8266922"/>
              <a:gd name="connsiteY713" fmla="*/ 4257752 h 7305087"/>
              <a:gd name="connsiteX714" fmla="*/ 624121 w 8266922"/>
              <a:gd name="connsiteY714" fmla="*/ 4238071 h 7305087"/>
              <a:gd name="connsiteX715" fmla="*/ 592745 w 8266922"/>
              <a:gd name="connsiteY715" fmla="*/ 4215081 h 7305087"/>
              <a:gd name="connsiteX716" fmla="*/ 564568 w 8266922"/>
              <a:gd name="connsiteY716" fmla="*/ 4188862 h 7305087"/>
              <a:gd name="connsiteX717" fmla="*/ 539451 w 8266922"/>
              <a:gd name="connsiteY717" fmla="*/ 4159499 h 7305087"/>
              <a:gd name="connsiteX718" fmla="*/ 517255 w 8266922"/>
              <a:gd name="connsiteY718" fmla="*/ 4127073 h 7305087"/>
              <a:gd name="connsiteX719" fmla="*/ 497837 w 8266922"/>
              <a:gd name="connsiteY719" fmla="*/ 4091667 h 7305087"/>
              <a:gd name="connsiteX720" fmla="*/ 481060 w 8266922"/>
              <a:gd name="connsiteY720" fmla="*/ 4053364 h 7305087"/>
              <a:gd name="connsiteX721" fmla="*/ 466781 w 8266922"/>
              <a:gd name="connsiteY721" fmla="*/ 4012246 h 7305087"/>
              <a:gd name="connsiteX722" fmla="*/ 454861 w 8266922"/>
              <a:gd name="connsiteY722" fmla="*/ 3968397 h 7305087"/>
              <a:gd name="connsiteX723" fmla="*/ 445159 w 8266922"/>
              <a:gd name="connsiteY723" fmla="*/ 3921898 h 7305087"/>
              <a:gd name="connsiteX724" fmla="*/ 437536 w 8266922"/>
              <a:gd name="connsiteY724" fmla="*/ 3872833 h 7305087"/>
              <a:gd name="connsiteX725" fmla="*/ 431851 w 8266922"/>
              <a:gd name="connsiteY725" fmla="*/ 3821283 h 7305087"/>
              <a:gd name="connsiteX726" fmla="*/ 427964 w 8266922"/>
              <a:gd name="connsiteY726" fmla="*/ 3767333 h 7305087"/>
              <a:gd name="connsiteX727" fmla="*/ 425734 w 8266922"/>
              <a:gd name="connsiteY727" fmla="*/ 3711063 h 7305087"/>
              <a:gd name="connsiteX728" fmla="*/ 425023 w 8266922"/>
              <a:gd name="connsiteY728" fmla="*/ 3652558 h 7305087"/>
              <a:gd name="connsiteX729" fmla="*/ 425758 w 8266922"/>
              <a:gd name="connsiteY729" fmla="*/ 3594302 h 7305087"/>
              <a:gd name="connsiteX730" fmla="*/ 428054 w 8266922"/>
              <a:gd name="connsiteY730" fmla="*/ 3538282 h 7305087"/>
              <a:gd name="connsiteX731" fmla="*/ 432043 w 8266922"/>
              <a:gd name="connsiteY731" fmla="*/ 3484578 h 7305087"/>
              <a:gd name="connsiteX732" fmla="*/ 437856 w 8266922"/>
              <a:gd name="connsiteY732" fmla="*/ 3433271 h 7305087"/>
              <a:gd name="connsiteX733" fmla="*/ 445629 w 8266922"/>
              <a:gd name="connsiteY733" fmla="*/ 3384443 h 7305087"/>
              <a:gd name="connsiteX734" fmla="*/ 455492 w 8266922"/>
              <a:gd name="connsiteY734" fmla="*/ 3338176 h 7305087"/>
              <a:gd name="connsiteX735" fmla="*/ 467578 w 8266922"/>
              <a:gd name="connsiteY735" fmla="*/ 3294551 h 7305087"/>
              <a:gd name="connsiteX736" fmla="*/ 482021 w 8266922"/>
              <a:gd name="connsiteY736" fmla="*/ 3253648 h 7305087"/>
              <a:gd name="connsiteX737" fmla="*/ 498953 w 8266922"/>
              <a:gd name="connsiteY737" fmla="*/ 3215550 h 7305087"/>
              <a:gd name="connsiteX738" fmla="*/ 518506 w 8266922"/>
              <a:gd name="connsiteY738" fmla="*/ 3180338 h 7305087"/>
              <a:gd name="connsiteX739" fmla="*/ 540814 w 8266922"/>
              <a:gd name="connsiteY739" fmla="*/ 3148093 h 7305087"/>
              <a:gd name="connsiteX740" fmla="*/ 566010 w 8266922"/>
              <a:gd name="connsiteY740" fmla="*/ 3118897 h 7305087"/>
              <a:gd name="connsiteX741" fmla="*/ 594226 w 8266922"/>
              <a:gd name="connsiteY741" fmla="*/ 3092831 h 7305087"/>
              <a:gd name="connsiteX742" fmla="*/ 625592 w 8266922"/>
              <a:gd name="connsiteY742" fmla="*/ 3069977 h 7305087"/>
              <a:gd name="connsiteX743" fmla="*/ 660246 w 8266922"/>
              <a:gd name="connsiteY743" fmla="*/ 3050415 h 7305087"/>
              <a:gd name="connsiteX744" fmla="*/ 698317 w 8266922"/>
              <a:gd name="connsiteY744" fmla="*/ 3034227 h 7305087"/>
              <a:gd name="connsiteX745" fmla="*/ 739939 w 8266922"/>
              <a:gd name="connsiteY745" fmla="*/ 3021495 h 7305087"/>
              <a:gd name="connsiteX746" fmla="*/ 785244 w 8266922"/>
              <a:gd name="connsiteY746" fmla="*/ 3012300 h 7305087"/>
              <a:gd name="connsiteX747" fmla="*/ 834365 w 8266922"/>
              <a:gd name="connsiteY747" fmla="*/ 3006723 h 7305087"/>
              <a:gd name="connsiteX748" fmla="*/ 7060934 w 8266922"/>
              <a:gd name="connsiteY748" fmla="*/ 2524077 h 7305087"/>
              <a:gd name="connsiteX749" fmla="*/ 7267935 w 8266922"/>
              <a:gd name="connsiteY749" fmla="*/ 2524077 h 7305087"/>
              <a:gd name="connsiteX750" fmla="*/ 7267935 w 8266922"/>
              <a:gd name="connsiteY750" fmla="*/ 2697690 h 7305087"/>
              <a:gd name="connsiteX751" fmla="*/ 7060934 w 8266922"/>
              <a:gd name="connsiteY751" fmla="*/ 2697690 h 7305087"/>
              <a:gd name="connsiteX752" fmla="*/ 2536338 w 8266922"/>
              <a:gd name="connsiteY752" fmla="*/ 2373825 h 7305087"/>
              <a:gd name="connsiteX753" fmla="*/ 3441128 w 8266922"/>
              <a:gd name="connsiteY753" fmla="*/ 2373825 h 7305087"/>
              <a:gd name="connsiteX754" fmla="*/ 3441128 w 8266922"/>
              <a:gd name="connsiteY754" fmla="*/ 2480664 h 7305087"/>
              <a:gd name="connsiteX755" fmla="*/ 2536338 w 8266922"/>
              <a:gd name="connsiteY755" fmla="*/ 2480664 h 7305087"/>
              <a:gd name="connsiteX756" fmla="*/ 1024388 w 8266922"/>
              <a:gd name="connsiteY756" fmla="*/ 2373825 h 7305087"/>
              <a:gd name="connsiteX757" fmla="*/ 1929180 w 8266922"/>
              <a:gd name="connsiteY757" fmla="*/ 2373825 h 7305087"/>
              <a:gd name="connsiteX758" fmla="*/ 1929180 w 8266922"/>
              <a:gd name="connsiteY758" fmla="*/ 2480664 h 7305087"/>
              <a:gd name="connsiteX759" fmla="*/ 1024388 w 8266922"/>
              <a:gd name="connsiteY759" fmla="*/ 2480664 h 7305087"/>
              <a:gd name="connsiteX760" fmla="*/ 2536338 w 8266922"/>
              <a:gd name="connsiteY760" fmla="*/ 2024932 h 7305087"/>
              <a:gd name="connsiteX761" fmla="*/ 3441128 w 8266922"/>
              <a:gd name="connsiteY761" fmla="*/ 2024932 h 7305087"/>
              <a:gd name="connsiteX762" fmla="*/ 3441128 w 8266922"/>
              <a:gd name="connsiteY762" fmla="*/ 2131770 h 7305087"/>
              <a:gd name="connsiteX763" fmla="*/ 2536338 w 8266922"/>
              <a:gd name="connsiteY763" fmla="*/ 2131770 h 7305087"/>
              <a:gd name="connsiteX764" fmla="*/ 1024388 w 8266922"/>
              <a:gd name="connsiteY764" fmla="*/ 2024932 h 7305087"/>
              <a:gd name="connsiteX765" fmla="*/ 1929180 w 8266922"/>
              <a:gd name="connsiteY765" fmla="*/ 2024932 h 7305087"/>
              <a:gd name="connsiteX766" fmla="*/ 1929180 w 8266922"/>
              <a:gd name="connsiteY766" fmla="*/ 2131770 h 7305087"/>
              <a:gd name="connsiteX767" fmla="*/ 1024388 w 8266922"/>
              <a:gd name="connsiteY767" fmla="*/ 2131770 h 7305087"/>
              <a:gd name="connsiteX768" fmla="*/ 6145468 w 8266922"/>
              <a:gd name="connsiteY768" fmla="*/ 1508808 h 7305087"/>
              <a:gd name="connsiteX769" fmla="*/ 6519394 w 8266922"/>
              <a:gd name="connsiteY769" fmla="*/ 1508808 h 7305087"/>
              <a:gd name="connsiteX770" fmla="*/ 6519394 w 8266922"/>
              <a:gd name="connsiteY770" fmla="*/ 1604058 h 7305087"/>
              <a:gd name="connsiteX771" fmla="*/ 6260644 w 8266922"/>
              <a:gd name="connsiteY771" fmla="*/ 1604058 h 7305087"/>
              <a:gd name="connsiteX772" fmla="*/ 6260644 w 8266922"/>
              <a:gd name="connsiteY772" fmla="*/ 2702607 h 7305087"/>
              <a:gd name="connsiteX773" fmla="*/ 6519394 w 8266922"/>
              <a:gd name="connsiteY773" fmla="*/ 2702607 h 7305087"/>
              <a:gd name="connsiteX774" fmla="*/ 6519394 w 8266922"/>
              <a:gd name="connsiteY774" fmla="*/ 2797857 h 7305087"/>
              <a:gd name="connsiteX775" fmla="*/ 6145468 w 8266922"/>
              <a:gd name="connsiteY775" fmla="*/ 2797857 h 7305087"/>
              <a:gd name="connsiteX776" fmla="*/ 6145468 w 8266922"/>
              <a:gd name="connsiteY776" fmla="*/ 2702607 h 7305087"/>
              <a:gd name="connsiteX777" fmla="*/ 6145468 w 8266922"/>
              <a:gd name="connsiteY777" fmla="*/ 1604058 h 7305087"/>
              <a:gd name="connsiteX778" fmla="*/ 7804510 w 8266922"/>
              <a:gd name="connsiteY778" fmla="*/ 1502430 h 7305087"/>
              <a:gd name="connsiteX779" fmla="*/ 7857580 w 8266922"/>
              <a:gd name="connsiteY779" fmla="*/ 1504306 h 7305087"/>
              <a:gd name="connsiteX780" fmla="*/ 7906701 w 8266922"/>
              <a:gd name="connsiteY780" fmla="*/ 1509883 h 7305087"/>
              <a:gd name="connsiteX781" fmla="*/ 7952006 w 8266922"/>
              <a:gd name="connsiteY781" fmla="*/ 1519078 h 7305087"/>
              <a:gd name="connsiteX782" fmla="*/ 7993628 w 8266922"/>
              <a:gd name="connsiteY782" fmla="*/ 1531810 h 7305087"/>
              <a:gd name="connsiteX783" fmla="*/ 8031699 w 8266922"/>
              <a:gd name="connsiteY783" fmla="*/ 1547998 h 7305087"/>
              <a:gd name="connsiteX784" fmla="*/ 8066352 w 8266922"/>
              <a:gd name="connsiteY784" fmla="*/ 1567559 h 7305087"/>
              <a:gd name="connsiteX785" fmla="*/ 8097719 w 8266922"/>
              <a:gd name="connsiteY785" fmla="*/ 1590414 h 7305087"/>
              <a:gd name="connsiteX786" fmla="*/ 8125934 w 8266922"/>
              <a:gd name="connsiteY786" fmla="*/ 1616479 h 7305087"/>
              <a:gd name="connsiteX787" fmla="*/ 8151130 w 8266922"/>
              <a:gd name="connsiteY787" fmla="*/ 1645676 h 7305087"/>
              <a:gd name="connsiteX788" fmla="*/ 8173438 w 8266922"/>
              <a:gd name="connsiteY788" fmla="*/ 1677921 h 7305087"/>
              <a:gd name="connsiteX789" fmla="*/ 8192991 w 8266922"/>
              <a:gd name="connsiteY789" fmla="*/ 1713133 h 7305087"/>
              <a:gd name="connsiteX790" fmla="*/ 8209923 w 8266922"/>
              <a:gd name="connsiteY790" fmla="*/ 1751231 h 7305087"/>
              <a:gd name="connsiteX791" fmla="*/ 8224366 w 8266922"/>
              <a:gd name="connsiteY791" fmla="*/ 1792133 h 7305087"/>
              <a:gd name="connsiteX792" fmla="*/ 8236453 w 8266922"/>
              <a:gd name="connsiteY792" fmla="*/ 1835759 h 7305087"/>
              <a:gd name="connsiteX793" fmla="*/ 8246316 w 8266922"/>
              <a:gd name="connsiteY793" fmla="*/ 1882026 h 7305087"/>
              <a:gd name="connsiteX794" fmla="*/ 8254088 w 8266922"/>
              <a:gd name="connsiteY794" fmla="*/ 1930854 h 7305087"/>
              <a:gd name="connsiteX795" fmla="*/ 8259902 w 8266922"/>
              <a:gd name="connsiteY795" fmla="*/ 1982160 h 7305087"/>
              <a:gd name="connsiteX796" fmla="*/ 8263890 w 8266922"/>
              <a:gd name="connsiteY796" fmla="*/ 2035865 h 7305087"/>
              <a:gd name="connsiteX797" fmla="*/ 8266186 w 8266922"/>
              <a:gd name="connsiteY797" fmla="*/ 2091886 h 7305087"/>
              <a:gd name="connsiteX798" fmla="*/ 8266922 w 8266922"/>
              <a:gd name="connsiteY798" fmla="*/ 2150141 h 7305087"/>
              <a:gd name="connsiteX799" fmla="*/ 8266222 w 8266922"/>
              <a:gd name="connsiteY799" fmla="*/ 2208645 h 7305087"/>
              <a:gd name="connsiteX800" fmla="*/ 8264025 w 8266922"/>
              <a:gd name="connsiteY800" fmla="*/ 2264915 h 7305087"/>
              <a:gd name="connsiteX801" fmla="*/ 8260189 w 8266922"/>
              <a:gd name="connsiteY801" fmla="*/ 2318865 h 7305087"/>
              <a:gd name="connsiteX802" fmla="*/ 8254568 w 8266922"/>
              <a:gd name="connsiteY802" fmla="*/ 2370415 h 7305087"/>
              <a:gd name="connsiteX803" fmla="*/ 8247020 w 8266922"/>
              <a:gd name="connsiteY803" fmla="*/ 2419480 h 7305087"/>
              <a:gd name="connsiteX804" fmla="*/ 8237399 w 8266922"/>
              <a:gd name="connsiteY804" fmla="*/ 2465979 h 7305087"/>
              <a:gd name="connsiteX805" fmla="*/ 8225562 w 8266922"/>
              <a:gd name="connsiteY805" fmla="*/ 2509828 h 7305087"/>
              <a:gd name="connsiteX806" fmla="*/ 8211365 w 8266922"/>
              <a:gd name="connsiteY806" fmla="*/ 2550946 h 7305087"/>
              <a:gd name="connsiteX807" fmla="*/ 8194665 w 8266922"/>
              <a:gd name="connsiteY807" fmla="*/ 2589249 h 7305087"/>
              <a:gd name="connsiteX808" fmla="*/ 8175316 w 8266922"/>
              <a:gd name="connsiteY808" fmla="*/ 2624655 h 7305087"/>
              <a:gd name="connsiteX809" fmla="*/ 8153175 w 8266922"/>
              <a:gd name="connsiteY809" fmla="*/ 2657081 h 7305087"/>
              <a:gd name="connsiteX810" fmla="*/ 8128098 w 8266922"/>
              <a:gd name="connsiteY810" fmla="*/ 2686444 h 7305087"/>
              <a:gd name="connsiteX811" fmla="*/ 8099941 w 8266922"/>
              <a:gd name="connsiteY811" fmla="*/ 2712663 h 7305087"/>
              <a:gd name="connsiteX812" fmla="*/ 8068560 w 8266922"/>
              <a:gd name="connsiteY812" fmla="*/ 2735653 h 7305087"/>
              <a:gd name="connsiteX813" fmla="*/ 8033812 w 8266922"/>
              <a:gd name="connsiteY813" fmla="*/ 2755334 h 7305087"/>
              <a:gd name="connsiteX814" fmla="*/ 7995551 w 8266922"/>
              <a:gd name="connsiteY814" fmla="*/ 2771621 h 7305087"/>
              <a:gd name="connsiteX815" fmla="*/ 7953634 w 8266922"/>
              <a:gd name="connsiteY815" fmla="*/ 2784433 h 7305087"/>
              <a:gd name="connsiteX816" fmla="*/ 7907918 w 8266922"/>
              <a:gd name="connsiteY816" fmla="*/ 2793687 h 7305087"/>
              <a:gd name="connsiteX817" fmla="*/ 7858258 w 8266922"/>
              <a:gd name="connsiteY817" fmla="*/ 2799300 h 7305087"/>
              <a:gd name="connsiteX818" fmla="*/ 7804510 w 8266922"/>
              <a:gd name="connsiteY818" fmla="*/ 2801189 h 7305087"/>
              <a:gd name="connsiteX819" fmla="*/ 7804510 w 8266922"/>
              <a:gd name="connsiteY819" fmla="*/ 2704367 h 7305087"/>
              <a:gd name="connsiteX820" fmla="*/ 7854195 w 8266922"/>
              <a:gd name="connsiteY820" fmla="*/ 2702134 h 7305087"/>
              <a:gd name="connsiteX821" fmla="*/ 7899116 w 8266922"/>
              <a:gd name="connsiteY821" fmla="*/ 2695513 h 7305087"/>
              <a:gd name="connsiteX822" fmla="*/ 7939498 w 8266922"/>
              <a:gd name="connsiteY822" fmla="*/ 2684624 h 7305087"/>
              <a:gd name="connsiteX823" fmla="*/ 7975569 w 8266922"/>
              <a:gd name="connsiteY823" fmla="*/ 2669584 h 7305087"/>
              <a:gd name="connsiteX824" fmla="*/ 8035680 w 8266922"/>
              <a:gd name="connsiteY824" fmla="*/ 2627524 h 7305087"/>
              <a:gd name="connsiteX825" fmla="*/ 8081260 w 8266922"/>
              <a:gd name="connsiteY825" fmla="*/ 2570280 h 7305087"/>
              <a:gd name="connsiteX826" fmla="*/ 8099165 w 8266922"/>
              <a:gd name="connsiteY826" fmla="*/ 2536259 h 7305087"/>
              <a:gd name="connsiteX827" fmla="*/ 8114117 w 8266922"/>
              <a:gd name="connsiteY827" fmla="*/ 2498797 h 7305087"/>
              <a:gd name="connsiteX828" fmla="*/ 8126341 w 8266922"/>
              <a:gd name="connsiteY828" fmla="*/ 2458012 h 7305087"/>
              <a:gd name="connsiteX829" fmla="*/ 8136064 w 8266922"/>
              <a:gd name="connsiteY829" fmla="*/ 2414022 h 7305087"/>
              <a:gd name="connsiteX830" fmla="*/ 8143511 w 8266922"/>
              <a:gd name="connsiteY830" fmla="*/ 2366946 h 7305087"/>
              <a:gd name="connsiteX831" fmla="*/ 8148910 w 8266922"/>
              <a:gd name="connsiteY831" fmla="*/ 2316901 h 7305087"/>
              <a:gd name="connsiteX832" fmla="*/ 8152486 w 8266922"/>
              <a:gd name="connsiteY832" fmla="*/ 2264006 h 7305087"/>
              <a:gd name="connsiteX833" fmla="*/ 8154465 w 8266922"/>
              <a:gd name="connsiteY833" fmla="*/ 2208380 h 7305087"/>
              <a:gd name="connsiteX834" fmla="*/ 8155075 w 8266922"/>
              <a:gd name="connsiteY834" fmla="*/ 2150141 h 7305087"/>
              <a:gd name="connsiteX835" fmla="*/ 8154433 w 8266922"/>
              <a:gd name="connsiteY835" fmla="*/ 2092472 h 7305087"/>
              <a:gd name="connsiteX836" fmla="*/ 8152363 w 8266922"/>
              <a:gd name="connsiteY836" fmla="*/ 2037383 h 7305087"/>
              <a:gd name="connsiteX837" fmla="*/ 8148653 w 8266922"/>
              <a:gd name="connsiteY837" fmla="*/ 1984990 h 7305087"/>
              <a:gd name="connsiteX838" fmla="*/ 8143087 w 8266922"/>
              <a:gd name="connsiteY838" fmla="*/ 1935414 h 7305087"/>
              <a:gd name="connsiteX839" fmla="*/ 8135452 w 8266922"/>
              <a:gd name="connsiteY839" fmla="*/ 1888770 h 7305087"/>
              <a:gd name="connsiteX840" fmla="*/ 8125534 w 8266922"/>
              <a:gd name="connsiteY840" fmla="*/ 1845179 h 7305087"/>
              <a:gd name="connsiteX841" fmla="*/ 8113118 w 8266922"/>
              <a:gd name="connsiteY841" fmla="*/ 1804759 h 7305087"/>
              <a:gd name="connsiteX842" fmla="*/ 8097991 w 8266922"/>
              <a:gd name="connsiteY842" fmla="*/ 1767626 h 7305087"/>
              <a:gd name="connsiteX843" fmla="*/ 8079938 w 8266922"/>
              <a:gd name="connsiteY843" fmla="*/ 1733900 h 7305087"/>
              <a:gd name="connsiteX844" fmla="*/ 8034200 w 8266922"/>
              <a:gd name="connsiteY844" fmla="*/ 1677141 h 7305087"/>
              <a:gd name="connsiteX845" fmla="*/ 7974191 w 8266922"/>
              <a:gd name="connsiteY845" fmla="*/ 1635428 h 7305087"/>
              <a:gd name="connsiteX846" fmla="*/ 7938299 w 8266922"/>
              <a:gd name="connsiteY846" fmla="*/ 1620509 h 7305087"/>
              <a:gd name="connsiteX847" fmla="*/ 7898198 w 8266922"/>
              <a:gd name="connsiteY847" fmla="*/ 1609705 h 7305087"/>
              <a:gd name="connsiteX848" fmla="*/ 7853673 w 8266922"/>
              <a:gd name="connsiteY848" fmla="*/ 1603138 h 7305087"/>
              <a:gd name="connsiteX849" fmla="*/ 7804510 w 8266922"/>
              <a:gd name="connsiteY849" fmla="*/ 1600921 h 7305087"/>
              <a:gd name="connsiteX850" fmla="*/ 5032599 w 8266922"/>
              <a:gd name="connsiteY850" fmla="*/ 1502430 h 7305087"/>
              <a:gd name="connsiteX851" fmla="*/ 5085669 w 8266922"/>
              <a:gd name="connsiteY851" fmla="*/ 1504306 h 7305087"/>
              <a:gd name="connsiteX852" fmla="*/ 5134790 w 8266922"/>
              <a:gd name="connsiteY852" fmla="*/ 1509883 h 7305087"/>
              <a:gd name="connsiteX853" fmla="*/ 5180096 w 8266922"/>
              <a:gd name="connsiteY853" fmla="*/ 1519078 h 7305087"/>
              <a:gd name="connsiteX854" fmla="*/ 5221718 w 8266922"/>
              <a:gd name="connsiteY854" fmla="*/ 1531810 h 7305087"/>
              <a:gd name="connsiteX855" fmla="*/ 5259789 w 8266922"/>
              <a:gd name="connsiteY855" fmla="*/ 1547998 h 7305087"/>
              <a:gd name="connsiteX856" fmla="*/ 5294442 w 8266922"/>
              <a:gd name="connsiteY856" fmla="*/ 1567559 h 7305087"/>
              <a:gd name="connsiteX857" fmla="*/ 5325809 w 8266922"/>
              <a:gd name="connsiteY857" fmla="*/ 1590414 h 7305087"/>
              <a:gd name="connsiteX858" fmla="*/ 5354024 w 8266922"/>
              <a:gd name="connsiteY858" fmla="*/ 1616479 h 7305087"/>
              <a:gd name="connsiteX859" fmla="*/ 5379220 w 8266922"/>
              <a:gd name="connsiteY859" fmla="*/ 1645676 h 7305087"/>
              <a:gd name="connsiteX860" fmla="*/ 5401528 w 8266922"/>
              <a:gd name="connsiteY860" fmla="*/ 1677921 h 7305087"/>
              <a:gd name="connsiteX861" fmla="*/ 5421081 w 8266922"/>
              <a:gd name="connsiteY861" fmla="*/ 1713133 h 7305087"/>
              <a:gd name="connsiteX862" fmla="*/ 5438013 w 8266922"/>
              <a:gd name="connsiteY862" fmla="*/ 1751231 h 7305087"/>
              <a:gd name="connsiteX863" fmla="*/ 5452456 w 8266922"/>
              <a:gd name="connsiteY863" fmla="*/ 1792133 h 7305087"/>
              <a:gd name="connsiteX864" fmla="*/ 5464543 w 8266922"/>
              <a:gd name="connsiteY864" fmla="*/ 1835759 h 7305087"/>
              <a:gd name="connsiteX865" fmla="*/ 5474406 w 8266922"/>
              <a:gd name="connsiteY865" fmla="*/ 1882026 h 7305087"/>
              <a:gd name="connsiteX866" fmla="*/ 5482178 w 8266922"/>
              <a:gd name="connsiteY866" fmla="*/ 1930854 h 7305087"/>
              <a:gd name="connsiteX867" fmla="*/ 5487992 w 8266922"/>
              <a:gd name="connsiteY867" fmla="*/ 1982160 h 7305087"/>
              <a:gd name="connsiteX868" fmla="*/ 5491980 w 8266922"/>
              <a:gd name="connsiteY868" fmla="*/ 2035865 h 7305087"/>
              <a:gd name="connsiteX869" fmla="*/ 5494276 w 8266922"/>
              <a:gd name="connsiteY869" fmla="*/ 2091886 h 7305087"/>
              <a:gd name="connsiteX870" fmla="*/ 5495012 w 8266922"/>
              <a:gd name="connsiteY870" fmla="*/ 2150141 h 7305087"/>
              <a:gd name="connsiteX871" fmla="*/ 5494312 w 8266922"/>
              <a:gd name="connsiteY871" fmla="*/ 2208645 h 7305087"/>
              <a:gd name="connsiteX872" fmla="*/ 5492115 w 8266922"/>
              <a:gd name="connsiteY872" fmla="*/ 2264915 h 7305087"/>
              <a:gd name="connsiteX873" fmla="*/ 5488279 w 8266922"/>
              <a:gd name="connsiteY873" fmla="*/ 2318865 h 7305087"/>
              <a:gd name="connsiteX874" fmla="*/ 5482658 w 8266922"/>
              <a:gd name="connsiteY874" fmla="*/ 2370415 h 7305087"/>
              <a:gd name="connsiteX875" fmla="*/ 5475110 w 8266922"/>
              <a:gd name="connsiteY875" fmla="*/ 2419480 h 7305087"/>
              <a:gd name="connsiteX876" fmla="*/ 5465489 w 8266922"/>
              <a:gd name="connsiteY876" fmla="*/ 2465979 h 7305087"/>
              <a:gd name="connsiteX877" fmla="*/ 5453652 w 8266922"/>
              <a:gd name="connsiteY877" fmla="*/ 2509828 h 7305087"/>
              <a:gd name="connsiteX878" fmla="*/ 5439455 w 8266922"/>
              <a:gd name="connsiteY878" fmla="*/ 2550946 h 7305087"/>
              <a:gd name="connsiteX879" fmla="*/ 5422755 w 8266922"/>
              <a:gd name="connsiteY879" fmla="*/ 2589249 h 7305087"/>
              <a:gd name="connsiteX880" fmla="*/ 5403406 w 8266922"/>
              <a:gd name="connsiteY880" fmla="*/ 2624655 h 7305087"/>
              <a:gd name="connsiteX881" fmla="*/ 5381265 w 8266922"/>
              <a:gd name="connsiteY881" fmla="*/ 2657081 h 7305087"/>
              <a:gd name="connsiteX882" fmla="*/ 5356188 w 8266922"/>
              <a:gd name="connsiteY882" fmla="*/ 2686444 h 7305087"/>
              <a:gd name="connsiteX883" fmla="*/ 5328031 w 8266922"/>
              <a:gd name="connsiteY883" fmla="*/ 2712663 h 7305087"/>
              <a:gd name="connsiteX884" fmla="*/ 5296650 w 8266922"/>
              <a:gd name="connsiteY884" fmla="*/ 2735653 h 7305087"/>
              <a:gd name="connsiteX885" fmla="*/ 5261902 w 8266922"/>
              <a:gd name="connsiteY885" fmla="*/ 2755334 h 7305087"/>
              <a:gd name="connsiteX886" fmla="*/ 5223641 w 8266922"/>
              <a:gd name="connsiteY886" fmla="*/ 2771621 h 7305087"/>
              <a:gd name="connsiteX887" fmla="*/ 5181724 w 8266922"/>
              <a:gd name="connsiteY887" fmla="*/ 2784433 h 7305087"/>
              <a:gd name="connsiteX888" fmla="*/ 5136007 w 8266922"/>
              <a:gd name="connsiteY888" fmla="*/ 2793687 h 7305087"/>
              <a:gd name="connsiteX889" fmla="*/ 5086347 w 8266922"/>
              <a:gd name="connsiteY889" fmla="*/ 2799300 h 7305087"/>
              <a:gd name="connsiteX890" fmla="*/ 5032599 w 8266922"/>
              <a:gd name="connsiteY890" fmla="*/ 2801189 h 7305087"/>
              <a:gd name="connsiteX891" fmla="*/ 5032599 w 8266922"/>
              <a:gd name="connsiteY891" fmla="*/ 2704367 h 7305087"/>
              <a:gd name="connsiteX892" fmla="*/ 5082284 w 8266922"/>
              <a:gd name="connsiteY892" fmla="*/ 2702134 h 7305087"/>
              <a:gd name="connsiteX893" fmla="*/ 5127205 w 8266922"/>
              <a:gd name="connsiteY893" fmla="*/ 2695513 h 7305087"/>
              <a:gd name="connsiteX894" fmla="*/ 5167588 w 8266922"/>
              <a:gd name="connsiteY894" fmla="*/ 2684624 h 7305087"/>
              <a:gd name="connsiteX895" fmla="*/ 5203659 w 8266922"/>
              <a:gd name="connsiteY895" fmla="*/ 2669584 h 7305087"/>
              <a:gd name="connsiteX896" fmla="*/ 5263770 w 8266922"/>
              <a:gd name="connsiteY896" fmla="*/ 2627524 h 7305087"/>
              <a:gd name="connsiteX897" fmla="*/ 5309350 w 8266922"/>
              <a:gd name="connsiteY897" fmla="*/ 2570280 h 7305087"/>
              <a:gd name="connsiteX898" fmla="*/ 5327255 w 8266922"/>
              <a:gd name="connsiteY898" fmla="*/ 2536259 h 7305087"/>
              <a:gd name="connsiteX899" fmla="*/ 5342207 w 8266922"/>
              <a:gd name="connsiteY899" fmla="*/ 2498797 h 7305087"/>
              <a:gd name="connsiteX900" fmla="*/ 5354431 w 8266922"/>
              <a:gd name="connsiteY900" fmla="*/ 2458012 h 7305087"/>
              <a:gd name="connsiteX901" fmla="*/ 5364154 w 8266922"/>
              <a:gd name="connsiteY901" fmla="*/ 2414022 h 7305087"/>
              <a:gd name="connsiteX902" fmla="*/ 5371601 w 8266922"/>
              <a:gd name="connsiteY902" fmla="*/ 2366946 h 7305087"/>
              <a:gd name="connsiteX903" fmla="*/ 5377000 w 8266922"/>
              <a:gd name="connsiteY903" fmla="*/ 2316901 h 7305087"/>
              <a:gd name="connsiteX904" fmla="*/ 5380576 w 8266922"/>
              <a:gd name="connsiteY904" fmla="*/ 2264006 h 7305087"/>
              <a:gd name="connsiteX905" fmla="*/ 5382555 w 8266922"/>
              <a:gd name="connsiteY905" fmla="*/ 2208380 h 7305087"/>
              <a:gd name="connsiteX906" fmla="*/ 5383165 w 8266922"/>
              <a:gd name="connsiteY906" fmla="*/ 2150141 h 7305087"/>
              <a:gd name="connsiteX907" fmla="*/ 5382523 w 8266922"/>
              <a:gd name="connsiteY907" fmla="*/ 2092472 h 7305087"/>
              <a:gd name="connsiteX908" fmla="*/ 5380453 w 8266922"/>
              <a:gd name="connsiteY908" fmla="*/ 2037383 h 7305087"/>
              <a:gd name="connsiteX909" fmla="*/ 5376743 w 8266922"/>
              <a:gd name="connsiteY909" fmla="*/ 1984990 h 7305087"/>
              <a:gd name="connsiteX910" fmla="*/ 5371177 w 8266922"/>
              <a:gd name="connsiteY910" fmla="*/ 1935414 h 7305087"/>
              <a:gd name="connsiteX911" fmla="*/ 5363542 w 8266922"/>
              <a:gd name="connsiteY911" fmla="*/ 1888770 h 7305087"/>
              <a:gd name="connsiteX912" fmla="*/ 5353624 w 8266922"/>
              <a:gd name="connsiteY912" fmla="*/ 1845179 h 7305087"/>
              <a:gd name="connsiteX913" fmla="*/ 5341208 w 8266922"/>
              <a:gd name="connsiteY913" fmla="*/ 1804759 h 7305087"/>
              <a:gd name="connsiteX914" fmla="*/ 5326081 w 8266922"/>
              <a:gd name="connsiteY914" fmla="*/ 1767626 h 7305087"/>
              <a:gd name="connsiteX915" fmla="*/ 5308028 w 8266922"/>
              <a:gd name="connsiteY915" fmla="*/ 1733900 h 7305087"/>
              <a:gd name="connsiteX916" fmla="*/ 5262290 w 8266922"/>
              <a:gd name="connsiteY916" fmla="*/ 1677141 h 7305087"/>
              <a:gd name="connsiteX917" fmla="*/ 5202281 w 8266922"/>
              <a:gd name="connsiteY917" fmla="*/ 1635428 h 7305087"/>
              <a:gd name="connsiteX918" fmla="*/ 5166389 w 8266922"/>
              <a:gd name="connsiteY918" fmla="*/ 1620509 h 7305087"/>
              <a:gd name="connsiteX919" fmla="*/ 5126287 w 8266922"/>
              <a:gd name="connsiteY919" fmla="*/ 1609705 h 7305087"/>
              <a:gd name="connsiteX920" fmla="*/ 5081762 w 8266922"/>
              <a:gd name="connsiteY920" fmla="*/ 1603138 h 7305087"/>
              <a:gd name="connsiteX921" fmla="*/ 5032599 w 8266922"/>
              <a:gd name="connsiteY921" fmla="*/ 1600921 h 7305087"/>
              <a:gd name="connsiteX922" fmla="*/ 4515699 w 8266922"/>
              <a:gd name="connsiteY922" fmla="*/ 1502430 h 7305087"/>
              <a:gd name="connsiteX923" fmla="*/ 4515699 w 8266922"/>
              <a:gd name="connsiteY923" fmla="*/ 1600921 h 7305087"/>
              <a:gd name="connsiteX924" fmla="*/ 4466813 w 8266922"/>
              <a:gd name="connsiteY924" fmla="*/ 1603138 h 7305087"/>
              <a:gd name="connsiteX925" fmla="*/ 4422532 w 8266922"/>
              <a:gd name="connsiteY925" fmla="*/ 1609705 h 7305087"/>
              <a:gd name="connsiteX926" fmla="*/ 4382646 w 8266922"/>
              <a:gd name="connsiteY926" fmla="*/ 1620509 h 7305087"/>
              <a:gd name="connsiteX927" fmla="*/ 4346940 w 8266922"/>
              <a:gd name="connsiteY927" fmla="*/ 1635428 h 7305087"/>
              <a:gd name="connsiteX928" fmla="*/ 4287225 w 8266922"/>
              <a:gd name="connsiteY928" fmla="*/ 1677141 h 7305087"/>
              <a:gd name="connsiteX929" fmla="*/ 4241691 w 8266922"/>
              <a:gd name="connsiteY929" fmla="*/ 1733900 h 7305087"/>
              <a:gd name="connsiteX930" fmla="*/ 4223712 w 8266922"/>
              <a:gd name="connsiteY930" fmla="*/ 1767626 h 7305087"/>
              <a:gd name="connsiteX931" fmla="*/ 4208642 w 8266922"/>
              <a:gd name="connsiteY931" fmla="*/ 1804759 h 7305087"/>
              <a:gd name="connsiteX932" fmla="*/ 4196270 w 8266922"/>
              <a:gd name="connsiteY932" fmla="*/ 1845179 h 7305087"/>
              <a:gd name="connsiteX933" fmla="*/ 4186382 w 8266922"/>
              <a:gd name="connsiteY933" fmla="*/ 1888770 h 7305087"/>
              <a:gd name="connsiteX934" fmla="*/ 4178768 w 8266922"/>
              <a:gd name="connsiteY934" fmla="*/ 1935414 h 7305087"/>
              <a:gd name="connsiteX935" fmla="*/ 4173215 w 8266922"/>
              <a:gd name="connsiteY935" fmla="*/ 1984990 h 7305087"/>
              <a:gd name="connsiteX936" fmla="*/ 4169510 w 8266922"/>
              <a:gd name="connsiteY936" fmla="*/ 2037383 h 7305087"/>
              <a:gd name="connsiteX937" fmla="*/ 4167443 w 8266922"/>
              <a:gd name="connsiteY937" fmla="*/ 2092472 h 7305087"/>
              <a:gd name="connsiteX938" fmla="*/ 4166801 w 8266922"/>
              <a:gd name="connsiteY938" fmla="*/ 2150141 h 7305087"/>
              <a:gd name="connsiteX939" fmla="*/ 4167427 w 8266922"/>
              <a:gd name="connsiteY939" fmla="*/ 2208380 h 7305087"/>
              <a:gd name="connsiteX940" fmla="*/ 4169449 w 8266922"/>
              <a:gd name="connsiteY940" fmla="*/ 2264006 h 7305087"/>
              <a:gd name="connsiteX941" fmla="*/ 4173087 w 8266922"/>
              <a:gd name="connsiteY941" fmla="*/ 2316901 h 7305087"/>
              <a:gd name="connsiteX942" fmla="*/ 4178556 w 8266922"/>
              <a:gd name="connsiteY942" fmla="*/ 2366946 h 7305087"/>
              <a:gd name="connsiteX943" fmla="*/ 4186077 w 8266922"/>
              <a:gd name="connsiteY943" fmla="*/ 2414022 h 7305087"/>
              <a:gd name="connsiteX944" fmla="*/ 4195866 w 8266922"/>
              <a:gd name="connsiteY944" fmla="*/ 2458012 h 7305087"/>
              <a:gd name="connsiteX945" fmla="*/ 4208143 w 8266922"/>
              <a:gd name="connsiteY945" fmla="*/ 2498797 h 7305087"/>
              <a:gd name="connsiteX946" fmla="*/ 4223125 w 8266922"/>
              <a:gd name="connsiteY946" fmla="*/ 2536259 h 7305087"/>
              <a:gd name="connsiteX947" fmla="*/ 4241031 w 8266922"/>
              <a:gd name="connsiteY947" fmla="*/ 2570280 h 7305087"/>
              <a:gd name="connsiteX948" fmla="*/ 4286485 w 8266922"/>
              <a:gd name="connsiteY948" fmla="*/ 2627524 h 7305087"/>
              <a:gd name="connsiteX949" fmla="*/ 4346251 w 8266922"/>
              <a:gd name="connsiteY949" fmla="*/ 2669584 h 7305087"/>
              <a:gd name="connsiteX950" fmla="*/ 4382046 w 8266922"/>
              <a:gd name="connsiteY950" fmla="*/ 2684624 h 7305087"/>
              <a:gd name="connsiteX951" fmla="*/ 4422074 w 8266922"/>
              <a:gd name="connsiteY951" fmla="*/ 2695513 h 7305087"/>
              <a:gd name="connsiteX952" fmla="*/ 4466552 w 8266922"/>
              <a:gd name="connsiteY952" fmla="*/ 2702134 h 7305087"/>
              <a:gd name="connsiteX953" fmla="*/ 4515699 w 8266922"/>
              <a:gd name="connsiteY953" fmla="*/ 2704367 h 7305087"/>
              <a:gd name="connsiteX954" fmla="*/ 4515699 w 8266922"/>
              <a:gd name="connsiteY954" fmla="*/ 2801189 h 7305087"/>
              <a:gd name="connsiteX955" fmla="*/ 4462176 w 8266922"/>
              <a:gd name="connsiteY955" fmla="*/ 2799300 h 7305087"/>
              <a:gd name="connsiteX956" fmla="*/ 4412696 w 8266922"/>
              <a:gd name="connsiteY956" fmla="*/ 2793687 h 7305087"/>
              <a:gd name="connsiteX957" fmla="*/ 4367116 w 8266922"/>
              <a:gd name="connsiteY957" fmla="*/ 2784433 h 7305087"/>
              <a:gd name="connsiteX958" fmla="*/ 4325298 w 8266922"/>
              <a:gd name="connsiteY958" fmla="*/ 2771621 h 7305087"/>
              <a:gd name="connsiteX959" fmla="*/ 4287101 w 8266922"/>
              <a:gd name="connsiteY959" fmla="*/ 2755334 h 7305087"/>
              <a:gd name="connsiteX960" fmla="*/ 4252384 w 8266922"/>
              <a:gd name="connsiteY960" fmla="*/ 2735653 h 7305087"/>
              <a:gd name="connsiteX961" fmla="*/ 4221007 w 8266922"/>
              <a:gd name="connsiteY961" fmla="*/ 2712663 h 7305087"/>
              <a:gd name="connsiteX962" fmla="*/ 4192831 w 8266922"/>
              <a:gd name="connsiteY962" fmla="*/ 2686444 h 7305087"/>
              <a:gd name="connsiteX963" fmla="*/ 4167714 w 8266922"/>
              <a:gd name="connsiteY963" fmla="*/ 2657081 h 7305087"/>
              <a:gd name="connsiteX964" fmla="*/ 4145517 w 8266922"/>
              <a:gd name="connsiteY964" fmla="*/ 2624655 h 7305087"/>
              <a:gd name="connsiteX965" fmla="*/ 4126100 w 8266922"/>
              <a:gd name="connsiteY965" fmla="*/ 2589249 h 7305087"/>
              <a:gd name="connsiteX966" fmla="*/ 4109322 w 8266922"/>
              <a:gd name="connsiteY966" fmla="*/ 2550946 h 7305087"/>
              <a:gd name="connsiteX967" fmla="*/ 4095043 w 8266922"/>
              <a:gd name="connsiteY967" fmla="*/ 2509828 h 7305087"/>
              <a:gd name="connsiteX968" fmla="*/ 4083123 w 8266922"/>
              <a:gd name="connsiteY968" fmla="*/ 2465979 h 7305087"/>
              <a:gd name="connsiteX969" fmla="*/ 4073422 w 8266922"/>
              <a:gd name="connsiteY969" fmla="*/ 2419480 h 7305087"/>
              <a:gd name="connsiteX970" fmla="*/ 4065799 w 8266922"/>
              <a:gd name="connsiteY970" fmla="*/ 2370415 h 7305087"/>
              <a:gd name="connsiteX971" fmla="*/ 4060114 w 8266922"/>
              <a:gd name="connsiteY971" fmla="*/ 2318865 h 7305087"/>
              <a:gd name="connsiteX972" fmla="*/ 4056227 w 8266922"/>
              <a:gd name="connsiteY972" fmla="*/ 2264915 h 7305087"/>
              <a:gd name="connsiteX973" fmla="*/ 4053997 w 8266922"/>
              <a:gd name="connsiteY973" fmla="*/ 2208645 h 7305087"/>
              <a:gd name="connsiteX974" fmla="*/ 4053286 w 8266922"/>
              <a:gd name="connsiteY974" fmla="*/ 2150141 h 7305087"/>
              <a:gd name="connsiteX975" fmla="*/ 4054021 w 8266922"/>
              <a:gd name="connsiteY975" fmla="*/ 2091886 h 7305087"/>
              <a:gd name="connsiteX976" fmla="*/ 4056317 w 8266922"/>
              <a:gd name="connsiteY976" fmla="*/ 2035865 h 7305087"/>
              <a:gd name="connsiteX977" fmla="*/ 4060306 w 8266922"/>
              <a:gd name="connsiteY977" fmla="*/ 1982160 h 7305087"/>
              <a:gd name="connsiteX978" fmla="*/ 4066119 w 8266922"/>
              <a:gd name="connsiteY978" fmla="*/ 1930854 h 7305087"/>
              <a:gd name="connsiteX979" fmla="*/ 4073892 w 8266922"/>
              <a:gd name="connsiteY979" fmla="*/ 1882026 h 7305087"/>
              <a:gd name="connsiteX980" fmla="*/ 4083755 w 8266922"/>
              <a:gd name="connsiteY980" fmla="*/ 1835759 h 7305087"/>
              <a:gd name="connsiteX981" fmla="*/ 4095841 w 8266922"/>
              <a:gd name="connsiteY981" fmla="*/ 1792133 h 7305087"/>
              <a:gd name="connsiteX982" fmla="*/ 4110284 w 8266922"/>
              <a:gd name="connsiteY982" fmla="*/ 1751231 h 7305087"/>
              <a:gd name="connsiteX983" fmla="*/ 4127216 w 8266922"/>
              <a:gd name="connsiteY983" fmla="*/ 1713133 h 7305087"/>
              <a:gd name="connsiteX984" fmla="*/ 4146769 w 8266922"/>
              <a:gd name="connsiteY984" fmla="*/ 1677921 h 7305087"/>
              <a:gd name="connsiteX985" fmla="*/ 4169077 w 8266922"/>
              <a:gd name="connsiteY985" fmla="*/ 1645676 h 7305087"/>
              <a:gd name="connsiteX986" fmla="*/ 4194274 w 8266922"/>
              <a:gd name="connsiteY986" fmla="*/ 1616479 h 7305087"/>
              <a:gd name="connsiteX987" fmla="*/ 4222489 w 8266922"/>
              <a:gd name="connsiteY987" fmla="*/ 1590414 h 7305087"/>
              <a:gd name="connsiteX988" fmla="*/ 4253856 w 8266922"/>
              <a:gd name="connsiteY988" fmla="*/ 1567559 h 7305087"/>
              <a:gd name="connsiteX989" fmla="*/ 4288509 w 8266922"/>
              <a:gd name="connsiteY989" fmla="*/ 1547998 h 7305087"/>
              <a:gd name="connsiteX990" fmla="*/ 4326580 w 8266922"/>
              <a:gd name="connsiteY990" fmla="*/ 1531810 h 7305087"/>
              <a:gd name="connsiteX991" fmla="*/ 4368202 w 8266922"/>
              <a:gd name="connsiteY991" fmla="*/ 1519078 h 7305087"/>
              <a:gd name="connsiteX992" fmla="*/ 4413507 w 8266922"/>
              <a:gd name="connsiteY992" fmla="*/ 1509883 h 7305087"/>
              <a:gd name="connsiteX993" fmla="*/ 4462628 w 8266922"/>
              <a:gd name="connsiteY993" fmla="*/ 1504306 h 7305087"/>
              <a:gd name="connsiteX994" fmla="*/ 462412 w 8266922"/>
              <a:gd name="connsiteY994" fmla="*/ 1502430 h 7305087"/>
              <a:gd name="connsiteX995" fmla="*/ 462412 w 8266922"/>
              <a:gd name="connsiteY995" fmla="*/ 1600921 h 7305087"/>
              <a:gd name="connsiteX996" fmla="*/ 413526 w 8266922"/>
              <a:gd name="connsiteY996" fmla="*/ 1603138 h 7305087"/>
              <a:gd name="connsiteX997" fmla="*/ 369246 w 8266922"/>
              <a:gd name="connsiteY997" fmla="*/ 1609705 h 7305087"/>
              <a:gd name="connsiteX998" fmla="*/ 329359 w 8266922"/>
              <a:gd name="connsiteY998" fmla="*/ 1620509 h 7305087"/>
              <a:gd name="connsiteX999" fmla="*/ 293653 w 8266922"/>
              <a:gd name="connsiteY999" fmla="*/ 1635428 h 7305087"/>
              <a:gd name="connsiteX1000" fmla="*/ 233938 w 8266922"/>
              <a:gd name="connsiteY1000" fmla="*/ 1677141 h 7305087"/>
              <a:gd name="connsiteX1001" fmla="*/ 188404 w 8266922"/>
              <a:gd name="connsiteY1001" fmla="*/ 1733900 h 7305087"/>
              <a:gd name="connsiteX1002" fmla="*/ 170425 w 8266922"/>
              <a:gd name="connsiteY1002" fmla="*/ 1767626 h 7305087"/>
              <a:gd name="connsiteX1003" fmla="*/ 155356 w 8266922"/>
              <a:gd name="connsiteY1003" fmla="*/ 1804759 h 7305087"/>
              <a:gd name="connsiteX1004" fmla="*/ 142983 w 8266922"/>
              <a:gd name="connsiteY1004" fmla="*/ 1845179 h 7305087"/>
              <a:gd name="connsiteX1005" fmla="*/ 133096 w 8266922"/>
              <a:gd name="connsiteY1005" fmla="*/ 1888770 h 7305087"/>
              <a:gd name="connsiteX1006" fmla="*/ 125482 w 8266922"/>
              <a:gd name="connsiteY1006" fmla="*/ 1935414 h 7305087"/>
              <a:gd name="connsiteX1007" fmla="*/ 119929 w 8266922"/>
              <a:gd name="connsiteY1007" fmla="*/ 1984990 h 7305087"/>
              <a:gd name="connsiteX1008" fmla="*/ 116225 w 8266922"/>
              <a:gd name="connsiteY1008" fmla="*/ 2037383 h 7305087"/>
              <a:gd name="connsiteX1009" fmla="*/ 114158 w 8266922"/>
              <a:gd name="connsiteY1009" fmla="*/ 2092472 h 7305087"/>
              <a:gd name="connsiteX1010" fmla="*/ 113516 w 8266922"/>
              <a:gd name="connsiteY1010" fmla="*/ 2150141 h 7305087"/>
              <a:gd name="connsiteX1011" fmla="*/ 114141 w 8266922"/>
              <a:gd name="connsiteY1011" fmla="*/ 2208380 h 7305087"/>
              <a:gd name="connsiteX1012" fmla="*/ 116163 w 8266922"/>
              <a:gd name="connsiteY1012" fmla="*/ 2264006 h 7305087"/>
              <a:gd name="connsiteX1013" fmla="*/ 119800 w 8266922"/>
              <a:gd name="connsiteY1013" fmla="*/ 2316901 h 7305087"/>
              <a:gd name="connsiteX1014" fmla="*/ 125270 w 8266922"/>
              <a:gd name="connsiteY1014" fmla="*/ 2366946 h 7305087"/>
              <a:gd name="connsiteX1015" fmla="*/ 132790 w 8266922"/>
              <a:gd name="connsiteY1015" fmla="*/ 2414022 h 7305087"/>
              <a:gd name="connsiteX1016" fmla="*/ 142580 w 8266922"/>
              <a:gd name="connsiteY1016" fmla="*/ 2458012 h 7305087"/>
              <a:gd name="connsiteX1017" fmla="*/ 154856 w 8266922"/>
              <a:gd name="connsiteY1017" fmla="*/ 2498797 h 7305087"/>
              <a:gd name="connsiteX1018" fmla="*/ 169838 w 8266922"/>
              <a:gd name="connsiteY1018" fmla="*/ 2536259 h 7305087"/>
              <a:gd name="connsiteX1019" fmla="*/ 187744 w 8266922"/>
              <a:gd name="connsiteY1019" fmla="*/ 2570280 h 7305087"/>
              <a:gd name="connsiteX1020" fmla="*/ 233198 w 8266922"/>
              <a:gd name="connsiteY1020" fmla="*/ 2627524 h 7305087"/>
              <a:gd name="connsiteX1021" fmla="*/ 292964 w 8266922"/>
              <a:gd name="connsiteY1021" fmla="*/ 2669584 h 7305087"/>
              <a:gd name="connsiteX1022" fmla="*/ 328759 w 8266922"/>
              <a:gd name="connsiteY1022" fmla="*/ 2684624 h 7305087"/>
              <a:gd name="connsiteX1023" fmla="*/ 368787 w 8266922"/>
              <a:gd name="connsiteY1023" fmla="*/ 2695513 h 7305087"/>
              <a:gd name="connsiteX1024" fmla="*/ 413265 w 8266922"/>
              <a:gd name="connsiteY1024" fmla="*/ 2702134 h 7305087"/>
              <a:gd name="connsiteX1025" fmla="*/ 462412 w 8266922"/>
              <a:gd name="connsiteY1025" fmla="*/ 2704367 h 7305087"/>
              <a:gd name="connsiteX1026" fmla="*/ 462412 w 8266922"/>
              <a:gd name="connsiteY1026" fmla="*/ 2801189 h 7305087"/>
              <a:gd name="connsiteX1027" fmla="*/ 408890 w 8266922"/>
              <a:gd name="connsiteY1027" fmla="*/ 2799300 h 7305087"/>
              <a:gd name="connsiteX1028" fmla="*/ 359409 w 8266922"/>
              <a:gd name="connsiteY1028" fmla="*/ 2793687 h 7305087"/>
              <a:gd name="connsiteX1029" fmla="*/ 313830 w 8266922"/>
              <a:gd name="connsiteY1029" fmla="*/ 2784433 h 7305087"/>
              <a:gd name="connsiteX1030" fmla="*/ 272011 w 8266922"/>
              <a:gd name="connsiteY1030" fmla="*/ 2771621 h 7305087"/>
              <a:gd name="connsiteX1031" fmla="*/ 233814 w 8266922"/>
              <a:gd name="connsiteY1031" fmla="*/ 2755334 h 7305087"/>
              <a:gd name="connsiteX1032" fmla="*/ 199097 w 8266922"/>
              <a:gd name="connsiteY1032" fmla="*/ 2735653 h 7305087"/>
              <a:gd name="connsiteX1033" fmla="*/ 167721 w 8266922"/>
              <a:gd name="connsiteY1033" fmla="*/ 2712663 h 7305087"/>
              <a:gd name="connsiteX1034" fmla="*/ 139544 w 8266922"/>
              <a:gd name="connsiteY1034" fmla="*/ 2686444 h 7305087"/>
              <a:gd name="connsiteX1035" fmla="*/ 114428 w 8266922"/>
              <a:gd name="connsiteY1035" fmla="*/ 2657081 h 7305087"/>
              <a:gd name="connsiteX1036" fmla="*/ 92232 w 8266922"/>
              <a:gd name="connsiteY1036" fmla="*/ 2624655 h 7305087"/>
              <a:gd name="connsiteX1037" fmla="*/ 72814 w 8266922"/>
              <a:gd name="connsiteY1037" fmla="*/ 2589249 h 7305087"/>
              <a:gd name="connsiteX1038" fmla="*/ 56037 w 8266922"/>
              <a:gd name="connsiteY1038" fmla="*/ 2550946 h 7305087"/>
              <a:gd name="connsiteX1039" fmla="*/ 41758 w 8266922"/>
              <a:gd name="connsiteY1039" fmla="*/ 2509828 h 7305087"/>
              <a:gd name="connsiteX1040" fmla="*/ 29838 w 8266922"/>
              <a:gd name="connsiteY1040" fmla="*/ 2465979 h 7305087"/>
              <a:gd name="connsiteX1041" fmla="*/ 20136 w 8266922"/>
              <a:gd name="connsiteY1041" fmla="*/ 2419480 h 7305087"/>
              <a:gd name="connsiteX1042" fmla="*/ 12513 w 8266922"/>
              <a:gd name="connsiteY1042" fmla="*/ 2370415 h 7305087"/>
              <a:gd name="connsiteX1043" fmla="*/ 6828 w 8266922"/>
              <a:gd name="connsiteY1043" fmla="*/ 2318865 h 7305087"/>
              <a:gd name="connsiteX1044" fmla="*/ 2941 w 8266922"/>
              <a:gd name="connsiteY1044" fmla="*/ 2264915 h 7305087"/>
              <a:gd name="connsiteX1045" fmla="*/ 711 w 8266922"/>
              <a:gd name="connsiteY1045" fmla="*/ 2208645 h 7305087"/>
              <a:gd name="connsiteX1046" fmla="*/ 0 w 8266922"/>
              <a:gd name="connsiteY1046" fmla="*/ 2150141 h 7305087"/>
              <a:gd name="connsiteX1047" fmla="*/ 735 w 8266922"/>
              <a:gd name="connsiteY1047" fmla="*/ 2091886 h 7305087"/>
              <a:gd name="connsiteX1048" fmla="*/ 3031 w 8266922"/>
              <a:gd name="connsiteY1048" fmla="*/ 2035865 h 7305087"/>
              <a:gd name="connsiteX1049" fmla="*/ 7020 w 8266922"/>
              <a:gd name="connsiteY1049" fmla="*/ 1982160 h 7305087"/>
              <a:gd name="connsiteX1050" fmla="*/ 12834 w 8266922"/>
              <a:gd name="connsiteY1050" fmla="*/ 1930854 h 7305087"/>
              <a:gd name="connsiteX1051" fmla="*/ 20606 w 8266922"/>
              <a:gd name="connsiteY1051" fmla="*/ 1882026 h 7305087"/>
              <a:gd name="connsiteX1052" fmla="*/ 30469 w 8266922"/>
              <a:gd name="connsiteY1052" fmla="*/ 1835759 h 7305087"/>
              <a:gd name="connsiteX1053" fmla="*/ 42555 w 8266922"/>
              <a:gd name="connsiteY1053" fmla="*/ 1792133 h 7305087"/>
              <a:gd name="connsiteX1054" fmla="*/ 56998 w 8266922"/>
              <a:gd name="connsiteY1054" fmla="*/ 1751231 h 7305087"/>
              <a:gd name="connsiteX1055" fmla="*/ 73930 w 8266922"/>
              <a:gd name="connsiteY1055" fmla="*/ 1713133 h 7305087"/>
              <a:gd name="connsiteX1056" fmla="*/ 93484 w 8266922"/>
              <a:gd name="connsiteY1056" fmla="*/ 1677921 h 7305087"/>
              <a:gd name="connsiteX1057" fmla="*/ 115792 w 8266922"/>
              <a:gd name="connsiteY1057" fmla="*/ 1645676 h 7305087"/>
              <a:gd name="connsiteX1058" fmla="*/ 140987 w 8266922"/>
              <a:gd name="connsiteY1058" fmla="*/ 1616479 h 7305087"/>
              <a:gd name="connsiteX1059" fmla="*/ 169202 w 8266922"/>
              <a:gd name="connsiteY1059" fmla="*/ 1590414 h 7305087"/>
              <a:gd name="connsiteX1060" fmla="*/ 200570 w 8266922"/>
              <a:gd name="connsiteY1060" fmla="*/ 1567559 h 7305087"/>
              <a:gd name="connsiteX1061" fmla="*/ 235222 w 8266922"/>
              <a:gd name="connsiteY1061" fmla="*/ 1547998 h 7305087"/>
              <a:gd name="connsiteX1062" fmla="*/ 273293 w 8266922"/>
              <a:gd name="connsiteY1062" fmla="*/ 1531810 h 7305087"/>
              <a:gd name="connsiteX1063" fmla="*/ 314915 w 8266922"/>
              <a:gd name="connsiteY1063" fmla="*/ 1519078 h 7305087"/>
              <a:gd name="connsiteX1064" fmla="*/ 360220 w 8266922"/>
              <a:gd name="connsiteY1064" fmla="*/ 1509883 h 7305087"/>
              <a:gd name="connsiteX1065" fmla="*/ 409342 w 8266922"/>
              <a:gd name="connsiteY1065" fmla="*/ 1504306 h 7305087"/>
              <a:gd name="connsiteX1066" fmla="*/ 5280527 w 8266922"/>
              <a:gd name="connsiteY1066" fmla="*/ 871409 h 7305087"/>
              <a:gd name="connsiteX1067" fmla="*/ 6185319 w 8266922"/>
              <a:gd name="connsiteY1067" fmla="*/ 871409 h 7305087"/>
              <a:gd name="connsiteX1068" fmla="*/ 6185319 w 8266922"/>
              <a:gd name="connsiteY1068" fmla="*/ 978246 h 7305087"/>
              <a:gd name="connsiteX1069" fmla="*/ 5280527 w 8266922"/>
              <a:gd name="connsiteY1069" fmla="*/ 978246 h 7305087"/>
              <a:gd name="connsiteX1070" fmla="*/ 1874462 w 8266922"/>
              <a:gd name="connsiteY1070" fmla="*/ 871408 h 7305087"/>
              <a:gd name="connsiteX1071" fmla="*/ 2779254 w 8266922"/>
              <a:gd name="connsiteY1071" fmla="*/ 871408 h 7305087"/>
              <a:gd name="connsiteX1072" fmla="*/ 2779254 w 8266922"/>
              <a:gd name="connsiteY1072" fmla="*/ 978246 h 7305087"/>
              <a:gd name="connsiteX1073" fmla="*/ 1874462 w 8266922"/>
              <a:gd name="connsiteY1073" fmla="*/ 978246 h 7305087"/>
              <a:gd name="connsiteX1074" fmla="*/ 5280527 w 8266922"/>
              <a:gd name="connsiteY1074" fmla="*/ 522512 h 7305087"/>
              <a:gd name="connsiteX1075" fmla="*/ 6185319 w 8266922"/>
              <a:gd name="connsiteY1075" fmla="*/ 522512 h 7305087"/>
              <a:gd name="connsiteX1076" fmla="*/ 6185319 w 8266922"/>
              <a:gd name="connsiteY1076" fmla="*/ 629349 h 7305087"/>
              <a:gd name="connsiteX1077" fmla="*/ 5280527 w 8266922"/>
              <a:gd name="connsiteY1077" fmla="*/ 629349 h 7305087"/>
              <a:gd name="connsiteX1078" fmla="*/ 1874462 w 8266922"/>
              <a:gd name="connsiteY1078" fmla="*/ 522511 h 7305087"/>
              <a:gd name="connsiteX1079" fmla="*/ 2779254 w 8266922"/>
              <a:gd name="connsiteY1079" fmla="*/ 522511 h 7305087"/>
              <a:gd name="connsiteX1080" fmla="*/ 2779254 w 8266922"/>
              <a:gd name="connsiteY1080" fmla="*/ 629349 h 7305087"/>
              <a:gd name="connsiteX1081" fmla="*/ 1874462 w 8266922"/>
              <a:gd name="connsiteY1081" fmla="*/ 629349 h 7305087"/>
              <a:gd name="connsiteX1082" fmla="*/ 4621539 w 8266922"/>
              <a:gd name="connsiteY1082" fmla="*/ 116859 h 7305087"/>
              <a:gd name="connsiteX1083" fmla="*/ 4740064 w 8266922"/>
              <a:gd name="connsiteY1083" fmla="*/ 116859 h 7305087"/>
              <a:gd name="connsiteX1084" fmla="*/ 4386160 w 8266922"/>
              <a:gd name="connsiteY1084" fmla="*/ 1185248 h 7305087"/>
              <a:gd name="connsiteX1085" fmla="*/ 4264297 w 8266922"/>
              <a:gd name="connsiteY1085" fmla="*/ 1185248 h 7305087"/>
              <a:gd name="connsiteX1086" fmla="*/ 3314617 w 8266922"/>
              <a:gd name="connsiteY1086" fmla="*/ 116858 h 7305087"/>
              <a:gd name="connsiteX1087" fmla="*/ 3439819 w 8266922"/>
              <a:gd name="connsiteY1087" fmla="*/ 116858 h 7305087"/>
              <a:gd name="connsiteX1088" fmla="*/ 3795392 w 8266922"/>
              <a:gd name="connsiteY1088" fmla="*/ 1185248 h 7305087"/>
              <a:gd name="connsiteX1089" fmla="*/ 3670190 w 8266922"/>
              <a:gd name="connsiteY1089" fmla="*/ 1185248 h 7305087"/>
              <a:gd name="connsiteX1090" fmla="*/ 1312489 w 8266922"/>
              <a:gd name="connsiteY1090" fmla="*/ 1 h 7305087"/>
              <a:gd name="connsiteX1091" fmla="*/ 1312489 w 8266922"/>
              <a:gd name="connsiteY1091" fmla="*/ 98493 h 7305087"/>
              <a:gd name="connsiteX1092" fmla="*/ 1263604 w 8266922"/>
              <a:gd name="connsiteY1092" fmla="*/ 100709 h 7305087"/>
              <a:gd name="connsiteX1093" fmla="*/ 1219322 w 8266922"/>
              <a:gd name="connsiteY1093" fmla="*/ 107277 h 7305087"/>
              <a:gd name="connsiteX1094" fmla="*/ 1179437 w 8266922"/>
              <a:gd name="connsiteY1094" fmla="*/ 118080 h 7305087"/>
              <a:gd name="connsiteX1095" fmla="*/ 1143731 w 8266922"/>
              <a:gd name="connsiteY1095" fmla="*/ 132999 h 7305087"/>
              <a:gd name="connsiteX1096" fmla="*/ 1084016 w 8266922"/>
              <a:gd name="connsiteY1096" fmla="*/ 174712 h 7305087"/>
              <a:gd name="connsiteX1097" fmla="*/ 1038482 w 8266922"/>
              <a:gd name="connsiteY1097" fmla="*/ 231471 h 7305087"/>
              <a:gd name="connsiteX1098" fmla="*/ 1020503 w 8266922"/>
              <a:gd name="connsiteY1098" fmla="*/ 265197 h 7305087"/>
              <a:gd name="connsiteX1099" fmla="*/ 1005433 w 8266922"/>
              <a:gd name="connsiteY1099" fmla="*/ 302330 h 7305087"/>
              <a:gd name="connsiteX1100" fmla="*/ 993061 w 8266922"/>
              <a:gd name="connsiteY1100" fmla="*/ 342750 h 7305087"/>
              <a:gd name="connsiteX1101" fmla="*/ 983172 w 8266922"/>
              <a:gd name="connsiteY1101" fmla="*/ 386342 h 7305087"/>
              <a:gd name="connsiteX1102" fmla="*/ 975559 w 8266922"/>
              <a:gd name="connsiteY1102" fmla="*/ 432985 h 7305087"/>
              <a:gd name="connsiteX1103" fmla="*/ 970006 w 8266922"/>
              <a:gd name="connsiteY1103" fmla="*/ 482562 h 7305087"/>
              <a:gd name="connsiteX1104" fmla="*/ 966302 w 8266922"/>
              <a:gd name="connsiteY1104" fmla="*/ 534954 h 7305087"/>
              <a:gd name="connsiteX1105" fmla="*/ 964235 w 8266922"/>
              <a:gd name="connsiteY1105" fmla="*/ 590043 h 7305087"/>
              <a:gd name="connsiteX1106" fmla="*/ 963593 w 8266922"/>
              <a:gd name="connsiteY1106" fmla="*/ 647712 h 7305087"/>
              <a:gd name="connsiteX1107" fmla="*/ 964219 w 8266922"/>
              <a:gd name="connsiteY1107" fmla="*/ 705953 h 7305087"/>
              <a:gd name="connsiteX1108" fmla="*/ 966241 w 8266922"/>
              <a:gd name="connsiteY1108" fmla="*/ 761579 h 7305087"/>
              <a:gd name="connsiteX1109" fmla="*/ 969878 w 8266922"/>
              <a:gd name="connsiteY1109" fmla="*/ 814474 h 7305087"/>
              <a:gd name="connsiteX1110" fmla="*/ 975347 w 8266922"/>
              <a:gd name="connsiteY1110" fmla="*/ 864518 h 7305087"/>
              <a:gd name="connsiteX1111" fmla="*/ 982868 w 8266922"/>
              <a:gd name="connsiteY1111" fmla="*/ 911596 h 7305087"/>
              <a:gd name="connsiteX1112" fmla="*/ 992658 w 8266922"/>
              <a:gd name="connsiteY1112" fmla="*/ 955586 h 7305087"/>
              <a:gd name="connsiteX1113" fmla="*/ 1004934 w 8266922"/>
              <a:gd name="connsiteY1113" fmla="*/ 996370 h 7305087"/>
              <a:gd name="connsiteX1114" fmla="*/ 1019916 w 8266922"/>
              <a:gd name="connsiteY1114" fmla="*/ 1033831 h 7305087"/>
              <a:gd name="connsiteX1115" fmla="*/ 1037822 w 8266922"/>
              <a:gd name="connsiteY1115" fmla="*/ 1067851 h 7305087"/>
              <a:gd name="connsiteX1116" fmla="*/ 1083276 w 8266922"/>
              <a:gd name="connsiteY1116" fmla="*/ 1125096 h 7305087"/>
              <a:gd name="connsiteX1117" fmla="*/ 1143042 w 8266922"/>
              <a:gd name="connsiteY1117" fmla="*/ 1167155 h 7305087"/>
              <a:gd name="connsiteX1118" fmla="*/ 1178837 w 8266922"/>
              <a:gd name="connsiteY1118" fmla="*/ 1182194 h 7305087"/>
              <a:gd name="connsiteX1119" fmla="*/ 1218864 w 8266922"/>
              <a:gd name="connsiteY1119" fmla="*/ 1193084 h 7305087"/>
              <a:gd name="connsiteX1120" fmla="*/ 1263342 w 8266922"/>
              <a:gd name="connsiteY1120" fmla="*/ 1199705 h 7305087"/>
              <a:gd name="connsiteX1121" fmla="*/ 1312489 w 8266922"/>
              <a:gd name="connsiteY1121" fmla="*/ 1201938 h 7305087"/>
              <a:gd name="connsiteX1122" fmla="*/ 1312489 w 8266922"/>
              <a:gd name="connsiteY1122" fmla="*/ 1298761 h 7305087"/>
              <a:gd name="connsiteX1123" fmla="*/ 1258966 w 8266922"/>
              <a:gd name="connsiteY1123" fmla="*/ 1296873 h 7305087"/>
              <a:gd name="connsiteX1124" fmla="*/ 1209487 w 8266922"/>
              <a:gd name="connsiteY1124" fmla="*/ 1291259 h 7305087"/>
              <a:gd name="connsiteX1125" fmla="*/ 1163908 w 8266922"/>
              <a:gd name="connsiteY1125" fmla="*/ 1282006 h 7305087"/>
              <a:gd name="connsiteX1126" fmla="*/ 1122089 w 8266922"/>
              <a:gd name="connsiteY1126" fmla="*/ 1269194 h 7305087"/>
              <a:gd name="connsiteX1127" fmla="*/ 1083893 w 8266922"/>
              <a:gd name="connsiteY1127" fmla="*/ 1252907 h 7305087"/>
              <a:gd name="connsiteX1128" fmla="*/ 1049176 w 8266922"/>
              <a:gd name="connsiteY1128" fmla="*/ 1233225 h 7305087"/>
              <a:gd name="connsiteX1129" fmla="*/ 1017798 w 8266922"/>
              <a:gd name="connsiteY1129" fmla="*/ 1210234 h 7305087"/>
              <a:gd name="connsiteX1130" fmla="*/ 989622 w 8266922"/>
              <a:gd name="connsiteY1130" fmla="*/ 1184015 h 7305087"/>
              <a:gd name="connsiteX1131" fmla="*/ 964506 w 8266922"/>
              <a:gd name="connsiteY1131" fmla="*/ 1154652 h 7305087"/>
              <a:gd name="connsiteX1132" fmla="*/ 942309 w 8266922"/>
              <a:gd name="connsiteY1132" fmla="*/ 1122226 h 7305087"/>
              <a:gd name="connsiteX1133" fmla="*/ 922891 w 8266922"/>
              <a:gd name="connsiteY1133" fmla="*/ 1086820 h 7305087"/>
              <a:gd name="connsiteX1134" fmla="*/ 906113 w 8266922"/>
              <a:gd name="connsiteY1134" fmla="*/ 1048518 h 7305087"/>
              <a:gd name="connsiteX1135" fmla="*/ 891835 w 8266922"/>
              <a:gd name="connsiteY1135" fmla="*/ 1007402 h 7305087"/>
              <a:gd name="connsiteX1136" fmla="*/ 879914 w 8266922"/>
              <a:gd name="connsiteY1136" fmla="*/ 963551 h 7305087"/>
              <a:gd name="connsiteX1137" fmla="*/ 870214 w 8266922"/>
              <a:gd name="connsiteY1137" fmla="*/ 917053 h 7305087"/>
              <a:gd name="connsiteX1138" fmla="*/ 862590 w 8266922"/>
              <a:gd name="connsiteY1138" fmla="*/ 867987 h 7305087"/>
              <a:gd name="connsiteX1139" fmla="*/ 856906 w 8266922"/>
              <a:gd name="connsiteY1139" fmla="*/ 816438 h 7305087"/>
              <a:gd name="connsiteX1140" fmla="*/ 853019 w 8266922"/>
              <a:gd name="connsiteY1140" fmla="*/ 762487 h 7305087"/>
              <a:gd name="connsiteX1141" fmla="*/ 850789 w 8266922"/>
              <a:gd name="connsiteY1141" fmla="*/ 706217 h 7305087"/>
              <a:gd name="connsiteX1142" fmla="*/ 850077 w 8266922"/>
              <a:gd name="connsiteY1142" fmla="*/ 647712 h 7305087"/>
              <a:gd name="connsiteX1143" fmla="*/ 850812 w 8266922"/>
              <a:gd name="connsiteY1143" fmla="*/ 589457 h 7305087"/>
              <a:gd name="connsiteX1144" fmla="*/ 853109 w 8266922"/>
              <a:gd name="connsiteY1144" fmla="*/ 533437 h 7305087"/>
              <a:gd name="connsiteX1145" fmla="*/ 857098 w 8266922"/>
              <a:gd name="connsiteY1145" fmla="*/ 479733 h 7305087"/>
              <a:gd name="connsiteX1146" fmla="*/ 862911 w 8266922"/>
              <a:gd name="connsiteY1146" fmla="*/ 428425 h 7305087"/>
              <a:gd name="connsiteX1147" fmla="*/ 870684 w 8266922"/>
              <a:gd name="connsiteY1147" fmla="*/ 379597 h 7305087"/>
              <a:gd name="connsiteX1148" fmla="*/ 880547 w 8266922"/>
              <a:gd name="connsiteY1148" fmla="*/ 333331 h 7305087"/>
              <a:gd name="connsiteX1149" fmla="*/ 892633 w 8266922"/>
              <a:gd name="connsiteY1149" fmla="*/ 289705 h 7305087"/>
              <a:gd name="connsiteX1150" fmla="*/ 907076 w 8266922"/>
              <a:gd name="connsiteY1150" fmla="*/ 248802 h 7305087"/>
              <a:gd name="connsiteX1151" fmla="*/ 924008 w 8266922"/>
              <a:gd name="connsiteY1151" fmla="*/ 210704 h 7305087"/>
              <a:gd name="connsiteX1152" fmla="*/ 943561 w 8266922"/>
              <a:gd name="connsiteY1152" fmla="*/ 175493 h 7305087"/>
              <a:gd name="connsiteX1153" fmla="*/ 965869 w 8266922"/>
              <a:gd name="connsiteY1153" fmla="*/ 143247 h 7305087"/>
              <a:gd name="connsiteX1154" fmla="*/ 991066 w 8266922"/>
              <a:gd name="connsiteY1154" fmla="*/ 114051 h 7305087"/>
              <a:gd name="connsiteX1155" fmla="*/ 1019280 w 8266922"/>
              <a:gd name="connsiteY1155" fmla="*/ 87986 h 7305087"/>
              <a:gd name="connsiteX1156" fmla="*/ 1050647 w 8266922"/>
              <a:gd name="connsiteY1156" fmla="*/ 65131 h 7305087"/>
              <a:gd name="connsiteX1157" fmla="*/ 1085300 w 8266922"/>
              <a:gd name="connsiteY1157" fmla="*/ 45570 h 7305087"/>
              <a:gd name="connsiteX1158" fmla="*/ 1123371 w 8266922"/>
              <a:gd name="connsiteY1158" fmla="*/ 29382 h 7305087"/>
              <a:gd name="connsiteX1159" fmla="*/ 1164993 w 8266922"/>
              <a:gd name="connsiteY1159" fmla="*/ 16650 h 7305087"/>
              <a:gd name="connsiteX1160" fmla="*/ 1210299 w 8266922"/>
              <a:gd name="connsiteY1160" fmla="*/ 7455 h 7305087"/>
              <a:gd name="connsiteX1161" fmla="*/ 1259419 w 8266922"/>
              <a:gd name="connsiteY1161" fmla="*/ 1877 h 7305087"/>
              <a:gd name="connsiteX1162" fmla="*/ 6747401 w 8266922"/>
              <a:gd name="connsiteY1162" fmla="*/ 0 h 7305087"/>
              <a:gd name="connsiteX1163" fmla="*/ 6800471 w 8266922"/>
              <a:gd name="connsiteY1163" fmla="*/ 1876 h 7305087"/>
              <a:gd name="connsiteX1164" fmla="*/ 6849592 w 8266922"/>
              <a:gd name="connsiteY1164" fmla="*/ 7453 h 7305087"/>
              <a:gd name="connsiteX1165" fmla="*/ 6894897 w 8266922"/>
              <a:gd name="connsiteY1165" fmla="*/ 16648 h 7305087"/>
              <a:gd name="connsiteX1166" fmla="*/ 6936519 w 8266922"/>
              <a:gd name="connsiteY1166" fmla="*/ 29380 h 7305087"/>
              <a:gd name="connsiteX1167" fmla="*/ 6974590 w 8266922"/>
              <a:gd name="connsiteY1167" fmla="*/ 45568 h 7305087"/>
              <a:gd name="connsiteX1168" fmla="*/ 7009243 w 8266922"/>
              <a:gd name="connsiteY1168" fmla="*/ 65130 h 7305087"/>
              <a:gd name="connsiteX1169" fmla="*/ 7040610 w 8266922"/>
              <a:gd name="connsiteY1169" fmla="*/ 87984 h 7305087"/>
              <a:gd name="connsiteX1170" fmla="*/ 7068825 w 8266922"/>
              <a:gd name="connsiteY1170" fmla="*/ 114050 h 7305087"/>
              <a:gd name="connsiteX1171" fmla="*/ 7094021 w 8266922"/>
              <a:gd name="connsiteY1171" fmla="*/ 143246 h 7305087"/>
              <a:gd name="connsiteX1172" fmla="*/ 7116329 w 8266922"/>
              <a:gd name="connsiteY1172" fmla="*/ 175491 h 7305087"/>
              <a:gd name="connsiteX1173" fmla="*/ 7135882 w 8266922"/>
              <a:gd name="connsiteY1173" fmla="*/ 210703 h 7305087"/>
              <a:gd name="connsiteX1174" fmla="*/ 7152814 w 8266922"/>
              <a:gd name="connsiteY1174" fmla="*/ 248801 h 7305087"/>
              <a:gd name="connsiteX1175" fmla="*/ 7167257 w 8266922"/>
              <a:gd name="connsiteY1175" fmla="*/ 289704 h 7305087"/>
              <a:gd name="connsiteX1176" fmla="*/ 7179344 w 8266922"/>
              <a:gd name="connsiteY1176" fmla="*/ 333329 h 7305087"/>
              <a:gd name="connsiteX1177" fmla="*/ 7189207 w 8266922"/>
              <a:gd name="connsiteY1177" fmla="*/ 379596 h 7305087"/>
              <a:gd name="connsiteX1178" fmla="*/ 7196979 w 8266922"/>
              <a:gd name="connsiteY1178" fmla="*/ 428424 h 7305087"/>
              <a:gd name="connsiteX1179" fmla="*/ 7202793 w 8266922"/>
              <a:gd name="connsiteY1179" fmla="*/ 479731 h 7305087"/>
              <a:gd name="connsiteX1180" fmla="*/ 7206781 w 8266922"/>
              <a:gd name="connsiteY1180" fmla="*/ 533435 h 7305087"/>
              <a:gd name="connsiteX1181" fmla="*/ 7209077 w 8266922"/>
              <a:gd name="connsiteY1181" fmla="*/ 589455 h 7305087"/>
              <a:gd name="connsiteX1182" fmla="*/ 7209813 w 8266922"/>
              <a:gd name="connsiteY1182" fmla="*/ 647711 h 7305087"/>
              <a:gd name="connsiteX1183" fmla="*/ 7209113 w 8266922"/>
              <a:gd name="connsiteY1183" fmla="*/ 706216 h 7305087"/>
              <a:gd name="connsiteX1184" fmla="*/ 7206916 w 8266922"/>
              <a:gd name="connsiteY1184" fmla="*/ 762486 h 7305087"/>
              <a:gd name="connsiteX1185" fmla="*/ 7203080 w 8266922"/>
              <a:gd name="connsiteY1185" fmla="*/ 816437 h 7305087"/>
              <a:gd name="connsiteX1186" fmla="*/ 7197459 w 8266922"/>
              <a:gd name="connsiteY1186" fmla="*/ 867986 h 7305087"/>
              <a:gd name="connsiteX1187" fmla="*/ 7189911 w 8266922"/>
              <a:gd name="connsiteY1187" fmla="*/ 917051 h 7305087"/>
              <a:gd name="connsiteX1188" fmla="*/ 7180290 w 8266922"/>
              <a:gd name="connsiteY1188" fmla="*/ 963550 h 7305087"/>
              <a:gd name="connsiteX1189" fmla="*/ 7168453 w 8266922"/>
              <a:gd name="connsiteY1189" fmla="*/ 1007400 h 7305087"/>
              <a:gd name="connsiteX1190" fmla="*/ 7154256 w 8266922"/>
              <a:gd name="connsiteY1190" fmla="*/ 1048517 h 7305087"/>
              <a:gd name="connsiteX1191" fmla="*/ 7137555 w 8266922"/>
              <a:gd name="connsiteY1191" fmla="*/ 1086819 h 7305087"/>
              <a:gd name="connsiteX1192" fmla="*/ 7118206 w 8266922"/>
              <a:gd name="connsiteY1192" fmla="*/ 1122225 h 7305087"/>
              <a:gd name="connsiteX1193" fmla="*/ 7096065 w 8266922"/>
              <a:gd name="connsiteY1193" fmla="*/ 1154652 h 7305087"/>
              <a:gd name="connsiteX1194" fmla="*/ 7070989 w 8266922"/>
              <a:gd name="connsiteY1194" fmla="*/ 1184015 h 7305087"/>
              <a:gd name="connsiteX1195" fmla="*/ 7042832 w 8266922"/>
              <a:gd name="connsiteY1195" fmla="*/ 1210234 h 7305087"/>
              <a:gd name="connsiteX1196" fmla="*/ 7011451 w 8266922"/>
              <a:gd name="connsiteY1196" fmla="*/ 1233224 h 7305087"/>
              <a:gd name="connsiteX1197" fmla="*/ 6976702 w 8266922"/>
              <a:gd name="connsiteY1197" fmla="*/ 1252906 h 7305087"/>
              <a:gd name="connsiteX1198" fmla="*/ 6938442 w 8266922"/>
              <a:gd name="connsiteY1198" fmla="*/ 1269193 h 7305087"/>
              <a:gd name="connsiteX1199" fmla="*/ 6896525 w 8266922"/>
              <a:gd name="connsiteY1199" fmla="*/ 1282004 h 7305087"/>
              <a:gd name="connsiteX1200" fmla="*/ 6850809 w 8266922"/>
              <a:gd name="connsiteY1200" fmla="*/ 1291259 h 7305087"/>
              <a:gd name="connsiteX1201" fmla="*/ 6801149 w 8266922"/>
              <a:gd name="connsiteY1201" fmla="*/ 1296872 h 7305087"/>
              <a:gd name="connsiteX1202" fmla="*/ 6747401 w 8266922"/>
              <a:gd name="connsiteY1202" fmla="*/ 1298760 h 7305087"/>
              <a:gd name="connsiteX1203" fmla="*/ 6747401 w 8266922"/>
              <a:gd name="connsiteY1203" fmla="*/ 1201937 h 7305087"/>
              <a:gd name="connsiteX1204" fmla="*/ 6797086 w 8266922"/>
              <a:gd name="connsiteY1204" fmla="*/ 1199704 h 7305087"/>
              <a:gd name="connsiteX1205" fmla="*/ 6842006 w 8266922"/>
              <a:gd name="connsiteY1205" fmla="*/ 1193083 h 7305087"/>
              <a:gd name="connsiteX1206" fmla="*/ 6882389 w 8266922"/>
              <a:gd name="connsiteY1206" fmla="*/ 1182194 h 7305087"/>
              <a:gd name="connsiteX1207" fmla="*/ 6918460 w 8266922"/>
              <a:gd name="connsiteY1207" fmla="*/ 1167155 h 7305087"/>
              <a:gd name="connsiteX1208" fmla="*/ 6978571 w 8266922"/>
              <a:gd name="connsiteY1208" fmla="*/ 1125095 h 7305087"/>
              <a:gd name="connsiteX1209" fmla="*/ 7024150 w 8266922"/>
              <a:gd name="connsiteY1209" fmla="*/ 1067850 h 7305087"/>
              <a:gd name="connsiteX1210" fmla="*/ 7042056 w 8266922"/>
              <a:gd name="connsiteY1210" fmla="*/ 1033830 h 7305087"/>
              <a:gd name="connsiteX1211" fmla="*/ 7057008 w 8266922"/>
              <a:gd name="connsiteY1211" fmla="*/ 996368 h 7305087"/>
              <a:gd name="connsiteX1212" fmla="*/ 7069232 w 8266922"/>
              <a:gd name="connsiteY1212" fmla="*/ 955584 h 7305087"/>
              <a:gd name="connsiteX1213" fmla="*/ 7078955 w 8266922"/>
              <a:gd name="connsiteY1213" fmla="*/ 911594 h 7305087"/>
              <a:gd name="connsiteX1214" fmla="*/ 7086402 w 8266922"/>
              <a:gd name="connsiteY1214" fmla="*/ 864517 h 7305087"/>
              <a:gd name="connsiteX1215" fmla="*/ 7091801 w 8266922"/>
              <a:gd name="connsiteY1215" fmla="*/ 814473 h 7305087"/>
              <a:gd name="connsiteX1216" fmla="*/ 7095377 w 8266922"/>
              <a:gd name="connsiteY1216" fmla="*/ 761578 h 7305087"/>
              <a:gd name="connsiteX1217" fmla="*/ 7097356 w 8266922"/>
              <a:gd name="connsiteY1217" fmla="*/ 705951 h 7305087"/>
              <a:gd name="connsiteX1218" fmla="*/ 7097966 w 8266922"/>
              <a:gd name="connsiteY1218" fmla="*/ 647711 h 7305087"/>
              <a:gd name="connsiteX1219" fmla="*/ 7097324 w 8266922"/>
              <a:gd name="connsiteY1219" fmla="*/ 590042 h 7305087"/>
              <a:gd name="connsiteX1220" fmla="*/ 7095254 w 8266922"/>
              <a:gd name="connsiteY1220" fmla="*/ 534953 h 7305087"/>
              <a:gd name="connsiteX1221" fmla="*/ 7091544 w 8266922"/>
              <a:gd name="connsiteY1221" fmla="*/ 482560 h 7305087"/>
              <a:gd name="connsiteX1222" fmla="*/ 7085978 w 8266922"/>
              <a:gd name="connsiteY1222" fmla="*/ 432984 h 7305087"/>
              <a:gd name="connsiteX1223" fmla="*/ 7078343 w 8266922"/>
              <a:gd name="connsiteY1223" fmla="*/ 386340 h 7305087"/>
              <a:gd name="connsiteX1224" fmla="*/ 7068425 w 8266922"/>
              <a:gd name="connsiteY1224" fmla="*/ 342749 h 7305087"/>
              <a:gd name="connsiteX1225" fmla="*/ 7056009 w 8266922"/>
              <a:gd name="connsiteY1225" fmla="*/ 302328 h 7305087"/>
              <a:gd name="connsiteX1226" fmla="*/ 7040882 w 8266922"/>
              <a:gd name="connsiteY1226" fmla="*/ 265196 h 7305087"/>
              <a:gd name="connsiteX1227" fmla="*/ 7022829 w 8266922"/>
              <a:gd name="connsiteY1227" fmla="*/ 231470 h 7305087"/>
              <a:gd name="connsiteX1228" fmla="*/ 6977091 w 8266922"/>
              <a:gd name="connsiteY1228" fmla="*/ 174711 h 7305087"/>
              <a:gd name="connsiteX1229" fmla="*/ 6917082 w 8266922"/>
              <a:gd name="connsiteY1229" fmla="*/ 132998 h 7305087"/>
              <a:gd name="connsiteX1230" fmla="*/ 6881190 w 8266922"/>
              <a:gd name="connsiteY1230" fmla="*/ 118079 h 7305087"/>
              <a:gd name="connsiteX1231" fmla="*/ 6841089 w 8266922"/>
              <a:gd name="connsiteY1231" fmla="*/ 107276 h 7305087"/>
              <a:gd name="connsiteX1232" fmla="*/ 6796564 w 8266922"/>
              <a:gd name="connsiteY1232" fmla="*/ 100708 h 7305087"/>
              <a:gd name="connsiteX1233" fmla="*/ 6747401 w 8266922"/>
              <a:gd name="connsiteY1233" fmla="*/ 98492 h 73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Lst>
            <a:rect l="l" t="t" r="r" b="b"/>
            <a:pathLst>
              <a:path w="8266922" h="7305087">
                <a:moveTo>
                  <a:pt x="5241587" y="7031344"/>
                </a:moveTo>
                <a:lnTo>
                  <a:pt x="5448586" y="7031344"/>
                </a:lnTo>
                <a:lnTo>
                  <a:pt x="5448586" y="7204957"/>
                </a:lnTo>
                <a:lnTo>
                  <a:pt x="5241587" y="7204957"/>
                </a:lnTo>
                <a:close/>
                <a:moveTo>
                  <a:pt x="2946862" y="7031344"/>
                </a:moveTo>
                <a:lnTo>
                  <a:pt x="3153861" y="7031344"/>
                </a:lnTo>
                <a:lnTo>
                  <a:pt x="3153861" y="7204957"/>
                </a:lnTo>
                <a:lnTo>
                  <a:pt x="2946862" y="7204957"/>
                </a:lnTo>
                <a:close/>
                <a:moveTo>
                  <a:pt x="4247643" y="6016037"/>
                </a:moveTo>
                <a:lnTo>
                  <a:pt x="4621582" y="6016037"/>
                </a:lnTo>
                <a:lnTo>
                  <a:pt x="4621582" y="6111287"/>
                </a:lnTo>
                <a:lnTo>
                  <a:pt x="4621582" y="7209837"/>
                </a:lnTo>
                <a:lnTo>
                  <a:pt x="4621582" y="7305087"/>
                </a:lnTo>
                <a:lnTo>
                  <a:pt x="4247643" y="7305087"/>
                </a:lnTo>
                <a:lnTo>
                  <a:pt x="4247643" y="7209837"/>
                </a:lnTo>
                <a:lnTo>
                  <a:pt x="4506393" y="7209837"/>
                </a:lnTo>
                <a:lnTo>
                  <a:pt x="4506393" y="6111287"/>
                </a:lnTo>
                <a:lnTo>
                  <a:pt x="4247643" y="6111287"/>
                </a:lnTo>
                <a:close/>
                <a:moveTo>
                  <a:pt x="3773921" y="6016037"/>
                </a:moveTo>
                <a:lnTo>
                  <a:pt x="4147860" y="6016037"/>
                </a:lnTo>
                <a:lnTo>
                  <a:pt x="4147860" y="6111287"/>
                </a:lnTo>
                <a:lnTo>
                  <a:pt x="3889111" y="6111287"/>
                </a:lnTo>
                <a:lnTo>
                  <a:pt x="3889111" y="7209837"/>
                </a:lnTo>
                <a:lnTo>
                  <a:pt x="4147860" y="7209837"/>
                </a:lnTo>
                <a:lnTo>
                  <a:pt x="4147860" y="7305087"/>
                </a:lnTo>
                <a:lnTo>
                  <a:pt x="3773921" y="7305087"/>
                </a:lnTo>
                <a:lnTo>
                  <a:pt x="3773921" y="7209837"/>
                </a:lnTo>
                <a:lnTo>
                  <a:pt x="3773921" y="6111287"/>
                </a:lnTo>
                <a:close/>
                <a:moveTo>
                  <a:pt x="6688042" y="5528924"/>
                </a:moveTo>
                <a:lnTo>
                  <a:pt x="6895043" y="5528924"/>
                </a:lnTo>
                <a:lnTo>
                  <a:pt x="6895043" y="5702536"/>
                </a:lnTo>
                <a:lnTo>
                  <a:pt x="6688042" y="5702536"/>
                </a:lnTo>
                <a:close/>
                <a:moveTo>
                  <a:pt x="3990746" y="5378675"/>
                </a:moveTo>
                <a:lnTo>
                  <a:pt x="4895538" y="5378675"/>
                </a:lnTo>
                <a:lnTo>
                  <a:pt x="4895538" y="5485512"/>
                </a:lnTo>
                <a:lnTo>
                  <a:pt x="3990746" y="5485512"/>
                </a:lnTo>
                <a:close/>
                <a:moveTo>
                  <a:pt x="1270097" y="5378675"/>
                </a:moveTo>
                <a:lnTo>
                  <a:pt x="2174890" y="5378675"/>
                </a:lnTo>
                <a:lnTo>
                  <a:pt x="2174890" y="5485512"/>
                </a:lnTo>
                <a:lnTo>
                  <a:pt x="1270097" y="5485512"/>
                </a:lnTo>
                <a:close/>
                <a:moveTo>
                  <a:pt x="3990746" y="5029777"/>
                </a:moveTo>
                <a:lnTo>
                  <a:pt x="4895538" y="5029777"/>
                </a:lnTo>
                <a:lnTo>
                  <a:pt x="4895538" y="5136615"/>
                </a:lnTo>
                <a:lnTo>
                  <a:pt x="3990746" y="5136615"/>
                </a:lnTo>
                <a:close/>
                <a:moveTo>
                  <a:pt x="1270097" y="5029777"/>
                </a:moveTo>
                <a:lnTo>
                  <a:pt x="2174890" y="5029777"/>
                </a:lnTo>
                <a:lnTo>
                  <a:pt x="2174890" y="5136615"/>
                </a:lnTo>
                <a:lnTo>
                  <a:pt x="1270097" y="5136615"/>
                </a:lnTo>
                <a:close/>
                <a:moveTo>
                  <a:pt x="6062007" y="4507277"/>
                </a:moveTo>
                <a:lnTo>
                  <a:pt x="6115077" y="4509153"/>
                </a:lnTo>
                <a:lnTo>
                  <a:pt x="6164198" y="4514730"/>
                </a:lnTo>
                <a:lnTo>
                  <a:pt x="6209503" y="4523925"/>
                </a:lnTo>
                <a:lnTo>
                  <a:pt x="6251125" y="4536657"/>
                </a:lnTo>
                <a:lnTo>
                  <a:pt x="6289196" y="4552845"/>
                </a:lnTo>
                <a:lnTo>
                  <a:pt x="6323849" y="4572406"/>
                </a:lnTo>
                <a:lnTo>
                  <a:pt x="6355216" y="4595261"/>
                </a:lnTo>
                <a:lnTo>
                  <a:pt x="6383431" y="4621327"/>
                </a:lnTo>
                <a:lnTo>
                  <a:pt x="6408627" y="4650523"/>
                </a:lnTo>
                <a:lnTo>
                  <a:pt x="6430935" y="4682768"/>
                </a:lnTo>
                <a:lnTo>
                  <a:pt x="6450488" y="4717980"/>
                </a:lnTo>
                <a:lnTo>
                  <a:pt x="6467420" y="4756077"/>
                </a:lnTo>
                <a:lnTo>
                  <a:pt x="6481863" y="4796980"/>
                </a:lnTo>
                <a:lnTo>
                  <a:pt x="6493950" y="4840605"/>
                </a:lnTo>
                <a:lnTo>
                  <a:pt x="6503813" y="4886873"/>
                </a:lnTo>
                <a:lnTo>
                  <a:pt x="6511585" y="4935701"/>
                </a:lnTo>
                <a:lnTo>
                  <a:pt x="6517399" y="4987008"/>
                </a:lnTo>
                <a:lnTo>
                  <a:pt x="6521387" y="5040712"/>
                </a:lnTo>
                <a:lnTo>
                  <a:pt x="6523683" y="5096732"/>
                </a:lnTo>
                <a:lnTo>
                  <a:pt x="6524419" y="5154988"/>
                </a:lnTo>
                <a:lnTo>
                  <a:pt x="6523719" y="5213493"/>
                </a:lnTo>
                <a:lnTo>
                  <a:pt x="6521522" y="5269763"/>
                </a:lnTo>
                <a:lnTo>
                  <a:pt x="6517686" y="5323713"/>
                </a:lnTo>
                <a:lnTo>
                  <a:pt x="6512065" y="5375263"/>
                </a:lnTo>
                <a:lnTo>
                  <a:pt x="6504517" y="5424328"/>
                </a:lnTo>
                <a:lnTo>
                  <a:pt x="6494896" y="5470827"/>
                </a:lnTo>
                <a:lnTo>
                  <a:pt x="6483059" y="5514676"/>
                </a:lnTo>
                <a:lnTo>
                  <a:pt x="6468862" y="5555794"/>
                </a:lnTo>
                <a:lnTo>
                  <a:pt x="6452162" y="5594097"/>
                </a:lnTo>
                <a:lnTo>
                  <a:pt x="6432813" y="5629503"/>
                </a:lnTo>
                <a:lnTo>
                  <a:pt x="6410672" y="5661929"/>
                </a:lnTo>
                <a:lnTo>
                  <a:pt x="6385595" y="5691293"/>
                </a:lnTo>
                <a:lnTo>
                  <a:pt x="6357438" y="5717511"/>
                </a:lnTo>
                <a:lnTo>
                  <a:pt x="6326057" y="5740502"/>
                </a:lnTo>
                <a:lnTo>
                  <a:pt x="6291309" y="5760183"/>
                </a:lnTo>
                <a:lnTo>
                  <a:pt x="6253048" y="5776470"/>
                </a:lnTo>
                <a:lnTo>
                  <a:pt x="6211131" y="5789282"/>
                </a:lnTo>
                <a:lnTo>
                  <a:pt x="6165415" y="5798536"/>
                </a:lnTo>
                <a:lnTo>
                  <a:pt x="6115755" y="5804149"/>
                </a:lnTo>
                <a:lnTo>
                  <a:pt x="6062007" y="5806038"/>
                </a:lnTo>
                <a:lnTo>
                  <a:pt x="6062007" y="5709215"/>
                </a:lnTo>
                <a:lnTo>
                  <a:pt x="6111692" y="5706982"/>
                </a:lnTo>
                <a:lnTo>
                  <a:pt x="6156613" y="5700361"/>
                </a:lnTo>
                <a:lnTo>
                  <a:pt x="6196995" y="5689472"/>
                </a:lnTo>
                <a:lnTo>
                  <a:pt x="6233066" y="5674432"/>
                </a:lnTo>
                <a:lnTo>
                  <a:pt x="6293177" y="5632372"/>
                </a:lnTo>
                <a:lnTo>
                  <a:pt x="6338757" y="5575128"/>
                </a:lnTo>
                <a:lnTo>
                  <a:pt x="6356662" y="5541107"/>
                </a:lnTo>
                <a:lnTo>
                  <a:pt x="6371614" y="5503645"/>
                </a:lnTo>
                <a:lnTo>
                  <a:pt x="6383838" y="5462861"/>
                </a:lnTo>
                <a:lnTo>
                  <a:pt x="6393561" y="5418871"/>
                </a:lnTo>
                <a:lnTo>
                  <a:pt x="6401008" y="5371794"/>
                </a:lnTo>
                <a:lnTo>
                  <a:pt x="6406407" y="5321750"/>
                </a:lnTo>
                <a:lnTo>
                  <a:pt x="6409983" y="5268855"/>
                </a:lnTo>
                <a:lnTo>
                  <a:pt x="6411962" y="5213228"/>
                </a:lnTo>
                <a:lnTo>
                  <a:pt x="6412572" y="5154988"/>
                </a:lnTo>
                <a:lnTo>
                  <a:pt x="6411930" y="5097319"/>
                </a:lnTo>
                <a:lnTo>
                  <a:pt x="6409860" y="5042230"/>
                </a:lnTo>
                <a:lnTo>
                  <a:pt x="6406150" y="4989837"/>
                </a:lnTo>
                <a:lnTo>
                  <a:pt x="6400584" y="4940261"/>
                </a:lnTo>
                <a:lnTo>
                  <a:pt x="6392949" y="4893617"/>
                </a:lnTo>
                <a:lnTo>
                  <a:pt x="6383031" y="4850025"/>
                </a:lnTo>
                <a:lnTo>
                  <a:pt x="6370615" y="4809604"/>
                </a:lnTo>
                <a:lnTo>
                  <a:pt x="6355488" y="4772472"/>
                </a:lnTo>
                <a:lnTo>
                  <a:pt x="6337435" y="4738746"/>
                </a:lnTo>
                <a:lnTo>
                  <a:pt x="6291697" y="4681987"/>
                </a:lnTo>
                <a:lnTo>
                  <a:pt x="6231688" y="4640273"/>
                </a:lnTo>
                <a:lnTo>
                  <a:pt x="6195796" y="4625355"/>
                </a:lnTo>
                <a:lnTo>
                  <a:pt x="6155695" y="4614552"/>
                </a:lnTo>
                <a:lnTo>
                  <a:pt x="6111170" y="4607983"/>
                </a:lnTo>
                <a:lnTo>
                  <a:pt x="6062007" y="4605768"/>
                </a:lnTo>
                <a:close/>
                <a:moveTo>
                  <a:pt x="5970138" y="4507277"/>
                </a:moveTo>
                <a:lnTo>
                  <a:pt x="5970138" y="4605768"/>
                </a:lnTo>
                <a:lnTo>
                  <a:pt x="5921252" y="4607983"/>
                </a:lnTo>
                <a:lnTo>
                  <a:pt x="5876971" y="4614552"/>
                </a:lnTo>
                <a:lnTo>
                  <a:pt x="5837085" y="4625355"/>
                </a:lnTo>
                <a:lnTo>
                  <a:pt x="5801379" y="4640273"/>
                </a:lnTo>
                <a:lnTo>
                  <a:pt x="5741664" y="4681987"/>
                </a:lnTo>
                <a:lnTo>
                  <a:pt x="5696130" y="4738746"/>
                </a:lnTo>
                <a:lnTo>
                  <a:pt x="5678151" y="4772472"/>
                </a:lnTo>
                <a:lnTo>
                  <a:pt x="5663081" y="4809604"/>
                </a:lnTo>
                <a:lnTo>
                  <a:pt x="5650709" y="4850025"/>
                </a:lnTo>
                <a:lnTo>
                  <a:pt x="5640821" y="4893617"/>
                </a:lnTo>
                <a:lnTo>
                  <a:pt x="5633207" y="4940261"/>
                </a:lnTo>
                <a:lnTo>
                  <a:pt x="5627654" y="4989837"/>
                </a:lnTo>
                <a:lnTo>
                  <a:pt x="5623950" y="5042230"/>
                </a:lnTo>
                <a:lnTo>
                  <a:pt x="5621883" y="5097319"/>
                </a:lnTo>
                <a:lnTo>
                  <a:pt x="5621241" y="5154988"/>
                </a:lnTo>
                <a:lnTo>
                  <a:pt x="5621867" y="5213228"/>
                </a:lnTo>
                <a:lnTo>
                  <a:pt x="5623889" y="5268855"/>
                </a:lnTo>
                <a:lnTo>
                  <a:pt x="5627526" y="5321750"/>
                </a:lnTo>
                <a:lnTo>
                  <a:pt x="5632995" y="5371794"/>
                </a:lnTo>
                <a:lnTo>
                  <a:pt x="5640516" y="5418871"/>
                </a:lnTo>
                <a:lnTo>
                  <a:pt x="5650305" y="5462861"/>
                </a:lnTo>
                <a:lnTo>
                  <a:pt x="5662582" y="5503645"/>
                </a:lnTo>
                <a:lnTo>
                  <a:pt x="5677564" y="5541107"/>
                </a:lnTo>
                <a:lnTo>
                  <a:pt x="5695470" y="5575128"/>
                </a:lnTo>
                <a:lnTo>
                  <a:pt x="5740924" y="5632372"/>
                </a:lnTo>
                <a:lnTo>
                  <a:pt x="5800690" y="5674432"/>
                </a:lnTo>
                <a:lnTo>
                  <a:pt x="5836485" y="5689472"/>
                </a:lnTo>
                <a:lnTo>
                  <a:pt x="5876513" y="5700361"/>
                </a:lnTo>
                <a:lnTo>
                  <a:pt x="5920991" y="5706982"/>
                </a:lnTo>
                <a:lnTo>
                  <a:pt x="5970138" y="5709215"/>
                </a:lnTo>
                <a:lnTo>
                  <a:pt x="5970138" y="5806038"/>
                </a:lnTo>
                <a:lnTo>
                  <a:pt x="5916615" y="5804149"/>
                </a:lnTo>
                <a:lnTo>
                  <a:pt x="5867135" y="5798536"/>
                </a:lnTo>
                <a:lnTo>
                  <a:pt x="5821555" y="5789282"/>
                </a:lnTo>
                <a:lnTo>
                  <a:pt x="5779737" y="5776470"/>
                </a:lnTo>
                <a:lnTo>
                  <a:pt x="5741540" y="5760183"/>
                </a:lnTo>
                <a:lnTo>
                  <a:pt x="5706823" y="5740502"/>
                </a:lnTo>
                <a:lnTo>
                  <a:pt x="5675446" y="5717511"/>
                </a:lnTo>
                <a:lnTo>
                  <a:pt x="5647270" y="5691293"/>
                </a:lnTo>
                <a:lnTo>
                  <a:pt x="5622154" y="5661929"/>
                </a:lnTo>
                <a:lnTo>
                  <a:pt x="5599957" y="5629503"/>
                </a:lnTo>
                <a:lnTo>
                  <a:pt x="5580540" y="5594097"/>
                </a:lnTo>
                <a:lnTo>
                  <a:pt x="5563762" y="5555794"/>
                </a:lnTo>
                <a:lnTo>
                  <a:pt x="5549483" y="5514676"/>
                </a:lnTo>
                <a:lnTo>
                  <a:pt x="5537563" y="5470827"/>
                </a:lnTo>
                <a:lnTo>
                  <a:pt x="5527862" y="5424328"/>
                </a:lnTo>
                <a:lnTo>
                  <a:pt x="5520239" y="5375263"/>
                </a:lnTo>
                <a:lnTo>
                  <a:pt x="5514554" y="5323713"/>
                </a:lnTo>
                <a:lnTo>
                  <a:pt x="5510667" y="5269763"/>
                </a:lnTo>
                <a:lnTo>
                  <a:pt x="5508437" y="5213493"/>
                </a:lnTo>
                <a:lnTo>
                  <a:pt x="5507726" y="5154988"/>
                </a:lnTo>
                <a:lnTo>
                  <a:pt x="5508461" y="5096732"/>
                </a:lnTo>
                <a:lnTo>
                  <a:pt x="5510757" y="5040712"/>
                </a:lnTo>
                <a:lnTo>
                  <a:pt x="5514746" y="4987008"/>
                </a:lnTo>
                <a:lnTo>
                  <a:pt x="5520559" y="4935701"/>
                </a:lnTo>
                <a:lnTo>
                  <a:pt x="5528332" y="4886873"/>
                </a:lnTo>
                <a:lnTo>
                  <a:pt x="5538195" y="4840605"/>
                </a:lnTo>
                <a:lnTo>
                  <a:pt x="5550281" y="4796980"/>
                </a:lnTo>
                <a:lnTo>
                  <a:pt x="5564724" y="4756077"/>
                </a:lnTo>
                <a:lnTo>
                  <a:pt x="5581656" y="4717980"/>
                </a:lnTo>
                <a:lnTo>
                  <a:pt x="5601209" y="4682768"/>
                </a:lnTo>
                <a:lnTo>
                  <a:pt x="5623517" y="4650523"/>
                </a:lnTo>
                <a:lnTo>
                  <a:pt x="5648713" y="4621327"/>
                </a:lnTo>
                <a:lnTo>
                  <a:pt x="5676928" y="4595261"/>
                </a:lnTo>
                <a:lnTo>
                  <a:pt x="5708295" y="4572406"/>
                </a:lnTo>
                <a:lnTo>
                  <a:pt x="5742948" y="4552845"/>
                </a:lnTo>
                <a:lnTo>
                  <a:pt x="5781019" y="4536657"/>
                </a:lnTo>
                <a:lnTo>
                  <a:pt x="5822641" y="4523925"/>
                </a:lnTo>
                <a:lnTo>
                  <a:pt x="5867946" y="4514730"/>
                </a:lnTo>
                <a:lnTo>
                  <a:pt x="5917067" y="4509153"/>
                </a:lnTo>
                <a:close/>
                <a:moveTo>
                  <a:pt x="2916306" y="4507277"/>
                </a:moveTo>
                <a:lnTo>
                  <a:pt x="2969376" y="4509153"/>
                </a:lnTo>
                <a:lnTo>
                  <a:pt x="3018497" y="4514730"/>
                </a:lnTo>
                <a:lnTo>
                  <a:pt x="3063803" y="4523925"/>
                </a:lnTo>
                <a:lnTo>
                  <a:pt x="3105426" y="4536657"/>
                </a:lnTo>
                <a:lnTo>
                  <a:pt x="3143497" y="4552845"/>
                </a:lnTo>
                <a:lnTo>
                  <a:pt x="3178150" y="4572406"/>
                </a:lnTo>
                <a:lnTo>
                  <a:pt x="3209516" y="4595261"/>
                </a:lnTo>
                <a:lnTo>
                  <a:pt x="3237732" y="4621327"/>
                </a:lnTo>
                <a:lnTo>
                  <a:pt x="3262928" y="4650523"/>
                </a:lnTo>
                <a:lnTo>
                  <a:pt x="3285236" y="4682768"/>
                </a:lnTo>
                <a:lnTo>
                  <a:pt x="3304789" y="4717980"/>
                </a:lnTo>
                <a:lnTo>
                  <a:pt x="3321718" y="4756077"/>
                </a:lnTo>
                <a:lnTo>
                  <a:pt x="3336161" y="4796980"/>
                </a:lnTo>
                <a:lnTo>
                  <a:pt x="3348248" y="4840605"/>
                </a:lnTo>
                <a:lnTo>
                  <a:pt x="3358111" y="4886873"/>
                </a:lnTo>
                <a:lnTo>
                  <a:pt x="3365883" y="4935701"/>
                </a:lnTo>
                <a:lnTo>
                  <a:pt x="3371697" y="4987008"/>
                </a:lnTo>
                <a:lnTo>
                  <a:pt x="3375685" y="5040712"/>
                </a:lnTo>
                <a:lnTo>
                  <a:pt x="3377981" y="5096732"/>
                </a:lnTo>
                <a:lnTo>
                  <a:pt x="3378717" y="5154988"/>
                </a:lnTo>
                <a:lnTo>
                  <a:pt x="3378017" y="5213493"/>
                </a:lnTo>
                <a:lnTo>
                  <a:pt x="3375820" y="5269763"/>
                </a:lnTo>
                <a:lnTo>
                  <a:pt x="3371984" y="5323713"/>
                </a:lnTo>
                <a:lnTo>
                  <a:pt x="3366363" y="5375263"/>
                </a:lnTo>
                <a:lnTo>
                  <a:pt x="3358815" y="5424328"/>
                </a:lnTo>
                <a:lnTo>
                  <a:pt x="3349194" y="5470827"/>
                </a:lnTo>
                <a:lnTo>
                  <a:pt x="3337357" y="5514676"/>
                </a:lnTo>
                <a:lnTo>
                  <a:pt x="3323160" y="5555794"/>
                </a:lnTo>
                <a:lnTo>
                  <a:pt x="3306462" y="5594097"/>
                </a:lnTo>
                <a:lnTo>
                  <a:pt x="3287114" y="5629503"/>
                </a:lnTo>
                <a:lnTo>
                  <a:pt x="3264973" y="5661929"/>
                </a:lnTo>
                <a:lnTo>
                  <a:pt x="3239895" y="5691293"/>
                </a:lnTo>
                <a:lnTo>
                  <a:pt x="3211738" y="5717511"/>
                </a:lnTo>
                <a:lnTo>
                  <a:pt x="3180357" y="5740502"/>
                </a:lnTo>
                <a:lnTo>
                  <a:pt x="3145609" y="5760183"/>
                </a:lnTo>
                <a:lnTo>
                  <a:pt x="3107348" y="5776470"/>
                </a:lnTo>
                <a:lnTo>
                  <a:pt x="3065431" y="5789282"/>
                </a:lnTo>
                <a:lnTo>
                  <a:pt x="3019716" y="5798536"/>
                </a:lnTo>
                <a:lnTo>
                  <a:pt x="2970054" y="5804149"/>
                </a:lnTo>
                <a:lnTo>
                  <a:pt x="2916306" y="5806038"/>
                </a:lnTo>
                <a:lnTo>
                  <a:pt x="2916306" y="5709215"/>
                </a:lnTo>
                <a:lnTo>
                  <a:pt x="2965992" y="5706982"/>
                </a:lnTo>
                <a:lnTo>
                  <a:pt x="3010913" y="5700361"/>
                </a:lnTo>
                <a:lnTo>
                  <a:pt x="3051294" y="5689472"/>
                </a:lnTo>
                <a:lnTo>
                  <a:pt x="3087367" y="5674432"/>
                </a:lnTo>
                <a:lnTo>
                  <a:pt x="3147477" y="5632372"/>
                </a:lnTo>
                <a:lnTo>
                  <a:pt x="3193057" y="5575128"/>
                </a:lnTo>
                <a:lnTo>
                  <a:pt x="3210963" y="5541107"/>
                </a:lnTo>
                <a:lnTo>
                  <a:pt x="3225916" y="5503645"/>
                </a:lnTo>
                <a:lnTo>
                  <a:pt x="3238139" y="5462861"/>
                </a:lnTo>
                <a:lnTo>
                  <a:pt x="3247862" y="5418871"/>
                </a:lnTo>
                <a:lnTo>
                  <a:pt x="3255309" y="5371794"/>
                </a:lnTo>
                <a:lnTo>
                  <a:pt x="3260708" y="5321750"/>
                </a:lnTo>
                <a:lnTo>
                  <a:pt x="3264284" y="5268855"/>
                </a:lnTo>
                <a:lnTo>
                  <a:pt x="3266263" y="5213228"/>
                </a:lnTo>
                <a:lnTo>
                  <a:pt x="3266872" y="5154988"/>
                </a:lnTo>
                <a:lnTo>
                  <a:pt x="3266231" y="5097319"/>
                </a:lnTo>
                <a:lnTo>
                  <a:pt x="3264161" y="5042230"/>
                </a:lnTo>
                <a:lnTo>
                  <a:pt x="3260451" y="4989837"/>
                </a:lnTo>
                <a:lnTo>
                  <a:pt x="3254885" y="4940261"/>
                </a:lnTo>
                <a:lnTo>
                  <a:pt x="3247250" y="4893617"/>
                </a:lnTo>
                <a:lnTo>
                  <a:pt x="3237332" y="4850025"/>
                </a:lnTo>
                <a:lnTo>
                  <a:pt x="3224916" y="4809604"/>
                </a:lnTo>
                <a:lnTo>
                  <a:pt x="3209789" y="4772472"/>
                </a:lnTo>
                <a:lnTo>
                  <a:pt x="3191735" y="4738746"/>
                </a:lnTo>
                <a:lnTo>
                  <a:pt x="3145998" y="4681987"/>
                </a:lnTo>
                <a:lnTo>
                  <a:pt x="3085988" y="4640273"/>
                </a:lnTo>
                <a:lnTo>
                  <a:pt x="3050095" y="4625355"/>
                </a:lnTo>
                <a:lnTo>
                  <a:pt x="3009995" y="4614552"/>
                </a:lnTo>
                <a:lnTo>
                  <a:pt x="2965470" y="4607983"/>
                </a:lnTo>
                <a:lnTo>
                  <a:pt x="2916306" y="4605768"/>
                </a:lnTo>
                <a:close/>
                <a:moveTo>
                  <a:pt x="2824439" y="4507277"/>
                </a:moveTo>
                <a:lnTo>
                  <a:pt x="2824439" y="4605768"/>
                </a:lnTo>
                <a:lnTo>
                  <a:pt x="2775553" y="4607983"/>
                </a:lnTo>
                <a:lnTo>
                  <a:pt x="2731271" y="4614552"/>
                </a:lnTo>
                <a:lnTo>
                  <a:pt x="2691385" y="4625355"/>
                </a:lnTo>
                <a:lnTo>
                  <a:pt x="2655680" y="4640273"/>
                </a:lnTo>
                <a:lnTo>
                  <a:pt x="2595965" y="4681987"/>
                </a:lnTo>
                <a:lnTo>
                  <a:pt x="2550430" y="4738746"/>
                </a:lnTo>
                <a:lnTo>
                  <a:pt x="2532451" y="4772472"/>
                </a:lnTo>
                <a:lnTo>
                  <a:pt x="2517381" y="4809604"/>
                </a:lnTo>
                <a:lnTo>
                  <a:pt x="2505009" y="4850025"/>
                </a:lnTo>
                <a:lnTo>
                  <a:pt x="2495121" y="4893617"/>
                </a:lnTo>
                <a:lnTo>
                  <a:pt x="2487508" y="4940261"/>
                </a:lnTo>
                <a:lnTo>
                  <a:pt x="2481955" y="4989837"/>
                </a:lnTo>
                <a:lnTo>
                  <a:pt x="2478251" y="5042230"/>
                </a:lnTo>
                <a:lnTo>
                  <a:pt x="2476183" y="5097319"/>
                </a:lnTo>
                <a:lnTo>
                  <a:pt x="2475541" y="5154988"/>
                </a:lnTo>
                <a:lnTo>
                  <a:pt x="2476168" y="5213228"/>
                </a:lnTo>
                <a:lnTo>
                  <a:pt x="2478189" y="5268855"/>
                </a:lnTo>
                <a:lnTo>
                  <a:pt x="2481827" y="5321750"/>
                </a:lnTo>
                <a:lnTo>
                  <a:pt x="2487296" y="5371794"/>
                </a:lnTo>
                <a:lnTo>
                  <a:pt x="2494816" y="5418871"/>
                </a:lnTo>
                <a:lnTo>
                  <a:pt x="2504605" y="5462861"/>
                </a:lnTo>
                <a:lnTo>
                  <a:pt x="2516882" y="5503645"/>
                </a:lnTo>
                <a:lnTo>
                  <a:pt x="2531865" y="5541107"/>
                </a:lnTo>
                <a:lnTo>
                  <a:pt x="2549770" y="5575128"/>
                </a:lnTo>
                <a:lnTo>
                  <a:pt x="2595224" y="5632372"/>
                </a:lnTo>
                <a:lnTo>
                  <a:pt x="2654990" y="5674432"/>
                </a:lnTo>
                <a:lnTo>
                  <a:pt x="2690785" y="5689472"/>
                </a:lnTo>
                <a:lnTo>
                  <a:pt x="2730814" y="5700361"/>
                </a:lnTo>
                <a:lnTo>
                  <a:pt x="2775291" y="5706982"/>
                </a:lnTo>
                <a:lnTo>
                  <a:pt x="2824439" y="5709215"/>
                </a:lnTo>
                <a:lnTo>
                  <a:pt x="2824439" y="5806038"/>
                </a:lnTo>
                <a:lnTo>
                  <a:pt x="2770915" y="5804149"/>
                </a:lnTo>
                <a:lnTo>
                  <a:pt x="2721436" y="5798536"/>
                </a:lnTo>
                <a:lnTo>
                  <a:pt x="2675855" y="5789282"/>
                </a:lnTo>
                <a:lnTo>
                  <a:pt x="2634037" y="5776470"/>
                </a:lnTo>
                <a:lnTo>
                  <a:pt x="2595840" y="5760183"/>
                </a:lnTo>
                <a:lnTo>
                  <a:pt x="2561122" y="5740502"/>
                </a:lnTo>
                <a:lnTo>
                  <a:pt x="2529747" y="5717511"/>
                </a:lnTo>
                <a:lnTo>
                  <a:pt x="2501571" y="5691293"/>
                </a:lnTo>
                <a:lnTo>
                  <a:pt x="2476454" y="5661929"/>
                </a:lnTo>
                <a:lnTo>
                  <a:pt x="2454257" y="5629503"/>
                </a:lnTo>
                <a:lnTo>
                  <a:pt x="2434840" y="5594097"/>
                </a:lnTo>
                <a:lnTo>
                  <a:pt x="2418062" y="5555794"/>
                </a:lnTo>
                <a:lnTo>
                  <a:pt x="2403783" y="5514676"/>
                </a:lnTo>
                <a:lnTo>
                  <a:pt x="2391863" y="5470827"/>
                </a:lnTo>
                <a:lnTo>
                  <a:pt x="2382162" y="5424328"/>
                </a:lnTo>
                <a:lnTo>
                  <a:pt x="2374539" y="5375263"/>
                </a:lnTo>
                <a:lnTo>
                  <a:pt x="2368854" y="5323713"/>
                </a:lnTo>
                <a:lnTo>
                  <a:pt x="2364967" y="5269763"/>
                </a:lnTo>
                <a:lnTo>
                  <a:pt x="2362736" y="5213493"/>
                </a:lnTo>
                <a:lnTo>
                  <a:pt x="2362026" y="5154988"/>
                </a:lnTo>
                <a:lnTo>
                  <a:pt x="2362760" y="5096732"/>
                </a:lnTo>
                <a:lnTo>
                  <a:pt x="2365057" y="5040712"/>
                </a:lnTo>
                <a:lnTo>
                  <a:pt x="2369046" y="4987008"/>
                </a:lnTo>
                <a:lnTo>
                  <a:pt x="2374859" y="4935701"/>
                </a:lnTo>
                <a:lnTo>
                  <a:pt x="2382632" y="4886873"/>
                </a:lnTo>
                <a:lnTo>
                  <a:pt x="2392495" y="4840605"/>
                </a:lnTo>
                <a:lnTo>
                  <a:pt x="2404581" y="4796980"/>
                </a:lnTo>
                <a:lnTo>
                  <a:pt x="2419024" y="4756077"/>
                </a:lnTo>
                <a:lnTo>
                  <a:pt x="2435956" y="4717980"/>
                </a:lnTo>
                <a:lnTo>
                  <a:pt x="2455509" y="4682768"/>
                </a:lnTo>
                <a:lnTo>
                  <a:pt x="2477817" y="4650523"/>
                </a:lnTo>
                <a:lnTo>
                  <a:pt x="2503013" y="4621327"/>
                </a:lnTo>
                <a:lnTo>
                  <a:pt x="2531228" y="4595261"/>
                </a:lnTo>
                <a:lnTo>
                  <a:pt x="2562596" y="4572406"/>
                </a:lnTo>
                <a:lnTo>
                  <a:pt x="2597248" y="4552845"/>
                </a:lnTo>
                <a:lnTo>
                  <a:pt x="2635318" y="4536657"/>
                </a:lnTo>
                <a:lnTo>
                  <a:pt x="2676942" y="4523925"/>
                </a:lnTo>
                <a:lnTo>
                  <a:pt x="2722247" y="4514730"/>
                </a:lnTo>
                <a:lnTo>
                  <a:pt x="2771367" y="4509153"/>
                </a:lnTo>
                <a:close/>
                <a:moveTo>
                  <a:pt x="2506783" y="4026496"/>
                </a:moveTo>
                <a:lnTo>
                  <a:pt x="2549012" y="4030174"/>
                </a:lnTo>
                <a:lnTo>
                  <a:pt x="2581695" y="4043398"/>
                </a:lnTo>
                <a:lnTo>
                  <a:pt x="2602796" y="4069456"/>
                </a:lnTo>
                <a:lnTo>
                  <a:pt x="2610283" y="4111633"/>
                </a:lnTo>
                <a:lnTo>
                  <a:pt x="2602796" y="4155741"/>
                </a:lnTo>
                <a:lnTo>
                  <a:pt x="2581695" y="4182790"/>
                </a:lnTo>
                <a:lnTo>
                  <a:pt x="2549012" y="4196380"/>
                </a:lnTo>
                <a:lnTo>
                  <a:pt x="2506783" y="4200110"/>
                </a:lnTo>
                <a:lnTo>
                  <a:pt x="2464554" y="4196380"/>
                </a:lnTo>
                <a:lnTo>
                  <a:pt x="2431870" y="4182790"/>
                </a:lnTo>
                <a:lnTo>
                  <a:pt x="2410769" y="4155741"/>
                </a:lnTo>
                <a:lnTo>
                  <a:pt x="2403283" y="4111633"/>
                </a:lnTo>
                <a:lnTo>
                  <a:pt x="2411003" y="4069456"/>
                </a:lnTo>
                <a:lnTo>
                  <a:pt x="2432496" y="4043398"/>
                </a:lnTo>
                <a:lnTo>
                  <a:pt x="2465257" y="4030174"/>
                </a:lnTo>
                <a:close/>
                <a:moveTo>
                  <a:pt x="2506783" y="3325365"/>
                </a:moveTo>
                <a:lnTo>
                  <a:pt x="2549012" y="3328834"/>
                </a:lnTo>
                <a:lnTo>
                  <a:pt x="2581695" y="3341849"/>
                </a:lnTo>
                <a:lnTo>
                  <a:pt x="2602796" y="3368324"/>
                </a:lnTo>
                <a:lnTo>
                  <a:pt x="2610283" y="3412171"/>
                </a:lnTo>
                <a:lnTo>
                  <a:pt x="2602796" y="3454609"/>
                </a:lnTo>
                <a:lnTo>
                  <a:pt x="2581695" y="3481240"/>
                </a:lnTo>
                <a:lnTo>
                  <a:pt x="2549012" y="3495038"/>
                </a:lnTo>
                <a:lnTo>
                  <a:pt x="2506783" y="3498977"/>
                </a:lnTo>
                <a:lnTo>
                  <a:pt x="2465519" y="3495038"/>
                </a:lnTo>
                <a:lnTo>
                  <a:pt x="2433331" y="3481240"/>
                </a:lnTo>
                <a:lnTo>
                  <a:pt x="2412411" y="3454609"/>
                </a:lnTo>
                <a:lnTo>
                  <a:pt x="2404952" y="3412171"/>
                </a:lnTo>
                <a:lnTo>
                  <a:pt x="2412411" y="3368324"/>
                </a:lnTo>
                <a:lnTo>
                  <a:pt x="2433331" y="3341849"/>
                </a:lnTo>
                <a:lnTo>
                  <a:pt x="2465519" y="3328834"/>
                </a:lnTo>
                <a:close/>
                <a:moveTo>
                  <a:pt x="3576931" y="3011218"/>
                </a:moveTo>
                <a:lnTo>
                  <a:pt x="3950858" y="3011218"/>
                </a:lnTo>
                <a:lnTo>
                  <a:pt x="3950858" y="3106468"/>
                </a:lnTo>
                <a:lnTo>
                  <a:pt x="3950858" y="4205018"/>
                </a:lnTo>
                <a:lnTo>
                  <a:pt x="3950858" y="4300268"/>
                </a:lnTo>
                <a:lnTo>
                  <a:pt x="3576931" y="4300268"/>
                </a:lnTo>
                <a:lnTo>
                  <a:pt x="3576931" y="4205018"/>
                </a:lnTo>
                <a:lnTo>
                  <a:pt x="3835681" y="4205018"/>
                </a:lnTo>
                <a:lnTo>
                  <a:pt x="3835681" y="3106468"/>
                </a:lnTo>
                <a:lnTo>
                  <a:pt x="3576931" y="3106468"/>
                </a:lnTo>
                <a:close/>
                <a:moveTo>
                  <a:pt x="1487809" y="3011218"/>
                </a:moveTo>
                <a:lnTo>
                  <a:pt x="1861748" y="3011218"/>
                </a:lnTo>
                <a:lnTo>
                  <a:pt x="1861748" y="3106468"/>
                </a:lnTo>
                <a:lnTo>
                  <a:pt x="1602998" y="3106468"/>
                </a:lnTo>
                <a:lnTo>
                  <a:pt x="1602998" y="4205018"/>
                </a:lnTo>
                <a:lnTo>
                  <a:pt x="1861748" y="4205018"/>
                </a:lnTo>
                <a:lnTo>
                  <a:pt x="1861748" y="4300268"/>
                </a:lnTo>
                <a:lnTo>
                  <a:pt x="1487809" y="4300268"/>
                </a:lnTo>
                <a:lnTo>
                  <a:pt x="1487809" y="4205018"/>
                </a:lnTo>
                <a:lnTo>
                  <a:pt x="1487809" y="3106468"/>
                </a:lnTo>
                <a:close/>
                <a:moveTo>
                  <a:pt x="7212302" y="3004847"/>
                </a:moveTo>
                <a:lnTo>
                  <a:pt x="7265372" y="3006723"/>
                </a:lnTo>
                <a:lnTo>
                  <a:pt x="7314493" y="3012300"/>
                </a:lnTo>
                <a:lnTo>
                  <a:pt x="7359798" y="3021495"/>
                </a:lnTo>
                <a:lnTo>
                  <a:pt x="7401420" y="3034227"/>
                </a:lnTo>
                <a:lnTo>
                  <a:pt x="7439491" y="3050415"/>
                </a:lnTo>
                <a:lnTo>
                  <a:pt x="7474144" y="3069977"/>
                </a:lnTo>
                <a:lnTo>
                  <a:pt x="7505511" y="3092831"/>
                </a:lnTo>
                <a:lnTo>
                  <a:pt x="7533726" y="3118897"/>
                </a:lnTo>
                <a:lnTo>
                  <a:pt x="7558922" y="3148093"/>
                </a:lnTo>
                <a:lnTo>
                  <a:pt x="7581230" y="3180338"/>
                </a:lnTo>
                <a:lnTo>
                  <a:pt x="7600783" y="3215550"/>
                </a:lnTo>
                <a:lnTo>
                  <a:pt x="7617715" y="3253648"/>
                </a:lnTo>
                <a:lnTo>
                  <a:pt x="7632158" y="3294551"/>
                </a:lnTo>
                <a:lnTo>
                  <a:pt x="7644245" y="3338176"/>
                </a:lnTo>
                <a:lnTo>
                  <a:pt x="7654108" y="3384443"/>
                </a:lnTo>
                <a:lnTo>
                  <a:pt x="7661880" y="3433271"/>
                </a:lnTo>
                <a:lnTo>
                  <a:pt x="7667694" y="3484578"/>
                </a:lnTo>
                <a:lnTo>
                  <a:pt x="7671682" y="3538282"/>
                </a:lnTo>
                <a:lnTo>
                  <a:pt x="7673978" y="3594302"/>
                </a:lnTo>
                <a:lnTo>
                  <a:pt x="7674714" y="3652558"/>
                </a:lnTo>
                <a:lnTo>
                  <a:pt x="7674014" y="3711063"/>
                </a:lnTo>
                <a:lnTo>
                  <a:pt x="7671817" y="3767333"/>
                </a:lnTo>
                <a:lnTo>
                  <a:pt x="7667981" y="3821283"/>
                </a:lnTo>
                <a:lnTo>
                  <a:pt x="7662360" y="3872833"/>
                </a:lnTo>
                <a:lnTo>
                  <a:pt x="7654812" y="3921898"/>
                </a:lnTo>
                <a:lnTo>
                  <a:pt x="7645191" y="3968397"/>
                </a:lnTo>
                <a:lnTo>
                  <a:pt x="7633354" y="4012246"/>
                </a:lnTo>
                <a:lnTo>
                  <a:pt x="7619157" y="4053364"/>
                </a:lnTo>
                <a:lnTo>
                  <a:pt x="7602457" y="4091667"/>
                </a:lnTo>
                <a:lnTo>
                  <a:pt x="7583108" y="4127073"/>
                </a:lnTo>
                <a:lnTo>
                  <a:pt x="7560967" y="4159499"/>
                </a:lnTo>
                <a:lnTo>
                  <a:pt x="7535890" y="4188862"/>
                </a:lnTo>
                <a:lnTo>
                  <a:pt x="7507733" y="4215081"/>
                </a:lnTo>
                <a:lnTo>
                  <a:pt x="7476352" y="4238071"/>
                </a:lnTo>
                <a:lnTo>
                  <a:pt x="7441604" y="4257752"/>
                </a:lnTo>
                <a:lnTo>
                  <a:pt x="7403343" y="4274039"/>
                </a:lnTo>
                <a:lnTo>
                  <a:pt x="7361426" y="4286851"/>
                </a:lnTo>
                <a:lnTo>
                  <a:pt x="7315710" y="4296105"/>
                </a:lnTo>
                <a:lnTo>
                  <a:pt x="7266050" y="4301718"/>
                </a:lnTo>
                <a:lnTo>
                  <a:pt x="7212302" y="4303607"/>
                </a:lnTo>
                <a:lnTo>
                  <a:pt x="7212302" y="4206785"/>
                </a:lnTo>
                <a:lnTo>
                  <a:pt x="7261987" y="4204552"/>
                </a:lnTo>
                <a:lnTo>
                  <a:pt x="7306907" y="4197931"/>
                </a:lnTo>
                <a:lnTo>
                  <a:pt x="7347290" y="4187042"/>
                </a:lnTo>
                <a:lnTo>
                  <a:pt x="7383361" y="4172002"/>
                </a:lnTo>
                <a:lnTo>
                  <a:pt x="7443472" y="4129942"/>
                </a:lnTo>
                <a:lnTo>
                  <a:pt x="7489051" y="4072698"/>
                </a:lnTo>
                <a:lnTo>
                  <a:pt x="7506957" y="4038677"/>
                </a:lnTo>
                <a:lnTo>
                  <a:pt x="7521909" y="4001216"/>
                </a:lnTo>
                <a:lnTo>
                  <a:pt x="7534133" y="3960431"/>
                </a:lnTo>
                <a:lnTo>
                  <a:pt x="7543856" y="3916441"/>
                </a:lnTo>
                <a:lnTo>
                  <a:pt x="7551303" y="3869364"/>
                </a:lnTo>
                <a:lnTo>
                  <a:pt x="7556702" y="3819320"/>
                </a:lnTo>
                <a:lnTo>
                  <a:pt x="7560278" y="3766425"/>
                </a:lnTo>
                <a:lnTo>
                  <a:pt x="7562257" y="3710798"/>
                </a:lnTo>
                <a:lnTo>
                  <a:pt x="7562867" y="3652558"/>
                </a:lnTo>
                <a:lnTo>
                  <a:pt x="7562225" y="3594889"/>
                </a:lnTo>
                <a:lnTo>
                  <a:pt x="7560155" y="3539800"/>
                </a:lnTo>
                <a:lnTo>
                  <a:pt x="7556445" y="3487407"/>
                </a:lnTo>
                <a:lnTo>
                  <a:pt x="7550879" y="3437831"/>
                </a:lnTo>
                <a:lnTo>
                  <a:pt x="7543244" y="3391187"/>
                </a:lnTo>
                <a:lnTo>
                  <a:pt x="7533326" y="3347596"/>
                </a:lnTo>
                <a:lnTo>
                  <a:pt x="7520910" y="3307175"/>
                </a:lnTo>
                <a:lnTo>
                  <a:pt x="7505783" y="3270043"/>
                </a:lnTo>
                <a:lnTo>
                  <a:pt x="7487730" y="3236317"/>
                </a:lnTo>
                <a:lnTo>
                  <a:pt x="7441992" y="3179558"/>
                </a:lnTo>
                <a:lnTo>
                  <a:pt x="7381983" y="3137845"/>
                </a:lnTo>
                <a:lnTo>
                  <a:pt x="7346091" y="3122926"/>
                </a:lnTo>
                <a:lnTo>
                  <a:pt x="7305990" y="3112123"/>
                </a:lnTo>
                <a:lnTo>
                  <a:pt x="7261465" y="3105555"/>
                </a:lnTo>
                <a:lnTo>
                  <a:pt x="7212302" y="3103339"/>
                </a:lnTo>
                <a:close/>
                <a:moveTo>
                  <a:pt x="6695380" y="3004847"/>
                </a:moveTo>
                <a:lnTo>
                  <a:pt x="6695380" y="3103339"/>
                </a:lnTo>
                <a:lnTo>
                  <a:pt x="6646494" y="3105555"/>
                </a:lnTo>
                <a:lnTo>
                  <a:pt x="6602213" y="3112123"/>
                </a:lnTo>
                <a:lnTo>
                  <a:pt x="6562327" y="3122926"/>
                </a:lnTo>
                <a:lnTo>
                  <a:pt x="6526621" y="3137845"/>
                </a:lnTo>
                <a:lnTo>
                  <a:pt x="6466906" y="3179558"/>
                </a:lnTo>
                <a:lnTo>
                  <a:pt x="6421372" y="3236317"/>
                </a:lnTo>
                <a:lnTo>
                  <a:pt x="6403393" y="3270043"/>
                </a:lnTo>
                <a:lnTo>
                  <a:pt x="6388323" y="3307175"/>
                </a:lnTo>
                <a:lnTo>
                  <a:pt x="6375951" y="3347596"/>
                </a:lnTo>
                <a:lnTo>
                  <a:pt x="6366063" y="3391187"/>
                </a:lnTo>
                <a:lnTo>
                  <a:pt x="6358449" y="3437831"/>
                </a:lnTo>
                <a:lnTo>
                  <a:pt x="6352896" y="3487407"/>
                </a:lnTo>
                <a:lnTo>
                  <a:pt x="6349192" y="3539800"/>
                </a:lnTo>
                <a:lnTo>
                  <a:pt x="6347125" y="3594889"/>
                </a:lnTo>
                <a:lnTo>
                  <a:pt x="6346483" y="3652558"/>
                </a:lnTo>
                <a:lnTo>
                  <a:pt x="6347109" y="3710798"/>
                </a:lnTo>
                <a:lnTo>
                  <a:pt x="6349131" y="3766425"/>
                </a:lnTo>
                <a:lnTo>
                  <a:pt x="6352768" y="3819320"/>
                </a:lnTo>
                <a:lnTo>
                  <a:pt x="6358237" y="3869364"/>
                </a:lnTo>
                <a:lnTo>
                  <a:pt x="6365758" y="3916441"/>
                </a:lnTo>
                <a:lnTo>
                  <a:pt x="6375547" y="3960431"/>
                </a:lnTo>
                <a:lnTo>
                  <a:pt x="6387824" y="4001216"/>
                </a:lnTo>
                <a:lnTo>
                  <a:pt x="6402806" y="4038677"/>
                </a:lnTo>
                <a:lnTo>
                  <a:pt x="6420712" y="4072698"/>
                </a:lnTo>
                <a:lnTo>
                  <a:pt x="6466166" y="4129942"/>
                </a:lnTo>
                <a:lnTo>
                  <a:pt x="6525932" y="4172002"/>
                </a:lnTo>
                <a:lnTo>
                  <a:pt x="6561727" y="4187042"/>
                </a:lnTo>
                <a:lnTo>
                  <a:pt x="6601755" y="4197931"/>
                </a:lnTo>
                <a:lnTo>
                  <a:pt x="6646233" y="4204552"/>
                </a:lnTo>
                <a:lnTo>
                  <a:pt x="6695380" y="4206785"/>
                </a:lnTo>
                <a:lnTo>
                  <a:pt x="6695380" y="4303607"/>
                </a:lnTo>
                <a:lnTo>
                  <a:pt x="6641857" y="4301718"/>
                </a:lnTo>
                <a:lnTo>
                  <a:pt x="6592377" y="4296105"/>
                </a:lnTo>
                <a:lnTo>
                  <a:pt x="6546797" y="4286851"/>
                </a:lnTo>
                <a:lnTo>
                  <a:pt x="6504979" y="4274039"/>
                </a:lnTo>
                <a:lnTo>
                  <a:pt x="6466782" y="4257752"/>
                </a:lnTo>
                <a:lnTo>
                  <a:pt x="6432065" y="4238071"/>
                </a:lnTo>
                <a:lnTo>
                  <a:pt x="6400688" y="4215081"/>
                </a:lnTo>
                <a:lnTo>
                  <a:pt x="6372512" y="4188862"/>
                </a:lnTo>
                <a:lnTo>
                  <a:pt x="6347396" y="4159499"/>
                </a:lnTo>
                <a:lnTo>
                  <a:pt x="6325199" y="4127073"/>
                </a:lnTo>
                <a:lnTo>
                  <a:pt x="6305782" y="4091667"/>
                </a:lnTo>
                <a:lnTo>
                  <a:pt x="6289004" y="4053364"/>
                </a:lnTo>
                <a:lnTo>
                  <a:pt x="6274725" y="4012246"/>
                </a:lnTo>
                <a:lnTo>
                  <a:pt x="6262805" y="3968397"/>
                </a:lnTo>
                <a:lnTo>
                  <a:pt x="6253104" y="3921898"/>
                </a:lnTo>
                <a:lnTo>
                  <a:pt x="6245481" y="3872833"/>
                </a:lnTo>
                <a:lnTo>
                  <a:pt x="6239796" y="3821283"/>
                </a:lnTo>
                <a:lnTo>
                  <a:pt x="6235909" y="3767333"/>
                </a:lnTo>
                <a:lnTo>
                  <a:pt x="6233679" y="3711063"/>
                </a:lnTo>
                <a:lnTo>
                  <a:pt x="6232968" y="3652558"/>
                </a:lnTo>
                <a:lnTo>
                  <a:pt x="6233703" y="3594302"/>
                </a:lnTo>
                <a:lnTo>
                  <a:pt x="6235999" y="3538282"/>
                </a:lnTo>
                <a:lnTo>
                  <a:pt x="6239988" y="3484578"/>
                </a:lnTo>
                <a:lnTo>
                  <a:pt x="6245801" y="3433271"/>
                </a:lnTo>
                <a:lnTo>
                  <a:pt x="6253574" y="3384443"/>
                </a:lnTo>
                <a:lnTo>
                  <a:pt x="6263437" y="3338176"/>
                </a:lnTo>
                <a:lnTo>
                  <a:pt x="6275523" y="3294551"/>
                </a:lnTo>
                <a:lnTo>
                  <a:pt x="6289966" y="3253648"/>
                </a:lnTo>
                <a:lnTo>
                  <a:pt x="6306898" y="3215550"/>
                </a:lnTo>
                <a:lnTo>
                  <a:pt x="6326451" y="3180338"/>
                </a:lnTo>
                <a:lnTo>
                  <a:pt x="6348759" y="3148093"/>
                </a:lnTo>
                <a:lnTo>
                  <a:pt x="6373955" y="3118897"/>
                </a:lnTo>
                <a:lnTo>
                  <a:pt x="6402170" y="3092831"/>
                </a:lnTo>
                <a:lnTo>
                  <a:pt x="6433537" y="3069977"/>
                </a:lnTo>
                <a:lnTo>
                  <a:pt x="6468190" y="3050415"/>
                </a:lnTo>
                <a:lnTo>
                  <a:pt x="6506261" y="3034227"/>
                </a:lnTo>
                <a:lnTo>
                  <a:pt x="6547883" y="3021495"/>
                </a:lnTo>
                <a:lnTo>
                  <a:pt x="6593188" y="3012300"/>
                </a:lnTo>
                <a:lnTo>
                  <a:pt x="6642309" y="3006723"/>
                </a:lnTo>
                <a:close/>
                <a:moveTo>
                  <a:pt x="5578527" y="3004847"/>
                </a:moveTo>
                <a:lnTo>
                  <a:pt x="5631597" y="3006723"/>
                </a:lnTo>
                <a:lnTo>
                  <a:pt x="5680718" y="3012300"/>
                </a:lnTo>
                <a:lnTo>
                  <a:pt x="5726023" y="3021495"/>
                </a:lnTo>
                <a:lnTo>
                  <a:pt x="5767645" y="3034227"/>
                </a:lnTo>
                <a:lnTo>
                  <a:pt x="5805716" y="3050415"/>
                </a:lnTo>
                <a:lnTo>
                  <a:pt x="5840369" y="3069977"/>
                </a:lnTo>
                <a:lnTo>
                  <a:pt x="5871736" y="3092831"/>
                </a:lnTo>
                <a:lnTo>
                  <a:pt x="5899951" y="3118897"/>
                </a:lnTo>
                <a:lnTo>
                  <a:pt x="5925147" y="3148093"/>
                </a:lnTo>
                <a:lnTo>
                  <a:pt x="5947455" y="3180338"/>
                </a:lnTo>
                <a:lnTo>
                  <a:pt x="5967008" y="3215550"/>
                </a:lnTo>
                <a:lnTo>
                  <a:pt x="5983940" y="3253648"/>
                </a:lnTo>
                <a:lnTo>
                  <a:pt x="5998383" y="3294551"/>
                </a:lnTo>
                <a:lnTo>
                  <a:pt x="6010470" y="3338176"/>
                </a:lnTo>
                <a:lnTo>
                  <a:pt x="6020333" y="3384443"/>
                </a:lnTo>
                <a:lnTo>
                  <a:pt x="6028105" y="3433271"/>
                </a:lnTo>
                <a:lnTo>
                  <a:pt x="6033919" y="3484578"/>
                </a:lnTo>
                <a:lnTo>
                  <a:pt x="6037907" y="3538282"/>
                </a:lnTo>
                <a:lnTo>
                  <a:pt x="6040203" y="3594302"/>
                </a:lnTo>
                <a:lnTo>
                  <a:pt x="6040939" y="3652558"/>
                </a:lnTo>
                <a:lnTo>
                  <a:pt x="6040239" y="3711063"/>
                </a:lnTo>
                <a:lnTo>
                  <a:pt x="6038042" y="3767333"/>
                </a:lnTo>
                <a:lnTo>
                  <a:pt x="6034206" y="3821283"/>
                </a:lnTo>
                <a:lnTo>
                  <a:pt x="6028585" y="3872833"/>
                </a:lnTo>
                <a:lnTo>
                  <a:pt x="6021037" y="3921898"/>
                </a:lnTo>
                <a:lnTo>
                  <a:pt x="6011416" y="3968397"/>
                </a:lnTo>
                <a:lnTo>
                  <a:pt x="5999579" y="4012246"/>
                </a:lnTo>
                <a:lnTo>
                  <a:pt x="5985382" y="4053364"/>
                </a:lnTo>
                <a:lnTo>
                  <a:pt x="5968682" y="4091667"/>
                </a:lnTo>
                <a:lnTo>
                  <a:pt x="5949333" y="4127073"/>
                </a:lnTo>
                <a:lnTo>
                  <a:pt x="5927192" y="4159499"/>
                </a:lnTo>
                <a:lnTo>
                  <a:pt x="5902115" y="4188862"/>
                </a:lnTo>
                <a:lnTo>
                  <a:pt x="5873958" y="4215081"/>
                </a:lnTo>
                <a:lnTo>
                  <a:pt x="5842577" y="4238071"/>
                </a:lnTo>
                <a:lnTo>
                  <a:pt x="5807829" y="4257752"/>
                </a:lnTo>
                <a:lnTo>
                  <a:pt x="5769568" y="4274039"/>
                </a:lnTo>
                <a:lnTo>
                  <a:pt x="5727651" y="4286851"/>
                </a:lnTo>
                <a:lnTo>
                  <a:pt x="5681935" y="4296105"/>
                </a:lnTo>
                <a:lnTo>
                  <a:pt x="5632275" y="4301718"/>
                </a:lnTo>
                <a:lnTo>
                  <a:pt x="5578527" y="4303607"/>
                </a:lnTo>
                <a:lnTo>
                  <a:pt x="5578527" y="4206785"/>
                </a:lnTo>
                <a:lnTo>
                  <a:pt x="5628212" y="4204552"/>
                </a:lnTo>
                <a:lnTo>
                  <a:pt x="5673133" y="4197931"/>
                </a:lnTo>
                <a:lnTo>
                  <a:pt x="5713515" y="4187042"/>
                </a:lnTo>
                <a:lnTo>
                  <a:pt x="5749586" y="4172002"/>
                </a:lnTo>
                <a:lnTo>
                  <a:pt x="5809697" y="4129942"/>
                </a:lnTo>
                <a:lnTo>
                  <a:pt x="5855277" y="4072698"/>
                </a:lnTo>
                <a:lnTo>
                  <a:pt x="5873182" y="4038677"/>
                </a:lnTo>
                <a:lnTo>
                  <a:pt x="5888134" y="4001216"/>
                </a:lnTo>
                <a:lnTo>
                  <a:pt x="5900358" y="3960431"/>
                </a:lnTo>
                <a:lnTo>
                  <a:pt x="5910081" y="3916441"/>
                </a:lnTo>
                <a:lnTo>
                  <a:pt x="5917528" y="3869364"/>
                </a:lnTo>
                <a:lnTo>
                  <a:pt x="5922927" y="3819320"/>
                </a:lnTo>
                <a:lnTo>
                  <a:pt x="5926503" y="3766425"/>
                </a:lnTo>
                <a:lnTo>
                  <a:pt x="5928482" y="3710798"/>
                </a:lnTo>
                <a:lnTo>
                  <a:pt x="5929092" y="3652558"/>
                </a:lnTo>
                <a:lnTo>
                  <a:pt x="5928450" y="3594889"/>
                </a:lnTo>
                <a:lnTo>
                  <a:pt x="5926380" y="3539800"/>
                </a:lnTo>
                <a:lnTo>
                  <a:pt x="5922670" y="3487407"/>
                </a:lnTo>
                <a:lnTo>
                  <a:pt x="5917104" y="3437831"/>
                </a:lnTo>
                <a:lnTo>
                  <a:pt x="5909469" y="3391187"/>
                </a:lnTo>
                <a:lnTo>
                  <a:pt x="5899551" y="3347596"/>
                </a:lnTo>
                <a:lnTo>
                  <a:pt x="5887135" y="3307175"/>
                </a:lnTo>
                <a:lnTo>
                  <a:pt x="5872008" y="3270043"/>
                </a:lnTo>
                <a:lnTo>
                  <a:pt x="5853955" y="3236317"/>
                </a:lnTo>
                <a:lnTo>
                  <a:pt x="5808217" y="3179558"/>
                </a:lnTo>
                <a:lnTo>
                  <a:pt x="5748208" y="3137845"/>
                </a:lnTo>
                <a:lnTo>
                  <a:pt x="5712316" y="3122926"/>
                </a:lnTo>
                <a:lnTo>
                  <a:pt x="5672215" y="3112123"/>
                </a:lnTo>
                <a:lnTo>
                  <a:pt x="5627690" y="3105555"/>
                </a:lnTo>
                <a:lnTo>
                  <a:pt x="5578527" y="3103339"/>
                </a:lnTo>
                <a:close/>
                <a:moveTo>
                  <a:pt x="5061625" y="3004847"/>
                </a:moveTo>
                <a:lnTo>
                  <a:pt x="5061625" y="3103339"/>
                </a:lnTo>
                <a:lnTo>
                  <a:pt x="5012739" y="3105555"/>
                </a:lnTo>
                <a:lnTo>
                  <a:pt x="4968459" y="3112123"/>
                </a:lnTo>
                <a:lnTo>
                  <a:pt x="4928572" y="3122926"/>
                </a:lnTo>
                <a:lnTo>
                  <a:pt x="4892867" y="3137845"/>
                </a:lnTo>
                <a:lnTo>
                  <a:pt x="4833152" y="3179558"/>
                </a:lnTo>
                <a:lnTo>
                  <a:pt x="4787618" y="3236317"/>
                </a:lnTo>
                <a:lnTo>
                  <a:pt x="4769639" y="3270043"/>
                </a:lnTo>
                <a:lnTo>
                  <a:pt x="4754569" y="3307175"/>
                </a:lnTo>
                <a:lnTo>
                  <a:pt x="4742197" y="3347596"/>
                </a:lnTo>
                <a:lnTo>
                  <a:pt x="4732309" y="3391187"/>
                </a:lnTo>
                <a:lnTo>
                  <a:pt x="4724695" y="3437831"/>
                </a:lnTo>
                <a:lnTo>
                  <a:pt x="4719142" y="3487407"/>
                </a:lnTo>
                <a:lnTo>
                  <a:pt x="4715437" y="3539800"/>
                </a:lnTo>
                <a:lnTo>
                  <a:pt x="4713370" y="3594889"/>
                </a:lnTo>
                <a:lnTo>
                  <a:pt x="4712728" y="3652558"/>
                </a:lnTo>
                <a:lnTo>
                  <a:pt x="4713354" y="3710798"/>
                </a:lnTo>
                <a:lnTo>
                  <a:pt x="4715376" y="3766425"/>
                </a:lnTo>
                <a:lnTo>
                  <a:pt x="4719014" y="3819320"/>
                </a:lnTo>
                <a:lnTo>
                  <a:pt x="4724483" y="3869364"/>
                </a:lnTo>
                <a:lnTo>
                  <a:pt x="4732004" y="3916441"/>
                </a:lnTo>
                <a:lnTo>
                  <a:pt x="4741793" y="3960431"/>
                </a:lnTo>
                <a:lnTo>
                  <a:pt x="4754070" y="4001216"/>
                </a:lnTo>
                <a:lnTo>
                  <a:pt x="4769052" y="4038677"/>
                </a:lnTo>
                <a:lnTo>
                  <a:pt x="4786958" y="4072698"/>
                </a:lnTo>
                <a:lnTo>
                  <a:pt x="4832412" y="4129942"/>
                </a:lnTo>
                <a:lnTo>
                  <a:pt x="4892178" y="4172002"/>
                </a:lnTo>
                <a:lnTo>
                  <a:pt x="4927973" y="4187042"/>
                </a:lnTo>
                <a:lnTo>
                  <a:pt x="4968000" y="4197931"/>
                </a:lnTo>
                <a:lnTo>
                  <a:pt x="5012478" y="4204552"/>
                </a:lnTo>
                <a:lnTo>
                  <a:pt x="5061625" y="4206785"/>
                </a:lnTo>
                <a:lnTo>
                  <a:pt x="5061625" y="4303607"/>
                </a:lnTo>
                <a:lnTo>
                  <a:pt x="5008102" y="4301718"/>
                </a:lnTo>
                <a:lnTo>
                  <a:pt x="4958622" y="4296105"/>
                </a:lnTo>
                <a:lnTo>
                  <a:pt x="4913043" y="4286851"/>
                </a:lnTo>
                <a:lnTo>
                  <a:pt x="4871225" y="4274039"/>
                </a:lnTo>
                <a:lnTo>
                  <a:pt x="4833027" y="4257752"/>
                </a:lnTo>
                <a:lnTo>
                  <a:pt x="4798310" y="4238071"/>
                </a:lnTo>
                <a:lnTo>
                  <a:pt x="4766934" y="4215081"/>
                </a:lnTo>
                <a:lnTo>
                  <a:pt x="4738758" y="4188862"/>
                </a:lnTo>
                <a:lnTo>
                  <a:pt x="4713641" y="4159499"/>
                </a:lnTo>
                <a:lnTo>
                  <a:pt x="4691444" y="4127073"/>
                </a:lnTo>
                <a:lnTo>
                  <a:pt x="4672027" y="4091667"/>
                </a:lnTo>
                <a:lnTo>
                  <a:pt x="4655249" y="4053364"/>
                </a:lnTo>
                <a:lnTo>
                  <a:pt x="4640970" y="4012246"/>
                </a:lnTo>
                <a:lnTo>
                  <a:pt x="4629050" y="3968397"/>
                </a:lnTo>
                <a:lnTo>
                  <a:pt x="4619349" y="3921898"/>
                </a:lnTo>
                <a:lnTo>
                  <a:pt x="4611726" y="3872833"/>
                </a:lnTo>
                <a:lnTo>
                  <a:pt x="4606041" y="3821283"/>
                </a:lnTo>
                <a:lnTo>
                  <a:pt x="4602154" y="3767333"/>
                </a:lnTo>
                <a:lnTo>
                  <a:pt x="4599924" y="3711063"/>
                </a:lnTo>
                <a:lnTo>
                  <a:pt x="4599213" y="3652558"/>
                </a:lnTo>
                <a:lnTo>
                  <a:pt x="4599948" y="3594302"/>
                </a:lnTo>
                <a:lnTo>
                  <a:pt x="4602244" y="3538282"/>
                </a:lnTo>
                <a:lnTo>
                  <a:pt x="4606233" y="3484578"/>
                </a:lnTo>
                <a:lnTo>
                  <a:pt x="4612046" y="3433271"/>
                </a:lnTo>
                <a:lnTo>
                  <a:pt x="4619819" y="3384443"/>
                </a:lnTo>
                <a:lnTo>
                  <a:pt x="4629682" y="3338176"/>
                </a:lnTo>
                <a:lnTo>
                  <a:pt x="4641768" y="3294551"/>
                </a:lnTo>
                <a:lnTo>
                  <a:pt x="4656211" y="3253648"/>
                </a:lnTo>
                <a:lnTo>
                  <a:pt x="4673143" y="3215550"/>
                </a:lnTo>
                <a:lnTo>
                  <a:pt x="4692696" y="3180338"/>
                </a:lnTo>
                <a:lnTo>
                  <a:pt x="4715004" y="3148093"/>
                </a:lnTo>
                <a:lnTo>
                  <a:pt x="4740200" y="3118897"/>
                </a:lnTo>
                <a:lnTo>
                  <a:pt x="4768415" y="3092831"/>
                </a:lnTo>
                <a:lnTo>
                  <a:pt x="4799783" y="3069977"/>
                </a:lnTo>
                <a:lnTo>
                  <a:pt x="4834436" y="3050415"/>
                </a:lnTo>
                <a:lnTo>
                  <a:pt x="4872507" y="3034227"/>
                </a:lnTo>
                <a:lnTo>
                  <a:pt x="4914128" y="3021495"/>
                </a:lnTo>
                <a:lnTo>
                  <a:pt x="4959433" y="3012300"/>
                </a:lnTo>
                <a:lnTo>
                  <a:pt x="5008555" y="3006723"/>
                </a:lnTo>
                <a:close/>
                <a:moveTo>
                  <a:pt x="887436" y="3004847"/>
                </a:moveTo>
                <a:lnTo>
                  <a:pt x="887436" y="3103339"/>
                </a:lnTo>
                <a:lnTo>
                  <a:pt x="838550" y="3105555"/>
                </a:lnTo>
                <a:lnTo>
                  <a:pt x="794269" y="3112123"/>
                </a:lnTo>
                <a:lnTo>
                  <a:pt x="754383" y="3122926"/>
                </a:lnTo>
                <a:lnTo>
                  <a:pt x="718677" y="3137845"/>
                </a:lnTo>
                <a:lnTo>
                  <a:pt x="658962" y="3179558"/>
                </a:lnTo>
                <a:lnTo>
                  <a:pt x="613427" y="3236317"/>
                </a:lnTo>
                <a:lnTo>
                  <a:pt x="595448" y="3270043"/>
                </a:lnTo>
                <a:lnTo>
                  <a:pt x="580378" y="3307175"/>
                </a:lnTo>
                <a:lnTo>
                  <a:pt x="568006" y="3347596"/>
                </a:lnTo>
                <a:lnTo>
                  <a:pt x="558118" y="3391187"/>
                </a:lnTo>
                <a:lnTo>
                  <a:pt x="550504" y="3437831"/>
                </a:lnTo>
                <a:lnTo>
                  <a:pt x="544951" y="3487407"/>
                </a:lnTo>
                <a:lnTo>
                  <a:pt x="541247" y="3539800"/>
                </a:lnTo>
                <a:lnTo>
                  <a:pt x="539180" y="3594889"/>
                </a:lnTo>
                <a:lnTo>
                  <a:pt x="538538" y="3652558"/>
                </a:lnTo>
                <a:lnTo>
                  <a:pt x="539164" y="3710798"/>
                </a:lnTo>
                <a:lnTo>
                  <a:pt x="541186" y="3766425"/>
                </a:lnTo>
                <a:lnTo>
                  <a:pt x="544823" y="3819320"/>
                </a:lnTo>
                <a:lnTo>
                  <a:pt x="550292" y="3869364"/>
                </a:lnTo>
                <a:lnTo>
                  <a:pt x="557813" y="3916441"/>
                </a:lnTo>
                <a:lnTo>
                  <a:pt x="567602" y="3960431"/>
                </a:lnTo>
                <a:lnTo>
                  <a:pt x="579880" y="4001216"/>
                </a:lnTo>
                <a:lnTo>
                  <a:pt x="594862" y="4038677"/>
                </a:lnTo>
                <a:lnTo>
                  <a:pt x="612768" y="4072698"/>
                </a:lnTo>
                <a:lnTo>
                  <a:pt x="658222" y="4129942"/>
                </a:lnTo>
                <a:lnTo>
                  <a:pt x="717988" y="4172002"/>
                </a:lnTo>
                <a:lnTo>
                  <a:pt x="753783" y="4187042"/>
                </a:lnTo>
                <a:lnTo>
                  <a:pt x="793811" y="4197931"/>
                </a:lnTo>
                <a:lnTo>
                  <a:pt x="838289" y="4204552"/>
                </a:lnTo>
                <a:lnTo>
                  <a:pt x="887436" y="4206785"/>
                </a:lnTo>
                <a:lnTo>
                  <a:pt x="887436" y="4303607"/>
                </a:lnTo>
                <a:lnTo>
                  <a:pt x="833914" y="4301718"/>
                </a:lnTo>
                <a:lnTo>
                  <a:pt x="784433" y="4296105"/>
                </a:lnTo>
                <a:lnTo>
                  <a:pt x="738854" y="4286851"/>
                </a:lnTo>
                <a:lnTo>
                  <a:pt x="697035" y="4274039"/>
                </a:lnTo>
                <a:lnTo>
                  <a:pt x="658838" y="4257752"/>
                </a:lnTo>
                <a:lnTo>
                  <a:pt x="624121" y="4238071"/>
                </a:lnTo>
                <a:lnTo>
                  <a:pt x="592745" y="4215081"/>
                </a:lnTo>
                <a:lnTo>
                  <a:pt x="564568" y="4188862"/>
                </a:lnTo>
                <a:lnTo>
                  <a:pt x="539451" y="4159499"/>
                </a:lnTo>
                <a:lnTo>
                  <a:pt x="517255" y="4127073"/>
                </a:lnTo>
                <a:lnTo>
                  <a:pt x="497837" y="4091667"/>
                </a:lnTo>
                <a:lnTo>
                  <a:pt x="481060" y="4053364"/>
                </a:lnTo>
                <a:lnTo>
                  <a:pt x="466781" y="4012246"/>
                </a:lnTo>
                <a:lnTo>
                  <a:pt x="454861" y="3968397"/>
                </a:lnTo>
                <a:lnTo>
                  <a:pt x="445159" y="3921898"/>
                </a:lnTo>
                <a:lnTo>
                  <a:pt x="437536" y="3872833"/>
                </a:lnTo>
                <a:lnTo>
                  <a:pt x="431851" y="3821283"/>
                </a:lnTo>
                <a:lnTo>
                  <a:pt x="427964" y="3767333"/>
                </a:lnTo>
                <a:lnTo>
                  <a:pt x="425734" y="3711063"/>
                </a:lnTo>
                <a:lnTo>
                  <a:pt x="425023" y="3652558"/>
                </a:lnTo>
                <a:lnTo>
                  <a:pt x="425758" y="3594302"/>
                </a:lnTo>
                <a:lnTo>
                  <a:pt x="428054" y="3538282"/>
                </a:lnTo>
                <a:lnTo>
                  <a:pt x="432043" y="3484578"/>
                </a:lnTo>
                <a:lnTo>
                  <a:pt x="437856" y="3433271"/>
                </a:lnTo>
                <a:lnTo>
                  <a:pt x="445629" y="3384443"/>
                </a:lnTo>
                <a:lnTo>
                  <a:pt x="455492" y="3338176"/>
                </a:lnTo>
                <a:lnTo>
                  <a:pt x="467578" y="3294551"/>
                </a:lnTo>
                <a:lnTo>
                  <a:pt x="482021" y="3253648"/>
                </a:lnTo>
                <a:lnTo>
                  <a:pt x="498953" y="3215550"/>
                </a:lnTo>
                <a:lnTo>
                  <a:pt x="518506" y="3180338"/>
                </a:lnTo>
                <a:lnTo>
                  <a:pt x="540814" y="3148093"/>
                </a:lnTo>
                <a:lnTo>
                  <a:pt x="566010" y="3118897"/>
                </a:lnTo>
                <a:lnTo>
                  <a:pt x="594226" y="3092831"/>
                </a:lnTo>
                <a:lnTo>
                  <a:pt x="625592" y="3069977"/>
                </a:lnTo>
                <a:lnTo>
                  <a:pt x="660246" y="3050415"/>
                </a:lnTo>
                <a:lnTo>
                  <a:pt x="698317" y="3034227"/>
                </a:lnTo>
                <a:lnTo>
                  <a:pt x="739939" y="3021495"/>
                </a:lnTo>
                <a:lnTo>
                  <a:pt x="785244" y="3012300"/>
                </a:lnTo>
                <a:lnTo>
                  <a:pt x="834365" y="3006723"/>
                </a:lnTo>
                <a:close/>
                <a:moveTo>
                  <a:pt x="7060934" y="2524077"/>
                </a:moveTo>
                <a:lnTo>
                  <a:pt x="7267935" y="2524077"/>
                </a:lnTo>
                <a:lnTo>
                  <a:pt x="7267935" y="2697690"/>
                </a:lnTo>
                <a:lnTo>
                  <a:pt x="7060934" y="2697690"/>
                </a:lnTo>
                <a:close/>
                <a:moveTo>
                  <a:pt x="2536338" y="2373825"/>
                </a:moveTo>
                <a:lnTo>
                  <a:pt x="3441128" y="2373825"/>
                </a:lnTo>
                <a:lnTo>
                  <a:pt x="3441128" y="2480664"/>
                </a:lnTo>
                <a:lnTo>
                  <a:pt x="2536338" y="2480664"/>
                </a:lnTo>
                <a:close/>
                <a:moveTo>
                  <a:pt x="1024388" y="2373825"/>
                </a:moveTo>
                <a:lnTo>
                  <a:pt x="1929180" y="2373825"/>
                </a:lnTo>
                <a:lnTo>
                  <a:pt x="1929180" y="2480664"/>
                </a:lnTo>
                <a:lnTo>
                  <a:pt x="1024388" y="2480664"/>
                </a:lnTo>
                <a:close/>
                <a:moveTo>
                  <a:pt x="2536338" y="2024932"/>
                </a:moveTo>
                <a:lnTo>
                  <a:pt x="3441128" y="2024932"/>
                </a:lnTo>
                <a:lnTo>
                  <a:pt x="3441128" y="2131770"/>
                </a:lnTo>
                <a:lnTo>
                  <a:pt x="2536338" y="2131770"/>
                </a:lnTo>
                <a:close/>
                <a:moveTo>
                  <a:pt x="1024388" y="2024932"/>
                </a:moveTo>
                <a:lnTo>
                  <a:pt x="1929180" y="2024932"/>
                </a:lnTo>
                <a:lnTo>
                  <a:pt x="1929180" y="2131770"/>
                </a:lnTo>
                <a:lnTo>
                  <a:pt x="1024388" y="2131770"/>
                </a:lnTo>
                <a:close/>
                <a:moveTo>
                  <a:pt x="6145468" y="1508808"/>
                </a:moveTo>
                <a:lnTo>
                  <a:pt x="6519394" y="1508808"/>
                </a:lnTo>
                <a:lnTo>
                  <a:pt x="6519394" y="1604058"/>
                </a:lnTo>
                <a:lnTo>
                  <a:pt x="6260644" y="1604058"/>
                </a:lnTo>
                <a:lnTo>
                  <a:pt x="6260644" y="2702607"/>
                </a:lnTo>
                <a:lnTo>
                  <a:pt x="6519394" y="2702607"/>
                </a:lnTo>
                <a:lnTo>
                  <a:pt x="6519394" y="2797857"/>
                </a:lnTo>
                <a:lnTo>
                  <a:pt x="6145468" y="2797857"/>
                </a:lnTo>
                <a:lnTo>
                  <a:pt x="6145468" y="2702607"/>
                </a:lnTo>
                <a:lnTo>
                  <a:pt x="6145468" y="1604058"/>
                </a:lnTo>
                <a:close/>
                <a:moveTo>
                  <a:pt x="7804510" y="1502430"/>
                </a:moveTo>
                <a:lnTo>
                  <a:pt x="7857580" y="1504306"/>
                </a:lnTo>
                <a:lnTo>
                  <a:pt x="7906701" y="1509883"/>
                </a:lnTo>
                <a:lnTo>
                  <a:pt x="7952006" y="1519078"/>
                </a:lnTo>
                <a:lnTo>
                  <a:pt x="7993628" y="1531810"/>
                </a:lnTo>
                <a:lnTo>
                  <a:pt x="8031699" y="1547998"/>
                </a:lnTo>
                <a:lnTo>
                  <a:pt x="8066352" y="1567559"/>
                </a:lnTo>
                <a:lnTo>
                  <a:pt x="8097719" y="1590414"/>
                </a:lnTo>
                <a:lnTo>
                  <a:pt x="8125934" y="1616479"/>
                </a:lnTo>
                <a:lnTo>
                  <a:pt x="8151130" y="1645676"/>
                </a:lnTo>
                <a:lnTo>
                  <a:pt x="8173438" y="1677921"/>
                </a:lnTo>
                <a:lnTo>
                  <a:pt x="8192991" y="1713133"/>
                </a:lnTo>
                <a:lnTo>
                  <a:pt x="8209923" y="1751231"/>
                </a:lnTo>
                <a:lnTo>
                  <a:pt x="8224366" y="1792133"/>
                </a:lnTo>
                <a:lnTo>
                  <a:pt x="8236453" y="1835759"/>
                </a:lnTo>
                <a:lnTo>
                  <a:pt x="8246316" y="1882026"/>
                </a:lnTo>
                <a:lnTo>
                  <a:pt x="8254088" y="1930854"/>
                </a:lnTo>
                <a:lnTo>
                  <a:pt x="8259902" y="1982160"/>
                </a:lnTo>
                <a:lnTo>
                  <a:pt x="8263890" y="2035865"/>
                </a:lnTo>
                <a:lnTo>
                  <a:pt x="8266186" y="2091886"/>
                </a:lnTo>
                <a:lnTo>
                  <a:pt x="8266922" y="2150141"/>
                </a:lnTo>
                <a:lnTo>
                  <a:pt x="8266222" y="2208645"/>
                </a:lnTo>
                <a:lnTo>
                  <a:pt x="8264025" y="2264915"/>
                </a:lnTo>
                <a:lnTo>
                  <a:pt x="8260189" y="2318865"/>
                </a:lnTo>
                <a:lnTo>
                  <a:pt x="8254568" y="2370415"/>
                </a:lnTo>
                <a:lnTo>
                  <a:pt x="8247020" y="2419480"/>
                </a:lnTo>
                <a:lnTo>
                  <a:pt x="8237399" y="2465979"/>
                </a:lnTo>
                <a:lnTo>
                  <a:pt x="8225562" y="2509828"/>
                </a:lnTo>
                <a:lnTo>
                  <a:pt x="8211365" y="2550946"/>
                </a:lnTo>
                <a:lnTo>
                  <a:pt x="8194665" y="2589249"/>
                </a:lnTo>
                <a:lnTo>
                  <a:pt x="8175316" y="2624655"/>
                </a:lnTo>
                <a:lnTo>
                  <a:pt x="8153175" y="2657081"/>
                </a:lnTo>
                <a:lnTo>
                  <a:pt x="8128098" y="2686444"/>
                </a:lnTo>
                <a:lnTo>
                  <a:pt x="8099941" y="2712663"/>
                </a:lnTo>
                <a:lnTo>
                  <a:pt x="8068560" y="2735653"/>
                </a:lnTo>
                <a:lnTo>
                  <a:pt x="8033812" y="2755334"/>
                </a:lnTo>
                <a:lnTo>
                  <a:pt x="7995551" y="2771621"/>
                </a:lnTo>
                <a:lnTo>
                  <a:pt x="7953634" y="2784433"/>
                </a:lnTo>
                <a:lnTo>
                  <a:pt x="7907918" y="2793687"/>
                </a:lnTo>
                <a:lnTo>
                  <a:pt x="7858258" y="2799300"/>
                </a:lnTo>
                <a:lnTo>
                  <a:pt x="7804510" y="2801189"/>
                </a:lnTo>
                <a:lnTo>
                  <a:pt x="7804510" y="2704367"/>
                </a:lnTo>
                <a:lnTo>
                  <a:pt x="7854195" y="2702134"/>
                </a:lnTo>
                <a:lnTo>
                  <a:pt x="7899116" y="2695513"/>
                </a:lnTo>
                <a:lnTo>
                  <a:pt x="7939498" y="2684624"/>
                </a:lnTo>
                <a:lnTo>
                  <a:pt x="7975569" y="2669584"/>
                </a:lnTo>
                <a:lnTo>
                  <a:pt x="8035680" y="2627524"/>
                </a:lnTo>
                <a:lnTo>
                  <a:pt x="8081260" y="2570280"/>
                </a:lnTo>
                <a:lnTo>
                  <a:pt x="8099165" y="2536259"/>
                </a:lnTo>
                <a:lnTo>
                  <a:pt x="8114117" y="2498797"/>
                </a:lnTo>
                <a:lnTo>
                  <a:pt x="8126341" y="2458012"/>
                </a:lnTo>
                <a:lnTo>
                  <a:pt x="8136064" y="2414022"/>
                </a:lnTo>
                <a:lnTo>
                  <a:pt x="8143511" y="2366946"/>
                </a:lnTo>
                <a:lnTo>
                  <a:pt x="8148910" y="2316901"/>
                </a:lnTo>
                <a:lnTo>
                  <a:pt x="8152486" y="2264006"/>
                </a:lnTo>
                <a:lnTo>
                  <a:pt x="8154465" y="2208380"/>
                </a:lnTo>
                <a:lnTo>
                  <a:pt x="8155075" y="2150141"/>
                </a:lnTo>
                <a:lnTo>
                  <a:pt x="8154433" y="2092472"/>
                </a:lnTo>
                <a:lnTo>
                  <a:pt x="8152363" y="2037383"/>
                </a:lnTo>
                <a:lnTo>
                  <a:pt x="8148653" y="1984990"/>
                </a:lnTo>
                <a:lnTo>
                  <a:pt x="8143087" y="1935414"/>
                </a:lnTo>
                <a:lnTo>
                  <a:pt x="8135452" y="1888770"/>
                </a:lnTo>
                <a:lnTo>
                  <a:pt x="8125534" y="1845179"/>
                </a:lnTo>
                <a:lnTo>
                  <a:pt x="8113118" y="1804759"/>
                </a:lnTo>
                <a:lnTo>
                  <a:pt x="8097991" y="1767626"/>
                </a:lnTo>
                <a:lnTo>
                  <a:pt x="8079938" y="1733900"/>
                </a:lnTo>
                <a:lnTo>
                  <a:pt x="8034200" y="1677141"/>
                </a:lnTo>
                <a:lnTo>
                  <a:pt x="7974191" y="1635428"/>
                </a:lnTo>
                <a:lnTo>
                  <a:pt x="7938299" y="1620509"/>
                </a:lnTo>
                <a:lnTo>
                  <a:pt x="7898198" y="1609705"/>
                </a:lnTo>
                <a:lnTo>
                  <a:pt x="7853673" y="1603138"/>
                </a:lnTo>
                <a:lnTo>
                  <a:pt x="7804510" y="1600921"/>
                </a:lnTo>
                <a:close/>
                <a:moveTo>
                  <a:pt x="5032599" y="1502430"/>
                </a:moveTo>
                <a:lnTo>
                  <a:pt x="5085669" y="1504306"/>
                </a:lnTo>
                <a:lnTo>
                  <a:pt x="5134790" y="1509883"/>
                </a:lnTo>
                <a:lnTo>
                  <a:pt x="5180096" y="1519078"/>
                </a:lnTo>
                <a:lnTo>
                  <a:pt x="5221718" y="1531810"/>
                </a:lnTo>
                <a:lnTo>
                  <a:pt x="5259789" y="1547998"/>
                </a:lnTo>
                <a:lnTo>
                  <a:pt x="5294442" y="1567559"/>
                </a:lnTo>
                <a:lnTo>
                  <a:pt x="5325809" y="1590414"/>
                </a:lnTo>
                <a:lnTo>
                  <a:pt x="5354024" y="1616479"/>
                </a:lnTo>
                <a:lnTo>
                  <a:pt x="5379220" y="1645676"/>
                </a:lnTo>
                <a:lnTo>
                  <a:pt x="5401528" y="1677921"/>
                </a:lnTo>
                <a:lnTo>
                  <a:pt x="5421081" y="1713133"/>
                </a:lnTo>
                <a:lnTo>
                  <a:pt x="5438013" y="1751231"/>
                </a:lnTo>
                <a:lnTo>
                  <a:pt x="5452456" y="1792133"/>
                </a:lnTo>
                <a:lnTo>
                  <a:pt x="5464543" y="1835759"/>
                </a:lnTo>
                <a:lnTo>
                  <a:pt x="5474406" y="1882026"/>
                </a:lnTo>
                <a:lnTo>
                  <a:pt x="5482178" y="1930854"/>
                </a:lnTo>
                <a:lnTo>
                  <a:pt x="5487992" y="1982160"/>
                </a:lnTo>
                <a:lnTo>
                  <a:pt x="5491980" y="2035865"/>
                </a:lnTo>
                <a:lnTo>
                  <a:pt x="5494276" y="2091886"/>
                </a:lnTo>
                <a:lnTo>
                  <a:pt x="5495012" y="2150141"/>
                </a:lnTo>
                <a:lnTo>
                  <a:pt x="5494312" y="2208645"/>
                </a:lnTo>
                <a:lnTo>
                  <a:pt x="5492115" y="2264915"/>
                </a:lnTo>
                <a:lnTo>
                  <a:pt x="5488279" y="2318865"/>
                </a:lnTo>
                <a:lnTo>
                  <a:pt x="5482658" y="2370415"/>
                </a:lnTo>
                <a:lnTo>
                  <a:pt x="5475110" y="2419480"/>
                </a:lnTo>
                <a:lnTo>
                  <a:pt x="5465489" y="2465979"/>
                </a:lnTo>
                <a:lnTo>
                  <a:pt x="5453652" y="2509828"/>
                </a:lnTo>
                <a:lnTo>
                  <a:pt x="5439455" y="2550946"/>
                </a:lnTo>
                <a:lnTo>
                  <a:pt x="5422755" y="2589249"/>
                </a:lnTo>
                <a:lnTo>
                  <a:pt x="5403406" y="2624655"/>
                </a:lnTo>
                <a:lnTo>
                  <a:pt x="5381265" y="2657081"/>
                </a:lnTo>
                <a:lnTo>
                  <a:pt x="5356188" y="2686444"/>
                </a:lnTo>
                <a:lnTo>
                  <a:pt x="5328031" y="2712663"/>
                </a:lnTo>
                <a:lnTo>
                  <a:pt x="5296650" y="2735653"/>
                </a:lnTo>
                <a:lnTo>
                  <a:pt x="5261902" y="2755334"/>
                </a:lnTo>
                <a:lnTo>
                  <a:pt x="5223641" y="2771621"/>
                </a:lnTo>
                <a:lnTo>
                  <a:pt x="5181724" y="2784433"/>
                </a:lnTo>
                <a:lnTo>
                  <a:pt x="5136007" y="2793687"/>
                </a:lnTo>
                <a:lnTo>
                  <a:pt x="5086347" y="2799300"/>
                </a:lnTo>
                <a:lnTo>
                  <a:pt x="5032599" y="2801189"/>
                </a:lnTo>
                <a:lnTo>
                  <a:pt x="5032599" y="2704367"/>
                </a:lnTo>
                <a:lnTo>
                  <a:pt x="5082284" y="2702134"/>
                </a:lnTo>
                <a:lnTo>
                  <a:pt x="5127205" y="2695513"/>
                </a:lnTo>
                <a:lnTo>
                  <a:pt x="5167588" y="2684624"/>
                </a:lnTo>
                <a:lnTo>
                  <a:pt x="5203659" y="2669584"/>
                </a:lnTo>
                <a:lnTo>
                  <a:pt x="5263770" y="2627524"/>
                </a:lnTo>
                <a:lnTo>
                  <a:pt x="5309350" y="2570280"/>
                </a:lnTo>
                <a:lnTo>
                  <a:pt x="5327255" y="2536259"/>
                </a:lnTo>
                <a:lnTo>
                  <a:pt x="5342207" y="2498797"/>
                </a:lnTo>
                <a:lnTo>
                  <a:pt x="5354431" y="2458012"/>
                </a:lnTo>
                <a:lnTo>
                  <a:pt x="5364154" y="2414022"/>
                </a:lnTo>
                <a:lnTo>
                  <a:pt x="5371601" y="2366946"/>
                </a:lnTo>
                <a:lnTo>
                  <a:pt x="5377000" y="2316901"/>
                </a:lnTo>
                <a:lnTo>
                  <a:pt x="5380576" y="2264006"/>
                </a:lnTo>
                <a:lnTo>
                  <a:pt x="5382555" y="2208380"/>
                </a:lnTo>
                <a:lnTo>
                  <a:pt x="5383165" y="2150141"/>
                </a:lnTo>
                <a:lnTo>
                  <a:pt x="5382523" y="2092472"/>
                </a:lnTo>
                <a:lnTo>
                  <a:pt x="5380453" y="2037383"/>
                </a:lnTo>
                <a:lnTo>
                  <a:pt x="5376743" y="1984990"/>
                </a:lnTo>
                <a:lnTo>
                  <a:pt x="5371177" y="1935414"/>
                </a:lnTo>
                <a:lnTo>
                  <a:pt x="5363542" y="1888770"/>
                </a:lnTo>
                <a:lnTo>
                  <a:pt x="5353624" y="1845179"/>
                </a:lnTo>
                <a:lnTo>
                  <a:pt x="5341208" y="1804759"/>
                </a:lnTo>
                <a:lnTo>
                  <a:pt x="5326081" y="1767626"/>
                </a:lnTo>
                <a:lnTo>
                  <a:pt x="5308028" y="1733900"/>
                </a:lnTo>
                <a:lnTo>
                  <a:pt x="5262290" y="1677141"/>
                </a:lnTo>
                <a:lnTo>
                  <a:pt x="5202281" y="1635428"/>
                </a:lnTo>
                <a:lnTo>
                  <a:pt x="5166389" y="1620509"/>
                </a:lnTo>
                <a:lnTo>
                  <a:pt x="5126287" y="1609705"/>
                </a:lnTo>
                <a:lnTo>
                  <a:pt x="5081762" y="1603138"/>
                </a:lnTo>
                <a:lnTo>
                  <a:pt x="5032599" y="1600921"/>
                </a:lnTo>
                <a:close/>
                <a:moveTo>
                  <a:pt x="4515699" y="1502430"/>
                </a:moveTo>
                <a:lnTo>
                  <a:pt x="4515699" y="1600921"/>
                </a:lnTo>
                <a:lnTo>
                  <a:pt x="4466813" y="1603138"/>
                </a:lnTo>
                <a:lnTo>
                  <a:pt x="4422532" y="1609705"/>
                </a:lnTo>
                <a:lnTo>
                  <a:pt x="4382646" y="1620509"/>
                </a:lnTo>
                <a:lnTo>
                  <a:pt x="4346940" y="1635428"/>
                </a:lnTo>
                <a:lnTo>
                  <a:pt x="4287225" y="1677141"/>
                </a:lnTo>
                <a:lnTo>
                  <a:pt x="4241691" y="1733900"/>
                </a:lnTo>
                <a:lnTo>
                  <a:pt x="4223712" y="1767626"/>
                </a:lnTo>
                <a:lnTo>
                  <a:pt x="4208642" y="1804759"/>
                </a:lnTo>
                <a:lnTo>
                  <a:pt x="4196270" y="1845179"/>
                </a:lnTo>
                <a:lnTo>
                  <a:pt x="4186382" y="1888770"/>
                </a:lnTo>
                <a:lnTo>
                  <a:pt x="4178768" y="1935414"/>
                </a:lnTo>
                <a:lnTo>
                  <a:pt x="4173215" y="1984990"/>
                </a:lnTo>
                <a:lnTo>
                  <a:pt x="4169510" y="2037383"/>
                </a:lnTo>
                <a:lnTo>
                  <a:pt x="4167443" y="2092472"/>
                </a:lnTo>
                <a:lnTo>
                  <a:pt x="4166801" y="2150141"/>
                </a:lnTo>
                <a:lnTo>
                  <a:pt x="4167427" y="2208380"/>
                </a:lnTo>
                <a:lnTo>
                  <a:pt x="4169449" y="2264006"/>
                </a:lnTo>
                <a:lnTo>
                  <a:pt x="4173087" y="2316901"/>
                </a:lnTo>
                <a:lnTo>
                  <a:pt x="4178556" y="2366946"/>
                </a:lnTo>
                <a:lnTo>
                  <a:pt x="4186077" y="2414022"/>
                </a:lnTo>
                <a:lnTo>
                  <a:pt x="4195866" y="2458012"/>
                </a:lnTo>
                <a:lnTo>
                  <a:pt x="4208143" y="2498797"/>
                </a:lnTo>
                <a:lnTo>
                  <a:pt x="4223125" y="2536259"/>
                </a:lnTo>
                <a:lnTo>
                  <a:pt x="4241031" y="2570280"/>
                </a:lnTo>
                <a:lnTo>
                  <a:pt x="4286485" y="2627524"/>
                </a:lnTo>
                <a:lnTo>
                  <a:pt x="4346251" y="2669584"/>
                </a:lnTo>
                <a:lnTo>
                  <a:pt x="4382046" y="2684624"/>
                </a:lnTo>
                <a:lnTo>
                  <a:pt x="4422074" y="2695513"/>
                </a:lnTo>
                <a:lnTo>
                  <a:pt x="4466552" y="2702134"/>
                </a:lnTo>
                <a:lnTo>
                  <a:pt x="4515699" y="2704367"/>
                </a:lnTo>
                <a:lnTo>
                  <a:pt x="4515699" y="2801189"/>
                </a:lnTo>
                <a:lnTo>
                  <a:pt x="4462176" y="2799300"/>
                </a:lnTo>
                <a:lnTo>
                  <a:pt x="4412696" y="2793687"/>
                </a:lnTo>
                <a:lnTo>
                  <a:pt x="4367116" y="2784433"/>
                </a:lnTo>
                <a:lnTo>
                  <a:pt x="4325298" y="2771621"/>
                </a:lnTo>
                <a:lnTo>
                  <a:pt x="4287101" y="2755334"/>
                </a:lnTo>
                <a:lnTo>
                  <a:pt x="4252384" y="2735653"/>
                </a:lnTo>
                <a:lnTo>
                  <a:pt x="4221007" y="2712663"/>
                </a:lnTo>
                <a:lnTo>
                  <a:pt x="4192831" y="2686444"/>
                </a:lnTo>
                <a:lnTo>
                  <a:pt x="4167714" y="2657081"/>
                </a:lnTo>
                <a:lnTo>
                  <a:pt x="4145517" y="2624655"/>
                </a:lnTo>
                <a:lnTo>
                  <a:pt x="4126100" y="2589249"/>
                </a:lnTo>
                <a:lnTo>
                  <a:pt x="4109322" y="2550946"/>
                </a:lnTo>
                <a:lnTo>
                  <a:pt x="4095043" y="2509828"/>
                </a:lnTo>
                <a:lnTo>
                  <a:pt x="4083123" y="2465979"/>
                </a:lnTo>
                <a:lnTo>
                  <a:pt x="4073422" y="2419480"/>
                </a:lnTo>
                <a:lnTo>
                  <a:pt x="4065799" y="2370415"/>
                </a:lnTo>
                <a:lnTo>
                  <a:pt x="4060114" y="2318865"/>
                </a:lnTo>
                <a:lnTo>
                  <a:pt x="4056227" y="2264915"/>
                </a:lnTo>
                <a:lnTo>
                  <a:pt x="4053997" y="2208645"/>
                </a:lnTo>
                <a:lnTo>
                  <a:pt x="4053286" y="2150141"/>
                </a:lnTo>
                <a:lnTo>
                  <a:pt x="4054021" y="2091886"/>
                </a:lnTo>
                <a:lnTo>
                  <a:pt x="4056317" y="2035865"/>
                </a:lnTo>
                <a:lnTo>
                  <a:pt x="4060306" y="1982160"/>
                </a:lnTo>
                <a:lnTo>
                  <a:pt x="4066119" y="1930854"/>
                </a:lnTo>
                <a:lnTo>
                  <a:pt x="4073892" y="1882026"/>
                </a:lnTo>
                <a:lnTo>
                  <a:pt x="4083755" y="1835759"/>
                </a:lnTo>
                <a:lnTo>
                  <a:pt x="4095841" y="1792133"/>
                </a:lnTo>
                <a:lnTo>
                  <a:pt x="4110284" y="1751231"/>
                </a:lnTo>
                <a:lnTo>
                  <a:pt x="4127216" y="1713133"/>
                </a:lnTo>
                <a:lnTo>
                  <a:pt x="4146769" y="1677921"/>
                </a:lnTo>
                <a:lnTo>
                  <a:pt x="4169077" y="1645676"/>
                </a:lnTo>
                <a:lnTo>
                  <a:pt x="4194274" y="1616479"/>
                </a:lnTo>
                <a:lnTo>
                  <a:pt x="4222489" y="1590414"/>
                </a:lnTo>
                <a:lnTo>
                  <a:pt x="4253856" y="1567559"/>
                </a:lnTo>
                <a:lnTo>
                  <a:pt x="4288509" y="1547998"/>
                </a:lnTo>
                <a:lnTo>
                  <a:pt x="4326580" y="1531810"/>
                </a:lnTo>
                <a:lnTo>
                  <a:pt x="4368202" y="1519078"/>
                </a:lnTo>
                <a:lnTo>
                  <a:pt x="4413507" y="1509883"/>
                </a:lnTo>
                <a:lnTo>
                  <a:pt x="4462628" y="1504306"/>
                </a:lnTo>
                <a:close/>
                <a:moveTo>
                  <a:pt x="462412" y="1502430"/>
                </a:moveTo>
                <a:lnTo>
                  <a:pt x="462412" y="1600921"/>
                </a:lnTo>
                <a:lnTo>
                  <a:pt x="413526" y="1603138"/>
                </a:lnTo>
                <a:lnTo>
                  <a:pt x="369246" y="1609705"/>
                </a:lnTo>
                <a:lnTo>
                  <a:pt x="329359" y="1620509"/>
                </a:lnTo>
                <a:lnTo>
                  <a:pt x="293653" y="1635428"/>
                </a:lnTo>
                <a:lnTo>
                  <a:pt x="233938" y="1677141"/>
                </a:lnTo>
                <a:lnTo>
                  <a:pt x="188404" y="1733900"/>
                </a:lnTo>
                <a:lnTo>
                  <a:pt x="170425" y="1767626"/>
                </a:lnTo>
                <a:lnTo>
                  <a:pt x="155356" y="1804759"/>
                </a:lnTo>
                <a:lnTo>
                  <a:pt x="142983" y="1845179"/>
                </a:lnTo>
                <a:lnTo>
                  <a:pt x="133096" y="1888770"/>
                </a:lnTo>
                <a:lnTo>
                  <a:pt x="125482" y="1935414"/>
                </a:lnTo>
                <a:lnTo>
                  <a:pt x="119929" y="1984990"/>
                </a:lnTo>
                <a:lnTo>
                  <a:pt x="116225" y="2037383"/>
                </a:lnTo>
                <a:lnTo>
                  <a:pt x="114158" y="2092472"/>
                </a:lnTo>
                <a:lnTo>
                  <a:pt x="113516" y="2150141"/>
                </a:lnTo>
                <a:lnTo>
                  <a:pt x="114141" y="2208380"/>
                </a:lnTo>
                <a:lnTo>
                  <a:pt x="116163" y="2264006"/>
                </a:lnTo>
                <a:lnTo>
                  <a:pt x="119800" y="2316901"/>
                </a:lnTo>
                <a:lnTo>
                  <a:pt x="125270" y="2366946"/>
                </a:lnTo>
                <a:lnTo>
                  <a:pt x="132790" y="2414022"/>
                </a:lnTo>
                <a:lnTo>
                  <a:pt x="142580" y="2458012"/>
                </a:lnTo>
                <a:lnTo>
                  <a:pt x="154856" y="2498797"/>
                </a:lnTo>
                <a:lnTo>
                  <a:pt x="169838" y="2536259"/>
                </a:lnTo>
                <a:lnTo>
                  <a:pt x="187744" y="2570280"/>
                </a:lnTo>
                <a:lnTo>
                  <a:pt x="233198" y="2627524"/>
                </a:lnTo>
                <a:lnTo>
                  <a:pt x="292964" y="2669584"/>
                </a:lnTo>
                <a:lnTo>
                  <a:pt x="328759" y="2684624"/>
                </a:lnTo>
                <a:lnTo>
                  <a:pt x="368787" y="2695513"/>
                </a:lnTo>
                <a:lnTo>
                  <a:pt x="413265" y="2702134"/>
                </a:lnTo>
                <a:lnTo>
                  <a:pt x="462412" y="2704367"/>
                </a:lnTo>
                <a:lnTo>
                  <a:pt x="462412" y="2801189"/>
                </a:lnTo>
                <a:lnTo>
                  <a:pt x="408890" y="2799300"/>
                </a:lnTo>
                <a:lnTo>
                  <a:pt x="359409" y="2793687"/>
                </a:lnTo>
                <a:lnTo>
                  <a:pt x="313830" y="2784433"/>
                </a:lnTo>
                <a:lnTo>
                  <a:pt x="272011" y="2771621"/>
                </a:lnTo>
                <a:lnTo>
                  <a:pt x="233814" y="2755334"/>
                </a:lnTo>
                <a:lnTo>
                  <a:pt x="199097" y="2735653"/>
                </a:lnTo>
                <a:lnTo>
                  <a:pt x="167721" y="2712663"/>
                </a:lnTo>
                <a:lnTo>
                  <a:pt x="139544" y="2686444"/>
                </a:lnTo>
                <a:lnTo>
                  <a:pt x="114428" y="2657081"/>
                </a:lnTo>
                <a:lnTo>
                  <a:pt x="92232" y="2624655"/>
                </a:lnTo>
                <a:lnTo>
                  <a:pt x="72814" y="2589249"/>
                </a:lnTo>
                <a:lnTo>
                  <a:pt x="56037" y="2550946"/>
                </a:lnTo>
                <a:lnTo>
                  <a:pt x="41758" y="2509828"/>
                </a:lnTo>
                <a:lnTo>
                  <a:pt x="29838" y="2465979"/>
                </a:lnTo>
                <a:lnTo>
                  <a:pt x="20136" y="2419480"/>
                </a:lnTo>
                <a:lnTo>
                  <a:pt x="12513" y="2370415"/>
                </a:lnTo>
                <a:lnTo>
                  <a:pt x="6828" y="2318865"/>
                </a:lnTo>
                <a:lnTo>
                  <a:pt x="2941" y="2264915"/>
                </a:lnTo>
                <a:lnTo>
                  <a:pt x="711" y="2208645"/>
                </a:lnTo>
                <a:lnTo>
                  <a:pt x="0" y="2150141"/>
                </a:lnTo>
                <a:lnTo>
                  <a:pt x="735" y="2091886"/>
                </a:lnTo>
                <a:lnTo>
                  <a:pt x="3031" y="2035865"/>
                </a:lnTo>
                <a:lnTo>
                  <a:pt x="7020" y="1982160"/>
                </a:lnTo>
                <a:lnTo>
                  <a:pt x="12834" y="1930854"/>
                </a:lnTo>
                <a:lnTo>
                  <a:pt x="20606" y="1882026"/>
                </a:lnTo>
                <a:lnTo>
                  <a:pt x="30469" y="1835759"/>
                </a:lnTo>
                <a:lnTo>
                  <a:pt x="42555" y="1792133"/>
                </a:lnTo>
                <a:lnTo>
                  <a:pt x="56998" y="1751231"/>
                </a:lnTo>
                <a:lnTo>
                  <a:pt x="73930" y="1713133"/>
                </a:lnTo>
                <a:lnTo>
                  <a:pt x="93484" y="1677921"/>
                </a:lnTo>
                <a:lnTo>
                  <a:pt x="115792" y="1645676"/>
                </a:lnTo>
                <a:lnTo>
                  <a:pt x="140987" y="1616479"/>
                </a:lnTo>
                <a:lnTo>
                  <a:pt x="169202" y="1590414"/>
                </a:lnTo>
                <a:lnTo>
                  <a:pt x="200570" y="1567559"/>
                </a:lnTo>
                <a:lnTo>
                  <a:pt x="235222" y="1547998"/>
                </a:lnTo>
                <a:lnTo>
                  <a:pt x="273293" y="1531810"/>
                </a:lnTo>
                <a:lnTo>
                  <a:pt x="314915" y="1519078"/>
                </a:lnTo>
                <a:lnTo>
                  <a:pt x="360220" y="1509883"/>
                </a:lnTo>
                <a:lnTo>
                  <a:pt x="409342" y="1504306"/>
                </a:lnTo>
                <a:close/>
                <a:moveTo>
                  <a:pt x="5280527" y="871409"/>
                </a:moveTo>
                <a:lnTo>
                  <a:pt x="6185319" y="871409"/>
                </a:lnTo>
                <a:lnTo>
                  <a:pt x="6185319" y="978246"/>
                </a:lnTo>
                <a:lnTo>
                  <a:pt x="5280527" y="978246"/>
                </a:lnTo>
                <a:close/>
                <a:moveTo>
                  <a:pt x="1874462" y="871408"/>
                </a:moveTo>
                <a:lnTo>
                  <a:pt x="2779254" y="871408"/>
                </a:lnTo>
                <a:lnTo>
                  <a:pt x="2779254" y="978246"/>
                </a:lnTo>
                <a:lnTo>
                  <a:pt x="1874462" y="978246"/>
                </a:lnTo>
                <a:close/>
                <a:moveTo>
                  <a:pt x="5280527" y="522512"/>
                </a:moveTo>
                <a:lnTo>
                  <a:pt x="6185319" y="522512"/>
                </a:lnTo>
                <a:lnTo>
                  <a:pt x="6185319" y="629349"/>
                </a:lnTo>
                <a:lnTo>
                  <a:pt x="5280527" y="629349"/>
                </a:lnTo>
                <a:close/>
                <a:moveTo>
                  <a:pt x="1874462" y="522511"/>
                </a:moveTo>
                <a:lnTo>
                  <a:pt x="2779254" y="522511"/>
                </a:lnTo>
                <a:lnTo>
                  <a:pt x="2779254" y="629349"/>
                </a:lnTo>
                <a:lnTo>
                  <a:pt x="1874462" y="629349"/>
                </a:lnTo>
                <a:close/>
                <a:moveTo>
                  <a:pt x="4621539" y="116859"/>
                </a:moveTo>
                <a:lnTo>
                  <a:pt x="4740064" y="116859"/>
                </a:lnTo>
                <a:lnTo>
                  <a:pt x="4386160" y="1185248"/>
                </a:lnTo>
                <a:lnTo>
                  <a:pt x="4264297" y="1185248"/>
                </a:lnTo>
                <a:close/>
                <a:moveTo>
                  <a:pt x="3314617" y="116858"/>
                </a:moveTo>
                <a:lnTo>
                  <a:pt x="3439819" y="116858"/>
                </a:lnTo>
                <a:lnTo>
                  <a:pt x="3795392" y="1185248"/>
                </a:lnTo>
                <a:lnTo>
                  <a:pt x="3670190" y="1185248"/>
                </a:lnTo>
                <a:close/>
                <a:moveTo>
                  <a:pt x="1312489" y="1"/>
                </a:moveTo>
                <a:lnTo>
                  <a:pt x="1312489" y="98493"/>
                </a:lnTo>
                <a:lnTo>
                  <a:pt x="1263604" y="100709"/>
                </a:lnTo>
                <a:lnTo>
                  <a:pt x="1219322" y="107277"/>
                </a:lnTo>
                <a:lnTo>
                  <a:pt x="1179437" y="118080"/>
                </a:lnTo>
                <a:lnTo>
                  <a:pt x="1143731" y="132999"/>
                </a:lnTo>
                <a:lnTo>
                  <a:pt x="1084016" y="174712"/>
                </a:lnTo>
                <a:lnTo>
                  <a:pt x="1038482" y="231471"/>
                </a:lnTo>
                <a:lnTo>
                  <a:pt x="1020503" y="265197"/>
                </a:lnTo>
                <a:lnTo>
                  <a:pt x="1005433" y="302330"/>
                </a:lnTo>
                <a:lnTo>
                  <a:pt x="993061" y="342750"/>
                </a:lnTo>
                <a:lnTo>
                  <a:pt x="983172" y="386342"/>
                </a:lnTo>
                <a:lnTo>
                  <a:pt x="975559" y="432985"/>
                </a:lnTo>
                <a:lnTo>
                  <a:pt x="970006" y="482562"/>
                </a:lnTo>
                <a:lnTo>
                  <a:pt x="966302" y="534954"/>
                </a:lnTo>
                <a:lnTo>
                  <a:pt x="964235" y="590043"/>
                </a:lnTo>
                <a:lnTo>
                  <a:pt x="963593" y="647712"/>
                </a:lnTo>
                <a:lnTo>
                  <a:pt x="964219" y="705953"/>
                </a:lnTo>
                <a:lnTo>
                  <a:pt x="966241" y="761579"/>
                </a:lnTo>
                <a:lnTo>
                  <a:pt x="969878" y="814474"/>
                </a:lnTo>
                <a:lnTo>
                  <a:pt x="975347" y="864518"/>
                </a:lnTo>
                <a:lnTo>
                  <a:pt x="982868" y="911596"/>
                </a:lnTo>
                <a:lnTo>
                  <a:pt x="992658" y="955586"/>
                </a:lnTo>
                <a:lnTo>
                  <a:pt x="1004934" y="996370"/>
                </a:lnTo>
                <a:lnTo>
                  <a:pt x="1019916" y="1033831"/>
                </a:lnTo>
                <a:lnTo>
                  <a:pt x="1037822" y="1067851"/>
                </a:lnTo>
                <a:lnTo>
                  <a:pt x="1083276" y="1125096"/>
                </a:lnTo>
                <a:lnTo>
                  <a:pt x="1143042" y="1167155"/>
                </a:lnTo>
                <a:lnTo>
                  <a:pt x="1178837" y="1182194"/>
                </a:lnTo>
                <a:lnTo>
                  <a:pt x="1218864" y="1193084"/>
                </a:lnTo>
                <a:lnTo>
                  <a:pt x="1263342" y="1199705"/>
                </a:lnTo>
                <a:lnTo>
                  <a:pt x="1312489" y="1201938"/>
                </a:lnTo>
                <a:lnTo>
                  <a:pt x="1312489" y="1298761"/>
                </a:lnTo>
                <a:lnTo>
                  <a:pt x="1258966" y="1296873"/>
                </a:lnTo>
                <a:lnTo>
                  <a:pt x="1209487" y="1291259"/>
                </a:lnTo>
                <a:lnTo>
                  <a:pt x="1163908" y="1282006"/>
                </a:lnTo>
                <a:lnTo>
                  <a:pt x="1122089" y="1269194"/>
                </a:lnTo>
                <a:lnTo>
                  <a:pt x="1083893" y="1252907"/>
                </a:lnTo>
                <a:lnTo>
                  <a:pt x="1049176" y="1233225"/>
                </a:lnTo>
                <a:lnTo>
                  <a:pt x="1017798" y="1210234"/>
                </a:lnTo>
                <a:lnTo>
                  <a:pt x="989622" y="1184015"/>
                </a:lnTo>
                <a:lnTo>
                  <a:pt x="964506" y="1154652"/>
                </a:lnTo>
                <a:lnTo>
                  <a:pt x="942309" y="1122226"/>
                </a:lnTo>
                <a:lnTo>
                  <a:pt x="922891" y="1086820"/>
                </a:lnTo>
                <a:lnTo>
                  <a:pt x="906113" y="1048518"/>
                </a:lnTo>
                <a:lnTo>
                  <a:pt x="891835" y="1007402"/>
                </a:lnTo>
                <a:lnTo>
                  <a:pt x="879914" y="963551"/>
                </a:lnTo>
                <a:lnTo>
                  <a:pt x="870214" y="917053"/>
                </a:lnTo>
                <a:lnTo>
                  <a:pt x="862590" y="867987"/>
                </a:lnTo>
                <a:lnTo>
                  <a:pt x="856906" y="816438"/>
                </a:lnTo>
                <a:lnTo>
                  <a:pt x="853019" y="762487"/>
                </a:lnTo>
                <a:lnTo>
                  <a:pt x="850789" y="706217"/>
                </a:lnTo>
                <a:lnTo>
                  <a:pt x="850077" y="647712"/>
                </a:lnTo>
                <a:lnTo>
                  <a:pt x="850812" y="589457"/>
                </a:lnTo>
                <a:lnTo>
                  <a:pt x="853109" y="533437"/>
                </a:lnTo>
                <a:lnTo>
                  <a:pt x="857098" y="479733"/>
                </a:lnTo>
                <a:lnTo>
                  <a:pt x="862911" y="428425"/>
                </a:lnTo>
                <a:lnTo>
                  <a:pt x="870684" y="379597"/>
                </a:lnTo>
                <a:lnTo>
                  <a:pt x="880547" y="333331"/>
                </a:lnTo>
                <a:lnTo>
                  <a:pt x="892633" y="289705"/>
                </a:lnTo>
                <a:lnTo>
                  <a:pt x="907076" y="248802"/>
                </a:lnTo>
                <a:lnTo>
                  <a:pt x="924008" y="210704"/>
                </a:lnTo>
                <a:lnTo>
                  <a:pt x="943561" y="175493"/>
                </a:lnTo>
                <a:lnTo>
                  <a:pt x="965869" y="143247"/>
                </a:lnTo>
                <a:lnTo>
                  <a:pt x="991066" y="114051"/>
                </a:lnTo>
                <a:lnTo>
                  <a:pt x="1019280" y="87986"/>
                </a:lnTo>
                <a:lnTo>
                  <a:pt x="1050647" y="65131"/>
                </a:lnTo>
                <a:lnTo>
                  <a:pt x="1085300" y="45570"/>
                </a:lnTo>
                <a:lnTo>
                  <a:pt x="1123371" y="29382"/>
                </a:lnTo>
                <a:lnTo>
                  <a:pt x="1164993" y="16650"/>
                </a:lnTo>
                <a:lnTo>
                  <a:pt x="1210299" y="7455"/>
                </a:lnTo>
                <a:lnTo>
                  <a:pt x="1259419" y="1877"/>
                </a:lnTo>
                <a:close/>
                <a:moveTo>
                  <a:pt x="6747401" y="0"/>
                </a:moveTo>
                <a:lnTo>
                  <a:pt x="6800471" y="1876"/>
                </a:lnTo>
                <a:lnTo>
                  <a:pt x="6849592" y="7453"/>
                </a:lnTo>
                <a:lnTo>
                  <a:pt x="6894897" y="16648"/>
                </a:lnTo>
                <a:lnTo>
                  <a:pt x="6936519" y="29380"/>
                </a:lnTo>
                <a:lnTo>
                  <a:pt x="6974590" y="45568"/>
                </a:lnTo>
                <a:lnTo>
                  <a:pt x="7009243" y="65130"/>
                </a:lnTo>
                <a:lnTo>
                  <a:pt x="7040610" y="87984"/>
                </a:lnTo>
                <a:lnTo>
                  <a:pt x="7068825" y="114050"/>
                </a:lnTo>
                <a:lnTo>
                  <a:pt x="7094021" y="143246"/>
                </a:lnTo>
                <a:lnTo>
                  <a:pt x="7116329" y="175491"/>
                </a:lnTo>
                <a:lnTo>
                  <a:pt x="7135882" y="210703"/>
                </a:lnTo>
                <a:lnTo>
                  <a:pt x="7152814" y="248801"/>
                </a:lnTo>
                <a:lnTo>
                  <a:pt x="7167257" y="289704"/>
                </a:lnTo>
                <a:lnTo>
                  <a:pt x="7179344" y="333329"/>
                </a:lnTo>
                <a:lnTo>
                  <a:pt x="7189207" y="379596"/>
                </a:lnTo>
                <a:lnTo>
                  <a:pt x="7196979" y="428424"/>
                </a:lnTo>
                <a:lnTo>
                  <a:pt x="7202793" y="479731"/>
                </a:lnTo>
                <a:lnTo>
                  <a:pt x="7206781" y="533435"/>
                </a:lnTo>
                <a:lnTo>
                  <a:pt x="7209077" y="589455"/>
                </a:lnTo>
                <a:lnTo>
                  <a:pt x="7209813" y="647711"/>
                </a:lnTo>
                <a:lnTo>
                  <a:pt x="7209113" y="706216"/>
                </a:lnTo>
                <a:lnTo>
                  <a:pt x="7206916" y="762486"/>
                </a:lnTo>
                <a:lnTo>
                  <a:pt x="7203080" y="816437"/>
                </a:lnTo>
                <a:lnTo>
                  <a:pt x="7197459" y="867986"/>
                </a:lnTo>
                <a:lnTo>
                  <a:pt x="7189911" y="917051"/>
                </a:lnTo>
                <a:lnTo>
                  <a:pt x="7180290" y="963550"/>
                </a:lnTo>
                <a:lnTo>
                  <a:pt x="7168453" y="1007400"/>
                </a:lnTo>
                <a:lnTo>
                  <a:pt x="7154256" y="1048517"/>
                </a:lnTo>
                <a:lnTo>
                  <a:pt x="7137555" y="1086819"/>
                </a:lnTo>
                <a:lnTo>
                  <a:pt x="7118206" y="1122225"/>
                </a:lnTo>
                <a:lnTo>
                  <a:pt x="7096065" y="1154652"/>
                </a:lnTo>
                <a:lnTo>
                  <a:pt x="7070989" y="1184015"/>
                </a:lnTo>
                <a:lnTo>
                  <a:pt x="7042832" y="1210234"/>
                </a:lnTo>
                <a:lnTo>
                  <a:pt x="7011451" y="1233224"/>
                </a:lnTo>
                <a:lnTo>
                  <a:pt x="6976702" y="1252906"/>
                </a:lnTo>
                <a:lnTo>
                  <a:pt x="6938442" y="1269193"/>
                </a:lnTo>
                <a:lnTo>
                  <a:pt x="6896525" y="1282004"/>
                </a:lnTo>
                <a:lnTo>
                  <a:pt x="6850809" y="1291259"/>
                </a:lnTo>
                <a:lnTo>
                  <a:pt x="6801149" y="1296872"/>
                </a:lnTo>
                <a:lnTo>
                  <a:pt x="6747401" y="1298760"/>
                </a:lnTo>
                <a:lnTo>
                  <a:pt x="6747401" y="1201937"/>
                </a:lnTo>
                <a:lnTo>
                  <a:pt x="6797086" y="1199704"/>
                </a:lnTo>
                <a:lnTo>
                  <a:pt x="6842006" y="1193083"/>
                </a:lnTo>
                <a:lnTo>
                  <a:pt x="6882389" y="1182194"/>
                </a:lnTo>
                <a:lnTo>
                  <a:pt x="6918460" y="1167155"/>
                </a:lnTo>
                <a:lnTo>
                  <a:pt x="6978571" y="1125095"/>
                </a:lnTo>
                <a:lnTo>
                  <a:pt x="7024150" y="1067850"/>
                </a:lnTo>
                <a:lnTo>
                  <a:pt x="7042056" y="1033830"/>
                </a:lnTo>
                <a:lnTo>
                  <a:pt x="7057008" y="996368"/>
                </a:lnTo>
                <a:lnTo>
                  <a:pt x="7069232" y="955584"/>
                </a:lnTo>
                <a:lnTo>
                  <a:pt x="7078955" y="911594"/>
                </a:lnTo>
                <a:lnTo>
                  <a:pt x="7086402" y="864517"/>
                </a:lnTo>
                <a:lnTo>
                  <a:pt x="7091801" y="814473"/>
                </a:lnTo>
                <a:lnTo>
                  <a:pt x="7095377" y="761578"/>
                </a:lnTo>
                <a:lnTo>
                  <a:pt x="7097356" y="705951"/>
                </a:lnTo>
                <a:lnTo>
                  <a:pt x="7097966" y="647711"/>
                </a:lnTo>
                <a:lnTo>
                  <a:pt x="7097324" y="590042"/>
                </a:lnTo>
                <a:lnTo>
                  <a:pt x="7095254" y="534953"/>
                </a:lnTo>
                <a:lnTo>
                  <a:pt x="7091544" y="482560"/>
                </a:lnTo>
                <a:lnTo>
                  <a:pt x="7085978" y="432984"/>
                </a:lnTo>
                <a:lnTo>
                  <a:pt x="7078343" y="386340"/>
                </a:lnTo>
                <a:lnTo>
                  <a:pt x="7068425" y="342749"/>
                </a:lnTo>
                <a:lnTo>
                  <a:pt x="7056009" y="302328"/>
                </a:lnTo>
                <a:lnTo>
                  <a:pt x="7040882" y="265196"/>
                </a:lnTo>
                <a:lnTo>
                  <a:pt x="7022829" y="231470"/>
                </a:lnTo>
                <a:lnTo>
                  <a:pt x="6977091" y="174711"/>
                </a:lnTo>
                <a:lnTo>
                  <a:pt x="6917082" y="132998"/>
                </a:lnTo>
                <a:lnTo>
                  <a:pt x="6881190" y="118079"/>
                </a:lnTo>
                <a:lnTo>
                  <a:pt x="6841089" y="107276"/>
                </a:lnTo>
                <a:lnTo>
                  <a:pt x="6796564" y="100708"/>
                </a:lnTo>
                <a:lnTo>
                  <a:pt x="6747401" y="98492"/>
                </a:lnTo>
                <a:close/>
              </a:path>
            </a:pathLst>
          </a:custGeom>
          <a:solidFill>
            <a:srgbClr val="88C66D"/>
          </a:solidFill>
        </p:spPr>
        <p:txBody>
          <a:bodyPr wrap="square" lIns="0" tIns="0" rIns="0" bIns="0" rtlCol="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a-DK" sz="135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493705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93">
          <p15:clr>
            <a:srgbClr val="A4A3A4"/>
          </p15:clr>
        </p15:guide>
        <p15:guide id="2" orient="horz" pos="1705">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18" name="Baggrund højre">
            <a:extLst>
              <a:ext uri="{FF2B5EF4-FFF2-40B4-BE49-F238E27FC236}">
                <a16:creationId xmlns:a16="http://schemas.microsoft.com/office/drawing/2014/main" id="{FBEA3A33-4B5E-F835-AD9A-4D073373C2FC}"/>
              </a:ext>
            </a:extLst>
          </p:cNvPr>
          <p:cNvSpPr/>
          <p:nvPr userDrawn="1"/>
        </p:nvSpPr>
        <p:spPr bwMode="white">
          <a:xfrm>
            <a:off x="5344716" y="675001"/>
            <a:ext cx="3799284" cy="4468178"/>
          </a:xfrm>
          <a:prstGeom prst="rect">
            <a:avLst/>
          </a:pr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da-DK" sz="1500" noProof="0" dirty="0" err="1"/>
          </a:p>
        </p:txBody>
      </p:sp>
      <p:sp>
        <p:nvSpPr>
          <p:cNvPr id="3" name="Citationstegn">
            <a:extLst>
              <a:ext uri="{FF2B5EF4-FFF2-40B4-BE49-F238E27FC236}">
                <a16:creationId xmlns:a16="http://schemas.microsoft.com/office/drawing/2014/main" id="{1FAC5EE6-E68B-F16E-524C-FE647D1186F7}"/>
              </a:ext>
            </a:extLst>
          </p:cNvPr>
          <p:cNvSpPr/>
          <p:nvPr userDrawn="1"/>
        </p:nvSpPr>
        <p:spPr>
          <a:xfrm>
            <a:off x="398590" y="1664093"/>
            <a:ext cx="504876" cy="462242"/>
          </a:xfrm>
          <a:custGeom>
            <a:avLst/>
            <a:gdLst>
              <a:gd name="connsiteX0" fmla="*/ 2778504 w 3721210"/>
              <a:gd name="connsiteY0" fmla="*/ 0 h 3406975"/>
              <a:gd name="connsiteX1" fmla="*/ 3340820 w 3721210"/>
              <a:gd name="connsiteY1" fmla="*/ 0 h 3406975"/>
              <a:gd name="connsiteX2" fmla="*/ 2877736 w 3721210"/>
              <a:gd name="connsiteY2" fmla="*/ 2100417 h 3406975"/>
              <a:gd name="connsiteX3" fmla="*/ 3717553 w 3721210"/>
              <a:gd name="connsiteY3" fmla="*/ 2640065 h 3406975"/>
              <a:gd name="connsiteX4" fmla="*/ 3721210 w 3721210"/>
              <a:gd name="connsiteY4" fmla="*/ 2728864 h 3406975"/>
              <a:gd name="connsiteX5" fmla="*/ 3721210 w 3721210"/>
              <a:gd name="connsiteY5" fmla="*/ 2728915 h 3406975"/>
              <a:gd name="connsiteX6" fmla="*/ 3717573 w 3721210"/>
              <a:gd name="connsiteY6" fmla="*/ 2826445 h 3406975"/>
              <a:gd name="connsiteX7" fmla="*/ 2960430 w 3721210"/>
              <a:gd name="connsiteY7" fmla="*/ 3406975 h 3406975"/>
              <a:gd name="connsiteX8" fmla="*/ 2216187 w 3721210"/>
              <a:gd name="connsiteY8" fmla="*/ 2728888 h 3406975"/>
              <a:gd name="connsiteX9" fmla="*/ 2282342 w 3721210"/>
              <a:gd name="connsiteY9" fmla="*/ 2265804 h 3406975"/>
              <a:gd name="connsiteX10" fmla="*/ 562316 w 3721210"/>
              <a:gd name="connsiteY10" fmla="*/ 0 h 3406975"/>
              <a:gd name="connsiteX11" fmla="*/ 1124633 w 3721210"/>
              <a:gd name="connsiteY11" fmla="*/ 0 h 3406975"/>
              <a:gd name="connsiteX12" fmla="*/ 661548 w 3721210"/>
              <a:gd name="connsiteY12" fmla="*/ 2100417 h 3406975"/>
              <a:gd name="connsiteX13" fmla="*/ 1505023 w 3721210"/>
              <a:gd name="connsiteY13" fmla="*/ 2728888 h 3406975"/>
              <a:gd name="connsiteX14" fmla="*/ 744242 w 3721210"/>
              <a:gd name="connsiteY14" fmla="*/ 3406975 h 3406975"/>
              <a:gd name="connsiteX15" fmla="*/ 0 w 3721210"/>
              <a:gd name="connsiteY15" fmla="*/ 2728888 h 3406975"/>
              <a:gd name="connsiteX16" fmla="*/ 66155 w 3721210"/>
              <a:gd name="connsiteY16" fmla="*/ 2265804 h 340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21210" h="3406975">
                <a:moveTo>
                  <a:pt x="2778504" y="0"/>
                </a:moveTo>
                <a:lnTo>
                  <a:pt x="3340820" y="0"/>
                </a:lnTo>
                <a:lnTo>
                  <a:pt x="2877736" y="2100417"/>
                </a:lnTo>
                <a:cubicBezTo>
                  <a:pt x="3373898" y="2100417"/>
                  <a:pt x="3681092" y="2216705"/>
                  <a:pt x="3717553" y="2640065"/>
                </a:cubicBezTo>
                <a:lnTo>
                  <a:pt x="3721210" y="2728864"/>
                </a:lnTo>
                <a:lnTo>
                  <a:pt x="3721210" y="2728915"/>
                </a:lnTo>
                <a:lnTo>
                  <a:pt x="3717573" y="2826445"/>
                </a:lnTo>
                <a:cubicBezTo>
                  <a:pt x="3681415" y="3290688"/>
                  <a:pt x="3379066" y="3406975"/>
                  <a:pt x="2960430" y="3406975"/>
                </a:cubicBezTo>
                <a:cubicBezTo>
                  <a:pt x="2530423" y="3406975"/>
                  <a:pt x="2216187" y="3274666"/>
                  <a:pt x="2216187" y="2728888"/>
                </a:cubicBezTo>
                <a:cubicBezTo>
                  <a:pt x="2216187" y="2646194"/>
                  <a:pt x="2232726" y="2464269"/>
                  <a:pt x="2282342" y="2265804"/>
                </a:cubicBezTo>
                <a:close/>
                <a:moveTo>
                  <a:pt x="562316" y="0"/>
                </a:moveTo>
                <a:lnTo>
                  <a:pt x="1124633" y="0"/>
                </a:lnTo>
                <a:lnTo>
                  <a:pt x="661548" y="2100417"/>
                </a:lnTo>
                <a:cubicBezTo>
                  <a:pt x="1190787" y="2100417"/>
                  <a:pt x="1505023" y="2232727"/>
                  <a:pt x="1505023" y="2728888"/>
                </a:cubicBezTo>
                <a:cubicBezTo>
                  <a:pt x="1505023" y="3274666"/>
                  <a:pt x="1190787" y="3406975"/>
                  <a:pt x="744242" y="3406975"/>
                </a:cubicBezTo>
                <a:cubicBezTo>
                  <a:pt x="314235" y="3406975"/>
                  <a:pt x="0" y="3274666"/>
                  <a:pt x="0" y="2728888"/>
                </a:cubicBezTo>
                <a:cubicBezTo>
                  <a:pt x="0" y="2646194"/>
                  <a:pt x="16539" y="2464269"/>
                  <a:pt x="66155" y="2265804"/>
                </a:cubicBezTo>
                <a:close/>
              </a:path>
            </a:pathLst>
          </a:custGeom>
          <a:solidFill>
            <a:srgbClr val="4D783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oAutofit/>
          </a:bodyPr>
          <a:lstStyle/>
          <a:p>
            <a:pPr algn="ctr"/>
            <a:endParaRPr lang="da-DK" sz="1200" noProof="0" dirty="0" err="1">
              <a:solidFill>
                <a:schemeClr val="bg1"/>
              </a:solidFill>
            </a:endParaRPr>
          </a:p>
        </p:txBody>
      </p:sp>
      <p:sp>
        <p:nvSpPr>
          <p:cNvPr id="7" name="Titel 6">
            <a:extLst>
              <a:ext uri="{FF2B5EF4-FFF2-40B4-BE49-F238E27FC236}">
                <a16:creationId xmlns:a16="http://schemas.microsoft.com/office/drawing/2014/main" id="{8F7A2D9C-EAFA-3270-E382-715F84BCCAE7}"/>
              </a:ext>
            </a:extLst>
          </p:cNvPr>
          <p:cNvSpPr>
            <a:spLocks noGrp="1"/>
          </p:cNvSpPr>
          <p:nvPr>
            <p:ph type="title" hasCustomPrompt="1"/>
          </p:nvPr>
        </p:nvSpPr>
        <p:spPr>
          <a:xfrm>
            <a:off x="405000" y="2367137"/>
            <a:ext cx="3396600" cy="621000"/>
          </a:xfrm>
        </p:spPr>
        <p:txBody>
          <a:bodyPr/>
          <a:lstStyle>
            <a:lvl1pPr>
              <a:defRPr/>
            </a:lvl1pPr>
          </a:lstStyle>
          <a:p>
            <a:r>
              <a:rPr lang="da-DK" dirty="0"/>
              <a:t>Klik for at tilføje citat</a:t>
            </a:r>
          </a:p>
        </p:txBody>
      </p:sp>
      <p:sp>
        <p:nvSpPr>
          <p:cNvPr id="17" name="Text Placeholder 2">
            <a:extLst>
              <a:ext uri="{FF2B5EF4-FFF2-40B4-BE49-F238E27FC236}">
                <a16:creationId xmlns:a16="http://schemas.microsoft.com/office/drawing/2014/main" id="{260F894D-D8AD-CA81-C1F4-E27837EF5DFB}"/>
              </a:ext>
            </a:extLst>
          </p:cNvPr>
          <p:cNvSpPr>
            <a:spLocks noGrp="1"/>
          </p:cNvSpPr>
          <p:nvPr>
            <p:ph type="body" sz="quarter" idx="13" hasCustomPrompt="1"/>
          </p:nvPr>
        </p:nvSpPr>
        <p:spPr>
          <a:xfrm>
            <a:off x="405000" y="3095875"/>
            <a:ext cx="3396600" cy="213856"/>
          </a:xfrm>
        </p:spPr>
        <p:txBody>
          <a:bodyPr/>
          <a:lstStyle>
            <a:lvl1pPr marL="0" indent="0">
              <a:lnSpc>
                <a:spcPct val="100000"/>
              </a:lnSpc>
              <a:spcAft>
                <a:spcPts val="0"/>
              </a:spcAft>
              <a:buFont typeface="Arial" panose="020B0604020202020204" pitchFamily="34" charset="0"/>
              <a:buNone/>
              <a:defRPr sz="1200" b="0">
                <a:latin typeface="+mn-lt"/>
              </a:defRPr>
            </a:lvl1pPr>
            <a:lvl2pPr marL="0" indent="0">
              <a:lnSpc>
                <a:spcPct val="100000"/>
              </a:lnSpc>
              <a:spcBef>
                <a:spcPts val="0"/>
              </a:spcBef>
              <a:spcAft>
                <a:spcPts val="0"/>
              </a:spcAft>
              <a:buFont typeface="Arial" panose="020B0604020202020204" pitchFamily="34" charset="0"/>
              <a:buChar char="​"/>
              <a:defRPr sz="1200" b="0">
                <a:latin typeface="+mn-lt"/>
              </a:defRPr>
            </a:lvl2pPr>
            <a:lvl3pPr marL="0" indent="0">
              <a:lnSpc>
                <a:spcPct val="100000"/>
              </a:lnSpc>
              <a:spcBef>
                <a:spcPts val="0"/>
              </a:spcBef>
              <a:spcAft>
                <a:spcPts val="0"/>
              </a:spcAft>
              <a:buFont typeface="Arial" panose="020B0604020202020204" pitchFamily="34" charset="0"/>
              <a:buChar char="​"/>
              <a:defRPr sz="1200" b="0">
                <a:latin typeface="+mn-lt"/>
              </a:defRPr>
            </a:lvl3pPr>
            <a:lvl4pPr marL="0" indent="0">
              <a:lnSpc>
                <a:spcPct val="100000"/>
              </a:lnSpc>
              <a:spcBef>
                <a:spcPts val="0"/>
              </a:spcBef>
              <a:spcAft>
                <a:spcPts val="0"/>
              </a:spcAft>
              <a:buFont typeface="Arial" panose="020B0604020202020204" pitchFamily="34" charset="0"/>
              <a:buChar char="​"/>
              <a:defRPr sz="1200" b="0">
                <a:latin typeface="+mn-lt"/>
              </a:defRPr>
            </a:lvl4pPr>
            <a:lvl5pPr marL="0" indent="0">
              <a:lnSpc>
                <a:spcPct val="100000"/>
              </a:lnSpc>
              <a:spcBef>
                <a:spcPts val="0"/>
              </a:spcBef>
              <a:spcAft>
                <a:spcPts val="0"/>
              </a:spcAft>
              <a:buFont typeface="Arial" panose="020B0604020202020204" pitchFamily="34" charset="0"/>
              <a:buChar char="​"/>
              <a:defRPr sz="1200" b="0">
                <a:latin typeface="+mn-lt"/>
              </a:defRPr>
            </a:lvl5pPr>
            <a:lvl6pPr marL="0" indent="0">
              <a:lnSpc>
                <a:spcPct val="100000"/>
              </a:lnSpc>
              <a:spcBef>
                <a:spcPts val="0"/>
              </a:spcBef>
              <a:spcAft>
                <a:spcPts val="0"/>
              </a:spcAft>
              <a:buFont typeface="Arial" panose="020B0604020202020204" pitchFamily="34" charset="0"/>
              <a:buChar char="​"/>
              <a:defRPr sz="1200" b="0">
                <a:latin typeface="+mn-lt"/>
              </a:defRPr>
            </a:lvl6pPr>
            <a:lvl7pPr marL="0" indent="0">
              <a:lnSpc>
                <a:spcPct val="100000"/>
              </a:lnSpc>
              <a:spcBef>
                <a:spcPts val="0"/>
              </a:spcBef>
              <a:spcAft>
                <a:spcPts val="0"/>
              </a:spcAft>
              <a:buFont typeface="Arial" panose="020B0604020202020204" pitchFamily="34" charset="0"/>
              <a:buChar char="​"/>
              <a:defRPr sz="1200" b="0">
                <a:latin typeface="+mn-lt"/>
              </a:defRPr>
            </a:lvl7pPr>
            <a:lvl8pPr marL="0" indent="0">
              <a:lnSpc>
                <a:spcPct val="100000"/>
              </a:lnSpc>
              <a:spcBef>
                <a:spcPts val="0"/>
              </a:spcBef>
              <a:spcAft>
                <a:spcPts val="0"/>
              </a:spcAft>
              <a:buFont typeface="Arial" panose="020B0604020202020204" pitchFamily="34" charset="0"/>
              <a:buChar char="​"/>
              <a:defRPr sz="1200" b="0">
                <a:latin typeface="+mn-lt"/>
              </a:defRPr>
            </a:lvl8pPr>
            <a:lvl9pPr marL="0" indent="0">
              <a:lnSpc>
                <a:spcPct val="100000"/>
              </a:lnSpc>
              <a:spcBef>
                <a:spcPts val="0"/>
              </a:spcBef>
              <a:buFont typeface="Arial" panose="020B0604020202020204" pitchFamily="34" charset="0"/>
              <a:buChar char="​"/>
              <a:defRPr sz="1200" b="0">
                <a:latin typeface="+mn-lt"/>
              </a:defRPr>
            </a:lvl9pPr>
          </a:lstStyle>
          <a:p>
            <a:pPr lvl="0"/>
            <a:r>
              <a:rPr lang="da-DK" noProof="0" dirty="0"/>
              <a:t>Klik for at tilføje navn</a:t>
            </a:r>
          </a:p>
        </p:txBody>
      </p:sp>
      <p:sp>
        <p:nvSpPr>
          <p:cNvPr id="16" name="Text Placeholder 3">
            <a:extLst>
              <a:ext uri="{FF2B5EF4-FFF2-40B4-BE49-F238E27FC236}">
                <a16:creationId xmlns:a16="http://schemas.microsoft.com/office/drawing/2014/main" id="{145BFAFA-19B6-8EEB-8CBF-2C31E2CEB6F0}"/>
              </a:ext>
            </a:extLst>
          </p:cNvPr>
          <p:cNvSpPr>
            <a:spLocks noGrp="1"/>
          </p:cNvSpPr>
          <p:nvPr>
            <p:ph type="body" sz="quarter" idx="21" hasCustomPrompt="1"/>
          </p:nvPr>
        </p:nvSpPr>
        <p:spPr>
          <a:xfrm>
            <a:off x="405000" y="3356793"/>
            <a:ext cx="3396600" cy="193755"/>
          </a:xfrm>
        </p:spPr>
        <p:txBody>
          <a:bodyPr/>
          <a:lstStyle>
            <a:lvl1pPr marL="0" indent="0">
              <a:lnSpc>
                <a:spcPct val="100000"/>
              </a:lnSpc>
              <a:spcBef>
                <a:spcPts val="0"/>
              </a:spcBef>
              <a:spcAft>
                <a:spcPts val="0"/>
              </a:spcAft>
              <a:buFont typeface="Arial" panose="020B0604020202020204" pitchFamily="34" charset="0"/>
              <a:buNone/>
              <a:defRPr sz="750" b="0">
                <a:latin typeface="+mn-lt"/>
              </a:defRPr>
            </a:lvl1pPr>
            <a:lvl2pPr marL="0" indent="0">
              <a:lnSpc>
                <a:spcPct val="100000"/>
              </a:lnSpc>
              <a:spcBef>
                <a:spcPts val="0"/>
              </a:spcBef>
              <a:spcAft>
                <a:spcPts val="0"/>
              </a:spcAft>
              <a:buFont typeface="Arial" panose="020B0604020202020204" pitchFamily="34" charset="0"/>
              <a:buChar char="​"/>
              <a:defRPr sz="750" b="0">
                <a:latin typeface="+mn-lt"/>
              </a:defRPr>
            </a:lvl2pPr>
            <a:lvl3pPr marL="0" indent="0">
              <a:lnSpc>
                <a:spcPct val="100000"/>
              </a:lnSpc>
              <a:spcBef>
                <a:spcPts val="0"/>
              </a:spcBef>
              <a:spcAft>
                <a:spcPts val="0"/>
              </a:spcAft>
              <a:buFont typeface="Arial" panose="020B0604020202020204" pitchFamily="34" charset="0"/>
              <a:buChar char="​"/>
              <a:defRPr sz="750" b="0">
                <a:latin typeface="+mn-lt"/>
              </a:defRPr>
            </a:lvl3pPr>
            <a:lvl4pPr>
              <a:lnSpc>
                <a:spcPct val="100000"/>
              </a:lnSpc>
              <a:spcBef>
                <a:spcPts val="0"/>
              </a:spcBef>
              <a:spcAft>
                <a:spcPts val="0"/>
              </a:spcAft>
              <a:buFont typeface="Arial" panose="020B0604020202020204" pitchFamily="34" charset="0"/>
              <a:buChar char="​"/>
              <a:defRPr sz="750" b="0">
                <a:latin typeface="+mn-lt"/>
              </a:defRPr>
            </a:lvl4pPr>
            <a:lvl5pPr>
              <a:lnSpc>
                <a:spcPct val="100000"/>
              </a:lnSpc>
              <a:spcBef>
                <a:spcPts val="0"/>
              </a:spcBef>
              <a:spcAft>
                <a:spcPts val="0"/>
              </a:spcAft>
              <a:buFont typeface="Arial" panose="020B0604020202020204" pitchFamily="34" charset="0"/>
              <a:buChar char="​"/>
              <a:defRPr sz="750" b="0">
                <a:latin typeface="+mn-lt"/>
              </a:defRPr>
            </a:lvl5pPr>
            <a:lvl6pPr marL="0" indent="0">
              <a:lnSpc>
                <a:spcPct val="100000"/>
              </a:lnSpc>
              <a:spcBef>
                <a:spcPts val="0"/>
              </a:spcBef>
              <a:spcAft>
                <a:spcPts val="0"/>
              </a:spcAft>
              <a:buFont typeface="Arial" panose="020B0604020202020204" pitchFamily="34" charset="0"/>
              <a:buChar char="​"/>
              <a:defRPr sz="750" b="0">
                <a:latin typeface="+mn-lt"/>
              </a:defRPr>
            </a:lvl6pPr>
            <a:lvl7pPr>
              <a:lnSpc>
                <a:spcPct val="100000"/>
              </a:lnSpc>
              <a:spcBef>
                <a:spcPts val="0"/>
              </a:spcBef>
              <a:spcAft>
                <a:spcPts val="0"/>
              </a:spcAft>
              <a:defRPr sz="750" b="0">
                <a:latin typeface="+mn-lt"/>
              </a:defRPr>
            </a:lvl7pPr>
            <a:lvl8pPr>
              <a:lnSpc>
                <a:spcPct val="100000"/>
              </a:lnSpc>
              <a:spcBef>
                <a:spcPts val="0"/>
              </a:spcBef>
              <a:spcAft>
                <a:spcPts val="0"/>
              </a:spcAft>
              <a:defRPr sz="750" b="0">
                <a:latin typeface="+mn-lt"/>
              </a:defRPr>
            </a:lvl8pPr>
            <a:lvl9pPr>
              <a:lnSpc>
                <a:spcPct val="100000"/>
              </a:lnSpc>
              <a:spcBef>
                <a:spcPts val="0"/>
              </a:spcBef>
              <a:spcAft>
                <a:spcPts val="0"/>
              </a:spcAft>
              <a:defRPr sz="750" b="0">
                <a:latin typeface="+mn-lt"/>
              </a:defRPr>
            </a:lvl9pPr>
          </a:lstStyle>
          <a:p>
            <a:pPr lvl="0"/>
            <a:r>
              <a:rPr lang="da-DK" dirty="0"/>
              <a:t>Klik for at tilføje titel</a:t>
            </a:r>
          </a:p>
        </p:txBody>
      </p:sp>
      <p:sp>
        <p:nvSpPr>
          <p:cNvPr id="20" name="Makro grafik 1">
            <a:extLst>
              <a:ext uri="{FF2B5EF4-FFF2-40B4-BE49-F238E27FC236}">
                <a16:creationId xmlns:a16="http://schemas.microsoft.com/office/drawing/2014/main" id="{FC1D0852-DEFD-91A1-6E00-B4A6FF9E00D7}"/>
              </a:ext>
            </a:extLst>
          </p:cNvPr>
          <p:cNvSpPr>
            <a:spLocks noGrp="1" noChangeAspect="1"/>
          </p:cNvSpPr>
          <p:nvPr>
            <p:ph type="body" sz="quarter" idx="18" hasCustomPrompt="1"/>
          </p:nvPr>
        </p:nvSpPr>
        <p:spPr>
          <a:xfrm>
            <a:off x="7129898" y="1183240"/>
            <a:ext cx="2584852" cy="2609850"/>
          </a:xfrm>
          <a:prstGeom prst="rect">
            <a:avLst/>
          </a:prstGeom>
          <a:blipFill>
            <a:blip r:embed="rId2"/>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25" name="Pladsholder til billede 24">
            <a:extLst>
              <a:ext uri="{FF2B5EF4-FFF2-40B4-BE49-F238E27FC236}">
                <a16:creationId xmlns:a16="http://schemas.microsoft.com/office/drawing/2014/main" id="{CEEC097F-0B93-D144-2154-34F7FADB7981}"/>
              </a:ext>
            </a:extLst>
          </p:cNvPr>
          <p:cNvSpPr>
            <a:spLocks noGrp="1"/>
          </p:cNvSpPr>
          <p:nvPr>
            <p:ph type="pic" sz="quarter" idx="22" hasCustomPrompt="1"/>
          </p:nvPr>
        </p:nvSpPr>
        <p:spPr>
          <a:xfrm>
            <a:off x="4877211" y="675000"/>
            <a:ext cx="4275392" cy="4468500"/>
          </a:xfrm>
          <a:noFill/>
        </p:spPr>
        <p:txBody>
          <a:bodyPr lIns="1080000" rIns="612000"/>
          <a:lstStyle>
            <a:lvl1pPr marL="0" indent="0" algn="ctr">
              <a:buNone/>
              <a:defRPr>
                <a:solidFill>
                  <a:schemeClr val="bg1"/>
                </a:solidFill>
              </a:defRPr>
            </a:lvl1pPr>
          </a:lstStyle>
          <a:p>
            <a:r>
              <a:rPr lang="da-DK" noProof="0" dirty="0"/>
              <a:t>Klik her på rammen, klik Indsæt/Billeder og indsæt fritlagt billede (uden baggrund)</a:t>
            </a:r>
          </a:p>
        </p:txBody>
      </p:sp>
      <p:sp>
        <p:nvSpPr>
          <p:cNvPr id="22" name="Makro grafik 2">
            <a:extLst>
              <a:ext uri="{FF2B5EF4-FFF2-40B4-BE49-F238E27FC236}">
                <a16:creationId xmlns:a16="http://schemas.microsoft.com/office/drawing/2014/main" id="{79AB4A1A-85C8-A7A7-D645-2EC9A8882985}"/>
              </a:ext>
            </a:extLst>
          </p:cNvPr>
          <p:cNvSpPr>
            <a:spLocks noGrp="1" noChangeAspect="1"/>
          </p:cNvSpPr>
          <p:nvPr>
            <p:ph type="body" sz="quarter" idx="19" hasCustomPrompt="1"/>
          </p:nvPr>
        </p:nvSpPr>
        <p:spPr>
          <a:xfrm>
            <a:off x="5043369" y="2139957"/>
            <a:ext cx="2584852" cy="2609850"/>
          </a:xfrm>
          <a:prstGeom prst="rect">
            <a:avLst/>
          </a:prstGeom>
          <a:blipFill>
            <a:blip r:embed="rId3"/>
            <a:stretch>
              <a:fillRect/>
            </a:stretch>
          </a:blip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2" name="Date Placeholder 1">
            <a:extLst>
              <a:ext uri="{FF2B5EF4-FFF2-40B4-BE49-F238E27FC236}">
                <a16:creationId xmlns:a16="http://schemas.microsoft.com/office/drawing/2014/main" id="{D6CD7A3F-33C8-C798-8ED1-304A132B715D}"/>
              </a:ext>
            </a:extLst>
          </p:cNvPr>
          <p:cNvSpPr>
            <a:spLocks noGrp="1"/>
          </p:cNvSpPr>
          <p:nvPr>
            <p:ph type="dt" sz="half" idx="23"/>
          </p:nvPr>
        </p:nvSpPr>
        <p:spPr/>
        <p:txBody>
          <a:bodyPr/>
          <a:lstStyle/>
          <a:p>
            <a:fld id="{A2446D3D-F608-46B7-8E05-81FCF9BDF507}" type="datetime2">
              <a:rPr lang="da-DK" smtClean="0"/>
              <a:t>11. december 2025</a:t>
            </a:fld>
            <a:endParaRPr lang="da-DK" dirty="0"/>
          </a:p>
        </p:txBody>
      </p:sp>
      <p:sp>
        <p:nvSpPr>
          <p:cNvPr id="6" name="Footer Placeholder 5">
            <a:extLst>
              <a:ext uri="{FF2B5EF4-FFF2-40B4-BE49-F238E27FC236}">
                <a16:creationId xmlns:a16="http://schemas.microsoft.com/office/drawing/2014/main" id="{E7EC2575-A0D9-01D6-1777-0877C4AFA02C}"/>
              </a:ext>
            </a:extLst>
          </p:cNvPr>
          <p:cNvSpPr>
            <a:spLocks noGrp="1"/>
          </p:cNvSpPr>
          <p:nvPr>
            <p:ph type="ftr" sz="quarter" idx="24"/>
          </p:nvPr>
        </p:nvSpPr>
        <p:spPr/>
        <p:txBody>
          <a:bodyPr/>
          <a:lstStyle>
            <a:lvl1pPr>
              <a:defRPr>
                <a:solidFill>
                  <a:schemeClr val="bg1"/>
                </a:solidFill>
              </a:defRPr>
            </a:lvl1pPr>
          </a:lstStyle>
          <a:p>
            <a:r>
              <a:rPr lang="da-DK" dirty="0"/>
              <a:t>Digitaliseringsstyrelsen</a:t>
            </a:r>
          </a:p>
        </p:txBody>
      </p:sp>
      <p:sp>
        <p:nvSpPr>
          <p:cNvPr id="8" name="Slide Number Placeholder 7">
            <a:extLst>
              <a:ext uri="{FF2B5EF4-FFF2-40B4-BE49-F238E27FC236}">
                <a16:creationId xmlns:a16="http://schemas.microsoft.com/office/drawing/2014/main" id="{B0F34EA2-C025-23CF-3CE0-0A87EFCE1936}"/>
              </a:ext>
            </a:extLst>
          </p:cNvPr>
          <p:cNvSpPr>
            <a:spLocks noGrp="1"/>
          </p:cNvSpPr>
          <p:nvPr>
            <p:ph type="sldNum" sz="quarter" idx="25"/>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350411281"/>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1988">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2F440956-886F-E399-F5DC-83BF1413FB55}"/>
              </a:ext>
            </a:extLst>
          </p:cNvPr>
          <p:cNvSpPr>
            <a:spLocks noGrp="1"/>
          </p:cNvSpPr>
          <p:nvPr>
            <p:ph type="subTitle" idx="13" hasCustomPrompt="1"/>
          </p:nvPr>
        </p:nvSpPr>
        <p:spPr>
          <a:xfrm>
            <a:off x="405000" y="270000"/>
            <a:ext cx="83349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dirty="0"/>
              <a:t>Klik for at tilføje sektionstitel</a:t>
            </a:r>
          </a:p>
        </p:txBody>
      </p:sp>
      <p:sp>
        <p:nvSpPr>
          <p:cNvPr id="2" name="Title 1">
            <a:extLst>
              <a:ext uri="{FF2B5EF4-FFF2-40B4-BE49-F238E27FC236}">
                <a16:creationId xmlns:a16="http://schemas.microsoft.com/office/drawing/2014/main" id="{FFDCBCB9-EF2E-470C-9EE7-EF220DB3612D}"/>
              </a:ext>
            </a:extLst>
          </p:cNvPr>
          <p:cNvSpPr>
            <a:spLocks noGrp="1"/>
          </p:cNvSpPr>
          <p:nvPr>
            <p:ph type="title" hasCustomPrompt="1"/>
          </p:nvPr>
        </p:nvSpPr>
        <p:spPr/>
        <p:txBody>
          <a:bodyPr/>
          <a:lstStyle/>
          <a:p>
            <a:r>
              <a:rPr lang="da-DK" dirty="0"/>
              <a:t>Klik for at tilføje titel</a:t>
            </a:r>
          </a:p>
        </p:txBody>
      </p:sp>
      <p:sp>
        <p:nvSpPr>
          <p:cNvPr id="7" name="Date Placeholder 6">
            <a:extLst>
              <a:ext uri="{FF2B5EF4-FFF2-40B4-BE49-F238E27FC236}">
                <a16:creationId xmlns:a16="http://schemas.microsoft.com/office/drawing/2014/main" id="{5697AA78-99F6-2A25-0CFB-FAE5615D16FF}"/>
              </a:ext>
            </a:extLst>
          </p:cNvPr>
          <p:cNvSpPr>
            <a:spLocks noGrp="1"/>
          </p:cNvSpPr>
          <p:nvPr>
            <p:ph type="dt" sz="half" idx="14"/>
          </p:nvPr>
        </p:nvSpPr>
        <p:spPr/>
        <p:txBody>
          <a:bodyPr/>
          <a:lstStyle/>
          <a:p>
            <a:fld id="{A2446D3D-F608-46B7-8E05-81FCF9BDF507}" type="datetime2">
              <a:rPr lang="da-DK" smtClean="0"/>
              <a:t>11. december 2025</a:t>
            </a:fld>
            <a:endParaRPr lang="da-DK" dirty="0"/>
          </a:p>
        </p:txBody>
      </p:sp>
      <p:sp>
        <p:nvSpPr>
          <p:cNvPr id="8" name="Footer Placeholder 7">
            <a:extLst>
              <a:ext uri="{FF2B5EF4-FFF2-40B4-BE49-F238E27FC236}">
                <a16:creationId xmlns:a16="http://schemas.microsoft.com/office/drawing/2014/main" id="{69377A66-687C-DB1F-9BCD-5498C880EEDF}"/>
              </a:ext>
            </a:extLst>
          </p:cNvPr>
          <p:cNvSpPr>
            <a:spLocks noGrp="1"/>
          </p:cNvSpPr>
          <p:nvPr>
            <p:ph type="ftr" sz="quarter" idx="15"/>
          </p:nvPr>
        </p:nvSpPr>
        <p:spPr/>
        <p:txBody>
          <a:bodyPr/>
          <a:lstStyle/>
          <a:p>
            <a:r>
              <a:rPr lang="da-DK" dirty="0"/>
              <a:t>Digitaliseringsstyrelsen</a:t>
            </a:r>
          </a:p>
        </p:txBody>
      </p:sp>
      <p:sp>
        <p:nvSpPr>
          <p:cNvPr id="9" name="Slide Number Placeholder 8">
            <a:extLst>
              <a:ext uri="{FF2B5EF4-FFF2-40B4-BE49-F238E27FC236}">
                <a16:creationId xmlns:a16="http://schemas.microsoft.com/office/drawing/2014/main" id="{C38F4F72-305D-C46D-5D41-5F0FC6B92E3C}"/>
              </a:ext>
            </a:extLst>
          </p:cNvPr>
          <p:cNvSpPr>
            <a:spLocks noGrp="1"/>
          </p:cNvSpPr>
          <p:nvPr>
            <p:ph type="sldNum" sz="quarter" idx="16"/>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285076896"/>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DA92360-CC53-0085-455A-FD783E26F1E4}"/>
              </a:ext>
            </a:extLst>
          </p:cNvPr>
          <p:cNvSpPr>
            <a:spLocks noGrp="1"/>
          </p:cNvSpPr>
          <p:nvPr>
            <p:ph type="dt" sz="half" idx="10"/>
          </p:nvPr>
        </p:nvSpPr>
        <p:spPr/>
        <p:txBody>
          <a:bodyPr/>
          <a:lstStyle/>
          <a:p>
            <a:fld id="{A2446D3D-F608-46B7-8E05-81FCF9BDF507}" type="datetime2">
              <a:rPr lang="da-DK" smtClean="0"/>
              <a:t>11. december 2025</a:t>
            </a:fld>
            <a:endParaRPr lang="da-DK" dirty="0"/>
          </a:p>
        </p:txBody>
      </p:sp>
      <p:sp>
        <p:nvSpPr>
          <p:cNvPr id="3" name="Footer Placeholder 2">
            <a:extLst>
              <a:ext uri="{FF2B5EF4-FFF2-40B4-BE49-F238E27FC236}">
                <a16:creationId xmlns:a16="http://schemas.microsoft.com/office/drawing/2014/main" id="{CF1DA727-6CC9-BD98-0DDA-D7D6A36D0C56}"/>
              </a:ext>
            </a:extLst>
          </p:cNvPr>
          <p:cNvSpPr>
            <a:spLocks noGrp="1"/>
          </p:cNvSpPr>
          <p:nvPr>
            <p:ph type="ftr" sz="quarter" idx="11"/>
          </p:nvPr>
        </p:nvSpPr>
        <p:spPr/>
        <p:txBody>
          <a:bodyPr/>
          <a:lstStyle/>
          <a:p>
            <a:r>
              <a:rPr lang="da-DK" dirty="0"/>
              <a:t>Digitaliseringsstyrelsen</a:t>
            </a:r>
          </a:p>
        </p:txBody>
      </p:sp>
      <p:sp>
        <p:nvSpPr>
          <p:cNvPr id="4" name="Slide Number Placeholder 3">
            <a:extLst>
              <a:ext uri="{FF2B5EF4-FFF2-40B4-BE49-F238E27FC236}">
                <a16:creationId xmlns:a16="http://schemas.microsoft.com/office/drawing/2014/main" id="{719D9D9B-BFFA-CE30-D752-40AF41EABFC3}"/>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1457228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9" name="Fast overskrift"/>
          <p:cNvSpPr txBox="1"/>
          <p:nvPr userDrawn="1"/>
        </p:nvSpPr>
        <p:spPr>
          <a:xfrm>
            <a:off x="404814" y="274445"/>
            <a:ext cx="8331991" cy="487628"/>
          </a:xfrm>
          <a:prstGeom prst="rect">
            <a:avLst/>
          </a:prstGeom>
          <a:noFill/>
        </p:spPr>
        <p:txBody>
          <a:bodyPr wrap="square" lIns="0" tIns="0" rIns="0" bIns="0" rtlCol="0" anchor="t" anchorCtr="0">
            <a:noAutofit/>
          </a:bodyPr>
          <a:lstStyle/>
          <a:p>
            <a:r>
              <a:rPr lang="da-DK" sz="2400" b="0" noProof="1">
                <a:solidFill>
                  <a:schemeClr val="tx1"/>
                </a:solidFill>
                <a:latin typeface="+mj-lt"/>
                <a:cs typeface="Arial" panose="020B0604020202020204" pitchFamily="34" charset="0"/>
              </a:rPr>
              <a:t>TIPS &amp; TRICKS - DIN BRUGERGUIDE</a:t>
            </a:r>
          </a:p>
        </p:txBody>
      </p:sp>
      <p:sp>
        <p:nvSpPr>
          <p:cNvPr id="27" name="Text Box 2">
            <a:extLst>
              <a:ext uri="{FF2B5EF4-FFF2-40B4-BE49-F238E27FC236}">
                <a16:creationId xmlns:a16="http://schemas.microsoft.com/office/drawing/2014/main" id="{1E86B7E7-F87D-4375-BAE3-34A81C5D0F8B}"/>
              </a:ext>
            </a:extLst>
          </p:cNvPr>
          <p:cNvSpPr txBox="1">
            <a:spLocks noChangeArrowheads="1"/>
          </p:cNvSpPr>
          <p:nvPr userDrawn="1"/>
        </p:nvSpPr>
        <p:spPr bwMode="auto">
          <a:xfrm>
            <a:off x="404814" y="1211236"/>
            <a:ext cx="1836683" cy="308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da-DK" sz="1200" dirty="0">
                <a:latin typeface="+mn-lt"/>
                <a:cs typeface="Arial" panose="020B0604020202020204" pitchFamily="34" charset="0"/>
              </a:rPr>
              <a:t>TYPOGRAFIER</a:t>
            </a:r>
            <a:endParaRPr lang="da-DK" altLang="da-DK" sz="1200" b="0" noProof="1">
              <a:solidFill>
                <a:schemeClr val="tx1"/>
              </a:solidFill>
              <a:latin typeface="+mn-lt"/>
              <a:cs typeface="Arial" panose="020B0604020202020204" pitchFamily="34" charset="0"/>
            </a:endParaRPr>
          </a:p>
          <a:p>
            <a:pPr eaLnBrk="1" hangingPunct="1">
              <a:spcAft>
                <a:spcPts val="450"/>
              </a:spcAft>
              <a:defRPr/>
            </a:pPr>
            <a:r>
              <a:rPr lang="da-DK" altLang="da-DK" sz="675" b="0" noProof="1">
                <a:solidFill>
                  <a:schemeClr val="tx1"/>
                </a:solidFill>
                <a:latin typeface="+mn-lt"/>
                <a:cs typeface="Arial" panose="020B0604020202020204" pitchFamily="34" charset="0"/>
              </a:rPr>
              <a:t>Brug</a:t>
            </a:r>
            <a:r>
              <a:rPr lang="da-DK" altLang="da-DK" sz="675" b="1" noProof="1">
                <a:solidFill>
                  <a:schemeClr val="tx1"/>
                </a:solidFill>
                <a:latin typeface="+mn-lt"/>
                <a:cs typeface="Arial" panose="020B0604020202020204" pitchFamily="34" charset="0"/>
              </a:rPr>
              <a:t> </a:t>
            </a:r>
            <a:r>
              <a:rPr lang="da-DK" altLang="da-DK" sz="675" b="0" noProof="1">
                <a:solidFill>
                  <a:schemeClr val="tx1"/>
                </a:solidFill>
                <a:latin typeface="Franklin Gothic Medium" panose="020B0603020102020204" pitchFamily="34" charset="0"/>
                <a:cs typeface="Arial" panose="020B0604020202020204" pitchFamily="34" charset="0"/>
              </a:rPr>
              <a:t>TAB</a:t>
            </a:r>
            <a:r>
              <a:rPr lang="da-DK" altLang="da-DK" sz="675" b="1" noProof="1">
                <a:solidFill>
                  <a:schemeClr val="tx1"/>
                </a:solidFill>
                <a:latin typeface="+mn-lt"/>
                <a:cs typeface="Arial" panose="020B0604020202020204" pitchFamily="34" charset="0"/>
              </a:rPr>
              <a:t> </a:t>
            </a:r>
            <a:r>
              <a:rPr lang="da-DK" altLang="da-DK" sz="675" b="0" noProof="1">
                <a:solidFill>
                  <a:schemeClr val="tx1"/>
                </a:solidFill>
                <a:latin typeface="+mn-lt"/>
                <a:cs typeface="Arial" panose="020B0604020202020204" pitchFamily="34" charset="0"/>
              </a:rPr>
              <a:t>for at gå frem i tekst-niveauer. Klik </a:t>
            </a:r>
            <a:r>
              <a:rPr lang="da-DK" altLang="da-DK" sz="675" b="0" noProof="1">
                <a:solidFill>
                  <a:schemeClr val="tx1"/>
                </a:solidFill>
                <a:latin typeface="Franklin Gothic Medium" panose="020B0603020102020204" pitchFamily="34" charset="0"/>
                <a:cs typeface="Arial" panose="020B0604020202020204" pitchFamily="34" charset="0"/>
              </a:rPr>
              <a:t>ENTER</a:t>
            </a:r>
            <a:r>
              <a:rPr lang="da-DK" altLang="da-DK" sz="675" b="0" noProof="1">
                <a:solidFill>
                  <a:schemeClr val="tx1"/>
                </a:solidFill>
                <a:latin typeface="+mn-lt"/>
                <a:cs typeface="Arial" panose="020B0604020202020204" pitchFamily="34" charset="0"/>
              </a:rPr>
              <a:t>, derefter </a:t>
            </a:r>
            <a:r>
              <a:rPr lang="da-DK" altLang="da-DK" sz="675" b="0" noProof="1">
                <a:solidFill>
                  <a:schemeClr val="tx1"/>
                </a:solidFill>
                <a:latin typeface="Franklin Gothic Medium" panose="020B0603020102020204" pitchFamily="34" charset="0"/>
                <a:cs typeface="Arial" panose="020B0604020202020204" pitchFamily="34" charset="0"/>
              </a:rPr>
              <a:t>TAB</a:t>
            </a:r>
            <a:r>
              <a:rPr lang="da-DK" altLang="da-DK" sz="675" b="0" noProof="1">
                <a:solidFill>
                  <a:schemeClr val="tx1"/>
                </a:solidFill>
                <a:latin typeface="+mn-lt"/>
                <a:cs typeface="Arial" panose="020B0604020202020204" pitchFamily="34" charset="0"/>
              </a:rPr>
              <a:t> for at skifte fra et niveau til det næste</a:t>
            </a:r>
          </a:p>
          <a:p>
            <a:pPr eaLnBrk="1" hangingPunct="1">
              <a:spcAft>
                <a:spcPts val="450"/>
              </a:spcAft>
              <a:defRPr/>
            </a:pPr>
            <a:r>
              <a:rPr lang="da-DK" altLang="da-DK" sz="675" b="0" noProof="1">
                <a:solidFill>
                  <a:schemeClr val="tx1"/>
                </a:solidFill>
                <a:latin typeface="+mn-lt"/>
                <a:cs typeface="Arial" panose="020B0604020202020204" pitchFamily="34" charset="0"/>
              </a:rPr>
              <a:t>For at gå tilbage i tekst-niveauer,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brug </a:t>
            </a:r>
            <a:r>
              <a:rPr lang="da-DK" altLang="da-DK" sz="675" b="0" noProof="1">
                <a:solidFill>
                  <a:schemeClr val="tx1"/>
                </a:solidFill>
                <a:latin typeface="Franklin Gothic Medium" panose="020B0603020102020204" pitchFamily="34" charset="0"/>
                <a:cs typeface="Arial" panose="020B0604020202020204" pitchFamily="34" charset="0"/>
              </a:rPr>
              <a:t>SHIFT+TAB</a:t>
            </a:r>
          </a:p>
          <a:p>
            <a:pPr eaLnBrk="1" hangingPunct="1">
              <a:spcAft>
                <a:spcPts val="450"/>
              </a:spcAft>
              <a:defRPr/>
            </a:pPr>
            <a:r>
              <a:rPr lang="da-DK" altLang="da-DK" sz="675" b="0" noProof="1">
                <a:solidFill>
                  <a:schemeClr val="tx1"/>
                </a:solidFill>
                <a:latin typeface="+mn-lt"/>
                <a:cs typeface="Arial" panose="020B0604020202020204" pitchFamily="34" charset="0"/>
              </a:rPr>
              <a:t>Alternativt kan </a:t>
            </a:r>
            <a:r>
              <a:rPr lang="da-DK" altLang="da-DK" sz="675" b="0" noProof="1">
                <a:solidFill>
                  <a:schemeClr val="tx1"/>
                </a:solidFill>
                <a:latin typeface="Franklin Gothic Medium" panose="020B0603020102020204" pitchFamily="34" charset="0"/>
                <a:cs typeface="Arial" panose="020B0604020202020204" pitchFamily="34" charset="0"/>
              </a:rPr>
              <a:t>Forøg</a:t>
            </a:r>
            <a:r>
              <a:rPr lang="da-DK" altLang="da-DK" sz="675" b="0" noProof="1">
                <a:solidFill>
                  <a:schemeClr val="tx1"/>
                </a:solidFill>
                <a:latin typeface="+mn-lt"/>
                <a:cs typeface="Arial" panose="020B0604020202020204" pitchFamily="34" charset="0"/>
              </a:rPr>
              <a:t> og </a:t>
            </a:r>
            <a:r>
              <a:rPr lang="da-DK" altLang="da-DK" sz="675" b="0" noProof="1">
                <a:solidFill>
                  <a:schemeClr val="tx1"/>
                </a:solidFill>
                <a:latin typeface="Franklin Gothic Medium" panose="020B0603020102020204" pitchFamily="34" charset="0"/>
                <a:cs typeface="Arial" panose="020B0604020202020204" pitchFamily="34" charset="0"/>
              </a:rPr>
              <a:t>Formindsk</a:t>
            </a:r>
            <a:r>
              <a:rPr lang="da-DK" altLang="da-DK" sz="675" b="0" noProof="1">
                <a:solidFill>
                  <a:schemeClr val="tx1"/>
                </a:solidFill>
                <a:latin typeface="+mn-lt"/>
                <a:cs typeface="Arial" panose="020B0604020202020204" pitchFamily="34" charset="0"/>
              </a:rPr>
              <a:t> listeniveau bruges</a:t>
            </a:r>
            <a:br>
              <a:rPr lang="da-DK" altLang="da-DK" sz="675" b="0" noProof="1">
                <a:solidFill>
                  <a:schemeClr val="tx1"/>
                </a:solidFill>
                <a:latin typeface="+mn-lt"/>
                <a:cs typeface="Arial" panose="020B0604020202020204" pitchFamily="34" charset="0"/>
              </a:rPr>
            </a:br>
            <a:endParaRPr lang="da-DK" altLang="da-DK" sz="675" b="0" noProof="1">
              <a:solidFill>
                <a:schemeClr val="tx1"/>
              </a:solidFill>
              <a:latin typeface="+mn-lt"/>
              <a:cs typeface="Arial" panose="020B0604020202020204" pitchFamily="34" charset="0"/>
            </a:endParaRPr>
          </a:p>
          <a:p>
            <a:pPr eaLnBrk="1" hangingPunct="1">
              <a:spcAft>
                <a:spcPts val="450"/>
              </a:spcAft>
              <a:defRPr/>
            </a:pPr>
            <a:r>
              <a:rPr lang="da-DK" sz="675" b="0" noProof="1">
                <a:latin typeface="Franklin Gothic Medium" panose="020B0603020102020204" pitchFamily="34" charset="0"/>
                <a:cs typeface="Arial" panose="020B0604020202020204" pitchFamily="34" charset="0"/>
              </a:rPr>
              <a:t>TIP: Brug</a:t>
            </a:r>
            <a:r>
              <a:rPr lang="da-DK" sz="675" b="0" baseline="0" noProof="1">
                <a:latin typeface="Franklin Gothic Medium" panose="020B0603020102020204" pitchFamily="34" charset="0"/>
                <a:cs typeface="Arial" panose="020B0604020202020204" pitchFamily="34" charset="0"/>
              </a:rPr>
              <a:t> bullet knappen</a:t>
            </a:r>
            <a:endParaRPr lang="da-DK" sz="675" b="0" noProof="1">
              <a:latin typeface="Franklin Gothic Medium" panose="020B0603020102020204" pitchFamily="34" charset="0"/>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da-DK" altLang="da-DK" sz="675" b="0" noProof="1">
                <a:solidFill>
                  <a:schemeClr val="tx1"/>
                </a:solidFill>
                <a:latin typeface="+mn-lt"/>
                <a:cs typeface="Arial" panose="020B0604020202020204" pitchFamily="34" charset="0"/>
              </a:rPr>
              <a:t>Fjern bullet for almindelig tekst.</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Klik på bullet knappen for at sætte korrekt bullet igen</a:t>
            </a:r>
          </a:p>
          <a:p>
            <a:pPr marL="0" marR="0" lvl="0" indent="0" algn="l" defTabSz="685800" rtl="0" eaLnBrk="1" fontAlgn="auto" latinLnBrk="0" hangingPunct="1">
              <a:lnSpc>
                <a:spcPct val="100000"/>
              </a:lnSpc>
              <a:spcBef>
                <a:spcPts val="0"/>
              </a:spcBef>
              <a:spcAft>
                <a:spcPts val="450"/>
              </a:spcAft>
              <a:buClrTx/>
              <a:buSzTx/>
              <a:buFontTx/>
              <a:buNone/>
              <a:tabLst/>
              <a:defRPr/>
            </a:pPr>
            <a:br>
              <a:rPr lang="da-DK" altLang="da-DK" sz="1200" b="1" noProof="1">
                <a:solidFill>
                  <a:schemeClr val="tx1"/>
                </a:solidFill>
                <a:latin typeface="+mn-lt"/>
                <a:cs typeface="Arial" panose="020B0604020202020204" pitchFamily="34" charset="0"/>
              </a:rPr>
            </a:br>
            <a:r>
              <a:rPr lang="da-DK" sz="1200" dirty="0">
                <a:latin typeface="+mn-lt"/>
                <a:cs typeface="Arial" panose="020B0604020202020204" pitchFamily="34" charset="0"/>
              </a:rPr>
              <a:t>SLIDES &amp; LAYOUTS</a:t>
            </a:r>
            <a:br>
              <a:rPr lang="da-DK" altLang="da-DK" sz="1200" b="1" noProof="1">
                <a:solidFill>
                  <a:schemeClr val="tx1"/>
                </a:solidFill>
                <a:latin typeface="+mn-lt"/>
                <a:cs typeface="Arial" panose="020B0604020202020204" pitchFamily="34" charset="0"/>
              </a:rPr>
            </a:br>
            <a:br>
              <a:rPr lang="da-DK" altLang="da-DK" sz="675" b="1"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Klik på menupunktet </a:t>
            </a:r>
            <a:r>
              <a:rPr lang="da-DK" altLang="da-DK" sz="675" b="0" noProof="1">
                <a:solidFill>
                  <a:schemeClr val="tx1"/>
                </a:solidFill>
                <a:latin typeface="Franklin Gothic Medium" panose="020B0603020102020204" pitchFamily="34" charset="0"/>
                <a:cs typeface="Arial" panose="020B0604020202020204" pitchFamily="34" charset="0"/>
              </a:rPr>
              <a:t>Nyt Slide </a:t>
            </a:r>
            <a:r>
              <a:rPr lang="da-DK" altLang="da-DK" sz="675" b="0" noProof="1">
                <a:solidFill>
                  <a:schemeClr val="tx1"/>
                </a:solidFill>
                <a:latin typeface="+mn-lt"/>
                <a:cs typeface="Arial" panose="020B0604020202020204" pitchFamily="34" charset="0"/>
              </a:rPr>
              <a:t>i </a:t>
            </a:r>
            <a:r>
              <a:rPr lang="da-DK" altLang="da-DK" sz="675" b="0" noProof="1">
                <a:solidFill>
                  <a:schemeClr val="tx1"/>
                </a:solidFill>
                <a:latin typeface="Franklin Gothic Medium" panose="020B0603020102020204" pitchFamily="34" charset="0"/>
                <a:cs typeface="Arial" panose="020B0604020202020204" pitchFamily="34" charset="0"/>
              </a:rPr>
              <a:t>Hjem</a:t>
            </a:r>
            <a:r>
              <a:rPr lang="da-DK" altLang="da-DK" sz="675" b="0" noProof="1">
                <a:solidFill>
                  <a:schemeClr val="tx1"/>
                </a:solidFill>
                <a:latin typeface="+mn-lt"/>
                <a:cs typeface="Arial" panose="020B0604020202020204" pitchFamily="34" charset="0"/>
              </a:rPr>
              <a:t> fanen for at indsætte nyt slide</a:t>
            </a:r>
            <a:br>
              <a:rPr lang="da-DK" altLang="da-DK" sz="675" b="0" noProof="1">
                <a:solidFill>
                  <a:schemeClr val="tx1"/>
                </a:solidFill>
                <a:latin typeface="+mn-lt"/>
                <a:cs typeface="Arial" panose="020B0604020202020204" pitchFamily="34" charset="0"/>
              </a:rPr>
            </a:b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Franklin Gothic Medium" panose="020B0603020102020204" pitchFamily="34" charset="0"/>
                <a:cs typeface="Arial" panose="020B0604020202020204" pitchFamily="34" charset="0"/>
              </a:rPr>
              <a:t>Ændre layout</a:t>
            </a:r>
          </a:p>
          <a:p>
            <a:pPr eaLnBrk="1" hangingPunct="1">
              <a:spcAft>
                <a:spcPts val="450"/>
              </a:spcAft>
              <a:defRPr/>
            </a:pPr>
            <a:r>
              <a:rPr lang="da-DK" altLang="da-DK" sz="675" b="0" noProof="1">
                <a:solidFill>
                  <a:schemeClr val="tx1"/>
                </a:solidFill>
                <a:latin typeface="+mn-lt"/>
                <a:cs typeface="Arial" panose="020B0604020202020204" pitchFamily="34" charset="0"/>
              </a:rPr>
              <a:t>Klik på pilen</a:t>
            </a:r>
            <a:r>
              <a:rPr lang="da-DK" altLang="da-DK" sz="675" b="0" baseline="0" noProof="1">
                <a:solidFill>
                  <a:schemeClr val="tx1"/>
                </a:solidFill>
                <a:latin typeface="+mn-lt"/>
                <a:cs typeface="Arial" panose="020B0604020202020204" pitchFamily="34" charset="0"/>
              </a:rPr>
              <a:t> ved siden af </a:t>
            </a:r>
            <a:r>
              <a:rPr lang="da-DK" altLang="da-DK" sz="675" b="0" baseline="0" noProof="1">
                <a:solidFill>
                  <a:schemeClr val="tx1"/>
                </a:solidFill>
                <a:latin typeface="Franklin Gothic Medium" panose="020B0603020102020204" pitchFamily="34" charset="0"/>
                <a:cs typeface="Arial" panose="020B0604020202020204" pitchFamily="34" charset="0"/>
              </a:rPr>
              <a:t>Layout</a:t>
            </a:r>
            <a:br>
              <a:rPr lang="da-DK" altLang="da-DK" sz="675" b="0" baseline="0" noProof="1">
                <a:solidFill>
                  <a:schemeClr val="tx1"/>
                </a:solidFill>
                <a:latin typeface="+mn-lt"/>
                <a:cs typeface="Arial" panose="020B0604020202020204" pitchFamily="34" charset="0"/>
              </a:rPr>
            </a:br>
            <a:r>
              <a:rPr lang="da-DK" altLang="da-DK" sz="675" b="0" baseline="0" noProof="1">
                <a:solidFill>
                  <a:schemeClr val="tx1"/>
                </a:solidFill>
                <a:latin typeface="+mn-lt"/>
                <a:cs typeface="Arial" panose="020B0604020202020204" pitchFamily="34" charset="0"/>
              </a:rPr>
              <a:t>for at få vist en dropdown menu af </a:t>
            </a:r>
            <a:br>
              <a:rPr lang="da-DK" altLang="da-DK" sz="675" b="0" baseline="0" noProof="1">
                <a:solidFill>
                  <a:schemeClr val="tx1"/>
                </a:solidFill>
                <a:latin typeface="+mn-lt"/>
                <a:cs typeface="Arial" panose="020B0604020202020204" pitchFamily="34" charset="0"/>
              </a:rPr>
            </a:br>
            <a:r>
              <a:rPr lang="da-DK" altLang="da-DK" sz="675" b="0" baseline="0" noProof="1">
                <a:solidFill>
                  <a:schemeClr val="tx1"/>
                </a:solidFill>
                <a:latin typeface="+mn-lt"/>
                <a:cs typeface="Arial" panose="020B0604020202020204" pitchFamily="34" charset="0"/>
              </a:rPr>
              <a:t>mulige slides layout</a:t>
            </a:r>
            <a:endParaRPr lang="da-DK" altLang="da-DK" sz="675" b="0" noProof="1">
              <a:solidFill>
                <a:schemeClr val="tx1"/>
              </a:solidFill>
              <a:latin typeface="+mn-lt"/>
              <a:cs typeface="Arial" panose="020B0604020202020204" pitchFamily="34" charset="0"/>
            </a:endParaRPr>
          </a:p>
        </p:txBody>
      </p:sp>
      <p:sp>
        <p:nvSpPr>
          <p:cNvPr id="28" name="Text Box 3">
            <a:extLst>
              <a:ext uri="{FF2B5EF4-FFF2-40B4-BE49-F238E27FC236}">
                <a16:creationId xmlns:a16="http://schemas.microsoft.com/office/drawing/2014/main" id="{F5D76AC5-956B-497C-88E2-05290D3AAF8A}"/>
              </a:ext>
            </a:extLst>
          </p:cNvPr>
          <p:cNvSpPr txBox="1">
            <a:spLocks noChangeArrowheads="1"/>
          </p:cNvSpPr>
          <p:nvPr userDrawn="1"/>
        </p:nvSpPr>
        <p:spPr bwMode="auto">
          <a:xfrm>
            <a:off x="3230814" y="1211236"/>
            <a:ext cx="1836683" cy="312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900"/>
              </a:spcBef>
              <a:spcAft>
                <a:spcPts val="450"/>
              </a:spcAft>
              <a:buFont typeface="+mj-lt"/>
              <a:buNone/>
              <a:defRPr/>
            </a:pPr>
            <a:r>
              <a:rPr lang="da-DK" sz="675" b="0" noProof="1">
                <a:solidFill>
                  <a:schemeClr val="tx1"/>
                </a:solidFill>
                <a:latin typeface="Franklin Gothic Medium" panose="020B0603020102020204" pitchFamily="34" charset="0"/>
                <a:cs typeface="Arial" panose="020B0604020202020204" pitchFamily="34" charset="0"/>
              </a:rPr>
              <a:t>Nulstil slide</a:t>
            </a:r>
          </a:p>
          <a:p>
            <a:pPr marL="0" marR="0" indent="0" algn="l" defTabSz="685800" rtl="0" eaLnBrk="1" fontAlgn="auto" latinLnBrk="0" hangingPunct="1">
              <a:lnSpc>
                <a:spcPct val="100000"/>
              </a:lnSpc>
              <a:spcBef>
                <a:spcPts val="0"/>
              </a:spcBef>
              <a:spcAft>
                <a:spcPts val="450"/>
              </a:spcAft>
              <a:buClrTx/>
              <a:buSzTx/>
              <a:buFont typeface="+mj-lt"/>
              <a:buNone/>
              <a:tabLst/>
              <a:defRPr/>
            </a:pPr>
            <a:r>
              <a:rPr lang="da-DK" altLang="da-DK" sz="675" b="0" noProof="1">
                <a:solidFill>
                  <a:schemeClr val="tx1"/>
                </a:solidFill>
                <a:latin typeface="Franklin Gothic Medium" panose="020B0603020102020204" pitchFamily="34" charset="0"/>
                <a:cs typeface="Arial" panose="020B0604020202020204" pitchFamily="34" charset="0"/>
              </a:rPr>
              <a:t>1. </a:t>
            </a:r>
            <a:r>
              <a:rPr lang="da-DK" altLang="da-DK" sz="675" b="0" noProof="1">
                <a:solidFill>
                  <a:schemeClr val="tx1"/>
                </a:solidFill>
                <a:latin typeface="+mn-lt"/>
                <a:cs typeface="Arial" panose="020B0604020202020204" pitchFamily="34" charset="0"/>
              </a:rPr>
              <a:t>Klik på </a:t>
            </a:r>
            <a:r>
              <a:rPr lang="da-DK" altLang="da-DK" sz="675" b="0" noProof="1">
                <a:solidFill>
                  <a:schemeClr val="tx1"/>
                </a:solidFill>
                <a:latin typeface="Franklin Gothic Medium" panose="020B0603020102020204" pitchFamily="34" charset="0"/>
                <a:cs typeface="Arial" panose="020B0604020202020204" pitchFamily="34" charset="0"/>
              </a:rPr>
              <a:t>Hjem</a:t>
            </a:r>
            <a:r>
              <a:rPr lang="da-DK" altLang="da-DK" sz="675" b="0" noProof="1">
                <a:solidFill>
                  <a:schemeClr val="tx1"/>
                </a:solidFill>
                <a:latin typeface="+mn-lt"/>
                <a:cs typeface="Arial" panose="020B0604020202020204" pitchFamily="34" charset="0"/>
              </a:rPr>
              <a:t> knappen</a:t>
            </a:r>
          </a:p>
          <a:p>
            <a:pPr marL="0" marR="0" indent="0" algn="l" defTabSz="685800" rtl="0" eaLnBrk="1" fontAlgn="auto" latinLnBrk="0" hangingPunct="1">
              <a:lnSpc>
                <a:spcPct val="100000"/>
              </a:lnSpc>
              <a:spcBef>
                <a:spcPts val="0"/>
              </a:spcBef>
              <a:spcAft>
                <a:spcPts val="450"/>
              </a:spcAft>
              <a:buClrTx/>
              <a:buSzTx/>
              <a:buFont typeface="+mj-lt"/>
              <a:buNone/>
              <a:tabLst/>
              <a:defRPr/>
            </a:pPr>
            <a:r>
              <a:rPr lang="da-DK" altLang="da-DK" sz="675" b="0" noProof="1">
                <a:solidFill>
                  <a:schemeClr val="tx1"/>
                </a:solidFill>
                <a:latin typeface="Franklin Gothic Medium" panose="020B0603020102020204" pitchFamily="34" charset="0"/>
                <a:cs typeface="Arial" panose="020B0604020202020204" pitchFamily="34" charset="0"/>
              </a:rPr>
              <a:t>2. </a:t>
            </a:r>
            <a:r>
              <a:rPr lang="da-DK" altLang="da-DK" sz="675" b="0" noProof="1">
                <a:solidFill>
                  <a:schemeClr val="tx1"/>
                </a:solidFill>
                <a:latin typeface="+mn-lt"/>
                <a:cs typeface="Arial" panose="020B0604020202020204" pitchFamily="34" charset="0"/>
              </a:rPr>
              <a:t>Vælg </a:t>
            </a:r>
            <a:r>
              <a:rPr lang="da-DK" altLang="da-DK" sz="675" b="0" noProof="1">
                <a:solidFill>
                  <a:schemeClr val="tx1"/>
                </a:solidFill>
                <a:latin typeface="Franklin Gothic Medium" panose="020B0603020102020204" pitchFamily="34" charset="0"/>
                <a:cs typeface="Arial" panose="020B0604020202020204" pitchFamily="34" charset="0"/>
              </a:rPr>
              <a:t>Nulstil </a:t>
            </a:r>
            <a:r>
              <a:rPr lang="da-DK" altLang="da-DK" sz="675" b="0" noProof="1">
                <a:solidFill>
                  <a:schemeClr val="tx1"/>
                </a:solidFill>
                <a:latin typeface="+mn-lt"/>
                <a:cs typeface="Arial" panose="020B0604020202020204" pitchFamily="34" charset="0"/>
              </a:rPr>
              <a:t>for at nulstille placering, størrelse og formatering af pladsholdere til layoutets oprindelige design i </a:t>
            </a:r>
            <a:r>
              <a:rPr lang="da-DK" altLang="da-DK" sz="675" b="0" noProof="1">
                <a:solidFill>
                  <a:schemeClr val="tx1"/>
                </a:solidFill>
                <a:latin typeface="Franklin Gothic Medium" panose="020B0603020102020204" pitchFamily="34" charset="0"/>
                <a:cs typeface="Arial" panose="020B0604020202020204" pitchFamily="34" charset="0"/>
              </a:rPr>
              <a:t>Hjem</a:t>
            </a:r>
            <a:r>
              <a:rPr lang="da-DK" altLang="da-DK" sz="675" b="0" noProof="1">
                <a:solidFill>
                  <a:schemeClr val="tx1"/>
                </a:solidFill>
                <a:latin typeface="+mn-lt"/>
                <a:cs typeface="Arial" panose="020B0604020202020204" pitchFamily="34" charset="0"/>
              </a:rPr>
              <a:t> fanen</a:t>
            </a:r>
            <a:endParaRPr lang="da-DK" sz="675" b="1" noProof="1">
              <a:solidFill>
                <a:schemeClr val="tx1"/>
              </a:solidFill>
              <a:latin typeface="+mn-lt"/>
              <a:cs typeface="Arial" panose="020B0604020202020204" pitchFamily="34" charset="0"/>
            </a:endParaRPr>
          </a:p>
          <a:p>
            <a:pPr marL="0" marR="0" indent="0" algn="l" defTabSz="685800" rtl="0" eaLnBrk="1" fontAlgn="auto" latinLnBrk="0" hangingPunct="1">
              <a:lnSpc>
                <a:spcPct val="100000"/>
              </a:lnSpc>
              <a:spcBef>
                <a:spcPts val="0"/>
              </a:spcBef>
              <a:spcAft>
                <a:spcPts val="450"/>
              </a:spcAft>
              <a:buClrTx/>
              <a:buSzTx/>
              <a:buFont typeface="+mj-lt"/>
              <a:buNone/>
              <a:tabLst/>
              <a:defRPr/>
            </a:pPr>
            <a:endParaRPr lang="da-DK" sz="675" b="1" noProof="1">
              <a:solidFill>
                <a:schemeClr val="tx1"/>
              </a:solidFill>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da-DK" sz="1200" dirty="0">
                <a:latin typeface="+mn-lt"/>
                <a:cs typeface="Arial" panose="020B0604020202020204" pitchFamily="34" charset="0"/>
              </a:rPr>
              <a:t>BILLEDER</a:t>
            </a:r>
            <a:endParaRPr lang="da-DK" sz="1200" b="1" noProof="1">
              <a:solidFill>
                <a:schemeClr val="tx1"/>
              </a:solidFill>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da-DK" altLang="da-DK" sz="675" b="0" noProof="1">
                <a:solidFill>
                  <a:schemeClr val="tx1"/>
                </a:solidFill>
                <a:latin typeface="+mn-lt"/>
                <a:cs typeface="Arial" panose="020B0604020202020204" pitchFamily="34" charset="0"/>
              </a:rPr>
              <a:t>På slides med billedpladsholder,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klik på ikonet og vælg </a:t>
            </a:r>
            <a:r>
              <a:rPr lang="da-DK" altLang="da-DK" sz="675" b="0" noProof="1">
                <a:solidFill>
                  <a:schemeClr val="tx1"/>
                </a:solidFill>
                <a:latin typeface="Franklin Gothic Medium" panose="020B0603020102020204" pitchFamily="34" charset="0"/>
                <a:cs typeface="Arial" panose="020B0604020202020204" pitchFamily="34" charset="0"/>
              </a:rPr>
              <a:t>Indsæt </a:t>
            </a:r>
            <a:r>
              <a:rPr lang="da-DK" altLang="da-DK" sz="675" b="0" noProof="1">
                <a:solidFill>
                  <a:schemeClr val="tx1"/>
                </a:solidFill>
                <a:latin typeface="+mn-lt"/>
                <a:cs typeface="Arial" panose="020B0604020202020204" pitchFamily="34" charset="0"/>
              </a:rPr>
              <a:t>for at søge efter billede</a:t>
            </a:r>
          </a:p>
          <a:p>
            <a:pPr eaLnBrk="1" hangingPunct="1">
              <a:spcBef>
                <a:spcPts val="900"/>
              </a:spcBef>
              <a:spcAft>
                <a:spcPts val="450"/>
              </a:spcAft>
              <a:defRPr/>
            </a:pPr>
            <a:r>
              <a:rPr lang="da-DK" sz="675" b="0" noProof="1">
                <a:solidFill>
                  <a:schemeClr val="tx1"/>
                </a:solidFill>
                <a:latin typeface="Franklin Gothic Medium" panose="020B0603020102020204" pitchFamily="34" charset="0"/>
                <a:cs typeface="Arial" panose="020B0604020202020204" pitchFamily="34" charset="0"/>
              </a:rPr>
              <a:t>Beskær billede</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1. </a:t>
            </a:r>
            <a:r>
              <a:rPr lang="da-DK" altLang="da-DK" sz="675" b="0" noProof="1">
                <a:solidFill>
                  <a:schemeClr val="tx1"/>
                </a:solidFill>
                <a:latin typeface="+mn-lt"/>
                <a:cs typeface="Arial" panose="020B0604020202020204" pitchFamily="34" charset="0"/>
              </a:rPr>
              <a:t>Klik </a:t>
            </a:r>
            <a:r>
              <a:rPr lang="da-DK" altLang="da-DK" sz="675" b="0" noProof="1">
                <a:solidFill>
                  <a:schemeClr val="tx1"/>
                </a:solidFill>
                <a:latin typeface="Franklin Gothic Medium" panose="020B0603020102020204" pitchFamily="34" charset="0"/>
                <a:cs typeface="Arial" panose="020B0604020202020204" pitchFamily="34" charset="0"/>
              </a:rPr>
              <a:t>Beskær</a:t>
            </a:r>
            <a:r>
              <a:rPr lang="da-DK" altLang="da-DK" sz="675" b="0" noProof="1">
                <a:solidFill>
                  <a:schemeClr val="tx1"/>
                </a:solidFill>
                <a:latin typeface="+mn-lt"/>
                <a:cs typeface="Arial" panose="020B0604020202020204" pitchFamily="34" charset="0"/>
              </a:rPr>
              <a:t> for at ændre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billedets fokus/størrelse</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2. </a:t>
            </a:r>
            <a:r>
              <a:rPr lang="da-DK" altLang="da-DK" sz="675" b="0" noProof="1">
                <a:solidFill>
                  <a:schemeClr val="tx1"/>
                </a:solidFill>
                <a:latin typeface="+mn-lt"/>
                <a:cs typeface="Arial" panose="020B0604020202020204" pitchFamily="34" charset="0"/>
              </a:rPr>
              <a:t>Ønsker du at skalere billedet, så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hold </a:t>
            </a:r>
            <a:r>
              <a:rPr lang="da-DK" altLang="da-DK" sz="675" b="0" noProof="1">
                <a:solidFill>
                  <a:schemeClr val="tx1"/>
                </a:solidFill>
                <a:latin typeface="Franklin Gothic Medium" panose="020B0603020102020204" pitchFamily="34" charset="0"/>
                <a:cs typeface="Arial" panose="020B0604020202020204" pitchFamily="34" charset="0"/>
              </a:rPr>
              <a:t>SHIFT</a:t>
            </a:r>
            <a:r>
              <a:rPr lang="da-DK" altLang="da-DK" sz="675" b="0" noProof="1">
                <a:solidFill>
                  <a:schemeClr val="tx1"/>
                </a:solidFill>
                <a:latin typeface="+mn-lt"/>
                <a:cs typeface="Arial" panose="020B0604020202020204" pitchFamily="34" charset="0"/>
              </a:rPr>
              <a:t>-knappen nede, mens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du trækker i billedets hjørner</a:t>
            </a:r>
          </a:p>
          <a:p>
            <a:pPr eaLnBrk="1" hangingPunct="1">
              <a:spcAft>
                <a:spcPts val="450"/>
              </a:spcAft>
              <a:defRPr/>
            </a:pP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Franklin Gothic Medium" panose="020B0603020102020204" pitchFamily="34" charset="0"/>
                <a:cs typeface="Arial" panose="020B0604020202020204" pitchFamily="34" charset="0"/>
              </a:rPr>
              <a:t>TIP: </a:t>
            </a:r>
            <a:r>
              <a:rPr lang="da-DK" altLang="da-DK" sz="675" b="0" noProof="1">
                <a:solidFill>
                  <a:schemeClr val="tx1"/>
                </a:solidFill>
                <a:latin typeface="+mn-lt"/>
                <a:cs typeface="Arial" panose="020B0604020202020204" pitchFamily="34" charset="0"/>
              </a:rPr>
              <a:t>Hvis du sletter billedet og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indsætter et nyt, kan billedet lægge </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sig foran tekst og grafik. Hvis dette sker, højreklik på billedet og vælg </a:t>
            </a:r>
            <a:r>
              <a:rPr lang="da-DK" altLang="da-DK" sz="675" b="0" noProof="1">
                <a:solidFill>
                  <a:schemeClr val="tx1"/>
                </a:solidFill>
                <a:latin typeface="Franklin Gothic Medium" panose="020B0603020102020204" pitchFamily="34" charset="0"/>
                <a:cs typeface="Arial" panose="020B0604020202020204" pitchFamily="34" charset="0"/>
              </a:rPr>
              <a:t>Placer bagest</a:t>
            </a:r>
          </a:p>
          <a:p>
            <a:pPr eaLnBrk="1" hangingPunct="1">
              <a:spcAft>
                <a:spcPts val="450"/>
              </a:spcAft>
              <a:defRPr/>
            </a:pPr>
            <a:endParaRPr lang="da-DK" altLang="da-DK" sz="675" b="1" noProof="1">
              <a:solidFill>
                <a:schemeClr val="tx1"/>
              </a:solidFill>
              <a:latin typeface="+mn-lt"/>
              <a:cs typeface="Arial" panose="020B0604020202020204" pitchFamily="34" charset="0"/>
            </a:endParaRPr>
          </a:p>
        </p:txBody>
      </p:sp>
      <p:sp>
        <p:nvSpPr>
          <p:cNvPr id="30" name="Text Box 4">
            <a:extLst>
              <a:ext uri="{FF2B5EF4-FFF2-40B4-BE49-F238E27FC236}">
                <a16:creationId xmlns:a16="http://schemas.microsoft.com/office/drawing/2014/main" id="{460FBAEE-DC7E-44A6-BEA8-1DCAE4DE7726}"/>
              </a:ext>
            </a:extLst>
          </p:cNvPr>
          <p:cNvSpPr txBox="1">
            <a:spLocks noChangeArrowheads="1"/>
          </p:cNvSpPr>
          <p:nvPr userDrawn="1"/>
        </p:nvSpPr>
        <p:spPr bwMode="auto">
          <a:xfrm>
            <a:off x="6057161" y="1211235"/>
            <a:ext cx="1836683" cy="3648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81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da-DK" sz="1200" dirty="0">
                <a:latin typeface="+mn-lt"/>
                <a:cs typeface="Arial" panose="020B0604020202020204" pitchFamily="34" charset="0"/>
              </a:rPr>
              <a:t>SIDEHOVED &amp; -FOD</a:t>
            </a:r>
            <a:endParaRPr lang="da-DK" altLang="da-DK" sz="1200" b="0" noProof="1">
              <a:solidFill>
                <a:schemeClr val="tx1"/>
              </a:solidFill>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da-DK" altLang="da-DK" sz="675" b="0" noProof="1">
                <a:solidFill>
                  <a:schemeClr val="tx1"/>
                </a:solidFill>
                <a:latin typeface="+mn-lt"/>
                <a:cs typeface="Arial" panose="020B0604020202020204" pitchFamily="34" charset="0"/>
              </a:rPr>
              <a:t>Gør dette som</a:t>
            </a:r>
            <a:r>
              <a:rPr lang="da-DK" altLang="da-DK" sz="675" b="0" baseline="0" noProof="1">
                <a:solidFill>
                  <a:schemeClr val="tx1"/>
                </a:solidFill>
                <a:latin typeface="+mn-lt"/>
                <a:cs typeface="Arial" panose="020B0604020202020204" pitchFamily="34" charset="0"/>
              </a:rPr>
              <a:t> det sidste i din præsentation, så ændringerne slår igennem på alle slides</a:t>
            </a:r>
            <a:endParaRPr lang="da-DK" sz="675" b="1" noProof="1">
              <a:solidFill>
                <a:schemeClr val="tx1"/>
              </a:solidFill>
              <a:latin typeface="+mn-lt"/>
              <a:cs typeface="Arial" panose="020B0604020202020204" pitchFamily="34" charset="0"/>
            </a:endParaRPr>
          </a:p>
          <a:p>
            <a:pPr eaLnBrk="1" hangingPunct="1">
              <a:spcAft>
                <a:spcPts val="450"/>
              </a:spcAft>
              <a:defRPr/>
            </a:pPr>
            <a:r>
              <a:rPr lang="da-DK" altLang="da-DK" sz="675" b="0" noProof="1">
                <a:solidFill>
                  <a:schemeClr val="tx1"/>
                </a:solidFill>
                <a:latin typeface="+mn-lt"/>
                <a:cs typeface="Arial" panose="020B0604020202020204" pitchFamily="34" charset="0"/>
              </a:rPr>
              <a:t>Klik </a:t>
            </a:r>
            <a:r>
              <a:rPr lang="da-DK" altLang="da-DK" sz="675" b="0" noProof="1">
                <a:solidFill>
                  <a:schemeClr val="tx1"/>
                </a:solidFill>
                <a:latin typeface="Franklin Gothic Medium" panose="020B0603020102020204" pitchFamily="34" charset="0"/>
                <a:cs typeface="Arial" panose="020B0604020202020204" pitchFamily="34" charset="0"/>
              </a:rPr>
              <a:t>Sidehoved og Sidefod </a:t>
            </a:r>
            <a:r>
              <a:rPr lang="da-DK" altLang="da-DK" sz="675" b="0" noProof="1">
                <a:solidFill>
                  <a:schemeClr val="tx1"/>
                </a:solidFill>
                <a:latin typeface="+mn-lt"/>
                <a:cs typeface="Arial" panose="020B0604020202020204" pitchFamily="34" charset="0"/>
              </a:rPr>
              <a:t>i fanen </a:t>
            </a:r>
            <a:r>
              <a:rPr lang="da-DK" altLang="da-DK" sz="675" b="0" noProof="1">
                <a:solidFill>
                  <a:schemeClr val="tx1"/>
                </a:solidFill>
                <a:latin typeface="Franklin Gothic Medium" panose="020B0603020102020204" pitchFamily="34" charset="0"/>
                <a:cs typeface="Arial" panose="020B0604020202020204" pitchFamily="34" charset="0"/>
              </a:rPr>
              <a:t>Indsæt</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mn-lt"/>
                <a:cs typeface="Arial" panose="020B0604020202020204" pitchFamily="34" charset="0"/>
              </a:rPr>
              <a:t>(standard tekst er Digitaliseringsstyrelsen)</a:t>
            </a:r>
          </a:p>
          <a:p>
            <a:pPr eaLnBrk="1" hangingPunct="1">
              <a:spcAft>
                <a:spcPts val="450"/>
              </a:spcAft>
              <a:defRPr/>
            </a:pPr>
            <a:r>
              <a:rPr lang="da-DK" altLang="da-DK" sz="675" b="0" noProof="1">
                <a:solidFill>
                  <a:schemeClr val="tx1"/>
                </a:solidFill>
                <a:latin typeface="+mn-lt"/>
                <a:cs typeface="Arial" panose="020B0604020202020204" pitchFamily="34" charset="0"/>
              </a:rPr>
              <a:t>Vælg </a:t>
            </a:r>
            <a:r>
              <a:rPr lang="da-DK" altLang="da-DK" sz="675" b="0" noProof="1">
                <a:solidFill>
                  <a:schemeClr val="tx1"/>
                </a:solidFill>
                <a:latin typeface="Franklin Gothic Medium" panose="020B0603020102020204" pitchFamily="34" charset="0"/>
                <a:cs typeface="Arial" panose="020B0604020202020204" pitchFamily="34" charset="0"/>
              </a:rPr>
              <a:t>Anvend på alle </a:t>
            </a:r>
            <a:r>
              <a:rPr lang="da-DK" altLang="da-DK" sz="675" b="0" noProof="1">
                <a:solidFill>
                  <a:schemeClr val="tx1"/>
                </a:solidFill>
                <a:latin typeface="+mn-lt"/>
                <a:cs typeface="Arial" panose="020B0604020202020204" pitchFamily="34" charset="0"/>
              </a:rPr>
              <a:t>eller </a:t>
            </a:r>
            <a:r>
              <a:rPr lang="da-DK" altLang="da-DK" sz="675" b="0" noProof="1">
                <a:solidFill>
                  <a:schemeClr val="tx1"/>
                </a:solidFill>
                <a:latin typeface="Franklin Gothic Medium" panose="020B0603020102020204" pitchFamily="34" charset="0"/>
                <a:cs typeface="Arial" panose="020B0604020202020204" pitchFamily="34" charset="0"/>
              </a:rPr>
              <a:t>Anvend</a:t>
            </a:r>
            <a:r>
              <a:rPr lang="da-DK" altLang="da-DK" sz="675" b="0" noProof="1">
                <a:solidFill>
                  <a:schemeClr val="tx1"/>
                </a:solidFill>
                <a:latin typeface="+mn-lt"/>
                <a:cs typeface="Arial" panose="020B0604020202020204" pitchFamily="34" charset="0"/>
              </a:rPr>
              <a:t> hvis det kun skal være på et enkelt slide</a:t>
            </a:r>
          </a:p>
          <a:p>
            <a:pPr eaLnBrk="1" hangingPunct="1">
              <a:spcAft>
                <a:spcPts val="450"/>
              </a:spcAft>
              <a:defRPr/>
            </a:pPr>
            <a:endParaRPr lang="da-DK" sz="675" b="0" noProof="1">
              <a:solidFill>
                <a:schemeClr val="tx1"/>
              </a:solidFill>
              <a:latin typeface="+mn-lt"/>
              <a:cs typeface="Arial" panose="020B0604020202020204" pitchFamily="34" charset="0"/>
            </a:endParaRPr>
          </a:p>
          <a:p>
            <a:pPr eaLnBrk="1" hangingPunct="1">
              <a:spcAft>
                <a:spcPts val="450"/>
              </a:spcAft>
              <a:defRPr/>
            </a:pPr>
            <a:r>
              <a:rPr lang="da-DK" sz="1200" dirty="0">
                <a:latin typeface="+mn-lt"/>
                <a:cs typeface="Arial" panose="020B0604020202020204" pitchFamily="34" charset="0"/>
              </a:rPr>
              <a:t>HJÆLPELINJER</a:t>
            </a:r>
            <a:endParaRPr lang="da-DK" sz="1200" b="1" noProof="1">
              <a:solidFill>
                <a:schemeClr val="tx1"/>
              </a:solidFill>
              <a:latin typeface="+mn-lt"/>
              <a:cs typeface="Arial" panose="020B0604020202020204" pitchFamily="34" charset="0"/>
            </a:endParaRPr>
          </a:p>
          <a:p>
            <a:pPr eaLnBrk="1" hangingPunct="1">
              <a:spcAft>
                <a:spcPts val="450"/>
              </a:spcAft>
              <a:defRPr/>
            </a:pPr>
            <a:r>
              <a:rPr lang="da-DK" altLang="da-DK" sz="675" b="0" noProof="1">
                <a:solidFill>
                  <a:schemeClr val="tx1"/>
                </a:solidFill>
                <a:latin typeface="+mn-lt"/>
                <a:cs typeface="Arial" panose="020B0604020202020204" pitchFamily="34" charset="0"/>
              </a:rPr>
              <a:t>Klik på fanen </a:t>
            </a:r>
            <a:r>
              <a:rPr lang="da-DK" altLang="da-DK" sz="675" b="0" noProof="1">
                <a:solidFill>
                  <a:schemeClr val="tx1"/>
                </a:solidFill>
                <a:latin typeface="Franklin Gothic Medium" panose="020B0603020102020204" pitchFamily="34" charset="0"/>
                <a:cs typeface="Arial" panose="020B0604020202020204" pitchFamily="34" charset="0"/>
              </a:rPr>
              <a:t>Vis </a:t>
            </a:r>
            <a:r>
              <a:rPr lang="da-DK" altLang="da-DK" sz="675" b="0" noProof="1">
                <a:solidFill>
                  <a:schemeClr val="tx1"/>
                </a:solidFill>
                <a:latin typeface="+mn-lt"/>
                <a:cs typeface="Arial" panose="020B0604020202020204" pitchFamily="34" charset="0"/>
              </a:rPr>
              <a:t>og sæt hak ved </a:t>
            </a:r>
            <a:r>
              <a:rPr lang="da-DK" altLang="da-DK" sz="675" b="0" noProof="1">
                <a:solidFill>
                  <a:schemeClr val="tx1"/>
                </a:solidFill>
                <a:latin typeface="Franklin Gothic Medium" panose="020B0603020102020204" pitchFamily="34" charset="0"/>
                <a:cs typeface="Arial" panose="020B0604020202020204" pitchFamily="34" charset="0"/>
              </a:rPr>
              <a:t>Hjælpelinjer</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TIP: Alt + F9 </a:t>
            </a:r>
            <a:r>
              <a:rPr lang="da-DK" altLang="da-DK" sz="675" b="0" noProof="1">
                <a:solidFill>
                  <a:schemeClr val="tx1"/>
                </a:solidFill>
                <a:latin typeface="+mn-lt"/>
                <a:cs typeface="Arial" panose="020B0604020202020204" pitchFamily="34" charset="0"/>
              </a:rPr>
              <a:t>for hurtig visning af hjælpelinjer</a:t>
            </a:r>
            <a:br>
              <a:rPr lang="da-DK" altLang="da-DK" sz="675" b="0" noProof="1">
                <a:solidFill>
                  <a:schemeClr val="tx1"/>
                </a:solidFill>
                <a:latin typeface="+mn-lt"/>
                <a:cs typeface="Arial" panose="020B0604020202020204" pitchFamily="34" charset="0"/>
              </a:rPr>
            </a:br>
            <a:r>
              <a:rPr lang="da-DK" altLang="da-DK" sz="675" b="0" noProof="1">
                <a:solidFill>
                  <a:schemeClr val="tx1"/>
                </a:solidFill>
                <a:latin typeface="Franklin Gothic Medium" panose="020B0603020102020204" pitchFamily="34" charset="0"/>
                <a:cs typeface="Arial" panose="020B0604020202020204" pitchFamily="34" charset="0"/>
              </a:rPr>
              <a:t>Mac: </a:t>
            </a:r>
            <a:r>
              <a:rPr lang="da-DK" sz="675" b="0" i="0" dirty="0">
                <a:solidFill>
                  <a:srgbClr val="333333"/>
                </a:solidFill>
                <a:effectLst/>
                <a:latin typeface="Arial"/>
              </a:rPr>
              <a:t>⌘ </a:t>
            </a:r>
            <a:r>
              <a:rPr lang="da-DK" altLang="da-DK" sz="675" b="0" noProof="1">
                <a:solidFill>
                  <a:schemeClr val="tx1"/>
                </a:solidFill>
                <a:latin typeface="+mn-lt"/>
                <a:cs typeface="Arial" panose="020B0604020202020204" pitchFamily="34" charset="0"/>
              </a:rPr>
              <a:t>+ option + ctrl + G</a:t>
            </a:r>
            <a:br>
              <a:rPr lang="da-DK" altLang="da-DK" sz="675" b="0" noProof="1">
                <a:solidFill>
                  <a:schemeClr val="tx1"/>
                </a:solidFill>
                <a:latin typeface="+mn-lt"/>
                <a:cs typeface="Arial" panose="020B0604020202020204" pitchFamily="34" charset="0"/>
              </a:rPr>
            </a:br>
            <a:endParaRPr lang="da-DK" altLang="da-DK" sz="675" b="0" noProof="1">
              <a:solidFill>
                <a:schemeClr val="tx1"/>
              </a:solidFill>
              <a:latin typeface="+mn-lt"/>
              <a:cs typeface="Arial" panose="020B0604020202020204" pitchFamily="34" charset="0"/>
            </a:endParaRPr>
          </a:p>
          <a:p>
            <a:pPr eaLnBrk="1" hangingPunct="1">
              <a:spcAft>
                <a:spcPts val="450"/>
              </a:spcAft>
              <a:defRPr/>
            </a:pPr>
            <a:r>
              <a:rPr lang="da-DK" altLang="da-DK" sz="1200" b="0" noProof="1">
                <a:solidFill>
                  <a:schemeClr val="tx1"/>
                </a:solidFill>
                <a:latin typeface="+mn-lt"/>
                <a:cs typeface="Arial" panose="020B0604020202020204" pitchFamily="34" charset="0"/>
              </a:rPr>
              <a:t>COPY/PASTE INDHOLD</a:t>
            </a:r>
          </a:p>
          <a:p>
            <a:pPr eaLnBrk="1" hangingPunct="1">
              <a:spcAft>
                <a:spcPts val="450"/>
              </a:spcAft>
              <a:defRPr/>
            </a:pPr>
            <a:r>
              <a:rPr lang="da-DK" altLang="da-DK" sz="675" b="0" noProof="1">
                <a:solidFill>
                  <a:schemeClr val="tx1"/>
                </a:solidFill>
                <a:latin typeface="+mn-lt"/>
                <a:cs typeface="Arial" panose="020B0604020202020204" pitchFamily="34" charset="0"/>
              </a:rPr>
              <a:t>Du har 2 muligheder, når du kopierer gammelt indhold over i din nye præsentation:</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1. Best practice: </a:t>
            </a:r>
            <a:r>
              <a:rPr lang="da-DK" altLang="da-DK" sz="675" b="0" noProof="1">
                <a:solidFill>
                  <a:schemeClr val="tx1"/>
                </a:solidFill>
                <a:latin typeface="+mn-lt"/>
                <a:cs typeface="Arial" panose="020B0604020202020204" pitchFamily="34" charset="0"/>
              </a:rPr>
              <a:t>Opret et slide i din nye præsentation og kopier ét indholdselement ad gangen (fx kopier al tekst fra én tekstboks)</a:t>
            </a:r>
          </a:p>
          <a:p>
            <a:pPr eaLnBrk="1" hangingPunct="1">
              <a:spcAft>
                <a:spcPts val="450"/>
              </a:spcAft>
              <a:defRPr/>
            </a:pPr>
            <a:r>
              <a:rPr lang="da-DK" altLang="da-DK" sz="675" b="0" noProof="1">
                <a:solidFill>
                  <a:schemeClr val="tx1"/>
                </a:solidFill>
                <a:latin typeface="Franklin Gothic Medium" panose="020B0603020102020204" pitchFamily="34" charset="0"/>
                <a:cs typeface="Arial" panose="020B0604020202020204" pitchFamily="34" charset="0"/>
              </a:rPr>
              <a:t>2. </a:t>
            </a:r>
            <a:r>
              <a:rPr lang="da-DK" altLang="da-DK" sz="675" b="0" noProof="1">
                <a:solidFill>
                  <a:schemeClr val="tx1"/>
                </a:solidFill>
                <a:latin typeface="+mn-lt"/>
                <a:cs typeface="Arial" panose="020B0604020202020204" pitchFamily="34" charset="0"/>
              </a:rPr>
              <a:t>Eller kopier et helt slide over i din nye præsentation og vælg derefter et passende layout. </a:t>
            </a:r>
            <a:r>
              <a:rPr lang="da-DK" altLang="da-DK" sz="675" b="0" noProof="1">
                <a:solidFill>
                  <a:srgbClr val="000000"/>
                </a:solidFill>
                <a:latin typeface="+mn-lt"/>
                <a:cs typeface="Arial" panose="020B0604020202020204" pitchFamily="34" charset="0"/>
              </a:rPr>
              <a:t>Når din præsentation er klar, åbner du en tom præsentation (tryk Ctrl+N). Kopier alle dias fra den nye præsentation, indsæt dem i den tomme præsentation. Dette vil sikre, at der ikke er ekstra layouts</a:t>
            </a:r>
            <a:endParaRPr lang="da-DK" altLang="da-DK" sz="675" b="0" noProof="1">
              <a:solidFill>
                <a:schemeClr val="tx1"/>
              </a:solidFill>
              <a:latin typeface="+mn-lt"/>
              <a:cs typeface="Arial" panose="020B0604020202020204" pitchFamily="34" charset="0"/>
            </a:endParaRPr>
          </a:p>
        </p:txBody>
      </p:sp>
      <p:pic>
        <p:nvPicPr>
          <p:cNvPr id="31" name="Picture 30">
            <a:extLst>
              <a:ext uri="{FF2B5EF4-FFF2-40B4-BE49-F238E27FC236}">
                <a16:creationId xmlns:a16="http://schemas.microsoft.com/office/drawing/2014/main" id="{E7B73ADD-C9A2-4CC9-B9B1-829AB8120F3E}"/>
              </a:ext>
            </a:extLst>
          </p:cNvPr>
          <p:cNvPicPr>
            <a:picLocks noChangeAspect="1"/>
          </p:cNvPicPr>
          <p:nvPr userDrawn="1"/>
        </p:nvPicPr>
        <p:blipFill>
          <a:blip r:embed="rId2"/>
          <a:stretch>
            <a:fillRect/>
          </a:stretch>
        </p:blipFill>
        <p:spPr>
          <a:xfrm>
            <a:off x="2166155" y="2630205"/>
            <a:ext cx="192857" cy="214286"/>
          </a:xfrm>
          <a:prstGeom prst="rect">
            <a:avLst/>
          </a:prstGeom>
        </p:spPr>
      </p:pic>
      <p:pic>
        <p:nvPicPr>
          <p:cNvPr id="32" name="Picture 31">
            <a:extLst>
              <a:ext uri="{FF2B5EF4-FFF2-40B4-BE49-F238E27FC236}">
                <a16:creationId xmlns:a16="http://schemas.microsoft.com/office/drawing/2014/main" id="{94E7EF11-FB06-4FF3-89B6-C9C7B40D4DAE}"/>
              </a:ext>
            </a:extLst>
          </p:cNvPr>
          <p:cNvPicPr>
            <a:picLocks noChangeAspect="1"/>
          </p:cNvPicPr>
          <p:nvPr userDrawn="1"/>
        </p:nvPicPr>
        <p:blipFill rotWithShape="1">
          <a:blip r:embed="rId3"/>
          <a:srcRect l="3901" t="45142" r="62601" b="9046"/>
          <a:stretch/>
        </p:blipFill>
        <p:spPr>
          <a:xfrm>
            <a:off x="4909000" y="2361252"/>
            <a:ext cx="255903" cy="241280"/>
          </a:xfrm>
          <a:prstGeom prst="rect">
            <a:avLst/>
          </a:prstGeom>
        </p:spPr>
      </p:pic>
      <p:pic>
        <p:nvPicPr>
          <p:cNvPr id="33" name="Billede 1">
            <a:extLst>
              <a:ext uri="{FF2B5EF4-FFF2-40B4-BE49-F238E27FC236}">
                <a16:creationId xmlns:a16="http://schemas.microsoft.com/office/drawing/2014/main" id="{58944A03-80A9-4768-89E7-4E910EFFBC28}"/>
              </a:ext>
            </a:extLst>
          </p:cNvPr>
          <p:cNvPicPr>
            <a:picLocks noChangeAspect="1"/>
          </p:cNvPicPr>
          <p:nvPr userDrawn="1"/>
        </p:nvPicPr>
        <p:blipFill>
          <a:blip r:embed="rId4"/>
          <a:stretch>
            <a:fillRect/>
          </a:stretch>
        </p:blipFill>
        <p:spPr>
          <a:xfrm>
            <a:off x="2170240" y="3394029"/>
            <a:ext cx="231442" cy="396023"/>
          </a:xfrm>
          <a:prstGeom prst="rect">
            <a:avLst/>
          </a:prstGeom>
        </p:spPr>
      </p:pic>
      <p:pic>
        <p:nvPicPr>
          <p:cNvPr id="35" name="Billede 4">
            <a:extLst>
              <a:ext uri="{FF2B5EF4-FFF2-40B4-BE49-F238E27FC236}">
                <a16:creationId xmlns:a16="http://schemas.microsoft.com/office/drawing/2014/main" id="{51BFC2D6-78F9-4DE9-9EA2-2262FCDF4EAF}"/>
              </a:ext>
            </a:extLst>
          </p:cNvPr>
          <p:cNvPicPr>
            <a:picLocks noChangeAspect="1"/>
          </p:cNvPicPr>
          <p:nvPr userDrawn="1"/>
        </p:nvPicPr>
        <p:blipFill rotWithShape="1">
          <a:blip r:embed="rId5"/>
          <a:srcRect l="3031"/>
          <a:stretch/>
        </p:blipFill>
        <p:spPr>
          <a:xfrm>
            <a:off x="4963310" y="1635073"/>
            <a:ext cx="372455" cy="129632"/>
          </a:xfrm>
          <a:prstGeom prst="rect">
            <a:avLst/>
          </a:prstGeom>
        </p:spPr>
      </p:pic>
      <p:pic>
        <p:nvPicPr>
          <p:cNvPr id="36" name="Billede 5">
            <a:extLst>
              <a:ext uri="{FF2B5EF4-FFF2-40B4-BE49-F238E27FC236}">
                <a16:creationId xmlns:a16="http://schemas.microsoft.com/office/drawing/2014/main" id="{EBC4A3E5-1D15-4741-BFC6-17ACF4D5CD3D}"/>
              </a:ext>
            </a:extLst>
          </p:cNvPr>
          <p:cNvPicPr>
            <a:picLocks noChangeAspect="1"/>
          </p:cNvPicPr>
          <p:nvPr userDrawn="1"/>
        </p:nvPicPr>
        <p:blipFill>
          <a:blip r:embed="rId6"/>
          <a:stretch>
            <a:fillRect/>
          </a:stretch>
        </p:blipFill>
        <p:spPr>
          <a:xfrm>
            <a:off x="4966108" y="2844491"/>
            <a:ext cx="274532" cy="360323"/>
          </a:xfrm>
          <a:prstGeom prst="rect">
            <a:avLst/>
          </a:prstGeom>
        </p:spPr>
      </p:pic>
      <p:pic>
        <p:nvPicPr>
          <p:cNvPr id="37" name="Picture 36">
            <a:extLst>
              <a:ext uri="{FF2B5EF4-FFF2-40B4-BE49-F238E27FC236}">
                <a16:creationId xmlns:a16="http://schemas.microsoft.com/office/drawing/2014/main" id="{6C19287C-813E-4966-89A1-64D6247DEA84}"/>
              </a:ext>
            </a:extLst>
          </p:cNvPr>
          <p:cNvPicPr>
            <a:picLocks noChangeAspect="1"/>
          </p:cNvPicPr>
          <p:nvPr userDrawn="1"/>
        </p:nvPicPr>
        <p:blipFill>
          <a:blip r:embed="rId7"/>
          <a:stretch>
            <a:fillRect/>
          </a:stretch>
        </p:blipFill>
        <p:spPr>
          <a:xfrm>
            <a:off x="2166561" y="2061675"/>
            <a:ext cx="342857" cy="192857"/>
          </a:xfrm>
          <a:prstGeom prst="rect">
            <a:avLst/>
          </a:prstGeom>
        </p:spPr>
      </p:pic>
      <p:pic>
        <p:nvPicPr>
          <p:cNvPr id="38" name="Picture 37">
            <a:extLst>
              <a:ext uri="{FF2B5EF4-FFF2-40B4-BE49-F238E27FC236}">
                <a16:creationId xmlns:a16="http://schemas.microsoft.com/office/drawing/2014/main" id="{007658DD-99CF-4B02-82C0-E6D1C908CA1A}"/>
              </a:ext>
            </a:extLst>
          </p:cNvPr>
          <p:cNvPicPr>
            <a:picLocks noChangeAspect="1"/>
          </p:cNvPicPr>
          <p:nvPr userDrawn="1"/>
        </p:nvPicPr>
        <p:blipFill>
          <a:blip r:embed="rId8"/>
          <a:stretch>
            <a:fillRect/>
          </a:stretch>
        </p:blipFill>
        <p:spPr>
          <a:xfrm>
            <a:off x="2170970" y="3902355"/>
            <a:ext cx="356571" cy="132572"/>
          </a:xfrm>
          <a:prstGeom prst="rect">
            <a:avLst/>
          </a:prstGeom>
        </p:spPr>
      </p:pic>
      <p:pic>
        <p:nvPicPr>
          <p:cNvPr id="13" name="Billede 12">
            <a:extLst>
              <a:ext uri="{FF2B5EF4-FFF2-40B4-BE49-F238E27FC236}">
                <a16:creationId xmlns:a16="http://schemas.microsoft.com/office/drawing/2014/main" id="{35803521-009F-447D-8D16-21D9EADF441A}"/>
              </a:ext>
            </a:extLst>
          </p:cNvPr>
          <p:cNvPicPr>
            <a:picLocks noChangeAspect="1"/>
          </p:cNvPicPr>
          <p:nvPr userDrawn="1"/>
        </p:nvPicPr>
        <p:blipFill>
          <a:blip r:embed="rId9"/>
          <a:stretch>
            <a:fillRect/>
          </a:stretch>
        </p:blipFill>
        <p:spPr>
          <a:xfrm>
            <a:off x="8038003" y="1608222"/>
            <a:ext cx="330146" cy="407525"/>
          </a:xfrm>
          <a:prstGeom prst="rect">
            <a:avLst/>
          </a:prstGeom>
        </p:spPr>
      </p:pic>
      <p:sp>
        <p:nvSpPr>
          <p:cNvPr id="14" name="Date Placeholder 6" hidden="1">
            <a:extLst>
              <a:ext uri="{FF2B5EF4-FFF2-40B4-BE49-F238E27FC236}">
                <a16:creationId xmlns:a16="http://schemas.microsoft.com/office/drawing/2014/main" id="{E4FD2B6E-39A9-4094-A5FF-CBA180265C06}"/>
              </a:ext>
            </a:extLst>
          </p:cNvPr>
          <p:cNvSpPr>
            <a:spLocks noGrp="1"/>
          </p:cNvSpPr>
          <p:nvPr>
            <p:ph type="dt" sz="half" idx="15"/>
          </p:nvPr>
        </p:nvSpPr>
        <p:spPr>
          <a:xfrm>
            <a:off x="0" y="5143500"/>
            <a:ext cx="0" cy="0"/>
          </a:xfrm>
        </p:spPr>
        <p:txBody>
          <a:bodyPr/>
          <a:lstStyle>
            <a:lvl1pPr>
              <a:defRPr sz="100">
                <a:noFill/>
              </a:defRPr>
            </a:lvl1pPr>
          </a:lstStyle>
          <a:p>
            <a:fld id="{FD8881F8-C1FF-49C4-949D-5147689C28DF}" type="datetime2">
              <a:rPr lang="da-DK" smtClean="0"/>
              <a:t>11. december 2025</a:t>
            </a:fld>
            <a:endParaRPr lang="da-DK" dirty="0"/>
          </a:p>
        </p:txBody>
      </p:sp>
      <p:sp>
        <p:nvSpPr>
          <p:cNvPr id="15" name="Footer Placeholder 8" hidden="1">
            <a:extLst>
              <a:ext uri="{FF2B5EF4-FFF2-40B4-BE49-F238E27FC236}">
                <a16:creationId xmlns:a16="http://schemas.microsoft.com/office/drawing/2014/main" id="{AAFF8183-88DB-4217-8B14-93C3A2F3C637}"/>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16" name="Slide Number Placeholder 10" hidden="1">
            <a:extLst>
              <a:ext uri="{FF2B5EF4-FFF2-40B4-BE49-F238E27FC236}">
                <a16:creationId xmlns:a16="http://schemas.microsoft.com/office/drawing/2014/main" id="{2ECA3156-EAFA-499A-BDD3-C3FE309B5732}"/>
              </a:ext>
            </a:extLst>
          </p:cNvPr>
          <p:cNvSpPr>
            <a:spLocks noGrp="1"/>
          </p:cNvSpPr>
          <p:nvPr>
            <p:ph type="sldNum" sz="quarter" idx="17"/>
          </p:nvPr>
        </p:nvSpPr>
        <p:spPr>
          <a:xfrm>
            <a:off x="0" y="5143500"/>
            <a:ext cx="0" cy="0"/>
          </a:xfrm>
        </p:spPr>
        <p:txBody>
          <a:bodyPr/>
          <a:lstStyle>
            <a:lvl1pPr>
              <a:defRPr sz="100">
                <a:no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12306369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9144000" cy="51435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450"/>
              </a:spcBef>
              <a:buClr>
                <a:srgbClr val="003755"/>
              </a:buClr>
            </a:pPr>
            <a:endParaRPr lang="da-DK" sz="1050" dirty="0" err="1">
              <a:solidFill>
                <a:schemeClr val="tx1"/>
              </a:solidFill>
            </a:endParaRPr>
          </a:p>
        </p:txBody>
      </p:sp>
      <p:sp>
        <p:nvSpPr>
          <p:cNvPr id="5" name="Do not use"/>
          <p:cNvSpPr txBox="1"/>
          <p:nvPr userDrawn="1"/>
        </p:nvSpPr>
        <p:spPr>
          <a:xfrm>
            <a:off x="322660" y="492618"/>
            <a:ext cx="8517733" cy="2169825"/>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da-DK" sz="3300" b="0" noProof="1">
                <a:solidFill>
                  <a:schemeClr val="bg1"/>
                </a:solidFill>
              </a:rPr>
              <a:t>Hvis du ser andre </a:t>
            </a:r>
            <a:r>
              <a:rPr lang="da-DK" sz="3300" b="1" i="1" noProof="1">
                <a:solidFill>
                  <a:schemeClr val="bg1"/>
                </a:solidFill>
              </a:rPr>
              <a:t>layouts efter dette,</a:t>
            </a:r>
            <a:br>
              <a:rPr lang="da-DK" sz="3300" b="0" i="0" noProof="1">
                <a:solidFill>
                  <a:schemeClr val="bg1"/>
                </a:solidFill>
              </a:rPr>
            </a:br>
            <a:r>
              <a:rPr lang="da-DK" sz="3300" b="0" noProof="1">
                <a:solidFill>
                  <a:schemeClr val="bg1"/>
                </a:solidFill>
              </a:rPr>
              <a:t>brug dem ikke. Disse layouts </a:t>
            </a:r>
            <a:r>
              <a:rPr lang="da-DK" sz="3300" b="1" i="1" u="none" noProof="1">
                <a:solidFill>
                  <a:schemeClr val="bg1"/>
                </a:solidFill>
              </a:rPr>
              <a:t>tilhører ikke </a:t>
            </a:r>
            <a:r>
              <a:rPr lang="da-DK" sz="3300" b="0" i="0" u="none" noProof="1">
                <a:solidFill>
                  <a:schemeClr val="bg1"/>
                </a:solidFill>
              </a:rPr>
              <a:t>vores corporate </a:t>
            </a:r>
            <a:r>
              <a:rPr lang="da-DK" sz="3300" b="0" noProof="1">
                <a:solidFill>
                  <a:schemeClr val="bg1"/>
                </a:solidFill>
              </a:rPr>
              <a:t>skabelon.</a:t>
            </a:r>
            <a:br>
              <a:rPr lang="da-DK" sz="2100" b="0" noProof="1">
                <a:solidFill>
                  <a:schemeClr val="bg1"/>
                </a:solidFill>
              </a:rPr>
            </a:br>
            <a:br>
              <a:rPr lang="da-DK" sz="2100" b="0" noProof="1">
                <a:solidFill>
                  <a:schemeClr val="bg1"/>
                </a:solidFill>
              </a:rPr>
            </a:br>
            <a:endParaRPr lang="da-DK" sz="2100" b="0" noProof="1">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7803656" y="2493920"/>
            <a:ext cx="777591" cy="777591"/>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da-DK" sz="105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da-DK" sz="105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354402" y="2240014"/>
            <a:ext cx="7614260" cy="1246495"/>
          </a:xfrm>
          <a:prstGeom prst="rect">
            <a:avLst/>
          </a:prstGeom>
        </p:spPr>
        <p:txBody>
          <a:bodyPr wrap="square">
            <a:spAutoFit/>
          </a:bodyPr>
          <a:lstStyle/>
          <a:p>
            <a:pPr algn="ctr"/>
            <a:r>
              <a:rPr lang="da-DK" sz="7500" b="1" i="1" noProof="1">
                <a:solidFill>
                  <a:schemeClr val="bg1"/>
                </a:solidFill>
              </a:rPr>
              <a:t>Brug dem ikke </a:t>
            </a:r>
            <a:endParaRPr lang="da-DK" sz="7500" b="1" i="1" noProof="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22660" y="3889841"/>
            <a:ext cx="8517731" cy="733534"/>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da-DK" sz="1500" b="0" noProof="1">
                <a:solidFill>
                  <a:schemeClr val="bg1"/>
                </a:solidFill>
              </a:rPr>
              <a:t>Pga. PowerPoints standard Kopier/Indsæt funktionalitet kan ekstra uønskede layouts forekomme.</a:t>
            </a:r>
          </a:p>
          <a:p>
            <a:pPr marL="0" marR="0" indent="0" algn="ctr" fontAlgn="auto">
              <a:lnSpc>
                <a:spcPct val="100000"/>
              </a:lnSpc>
              <a:spcBef>
                <a:spcPts val="450"/>
              </a:spcBef>
              <a:spcAft>
                <a:spcPts val="0"/>
              </a:spcAft>
              <a:buClr>
                <a:srgbClr val="003755"/>
              </a:buClr>
              <a:buSzTx/>
              <a:buFontTx/>
              <a:buNone/>
              <a:tabLst/>
            </a:pPr>
            <a:r>
              <a:rPr lang="da-DK" sz="1500" b="0" noProof="1">
                <a:solidFill>
                  <a:schemeClr val="bg1"/>
                </a:solidFill>
              </a:rPr>
              <a:t>OBS! Layouts efter dette kan indeholde potentiel fortrolig information.</a:t>
            </a:r>
            <a:br>
              <a:rPr lang="da-DK" sz="1350" b="0" noProof="1">
                <a:solidFill>
                  <a:schemeClr val="bg1"/>
                </a:solidFill>
              </a:rPr>
            </a:br>
            <a:endParaRPr lang="da-DK" sz="1350" b="0" noProof="1">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5143500"/>
            <a:ext cx="0" cy="0"/>
          </a:xfrm>
        </p:spPr>
        <p:txBody>
          <a:bodyPr/>
          <a:lstStyle>
            <a:lvl1pPr>
              <a:defRPr sz="100">
                <a:noFill/>
              </a:defRPr>
            </a:lvl1pPr>
          </a:lstStyle>
          <a:p>
            <a:fld id="{205F122B-2541-481B-A65D-B7A79C5314AF}" type="datetime2">
              <a:rPr lang="da-DK" smtClean="0"/>
              <a:t>11. december 2025</a:t>
            </a:fld>
            <a:endParaRPr lang="da-DK" dirty="0"/>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28189390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chemeClr val="accent1"/>
                </a:solidFill>
              </a:defRPr>
            </a:lvl1pPr>
          </a:lstStyle>
          <a:p>
            <a:fld id="{3BA7D959-9C7C-4506-A4A8-52313FF7B34F}" type="datetime2">
              <a:rPr lang="da-DK" smtClean="0"/>
              <a:t>11. december 2025</a:t>
            </a:fld>
            <a:endParaRPr lang="da-DK" dirty="0"/>
          </a:p>
        </p:txBody>
      </p:sp>
      <p:sp>
        <p:nvSpPr>
          <p:cNvPr id="25" name="Makro grafik 1">
            <a:extLst>
              <a:ext uri="{FF2B5EF4-FFF2-40B4-BE49-F238E27FC236}">
                <a16:creationId xmlns:a16="http://schemas.microsoft.com/office/drawing/2014/main" id="{F2E0EEBD-7C39-E8CB-108F-09AF0CD4D448}"/>
              </a:ext>
            </a:extLst>
          </p:cNvPr>
          <p:cNvSpPr>
            <a:spLocks noGrp="1" noChangeAspect="1"/>
          </p:cNvSpPr>
          <p:nvPr>
            <p:ph type="body" sz="quarter" idx="19" hasCustomPrompt="1"/>
          </p:nvPr>
        </p:nvSpPr>
        <p:spPr>
          <a:xfrm>
            <a:off x="2827574" y="391015"/>
            <a:ext cx="1353707" cy="1779938"/>
          </a:xfrm>
          <a:custGeom>
            <a:avLst/>
            <a:gdLst>
              <a:gd name="connsiteX0" fmla="*/ 1135564 w 1804943"/>
              <a:gd name="connsiteY0" fmla="*/ 15338 h 2373250"/>
              <a:gd name="connsiteX1" fmla="*/ 1804943 w 1804943"/>
              <a:gd name="connsiteY1" fmla="*/ 15338 h 2373250"/>
              <a:gd name="connsiteX2" fmla="*/ 1804943 w 1804943"/>
              <a:gd name="connsiteY2" fmla="*/ 121436 h 2373250"/>
              <a:gd name="connsiteX3" fmla="*/ 1260314 w 1804943"/>
              <a:gd name="connsiteY3" fmla="*/ 121436 h 2373250"/>
              <a:gd name="connsiteX4" fmla="*/ 1260314 w 1804943"/>
              <a:gd name="connsiteY4" fmla="*/ 372027 h 2373250"/>
              <a:gd name="connsiteX5" fmla="*/ 1260314 w 1804943"/>
              <a:gd name="connsiteY5" fmla="*/ 2258004 h 2373250"/>
              <a:gd name="connsiteX6" fmla="*/ 1804943 w 1804943"/>
              <a:gd name="connsiteY6" fmla="*/ 2258004 h 2373250"/>
              <a:gd name="connsiteX7" fmla="*/ 1804943 w 1804943"/>
              <a:gd name="connsiteY7" fmla="*/ 2364102 h 2373250"/>
              <a:gd name="connsiteX8" fmla="*/ 1135564 w 1804943"/>
              <a:gd name="connsiteY8" fmla="*/ 2364102 h 2373250"/>
              <a:gd name="connsiteX9" fmla="*/ 1135564 w 1804943"/>
              <a:gd name="connsiteY9" fmla="*/ 2258004 h 2373250"/>
              <a:gd name="connsiteX10" fmla="*/ 1135564 w 1804943"/>
              <a:gd name="connsiteY10" fmla="*/ 372027 h 2373250"/>
              <a:gd name="connsiteX11" fmla="*/ 1135564 w 1804943"/>
              <a:gd name="connsiteY11" fmla="*/ 121436 h 2373250"/>
              <a:gd name="connsiteX12" fmla="*/ 824551 w 1804943"/>
              <a:gd name="connsiteY12" fmla="*/ 0 h 2373250"/>
              <a:gd name="connsiteX13" fmla="*/ 824551 w 1804943"/>
              <a:gd name="connsiteY13" fmla="*/ 106498 h 2373250"/>
              <a:gd name="connsiteX14" fmla="*/ 793382 w 1804943"/>
              <a:gd name="connsiteY14" fmla="*/ 106920 h 2373250"/>
              <a:gd name="connsiteX15" fmla="*/ 763107 w 1804943"/>
              <a:gd name="connsiteY15" fmla="*/ 108189 h 2373250"/>
              <a:gd name="connsiteX16" fmla="*/ 733699 w 1804943"/>
              <a:gd name="connsiteY16" fmla="*/ 110296 h 2373250"/>
              <a:gd name="connsiteX17" fmla="*/ 705152 w 1804943"/>
              <a:gd name="connsiteY17" fmla="*/ 113240 h 2373250"/>
              <a:gd name="connsiteX18" fmla="*/ 677451 w 1804943"/>
              <a:gd name="connsiteY18" fmla="*/ 117008 h 2373250"/>
              <a:gd name="connsiteX19" fmla="*/ 650596 w 1804943"/>
              <a:gd name="connsiteY19" fmla="*/ 121598 h 2373250"/>
              <a:gd name="connsiteX20" fmla="*/ 624564 w 1804943"/>
              <a:gd name="connsiteY20" fmla="*/ 126995 h 2373250"/>
              <a:gd name="connsiteX21" fmla="*/ 599346 w 1804943"/>
              <a:gd name="connsiteY21" fmla="*/ 133207 h 2373250"/>
              <a:gd name="connsiteX22" fmla="*/ 574929 w 1804943"/>
              <a:gd name="connsiteY22" fmla="*/ 140218 h 2373250"/>
              <a:gd name="connsiteX23" fmla="*/ 551302 w 1804943"/>
              <a:gd name="connsiteY23" fmla="*/ 148022 h 2373250"/>
              <a:gd name="connsiteX24" fmla="*/ 528461 w 1804943"/>
              <a:gd name="connsiteY24" fmla="*/ 156617 h 2373250"/>
              <a:gd name="connsiteX25" fmla="*/ 506387 w 1804943"/>
              <a:gd name="connsiteY25" fmla="*/ 165997 h 2373250"/>
              <a:gd name="connsiteX26" fmla="*/ 485076 w 1804943"/>
              <a:gd name="connsiteY26" fmla="*/ 176146 h 2373250"/>
              <a:gd name="connsiteX27" fmla="*/ 464502 w 1804943"/>
              <a:gd name="connsiteY27" fmla="*/ 187071 h 2373250"/>
              <a:gd name="connsiteX28" fmla="*/ 425554 w 1804943"/>
              <a:gd name="connsiteY28" fmla="*/ 211204 h 2373250"/>
              <a:gd name="connsiteX29" fmla="*/ 389457 w 1804943"/>
              <a:gd name="connsiteY29" fmla="*/ 238344 h 2373250"/>
              <a:gd name="connsiteX30" fmla="*/ 356105 w 1804943"/>
              <a:gd name="connsiteY30" fmla="*/ 268436 h 2373250"/>
              <a:gd name="connsiteX31" fmla="*/ 325421 w 1804943"/>
              <a:gd name="connsiteY31" fmla="*/ 301433 h 2373250"/>
              <a:gd name="connsiteX32" fmla="*/ 297313 w 1804943"/>
              <a:gd name="connsiteY32" fmla="*/ 337284 h 2373250"/>
              <a:gd name="connsiteX33" fmla="*/ 284189 w 1804943"/>
              <a:gd name="connsiteY33" fmla="*/ 356266 h 2373250"/>
              <a:gd name="connsiteX34" fmla="*/ 274169 w 1804943"/>
              <a:gd name="connsiteY34" fmla="*/ 372027 h 2373250"/>
              <a:gd name="connsiteX35" fmla="*/ 271680 w 1804943"/>
              <a:gd name="connsiteY35" fmla="*/ 375940 h 2373250"/>
              <a:gd name="connsiteX36" fmla="*/ 259763 w 1804943"/>
              <a:gd name="connsiteY36" fmla="*/ 396306 h 2373250"/>
              <a:gd name="connsiteX37" fmla="*/ 248431 w 1804943"/>
              <a:gd name="connsiteY37" fmla="*/ 417348 h 2373250"/>
              <a:gd name="connsiteX38" fmla="*/ 237675 w 1804943"/>
              <a:gd name="connsiteY38" fmla="*/ 439077 h 2373250"/>
              <a:gd name="connsiteX39" fmla="*/ 227480 w 1804943"/>
              <a:gd name="connsiteY39" fmla="*/ 461465 h 2373250"/>
              <a:gd name="connsiteX40" fmla="*/ 217839 w 1804943"/>
              <a:gd name="connsiteY40" fmla="*/ 484522 h 2373250"/>
              <a:gd name="connsiteX41" fmla="*/ 208737 w 1804943"/>
              <a:gd name="connsiteY41" fmla="*/ 508239 h 2373250"/>
              <a:gd name="connsiteX42" fmla="*/ 200156 w 1804943"/>
              <a:gd name="connsiteY42" fmla="*/ 532604 h 2373250"/>
              <a:gd name="connsiteX43" fmla="*/ 192100 w 1804943"/>
              <a:gd name="connsiteY43" fmla="*/ 557614 h 2373250"/>
              <a:gd name="connsiteX44" fmla="*/ 184542 w 1804943"/>
              <a:gd name="connsiteY44" fmla="*/ 583262 h 2373250"/>
              <a:gd name="connsiteX45" fmla="*/ 177484 w 1804943"/>
              <a:gd name="connsiteY45" fmla="*/ 609541 h 2373250"/>
              <a:gd name="connsiteX46" fmla="*/ 170903 w 1804943"/>
              <a:gd name="connsiteY46" fmla="*/ 636450 h 2373250"/>
              <a:gd name="connsiteX47" fmla="*/ 164799 w 1804943"/>
              <a:gd name="connsiteY47" fmla="*/ 663974 h 2373250"/>
              <a:gd name="connsiteX48" fmla="*/ 159148 w 1804943"/>
              <a:gd name="connsiteY48" fmla="*/ 692121 h 2373250"/>
              <a:gd name="connsiteX49" fmla="*/ 153950 w 1804943"/>
              <a:gd name="connsiteY49" fmla="*/ 720867 h 2373250"/>
              <a:gd name="connsiteX50" fmla="*/ 149183 w 1804943"/>
              <a:gd name="connsiteY50" fmla="*/ 750212 h 2373250"/>
              <a:gd name="connsiteX51" fmla="*/ 144839 w 1804943"/>
              <a:gd name="connsiteY51" fmla="*/ 780158 h 2373250"/>
              <a:gd name="connsiteX52" fmla="*/ 140910 w 1804943"/>
              <a:gd name="connsiteY52" fmla="*/ 810689 h 2373250"/>
              <a:gd name="connsiteX53" fmla="*/ 137390 w 1804943"/>
              <a:gd name="connsiteY53" fmla="*/ 841803 h 2373250"/>
              <a:gd name="connsiteX54" fmla="*/ 134253 w 1804943"/>
              <a:gd name="connsiteY54" fmla="*/ 873494 h 2373250"/>
              <a:gd name="connsiteX55" fmla="*/ 131501 w 1804943"/>
              <a:gd name="connsiteY55" fmla="*/ 905754 h 2373250"/>
              <a:gd name="connsiteX56" fmla="*/ 129109 w 1804943"/>
              <a:gd name="connsiteY56" fmla="*/ 938575 h 2373250"/>
              <a:gd name="connsiteX57" fmla="*/ 127073 w 1804943"/>
              <a:gd name="connsiteY57" fmla="*/ 971958 h 2373250"/>
              <a:gd name="connsiteX58" fmla="*/ 125389 w 1804943"/>
              <a:gd name="connsiteY58" fmla="*/ 1005886 h 2373250"/>
              <a:gd name="connsiteX59" fmla="*/ 124027 w 1804943"/>
              <a:gd name="connsiteY59" fmla="*/ 1040360 h 2373250"/>
              <a:gd name="connsiteX60" fmla="*/ 122997 w 1804943"/>
              <a:gd name="connsiteY60" fmla="*/ 1075373 h 2373250"/>
              <a:gd name="connsiteX61" fmla="*/ 122267 w 1804943"/>
              <a:gd name="connsiteY61" fmla="*/ 1110923 h 2373250"/>
              <a:gd name="connsiteX62" fmla="*/ 121844 w 1804943"/>
              <a:gd name="connsiteY62" fmla="*/ 1146996 h 2373250"/>
              <a:gd name="connsiteX63" fmla="*/ 121706 w 1804943"/>
              <a:gd name="connsiteY63" fmla="*/ 1183585 h 2373250"/>
              <a:gd name="connsiteX64" fmla="*/ 121829 w 1804943"/>
              <a:gd name="connsiteY64" fmla="*/ 1220003 h 2373250"/>
              <a:gd name="connsiteX65" fmla="*/ 122229 w 1804943"/>
              <a:gd name="connsiteY65" fmla="*/ 1255892 h 2373250"/>
              <a:gd name="connsiteX66" fmla="*/ 122897 w 1804943"/>
              <a:gd name="connsiteY66" fmla="*/ 1291258 h 2373250"/>
              <a:gd name="connsiteX67" fmla="*/ 123850 w 1804943"/>
              <a:gd name="connsiteY67" fmla="*/ 1326087 h 2373250"/>
              <a:gd name="connsiteX68" fmla="*/ 125111 w 1804943"/>
              <a:gd name="connsiteY68" fmla="*/ 1360376 h 2373250"/>
              <a:gd name="connsiteX69" fmla="*/ 126679 w 1804943"/>
              <a:gd name="connsiteY69" fmla="*/ 1394113 h 2373250"/>
              <a:gd name="connsiteX70" fmla="*/ 128571 w 1804943"/>
              <a:gd name="connsiteY70" fmla="*/ 1427303 h 2373250"/>
              <a:gd name="connsiteX71" fmla="*/ 130802 w 1804943"/>
              <a:gd name="connsiteY71" fmla="*/ 1459939 h 2373250"/>
              <a:gd name="connsiteX72" fmla="*/ 133368 w 1804943"/>
              <a:gd name="connsiteY72" fmla="*/ 1492006 h 2373250"/>
              <a:gd name="connsiteX73" fmla="*/ 136298 w 1804943"/>
              <a:gd name="connsiteY73" fmla="*/ 1523513 h 2373250"/>
              <a:gd name="connsiteX74" fmla="*/ 139596 w 1804943"/>
              <a:gd name="connsiteY74" fmla="*/ 1554442 h 2373250"/>
              <a:gd name="connsiteX75" fmla="*/ 143271 w 1804943"/>
              <a:gd name="connsiteY75" fmla="*/ 1584796 h 2373250"/>
              <a:gd name="connsiteX76" fmla="*/ 147338 w 1804943"/>
              <a:gd name="connsiteY76" fmla="*/ 1614566 h 2373250"/>
              <a:gd name="connsiteX77" fmla="*/ 151813 w 1804943"/>
              <a:gd name="connsiteY77" fmla="*/ 1643750 h 2373250"/>
              <a:gd name="connsiteX78" fmla="*/ 156702 w 1804943"/>
              <a:gd name="connsiteY78" fmla="*/ 1672334 h 2373250"/>
              <a:gd name="connsiteX79" fmla="*/ 162015 w 1804943"/>
              <a:gd name="connsiteY79" fmla="*/ 1700320 h 2373250"/>
              <a:gd name="connsiteX80" fmla="*/ 167766 w 1804943"/>
              <a:gd name="connsiteY80" fmla="*/ 1727705 h 2373250"/>
              <a:gd name="connsiteX81" fmla="*/ 173962 w 1804943"/>
              <a:gd name="connsiteY81" fmla="*/ 1754476 h 2373250"/>
              <a:gd name="connsiteX82" fmla="*/ 180629 w 1804943"/>
              <a:gd name="connsiteY82" fmla="*/ 1780631 h 2373250"/>
              <a:gd name="connsiteX83" fmla="*/ 187755 w 1804943"/>
              <a:gd name="connsiteY83" fmla="*/ 1806164 h 2373250"/>
              <a:gd name="connsiteX84" fmla="*/ 195374 w 1804943"/>
              <a:gd name="connsiteY84" fmla="*/ 1831074 h 2373250"/>
              <a:gd name="connsiteX85" fmla="*/ 203485 w 1804943"/>
              <a:gd name="connsiteY85" fmla="*/ 1855346 h 2373250"/>
              <a:gd name="connsiteX86" fmla="*/ 212112 w 1804943"/>
              <a:gd name="connsiteY86" fmla="*/ 1878988 h 2373250"/>
              <a:gd name="connsiteX87" fmla="*/ 221245 w 1804943"/>
              <a:gd name="connsiteY87" fmla="*/ 1901983 h 2373250"/>
              <a:gd name="connsiteX88" fmla="*/ 230917 w 1804943"/>
              <a:gd name="connsiteY88" fmla="*/ 1924332 h 2373250"/>
              <a:gd name="connsiteX89" fmla="*/ 241128 w 1804943"/>
              <a:gd name="connsiteY89" fmla="*/ 1946029 h 2373250"/>
              <a:gd name="connsiteX90" fmla="*/ 251891 w 1804943"/>
              <a:gd name="connsiteY90" fmla="*/ 1967064 h 2373250"/>
              <a:gd name="connsiteX91" fmla="*/ 263216 w 1804943"/>
              <a:gd name="connsiteY91" fmla="*/ 1987430 h 2373250"/>
              <a:gd name="connsiteX92" fmla="*/ 287611 w 1804943"/>
              <a:gd name="connsiteY92" fmla="*/ 2026164 h 2373250"/>
              <a:gd name="connsiteX93" fmla="*/ 314404 w 1804943"/>
              <a:gd name="connsiteY93" fmla="*/ 2062168 h 2373250"/>
              <a:gd name="connsiteX94" fmla="*/ 343681 w 1804943"/>
              <a:gd name="connsiteY94" fmla="*/ 2095412 h 2373250"/>
              <a:gd name="connsiteX95" fmla="*/ 375541 w 1804943"/>
              <a:gd name="connsiteY95" fmla="*/ 2125849 h 2373250"/>
              <a:gd name="connsiteX96" fmla="*/ 410077 w 1804943"/>
              <a:gd name="connsiteY96" fmla="*/ 2153435 h 2373250"/>
              <a:gd name="connsiteX97" fmla="*/ 447372 w 1804943"/>
              <a:gd name="connsiteY97" fmla="*/ 2178130 h 2373250"/>
              <a:gd name="connsiteX98" fmla="*/ 487529 w 1804943"/>
              <a:gd name="connsiteY98" fmla="*/ 2199888 h 2373250"/>
              <a:gd name="connsiteX99" fmla="*/ 508702 w 1804943"/>
              <a:gd name="connsiteY99" fmla="*/ 2209652 h 2373250"/>
              <a:gd name="connsiteX100" fmla="*/ 530629 w 1804943"/>
              <a:gd name="connsiteY100" fmla="*/ 2218662 h 2373250"/>
              <a:gd name="connsiteX101" fmla="*/ 553317 w 1804943"/>
              <a:gd name="connsiteY101" fmla="*/ 2226920 h 2373250"/>
              <a:gd name="connsiteX102" fmla="*/ 576782 w 1804943"/>
              <a:gd name="connsiteY102" fmla="*/ 2234416 h 2373250"/>
              <a:gd name="connsiteX103" fmla="*/ 601022 w 1804943"/>
              <a:gd name="connsiteY103" fmla="*/ 2241150 h 2373250"/>
              <a:gd name="connsiteX104" fmla="*/ 626056 w 1804943"/>
              <a:gd name="connsiteY104" fmla="*/ 2247109 h 2373250"/>
              <a:gd name="connsiteX105" fmla="*/ 651904 w 1804943"/>
              <a:gd name="connsiteY105" fmla="*/ 2252291 h 2373250"/>
              <a:gd name="connsiteX106" fmla="*/ 678567 w 1804943"/>
              <a:gd name="connsiteY106" fmla="*/ 2256688 h 2373250"/>
              <a:gd name="connsiteX107" fmla="*/ 706061 w 1804943"/>
              <a:gd name="connsiteY107" fmla="*/ 2260301 h 2373250"/>
              <a:gd name="connsiteX108" fmla="*/ 734390 w 1804943"/>
              <a:gd name="connsiteY108" fmla="*/ 2263116 h 2373250"/>
              <a:gd name="connsiteX109" fmla="*/ 763575 w 1804943"/>
              <a:gd name="connsiteY109" fmla="*/ 2265138 h 2373250"/>
              <a:gd name="connsiteX110" fmla="*/ 793630 w 1804943"/>
              <a:gd name="connsiteY110" fmla="*/ 2266352 h 2373250"/>
              <a:gd name="connsiteX111" fmla="*/ 824551 w 1804943"/>
              <a:gd name="connsiteY111" fmla="*/ 2266760 h 2373250"/>
              <a:gd name="connsiteX112" fmla="*/ 824551 w 1804943"/>
              <a:gd name="connsiteY112" fmla="*/ 2373250 h 2373250"/>
              <a:gd name="connsiteX113" fmla="*/ 792476 w 1804943"/>
              <a:gd name="connsiteY113" fmla="*/ 2372881 h 2373250"/>
              <a:gd name="connsiteX114" fmla="*/ 761193 w 1804943"/>
              <a:gd name="connsiteY114" fmla="*/ 2371759 h 2373250"/>
              <a:gd name="connsiteX115" fmla="*/ 730694 w 1804943"/>
              <a:gd name="connsiteY115" fmla="*/ 2369898 h 2373250"/>
              <a:gd name="connsiteX116" fmla="*/ 700970 w 1804943"/>
              <a:gd name="connsiteY116" fmla="*/ 2367307 h 2373250"/>
              <a:gd name="connsiteX117" fmla="*/ 672008 w 1804943"/>
              <a:gd name="connsiteY117" fmla="*/ 2363986 h 2373250"/>
              <a:gd name="connsiteX118" fmla="*/ 643800 w 1804943"/>
              <a:gd name="connsiteY118" fmla="*/ 2359941 h 2373250"/>
              <a:gd name="connsiteX119" fmla="*/ 616345 w 1804943"/>
              <a:gd name="connsiteY119" fmla="*/ 2355175 h 2373250"/>
              <a:gd name="connsiteX120" fmla="*/ 589621 w 1804943"/>
              <a:gd name="connsiteY120" fmla="*/ 2349701 h 2373250"/>
              <a:gd name="connsiteX121" fmla="*/ 563635 w 1804943"/>
              <a:gd name="connsiteY121" fmla="*/ 2343519 h 2373250"/>
              <a:gd name="connsiteX122" fmla="*/ 538363 w 1804943"/>
              <a:gd name="connsiteY122" fmla="*/ 2336631 h 2373250"/>
              <a:gd name="connsiteX123" fmla="*/ 513800 w 1804943"/>
              <a:gd name="connsiteY123" fmla="*/ 2329050 h 2373250"/>
              <a:gd name="connsiteX124" fmla="*/ 489950 w 1804943"/>
              <a:gd name="connsiteY124" fmla="*/ 2320785 h 2373250"/>
              <a:gd name="connsiteX125" fmla="*/ 466785 w 1804943"/>
              <a:gd name="connsiteY125" fmla="*/ 2311829 h 2373250"/>
              <a:gd name="connsiteX126" fmla="*/ 444312 w 1804943"/>
              <a:gd name="connsiteY126" fmla="*/ 2302195 h 2373250"/>
              <a:gd name="connsiteX127" fmla="*/ 422516 w 1804943"/>
              <a:gd name="connsiteY127" fmla="*/ 2291885 h 2373250"/>
              <a:gd name="connsiteX128" fmla="*/ 401389 w 1804943"/>
              <a:gd name="connsiteY128" fmla="*/ 2280906 h 2373250"/>
              <a:gd name="connsiteX129" fmla="*/ 380915 w 1804943"/>
              <a:gd name="connsiteY129" fmla="*/ 2269266 h 2373250"/>
              <a:gd name="connsiteX130" fmla="*/ 361094 w 1804943"/>
              <a:gd name="connsiteY130" fmla="*/ 2256965 h 2373250"/>
              <a:gd name="connsiteX131" fmla="*/ 341921 w 1804943"/>
              <a:gd name="connsiteY131" fmla="*/ 2244018 h 2373250"/>
              <a:gd name="connsiteX132" fmla="*/ 305456 w 1804943"/>
              <a:gd name="connsiteY132" fmla="*/ 2216179 h 2373250"/>
              <a:gd name="connsiteX133" fmla="*/ 271450 w 1804943"/>
              <a:gd name="connsiteY133" fmla="*/ 2185803 h 2373250"/>
              <a:gd name="connsiteX134" fmla="*/ 239844 w 1804943"/>
              <a:gd name="connsiteY134" fmla="*/ 2152920 h 2373250"/>
              <a:gd name="connsiteX135" fmla="*/ 210559 w 1804943"/>
              <a:gd name="connsiteY135" fmla="*/ 2117584 h 2373250"/>
              <a:gd name="connsiteX136" fmla="*/ 196759 w 1804943"/>
              <a:gd name="connsiteY136" fmla="*/ 2099010 h 2373250"/>
              <a:gd name="connsiteX137" fmla="*/ 183519 w 1804943"/>
              <a:gd name="connsiteY137" fmla="*/ 2079843 h 2373250"/>
              <a:gd name="connsiteX138" fmla="*/ 170826 w 1804943"/>
              <a:gd name="connsiteY138" fmla="*/ 2060076 h 2373250"/>
              <a:gd name="connsiteX139" fmla="*/ 158670 w 1804943"/>
              <a:gd name="connsiteY139" fmla="*/ 2039725 h 2373250"/>
              <a:gd name="connsiteX140" fmla="*/ 147039 w 1804943"/>
              <a:gd name="connsiteY140" fmla="*/ 2018790 h 2373250"/>
              <a:gd name="connsiteX141" fmla="*/ 135929 w 1804943"/>
              <a:gd name="connsiteY141" fmla="*/ 1997286 h 2373250"/>
              <a:gd name="connsiteX142" fmla="*/ 125326 w 1804943"/>
              <a:gd name="connsiteY142" fmla="*/ 1975206 h 2373250"/>
              <a:gd name="connsiteX143" fmla="*/ 115224 w 1804943"/>
              <a:gd name="connsiteY143" fmla="*/ 1952564 h 2373250"/>
              <a:gd name="connsiteX144" fmla="*/ 105621 w 1804943"/>
              <a:gd name="connsiteY144" fmla="*/ 1929369 h 2373250"/>
              <a:gd name="connsiteX145" fmla="*/ 96495 w 1804943"/>
              <a:gd name="connsiteY145" fmla="*/ 1905612 h 2373250"/>
              <a:gd name="connsiteX146" fmla="*/ 87846 w 1804943"/>
              <a:gd name="connsiteY146" fmla="*/ 1881309 h 2373250"/>
              <a:gd name="connsiteX147" fmla="*/ 79666 w 1804943"/>
              <a:gd name="connsiteY147" fmla="*/ 1856461 h 2373250"/>
              <a:gd name="connsiteX148" fmla="*/ 71947 w 1804943"/>
              <a:gd name="connsiteY148" fmla="*/ 1831082 h 2373250"/>
              <a:gd name="connsiteX149" fmla="*/ 64675 w 1804943"/>
              <a:gd name="connsiteY149" fmla="*/ 1805165 h 2373250"/>
              <a:gd name="connsiteX150" fmla="*/ 57839 w 1804943"/>
              <a:gd name="connsiteY150" fmla="*/ 1778725 h 2373250"/>
              <a:gd name="connsiteX151" fmla="*/ 51435 w 1804943"/>
              <a:gd name="connsiteY151" fmla="*/ 1751762 h 2373250"/>
              <a:gd name="connsiteX152" fmla="*/ 45461 w 1804943"/>
              <a:gd name="connsiteY152" fmla="*/ 1724284 h 2373250"/>
              <a:gd name="connsiteX153" fmla="*/ 39895 w 1804943"/>
              <a:gd name="connsiteY153" fmla="*/ 1696292 h 2373250"/>
              <a:gd name="connsiteX154" fmla="*/ 34736 w 1804943"/>
              <a:gd name="connsiteY154" fmla="*/ 1667799 h 2373250"/>
              <a:gd name="connsiteX155" fmla="*/ 29969 w 1804943"/>
              <a:gd name="connsiteY155" fmla="*/ 1638806 h 2373250"/>
              <a:gd name="connsiteX156" fmla="*/ 25595 w 1804943"/>
              <a:gd name="connsiteY156" fmla="*/ 1609322 h 2373250"/>
              <a:gd name="connsiteX157" fmla="*/ 21597 w 1804943"/>
              <a:gd name="connsiteY157" fmla="*/ 1579352 h 2373250"/>
              <a:gd name="connsiteX158" fmla="*/ 17967 w 1804943"/>
              <a:gd name="connsiteY158" fmla="*/ 1548893 h 2373250"/>
              <a:gd name="connsiteX159" fmla="*/ 14708 w 1804943"/>
              <a:gd name="connsiteY159" fmla="*/ 1517963 h 2373250"/>
              <a:gd name="connsiteX160" fmla="*/ 11794 w 1804943"/>
              <a:gd name="connsiteY160" fmla="*/ 1486556 h 2373250"/>
              <a:gd name="connsiteX161" fmla="*/ 9226 w 1804943"/>
              <a:gd name="connsiteY161" fmla="*/ 1454681 h 2373250"/>
              <a:gd name="connsiteX162" fmla="*/ 6989 w 1804943"/>
              <a:gd name="connsiteY162" fmla="*/ 1422351 h 2373250"/>
              <a:gd name="connsiteX163" fmla="*/ 5082 w 1804943"/>
              <a:gd name="connsiteY163" fmla="*/ 1389569 h 2373250"/>
              <a:gd name="connsiteX164" fmla="*/ 3490 w 1804943"/>
              <a:gd name="connsiteY164" fmla="*/ 1356325 h 2373250"/>
              <a:gd name="connsiteX165" fmla="*/ 2206 w 1804943"/>
              <a:gd name="connsiteY165" fmla="*/ 1322649 h 2373250"/>
              <a:gd name="connsiteX166" fmla="*/ 1230 w 1804943"/>
              <a:gd name="connsiteY166" fmla="*/ 1288530 h 2373250"/>
              <a:gd name="connsiteX167" fmla="*/ 540 w 1804943"/>
              <a:gd name="connsiteY167" fmla="*/ 1253971 h 2373250"/>
              <a:gd name="connsiteX168" fmla="*/ 132 w 1804943"/>
              <a:gd name="connsiteY168" fmla="*/ 1218989 h 2373250"/>
              <a:gd name="connsiteX169" fmla="*/ 0 w 1804943"/>
              <a:gd name="connsiteY169" fmla="*/ 1183585 h 2373250"/>
              <a:gd name="connsiteX170" fmla="*/ 132 w 1804943"/>
              <a:gd name="connsiteY170" fmla="*/ 1148334 h 2373250"/>
              <a:gd name="connsiteX171" fmla="*/ 546 w 1804943"/>
              <a:gd name="connsiteY171" fmla="*/ 1113498 h 2373250"/>
              <a:gd name="connsiteX172" fmla="*/ 1254 w 1804943"/>
              <a:gd name="connsiteY172" fmla="*/ 1079094 h 2373250"/>
              <a:gd name="connsiteX173" fmla="*/ 2246 w 1804943"/>
              <a:gd name="connsiteY173" fmla="*/ 1045127 h 2373250"/>
              <a:gd name="connsiteX174" fmla="*/ 3544 w 1804943"/>
              <a:gd name="connsiteY174" fmla="*/ 1011590 h 2373250"/>
              <a:gd name="connsiteX175" fmla="*/ 5159 w 1804943"/>
              <a:gd name="connsiteY175" fmla="*/ 978500 h 2373250"/>
              <a:gd name="connsiteX176" fmla="*/ 7096 w 1804943"/>
              <a:gd name="connsiteY176" fmla="*/ 945863 h 2373250"/>
              <a:gd name="connsiteX177" fmla="*/ 9356 w 1804943"/>
              <a:gd name="connsiteY177" fmla="*/ 913681 h 2373250"/>
              <a:gd name="connsiteX178" fmla="*/ 11964 w 1804943"/>
              <a:gd name="connsiteY178" fmla="*/ 881951 h 2373250"/>
              <a:gd name="connsiteX179" fmla="*/ 14909 w 1804943"/>
              <a:gd name="connsiteY179" fmla="*/ 850691 h 2373250"/>
              <a:gd name="connsiteX180" fmla="*/ 18214 w 1804943"/>
              <a:gd name="connsiteY180" fmla="*/ 819907 h 2373250"/>
              <a:gd name="connsiteX181" fmla="*/ 21881 w 1804943"/>
              <a:gd name="connsiteY181" fmla="*/ 789592 h 2373250"/>
              <a:gd name="connsiteX182" fmla="*/ 25917 w 1804943"/>
              <a:gd name="connsiteY182" fmla="*/ 759762 h 2373250"/>
              <a:gd name="connsiteX183" fmla="*/ 30338 w 1804943"/>
              <a:gd name="connsiteY183" fmla="*/ 730423 h 2373250"/>
              <a:gd name="connsiteX184" fmla="*/ 35152 w 1804943"/>
              <a:gd name="connsiteY184" fmla="*/ 701569 h 2373250"/>
              <a:gd name="connsiteX185" fmla="*/ 40356 w 1804943"/>
              <a:gd name="connsiteY185" fmla="*/ 673215 h 2373250"/>
              <a:gd name="connsiteX186" fmla="*/ 45968 w 1804943"/>
              <a:gd name="connsiteY186" fmla="*/ 645368 h 2373250"/>
              <a:gd name="connsiteX187" fmla="*/ 51996 w 1804943"/>
              <a:gd name="connsiteY187" fmla="*/ 618029 h 2373250"/>
              <a:gd name="connsiteX188" fmla="*/ 58446 w 1804943"/>
              <a:gd name="connsiteY188" fmla="*/ 591204 h 2373250"/>
              <a:gd name="connsiteX189" fmla="*/ 65335 w 1804943"/>
              <a:gd name="connsiteY189" fmla="*/ 564895 h 2373250"/>
              <a:gd name="connsiteX190" fmla="*/ 72655 w 1804943"/>
              <a:gd name="connsiteY190" fmla="*/ 539109 h 2373250"/>
              <a:gd name="connsiteX191" fmla="*/ 80428 w 1804943"/>
              <a:gd name="connsiteY191" fmla="*/ 513860 h 2373250"/>
              <a:gd name="connsiteX192" fmla="*/ 88661 w 1804943"/>
              <a:gd name="connsiteY192" fmla="*/ 489142 h 2373250"/>
              <a:gd name="connsiteX193" fmla="*/ 97358 w 1804943"/>
              <a:gd name="connsiteY193" fmla="*/ 464962 h 2373250"/>
              <a:gd name="connsiteX194" fmla="*/ 106521 w 1804943"/>
              <a:gd name="connsiteY194" fmla="*/ 441336 h 2373250"/>
              <a:gd name="connsiteX195" fmla="*/ 116178 w 1804943"/>
              <a:gd name="connsiteY195" fmla="*/ 418257 h 2373250"/>
              <a:gd name="connsiteX196" fmla="*/ 126320 w 1804943"/>
              <a:gd name="connsiteY196" fmla="*/ 395738 h 2373250"/>
              <a:gd name="connsiteX197" fmla="*/ 136966 w 1804943"/>
              <a:gd name="connsiteY197" fmla="*/ 373780 h 2373250"/>
              <a:gd name="connsiteX198" fmla="*/ 137880 w 1804943"/>
              <a:gd name="connsiteY198" fmla="*/ 372027 h 2373250"/>
              <a:gd name="connsiteX199" fmla="*/ 137881 w 1804943"/>
              <a:gd name="connsiteY199" fmla="*/ 372027 h 2373250"/>
              <a:gd name="connsiteX200" fmla="*/ 148122 w 1804943"/>
              <a:gd name="connsiteY200" fmla="*/ 352391 h 2373250"/>
              <a:gd name="connsiteX201" fmla="*/ 159787 w 1804943"/>
              <a:gd name="connsiteY201" fmla="*/ 331571 h 2373250"/>
              <a:gd name="connsiteX202" fmla="*/ 171988 w 1804943"/>
              <a:gd name="connsiteY202" fmla="*/ 311336 h 2373250"/>
              <a:gd name="connsiteX203" fmla="*/ 184719 w 1804943"/>
              <a:gd name="connsiteY203" fmla="*/ 291677 h 2373250"/>
              <a:gd name="connsiteX204" fmla="*/ 197988 w 1804943"/>
              <a:gd name="connsiteY204" fmla="*/ 272618 h 2373250"/>
              <a:gd name="connsiteX205" fmla="*/ 211812 w 1804943"/>
              <a:gd name="connsiteY205" fmla="*/ 254143 h 2373250"/>
              <a:gd name="connsiteX206" fmla="*/ 241142 w 1804943"/>
              <a:gd name="connsiteY206" fmla="*/ 219015 h 2373250"/>
              <a:gd name="connsiteX207" fmla="*/ 272787 w 1804943"/>
              <a:gd name="connsiteY207" fmla="*/ 186325 h 2373250"/>
              <a:gd name="connsiteX208" fmla="*/ 306808 w 1804943"/>
              <a:gd name="connsiteY208" fmla="*/ 156118 h 2373250"/>
              <a:gd name="connsiteX209" fmla="*/ 343266 w 1804943"/>
              <a:gd name="connsiteY209" fmla="*/ 128447 h 2373250"/>
              <a:gd name="connsiteX210" fmla="*/ 362432 w 1804943"/>
              <a:gd name="connsiteY210" fmla="*/ 115578 h 2373250"/>
              <a:gd name="connsiteX211" fmla="*/ 382237 w 1804943"/>
              <a:gd name="connsiteY211" fmla="*/ 103346 h 2373250"/>
              <a:gd name="connsiteX212" fmla="*/ 402689 w 1804943"/>
              <a:gd name="connsiteY212" fmla="*/ 91775 h 2373250"/>
              <a:gd name="connsiteX213" fmla="*/ 423793 w 1804943"/>
              <a:gd name="connsiteY213" fmla="*/ 80865 h 2373250"/>
              <a:gd name="connsiteX214" fmla="*/ 445558 w 1804943"/>
              <a:gd name="connsiteY214" fmla="*/ 70617 h 2373250"/>
              <a:gd name="connsiteX215" fmla="*/ 467992 w 1804943"/>
              <a:gd name="connsiteY215" fmla="*/ 61045 h 2373250"/>
              <a:gd name="connsiteX216" fmla="*/ 491103 w 1804943"/>
              <a:gd name="connsiteY216" fmla="*/ 52142 h 2373250"/>
              <a:gd name="connsiteX217" fmla="*/ 514906 w 1804943"/>
              <a:gd name="connsiteY217" fmla="*/ 43923 h 2373250"/>
              <a:gd name="connsiteX218" fmla="*/ 539409 w 1804943"/>
              <a:gd name="connsiteY218" fmla="*/ 36389 h 2373250"/>
              <a:gd name="connsiteX219" fmla="*/ 564612 w 1804943"/>
              <a:gd name="connsiteY219" fmla="*/ 29553 h 2373250"/>
              <a:gd name="connsiteX220" fmla="*/ 590528 w 1804943"/>
              <a:gd name="connsiteY220" fmla="*/ 23403 h 2373250"/>
              <a:gd name="connsiteX221" fmla="*/ 617160 w 1804943"/>
              <a:gd name="connsiteY221" fmla="*/ 17967 h 2373250"/>
              <a:gd name="connsiteX222" fmla="*/ 644530 w 1804943"/>
              <a:gd name="connsiteY222" fmla="*/ 13231 h 2373250"/>
              <a:gd name="connsiteX223" fmla="*/ 672639 w 1804943"/>
              <a:gd name="connsiteY223" fmla="*/ 9210 h 2373250"/>
              <a:gd name="connsiteX224" fmla="*/ 701494 w 1804943"/>
              <a:gd name="connsiteY224" fmla="*/ 5912 h 2373250"/>
              <a:gd name="connsiteX225" fmla="*/ 731100 w 1804943"/>
              <a:gd name="connsiteY225" fmla="*/ 3336 h 2373250"/>
              <a:gd name="connsiteX226" fmla="*/ 761477 w 1804943"/>
              <a:gd name="connsiteY226" fmla="*/ 1484 h 2373250"/>
              <a:gd name="connsiteX227" fmla="*/ 792621 w 1804943"/>
              <a:gd name="connsiteY227" fmla="*/ 377 h 23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804943" h="2373250">
                <a:moveTo>
                  <a:pt x="1135564" y="15338"/>
                </a:moveTo>
                <a:lnTo>
                  <a:pt x="1804943" y="15338"/>
                </a:lnTo>
                <a:lnTo>
                  <a:pt x="1804943" y="121436"/>
                </a:lnTo>
                <a:lnTo>
                  <a:pt x="1260314" y="121436"/>
                </a:lnTo>
                <a:lnTo>
                  <a:pt x="1260314" y="372027"/>
                </a:lnTo>
                <a:lnTo>
                  <a:pt x="1260314" y="2258004"/>
                </a:lnTo>
                <a:lnTo>
                  <a:pt x="1804943" y="2258004"/>
                </a:lnTo>
                <a:lnTo>
                  <a:pt x="1804943" y="2364102"/>
                </a:lnTo>
                <a:lnTo>
                  <a:pt x="1135564" y="2364102"/>
                </a:lnTo>
                <a:lnTo>
                  <a:pt x="1135564" y="2258004"/>
                </a:lnTo>
                <a:lnTo>
                  <a:pt x="1135564" y="372027"/>
                </a:lnTo>
                <a:lnTo>
                  <a:pt x="1135564" y="121436"/>
                </a:lnTo>
                <a:close/>
                <a:moveTo>
                  <a:pt x="824551" y="0"/>
                </a:moveTo>
                <a:lnTo>
                  <a:pt x="824551" y="106498"/>
                </a:lnTo>
                <a:lnTo>
                  <a:pt x="793382" y="106920"/>
                </a:lnTo>
                <a:lnTo>
                  <a:pt x="763107" y="108189"/>
                </a:lnTo>
                <a:lnTo>
                  <a:pt x="733699" y="110296"/>
                </a:lnTo>
                <a:lnTo>
                  <a:pt x="705152" y="113240"/>
                </a:lnTo>
                <a:lnTo>
                  <a:pt x="677451" y="117008"/>
                </a:lnTo>
                <a:lnTo>
                  <a:pt x="650596" y="121598"/>
                </a:lnTo>
                <a:lnTo>
                  <a:pt x="624564" y="126995"/>
                </a:lnTo>
                <a:lnTo>
                  <a:pt x="599346" y="133207"/>
                </a:lnTo>
                <a:lnTo>
                  <a:pt x="574929" y="140218"/>
                </a:lnTo>
                <a:lnTo>
                  <a:pt x="551302" y="148022"/>
                </a:lnTo>
                <a:lnTo>
                  <a:pt x="528461" y="156617"/>
                </a:lnTo>
                <a:lnTo>
                  <a:pt x="506387" y="165997"/>
                </a:lnTo>
                <a:lnTo>
                  <a:pt x="485076" y="176146"/>
                </a:lnTo>
                <a:lnTo>
                  <a:pt x="464502" y="187071"/>
                </a:lnTo>
                <a:lnTo>
                  <a:pt x="425554" y="211204"/>
                </a:lnTo>
                <a:lnTo>
                  <a:pt x="389457" y="238344"/>
                </a:lnTo>
                <a:lnTo>
                  <a:pt x="356105" y="268436"/>
                </a:lnTo>
                <a:lnTo>
                  <a:pt x="325421" y="301433"/>
                </a:lnTo>
                <a:lnTo>
                  <a:pt x="297313" y="337284"/>
                </a:lnTo>
                <a:lnTo>
                  <a:pt x="284189" y="356266"/>
                </a:lnTo>
                <a:lnTo>
                  <a:pt x="274169" y="372027"/>
                </a:lnTo>
                <a:lnTo>
                  <a:pt x="271680" y="375940"/>
                </a:lnTo>
                <a:lnTo>
                  <a:pt x="259763" y="396306"/>
                </a:lnTo>
                <a:lnTo>
                  <a:pt x="248431" y="417348"/>
                </a:lnTo>
                <a:lnTo>
                  <a:pt x="237675" y="439077"/>
                </a:lnTo>
                <a:lnTo>
                  <a:pt x="227480" y="461465"/>
                </a:lnTo>
                <a:lnTo>
                  <a:pt x="217839" y="484522"/>
                </a:lnTo>
                <a:lnTo>
                  <a:pt x="208737" y="508239"/>
                </a:lnTo>
                <a:lnTo>
                  <a:pt x="200156" y="532604"/>
                </a:lnTo>
                <a:lnTo>
                  <a:pt x="192100" y="557614"/>
                </a:lnTo>
                <a:lnTo>
                  <a:pt x="184542" y="583262"/>
                </a:lnTo>
                <a:lnTo>
                  <a:pt x="177484" y="609541"/>
                </a:lnTo>
                <a:lnTo>
                  <a:pt x="170903" y="636450"/>
                </a:lnTo>
                <a:lnTo>
                  <a:pt x="164799" y="663974"/>
                </a:lnTo>
                <a:lnTo>
                  <a:pt x="159148" y="692121"/>
                </a:lnTo>
                <a:lnTo>
                  <a:pt x="153950" y="720867"/>
                </a:lnTo>
                <a:lnTo>
                  <a:pt x="149183" y="750212"/>
                </a:lnTo>
                <a:lnTo>
                  <a:pt x="144839" y="780158"/>
                </a:lnTo>
                <a:lnTo>
                  <a:pt x="140910" y="810689"/>
                </a:lnTo>
                <a:lnTo>
                  <a:pt x="137390" y="841803"/>
                </a:lnTo>
                <a:lnTo>
                  <a:pt x="134253" y="873494"/>
                </a:lnTo>
                <a:lnTo>
                  <a:pt x="131501" y="905754"/>
                </a:lnTo>
                <a:lnTo>
                  <a:pt x="129109" y="938575"/>
                </a:lnTo>
                <a:lnTo>
                  <a:pt x="127073" y="971958"/>
                </a:lnTo>
                <a:lnTo>
                  <a:pt x="125389" y="1005886"/>
                </a:lnTo>
                <a:lnTo>
                  <a:pt x="124027" y="1040360"/>
                </a:lnTo>
                <a:lnTo>
                  <a:pt x="122997" y="1075373"/>
                </a:lnTo>
                <a:lnTo>
                  <a:pt x="122267" y="1110923"/>
                </a:lnTo>
                <a:lnTo>
                  <a:pt x="121844" y="1146996"/>
                </a:lnTo>
                <a:lnTo>
                  <a:pt x="121706" y="1183585"/>
                </a:lnTo>
                <a:lnTo>
                  <a:pt x="121829" y="1220003"/>
                </a:lnTo>
                <a:lnTo>
                  <a:pt x="122229" y="1255892"/>
                </a:lnTo>
                <a:lnTo>
                  <a:pt x="122897" y="1291258"/>
                </a:lnTo>
                <a:lnTo>
                  <a:pt x="123850" y="1326087"/>
                </a:lnTo>
                <a:lnTo>
                  <a:pt x="125111" y="1360376"/>
                </a:lnTo>
                <a:lnTo>
                  <a:pt x="126679" y="1394113"/>
                </a:lnTo>
                <a:lnTo>
                  <a:pt x="128571" y="1427303"/>
                </a:lnTo>
                <a:lnTo>
                  <a:pt x="130802" y="1459939"/>
                </a:lnTo>
                <a:lnTo>
                  <a:pt x="133368" y="1492006"/>
                </a:lnTo>
                <a:lnTo>
                  <a:pt x="136298" y="1523513"/>
                </a:lnTo>
                <a:lnTo>
                  <a:pt x="139596" y="1554442"/>
                </a:lnTo>
                <a:lnTo>
                  <a:pt x="143271" y="1584796"/>
                </a:lnTo>
                <a:lnTo>
                  <a:pt x="147338" y="1614566"/>
                </a:lnTo>
                <a:lnTo>
                  <a:pt x="151813" y="1643750"/>
                </a:lnTo>
                <a:lnTo>
                  <a:pt x="156702" y="1672334"/>
                </a:lnTo>
                <a:lnTo>
                  <a:pt x="162015" y="1700320"/>
                </a:lnTo>
                <a:lnTo>
                  <a:pt x="167766" y="1727705"/>
                </a:lnTo>
                <a:lnTo>
                  <a:pt x="173962" y="1754476"/>
                </a:lnTo>
                <a:lnTo>
                  <a:pt x="180629" y="1780631"/>
                </a:lnTo>
                <a:lnTo>
                  <a:pt x="187755" y="1806164"/>
                </a:lnTo>
                <a:lnTo>
                  <a:pt x="195374" y="1831074"/>
                </a:lnTo>
                <a:lnTo>
                  <a:pt x="203485" y="1855346"/>
                </a:lnTo>
                <a:lnTo>
                  <a:pt x="212112" y="1878988"/>
                </a:lnTo>
                <a:lnTo>
                  <a:pt x="221245" y="1901983"/>
                </a:lnTo>
                <a:lnTo>
                  <a:pt x="230917" y="1924332"/>
                </a:lnTo>
                <a:lnTo>
                  <a:pt x="241128" y="1946029"/>
                </a:lnTo>
                <a:lnTo>
                  <a:pt x="251891" y="1967064"/>
                </a:lnTo>
                <a:lnTo>
                  <a:pt x="263216" y="1987430"/>
                </a:lnTo>
                <a:lnTo>
                  <a:pt x="287611" y="2026164"/>
                </a:lnTo>
                <a:lnTo>
                  <a:pt x="314404" y="2062168"/>
                </a:lnTo>
                <a:lnTo>
                  <a:pt x="343681" y="2095412"/>
                </a:lnTo>
                <a:lnTo>
                  <a:pt x="375541" y="2125849"/>
                </a:lnTo>
                <a:lnTo>
                  <a:pt x="410077" y="2153435"/>
                </a:lnTo>
                <a:lnTo>
                  <a:pt x="447372" y="2178130"/>
                </a:lnTo>
                <a:lnTo>
                  <a:pt x="487529" y="2199888"/>
                </a:lnTo>
                <a:lnTo>
                  <a:pt x="508702" y="2209652"/>
                </a:lnTo>
                <a:lnTo>
                  <a:pt x="530629" y="2218662"/>
                </a:lnTo>
                <a:lnTo>
                  <a:pt x="553317" y="2226920"/>
                </a:lnTo>
                <a:lnTo>
                  <a:pt x="576782" y="2234416"/>
                </a:lnTo>
                <a:lnTo>
                  <a:pt x="601022" y="2241150"/>
                </a:lnTo>
                <a:lnTo>
                  <a:pt x="626056" y="2247109"/>
                </a:lnTo>
                <a:lnTo>
                  <a:pt x="651904" y="2252291"/>
                </a:lnTo>
                <a:lnTo>
                  <a:pt x="678567" y="2256688"/>
                </a:lnTo>
                <a:lnTo>
                  <a:pt x="706061" y="2260301"/>
                </a:lnTo>
                <a:lnTo>
                  <a:pt x="734390" y="2263116"/>
                </a:lnTo>
                <a:lnTo>
                  <a:pt x="763575" y="2265138"/>
                </a:lnTo>
                <a:lnTo>
                  <a:pt x="793630" y="2266352"/>
                </a:lnTo>
                <a:lnTo>
                  <a:pt x="824551" y="2266760"/>
                </a:lnTo>
                <a:lnTo>
                  <a:pt x="824551" y="2373250"/>
                </a:lnTo>
                <a:lnTo>
                  <a:pt x="792476" y="2372881"/>
                </a:lnTo>
                <a:lnTo>
                  <a:pt x="761193" y="2371759"/>
                </a:lnTo>
                <a:lnTo>
                  <a:pt x="730694" y="2369898"/>
                </a:lnTo>
                <a:lnTo>
                  <a:pt x="700970" y="2367307"/>
                </a:lnTo>
                <a:lnTo>
                  <a:pt x="672008" y="2363986"/>
                </a:lnTo>
                <a:lnTo>
                  <a:pt x="643800" y="2359941"/>
                </a:lnTo>
                <a:lnTo>
                  <a:pt x="616345" y="2355175"/>
                </a:lnTo>
                <a:lnTo>
                  <a:pt x="589621" y="2349701"/>
                </a:lnTo>
                <a:lnTo>
                  <a:pt x="563635" y="2343519"/>
                </a:lnTo>
                <a:lnTo>
                  <a:pt x="538363" y="2336631"/>
                </a:lnTo>
                <a:lnTo>
                  <a:pt x="513800" y="2329050"/>
                </a:lnTo>
                <a:lnTo>
                  <a:pt x="489950" y="2320785"/>
                </a:lnTo>
                <a:lnTo>
                  <a:pt x="466785" y="2311829"/>
                </a:lnTo>
                <a:lnTo>
                  <a:pt x="444312" y="2302195"/>
                </a:lnTo>
                <a:lnTo>
                  <a:pt x="422516" y="2291885"/>
                </a:lnTo>
                <a:lnTo>
                  <a:pt x="401389" y="2280906"/>
                </a:lnTo>
                <a:lnTo>
                  <a:pt x="380915" y="2269266"/>
                </a:lnTo>
                <a:lnTo>
                  <a:pt x="361094" y="2256965"/>
                </a:lnTo>
                <a:lnTo>
                  <a:pt x="341921" y="2244018"/>
                </a:lnTo>
                <a:lnTo>
                  <a:pt x="305456" y="2216179"/>
                </a:lnTo>
                <a:lnTo>
                  <a:pt x="271450" y="2185803"/>
                </a:lnTo>
                <a:lnTo>
                  <a:pt x="239844" y="2152920"/>
                </a:lnTo>
                <a:lnTo>
                  <a:pt x="210559" y="2117584"/>
                </a:lnTo>
                <a:lnTo>
                  <a:pt x="196759" y="2099010"/>
                </a:lnTo>
                <a:lnTo>
                  <a:pt x="183519" y="2079843"/>
                </a:lnTo>
                <a:lnTo>
                  <a:pt x="170826" y="2060076"/>
                </a:lnTo>
                <a:lnTo>
                  <a:pt x="158670" y="2039725"/>
                </a:lnTo>
                <a:lnTo>
                  <a:pt x="147039" y="2018790"/>
                </a:lnTo>
                <a:lnTo>
                  <a:pt x="135929" y="1997286"/>
                </a:lnTo>
                <a:lnTo>
                  <a:pt x="125326" y="1975206"/>
                </a:lnTo>
                <a:lnTo>
                  <a:pt x="115224" y="1952564"/>
                </a:lnTo>
                <a:lnTo>
                  <a:pt x="105621" y="1929369"/>
                </a:lnTo>
                <a:lnTo>
                  <a:pt x="96495" y="1905612"/>
                </a:lnTo>
                <a:lnTo>
                  <a:pt x="87846" y="1881309"/>
                </a:lnTo>
                <a:lnTo>
                  <a:pt x="79666" y="1856461"/>
                </a:lnTo>
                <a:lnTo>
                  <a:pt x="71947" y="1831082"/>
                </a:lnTo>
                <a:lnTo>
                  <a:pt x="64675" y="1805165"/>
                </a:lnTo>
                <a:lnTo>
                  <a:pt x="57839" y="1778725"/>
                </a:lnTo>
                <a:lnTo>
                  <a:pt x="51435" y="1751762"/>
                </a:lnTo>
                <a:lnTo>
                  <a:pt x="45461" y="1724284"/>
                </a:lnTo>
                <a:lnTo>
                  <a:pt x="39895" y="1696292"/>
                </a:lnTo>
                <a:lnTo>
                  <a:pt x="34736" y="1667799"/>
                </a:lnTo>
                <a:lnTo>
                  <a:pt x="29969" y="1638806"/>
                </a:lnTo>
                <a:lnTo>
                  <a:pt x="25595" y="1609322"/>
                </a:lnTo>
                <a:lnTo>
                  <a:pt x="21597" y="1579352"/>
                </a:lnTo>
                <a:lnTo>
                  <a:pt x="17967" y="1548893"/>
                </a:lnTo>
                <a:lnTo>
                  <a:pt x="14708" y="1517963"/>
                </a:lnTo>
                <a:lnTo>
                  <a:pt x="11794" y="1486556"/>
                </a:lnTo>
                <a:lnTo>
                  <a:pt x="9226" y="1454681"/>
                </a:lnTo>
                <a:lnTo>
                  <a:pt x="6989" y="1422351"/>
                </a:lnTo>
                <a:lnTo>
                  <a:pt x="5082" y="1389569"/>
                </a:lnTo>
                <a:lnTo>
                  <a:pt x="3490" y="1356325"/>
                </a:lnTo>
                <a:lnTo>
                  <a:pt x="2206" y="1322649"/>
                </a:lnTo>
                <a:lnTo>
                  <a:pt x="1230" y="1288530"/>
                </a:lnTo>
                <a:lnTo>
                  <a:pt x="540" y="1253971"/>
                </a:lnTo>
                <a:lnTo>
                  <a:pt x="132" y="1218989"/>
                </a:lnTo>
                <a:lnTo>
                  <a:pt x="0" y="1183585"/>
                </a:lnTo>
                <a:lnTo>
                  <a:pt x="132" y="1148334"/>
                </a:lnTo>
                <a:lnTo>
                  <a:pt x="546" y="1113498"/>
                </a:lnTo>
                <a:lnTo>
                  <a:pt x="1254" y="1079094"/>
                </a:lnTo>
                <a:lnTo>
                  <a:pt x="2246" y="1045127"/>
                </a:lnTo>
                <a:lnTo>
                  <a:pt x="3544" y="1011590"/>
                </a:lnTo>
                <a:lnTo>
                  <a:pt x="5159" y="978500"/>
                </a:lnTo>
                <a:lnTo>
                  <a:pt x="7096" y="945863"/>
                </a:lnTo>
                <a:lnTo>
                  <a:pt x="9356" y="913681"/>
                </a:lnTo>
                <a:lnTo>
                  <a:pt x="11964" y="881951"/>
                </a:lnTo>
                <a:lnTo>
                  <a:pt x="14909" y="850691"/>
                </a:lnTo>
                <a:lnTo>
                  <a:pt x="18214" y="819907"/>
                </a:lnTo>
                <a:lnTo>
                  <a:pt x="21881" y="789592"/>
                </a:lnTo>
                <a:lnTo>
                  <a:pt x="25917" y="759762"/>
                </a:lnTo>
                <a:lnTo>
                  <a:pt x="30338" y="730423"/>
                </a:lnTo>
                <a:lnTo>
                  <a:pt x="35152" y="701569"/>
                </a:lnTo>
                <a:lnTo>
                  <a:pt x="40356" y="673215"/>
                </a:lnTo>
                <a:lnTo>
                  <a:pt x="45968" y="645368"/>
                </a:lnTo>
                <a:lnTo>
                  <a:pt x="51996" y="618029"/>
                </a:lnTo>
                <a:lnTo>
                  <a:pt x="58446" y="591204"/>
                </a:lnTo>
                <a:lnTo>
                  <a:pt x="65335" y="564895"/>
                </a:lnTo>
                <a:lnTo>
                  <a:pt x="72655" y="539109"/>
                </a:lnTo>
                <a:lnTo>
                  <a:pt x="80428" y="513860"/>
                </a:lnTo>
                <a:lnTo>
                  <a:pt x="88661" y="489142"/>
                </a:lnTo>
                <a:lnTo>
                  <a:pt x="97358" y="464962"/>
                </a:lnTo>
                <a:lnTo>
                  <a:pt x="106521" y="441336"/>
                </a:lnTo>
                <a:lnTo>
                  <a:pt x="116178" y="418257"/>
                </a:lnTo>
                <a:lnTo>
                  <a:pt x="126320" y="395738"/>
                </a:lnTo>
                <a:lnTo>
                  <a:pt x="136966" y="373780"/>
                </a:lnTo>
                <a:lnTo>
                  <a:pt x="137880" y="372027"/>
                </a:lnTo>
                <a:lnTo>
                  <a:pt x="137881" y="372027"/>
                </a:lnTo>
                <a:lnTo>
                  <a:pt x="148122" y="352391"/>
                </a:lnTo>
                <a:lnTo>
                  <a:pt x="159787" y="331571"/>
                </a:lnTo>
                <a:lnTo>
                  <a:pt x="171988" y="311336"/>
                </a:lnTo>
                <a:lnTo>
                  <a:pt x="184719" y="291677"/>
                </a:lnTo>
                <a:lnTo>
                  <a:pt x="197988" y="272618"/>
                </a:lnTo>
                <a:lnTo>
                  <a:pt x="211812" y="254143"/>
                </a:lnTo>
                <a:lnTo>
                  <a:pt x="241142" y="219015"/>
                </a:lnTo>
                <a:lnTo>
                  <a:pt x="272787" y="186325"/>
                </a:lnTo>
                <a:lnTo>
                  <a:pt x="306808" y="156118"/>
                </a:lnTo>
                <a:lnTo>
                  <a:pt x="343266" y="128447"/>
                </a:lnTo>
                <a:lnTo>
                  <a:pt x="362432" y="115578"/>
                </a:lnTo>
                <a:lnTo>
                  <a:pt x="382237" y="103346"/>
                </a:lnTo>
                <a:lnTo>
                  <a:pt x="402689" y="91775"/>
                </a:lnTo>
                <a:lnTo>
                  <a:pt x="423793" y="80865"/>
                </a:lnTo>
                <a:lnTo>
                  <a:pt x="445558" y="70617"/>
                </a:lnTo>
                <a:lnTo>
                  <a:pt x="467992" y="61045"/>
                </a:lnTo>
                <a:lnTo>
                  <a:pt x="491103" y="52142"/>
                </a:lnTo>
                <a:lnTo>
                  <a:pt x="514906" y="43923"/>
                </a:lnTo>
                <a:lnTo>
                  <a:pt x="539409" y="36389"/>
                </a:lnTo>
                <a:lnTo>
                  <a:pt x="564612" y="29553"/>
                </a:lnTo>
                <a:lnTo>
                  <a:pt x="590528" y="23403"/>
                </a:lnTo>
                <a:lnTo>
                  <a:pt x="617160" y="17967"/>
                </a:lnTo>
                <a:lnTo>
                  <a:pt x="644530" y="13231"/>
                </a:lnTo>
                <a:lnTo>
                  <a:pt x="672639" y="9210"/>
                </a:lnTo>
                <a:lnTo>
                  <a:pt x="701494" y="5912"/>
                </a:lnTo>
                <a:lnTo>
                  <a:pt x="731100" y="3336"/>
                </a:lnTo>
                <a:lnTo>
                  <a:pt x="761477" y="1484"/>
                </a:lnTo>
                <a:lnTo>
                  <a:pt x="792621" y="377"/>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3" name="Makro grafik 2">
            <a:extLst>
              <a:ext uri="{FF2B5EF4-FFF2-40B4-BE49-F238E27FC236}">
                <a16:creationId xmlns:a16="http://schemas.microsoft.com/office/drawing/2014/main" id="{3C47DF57-6C35-2F95-62C7-5AF5F1E443EA}"/>
              </a:ext>
            </a:extLst>
          </p:cNvPr>
          <p:cNvSpPr>
            <a:spLocks noGrp="1" noChangeAspect="1"/>
          </p:cNvSpPr>
          <p:nvPr>
            <p:ph type="body" sz="quarter" idx="20" hasCustomPrompt="1"/>
          </p:nvPr>
        </p:nvSpPr>
        <p:spPr>
          <a:xfrm>
            <a:off x="7625339" y="3523023"/>
            <a:ext cx="1123209" cy="1460462"/>
          </a:xfrm>
          <a:custGeom>
            <a:avLst/>
            <a:gdLst>
              <a:gd name="connsiteX0" fmla="*/ 0 w 1497612"/>
              <a:gd name="connsiteY0" fmla="*/ 1 h 1947283"/>
              <a:gd name="connsiteX1" fmla="*/ 133876 w 1497612"/>
              <a:gd name="connsiteY1" fmla="*/ 1 h 1947283"/>
              <a:gd name="connsiteX2" fmla="*/ 542054 w 1497612"/>
              <a:gd name="connsiteY2" fmla="*/ 1262003 h 1947283"/>
              <a:gd name="connsiteX3" fmla="*/ 763698 w 1497612"/>
              <a:gd name="connsiteY3" fmla="*/ 1947283 h 1947283"/>
              <a:gd name="connsiteX4" fmla="*/ 626777 w 1497612"/>
              <a:gd name="connsiteY4" fmla="*/ 1947283 h 1947283"/>
              <a:gd name="connsiteX5" fmla="*/ 406204 w 1497612"/>
              <a:gd name="connsiteY5" fmla="*/ 1262004 h 1947283"/>
              <a:gd name="connsiteX6" fmla="*/ 733914 w 1497612"/>
              <a:gd name="connsiteY6" fmla="*/ 0 h 1947283"/>
              <a:gd name="connsiteX7" fmla="*/ 867789 w 1497612"/>
              <a:gd name="connsiteY7" fmla="*/ 0 h 1947283"/>
              <a:gd name="connsiteX8" fmla="*/ 988168 w 1497612"/>
              <a:gd name="connsiteY8" fmla="*/ 372187 h 1947283"/>
              <a:gd name="connsiteX9" fmla="*/ 1497612 w 1497612"/>
              <a:gd name="connsiteY9" fmla="*/ 1947283 h 1947283"/>
              <a:gd name="connsiteX10" fmla="*/ 1360692 w 1497612"/>
              <a:gd name="connsiteY10" fmla="*/ 1947283 h 1947283"/>
              <a:gd name="connsiteX11" fmla="*/ 988168 w 1497612"/>
              <a:gd name="connsiteY11" fmla="*/ 789920 h 19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7612" h="1947283">
                <a:moveTo>
                  <a:pt x="0" y="1"/>
                </a:moveTo>
                <a:lnTo>
                  <a:pt x="133876" y="1"/>
                </a:lnTo>
                <a:lnTo>
                  <a:pt x="542054" y="1262003"/>
                </a:lnTo>
                <a:lnTo>
                  <a:pt x="763698" y="1947283"/>
                </a:lnTo>
                <a:lnTo>
                  <a:pt x="626777" y="1947283"/>
                </a:lnTo>
                <a:lnTo>
                  <a:pt x="406204" y="1262004"/>
                </a:lnTo>
                <a:close/>
                <a:moveTo>
                  <a:pt x="733914" y="0"/>
                </a:moveTo>
                <a:lnTo>
                  <a:pt x="867789" y="0"/>
                </a:lnTo>
                <a:lnTo>
                  <a:pt x="988168" y="372187"/>
                </a:lnTo>
                <a:lnTo>
                  <a:pt x="1497612" y="1947283"/>
                </a:lnTo>
                <a:lnTo>
                  <a:pt x="1360692" y="1947283"/>
                </a:lnTo>
                <a:lnTo>
                  <a:pt x="988168" y="78992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4" name="TextBox 1">
            <a:extLst>
              <a:ext uri="{FF2B5EF4-FFF2-40B4-BE49-F238E27FC236}">
                <a16:creationId xmlns:a16="http://schemas.microsoft.com/office/drawing/2014/main" id="{38C4D288-BF41-D871-ACA4-A53FE219D09D}"/>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pic>
        <p:nvPicPr>
          <p:cNvPr id="11" name="Logo" descr="#Decrorative">
            <a:extLst>
              <a:ext uri="{FF2B5EF4-FFF2-40B4-BE49-F238E27FC236}">
                <a16:creationId xmlns:a16="http://schemas.microsoft.com/office/drawing/2014/main" id="{34C3A5D3-360F-3732-7DD3-1AE8245BA5D5}"/>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379275" y="156007"/>
            <a:ext cx="1799137" cy="284414"/>
          </a:xfrm>
          <a:prstGeom prst="rect">
            <a:avLst/>
          </a:prstGeom>
        </p:spPr>
      </p:pic>
    </p:spTree>
    <p:extLst>
      <p:ext uri="{BB962C8B-B14F-4D97-AF65-F5344CB8AC3E}">
        <p14:creationId xmlns:p14="http://schemas.microsoft.com/office/powerpoint/2010/main" val="562315979"/>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dirty="0"/>
          </a:p>
        </p:txBody>
      </p:sp>
      <p:sp>
        <p:nvSpPr>
          <p:cNvPr id="25" name="Makro grafik 1">
            <a:extLst>
              <a:ext uri="{FF2B5EF4-FFF2-40B4-BE49-F238E27FC236}">
                <a16:creationId xmlns:a16="http://schemas.microsoft.com/office/drawing/2014/main" id="{F2E0EEBD-7C39-E8CB-108F-09AF0CD4D448}"/>
              </a:ext>
            </a:extLst>
          </p:cNvPr>
          <p:cNvSpPr>
            <a:spLocks noGrp="1" noChangeAspect="1"/>
          </p:cNvSpPr>
          <p:nvPr>
            <p:ph type="body" sz="quarter" idx="19" hasCustomPrompt="1"/>
          </p:nvPr>
        </p:nvSpPr>
        <p:spPr>
          <a:xfrm>
            <a:off x="2827574" y="391015"/>
            <a:ext cx="1353707" cy="1779938"/>
          </a:xfrm>
          <a:custGeom>
            <a:avLst/>
            <a:gdLst>
              <a:gd name="connsiteX0" fmla="*/ 1135564 w 1804943"/>
              <a:gd name="connsiteY0" fmla="*/ 15338 h 2373250"/>
              <a:gd name="connsiteX1" fmla="*/ 1804943 w 1804943"/>
              <a:gd name="connsiteY1" fmla="*/ 15338 h 2373250"/>
              <a:gd name="connsiteX2" fmla="*/ 1804943 w 1804943"/>
              <a:gd name="connsiteY2" fmla="*/ 121436 h 2373250"/>
              <a:gd name="connsiteX3" fmla="*/ 1260314 w 1804943"/>
              <a:gd name="connsiteY3" fmla="*/ 121436 h 2373250"/>
              <a:gd name="connsiteX4" fmla="*/ 1260314 w 1804943"/>
              <a:gd name="connsiteY4" fmla="*/ 372027 h 2373250"/>
              <a:gd name="connsiteX5" fmla="*/ 1260314 w 1804943"/>
              <a:gd name="connsiteY5" fmla="*/ 2258004 h 2373250"/>
              <a:gd name="connsiteX6" fmla="*/ 1804943 w 1804943"/>
              <a:gd name="connsiteY6" fmla="*/ 2258004 h 2373250"/>
              <a:gd name="connsiteX7" fmla="*/ 1804943 w 1804943"/>
              <a:gd name="connsiteY7" fmla="*/ 2364102 h 2373250"/>
              <a:gd name="connsiteX8" fmla="*/ 1135564 w 1804943"/>
              <a:gd name="connsiteY8" fmla="*/ 2364102 h 2373250"/>
              <a:gd name="connsiteX9" fmla="*/ 1135564 w 1804943"/>
              <a:gd name="connsiteY9" fmla="*/ 2258004 h 2373250"/>
              <a:gd name="connsiteX10" fmla="*/ 1135564 w 1804943"/>
              <a:gd name="connsiteY10" fmla="*/ 372027 h 2373250"/>
              <a:gd name="connsiteX11" fmla="*/ 1135564 w 1804943"/>
              <a:gd name="connsiteY11" fmla="*/ 121436 h 2373250"/>
              <a:gd name="connsiteX12" fmla="*/ 824551 w 1804943"/>
              <a:gd name="connsiteY12" fmla="*/ 0 h 2373250"/>
              <a:gd name="connsiteX13" fmla="*/ 824551 w 1804943"/>
              <a:gd name="connsiteY13" fmla="*/ 106498 h 2373250"/>
              <a:gd name="connsiteX14" fmla="*/ 793382 w 1804943"/>
              <a:gd name="connsiteY14" fmla="*/ 106920 h 2373250"/>
              <a:gd name="connsiteX15" fmla="*/ 763107 w 1804943"/>
              <a:gd name="connsiteY15" fmla="*/ 108189 h 2373250"/>
              <a:gd name="connsiteX16" fmla="*/ 733699 w 1804943"/>
              <a:gd name="connsiteY16" fmla="*/ 110296 h 2373250"/>
              <a:gd name="connsiteX17" fmla="*/ 705152 w 1804943"/>
              <a:gd name="connsiteY17" fmla="*/ 113240 h 2373250"/>
              <a:gd name="connsiteX18" fmla="*/ 677451 w 1804943"/>
              <a:gd name="connsiteY18" fmla="*/ 117008 h 2373250"/>
              <a:gd name="connsiteX19" fmla="*/ 650596 w 1804943"/>
              <a:gd name="connsiteY19" fmla="*/ 121598 h 2373250"/>
              <a:gd name="connsiteX20" fmla="*/ 624564 w 1804943"/>
              <a:gd name="connsiteY20" fmla="*/ 126995 h 2373250"/>
              <a:gd name="connsiteX21" fmla="*/ 599346 w 1804943"/>
              <a:gd name="connsiteY21" fmla="*/ 133207 h 2373250"/>
              <a:gd name="connsiteX22" fmla="*/ 574929 w 1804943"/>
              <a:gd name="connsiteY22" fmla="*/ 140218 h 2373250"/>
              <a:gd name="connsiteX23" fmla="*/ 551302 w 1804943"/>
              <a:gd name="connsiteY23" fmla="*/ 148022 h 2373250"/>
              <a:gd name="connsiteX24" fmla="*/ 528461 w 1804943"/>
              <a:gd name="connsiteY24" fmla="*/ 156617 h 2373250"/>
              <a:gd name="connsiteX25" fmla="*/ 506387 w 1804943"/>
              <a:gd name="connsiteY25" fmla="*/ 165997 h 2373250"/>
              <a:gd name="connsiteX26" fmla="*/ 485076 w 1804943"/>
              <a:gd name="connsiteY26" fmla="*/ 176146 h 2373250"/>
              <a:gd name="connsiteX27" fmla="*/ 464502 w 1804943"/>
              <a:gd name="connsiteY27" fmla="*/ 187071 h 2373250"/>
              <a:gd name="connsiteX28" fmla="*/ 425554 w 1804943"/>
              <a:gd name="connsiteY28" fmla="*/ 211204 h 2373250"/>
              <a:gd name="connsiteX29" fmla="*/ 389457 w 1804943"/>
              <a:gd name="connsiteY29" fmla="*/ 238344 h 2373250"/>
              <a:gd name="connsiteX30" fmla="*/ 356105 w 1804943"/>
              <a:gd name="connsiteY30" fmla="*/ 268436 h 2373250"/>
              <a:gd name="connsiteX31" fmla="*/ 325421 w 1804943"/>
              <a:gd name="connsiteY31" fmla="*/ 301433 h 2373250"/>
              <a:gd name="connsiteX32" fmla="*/ 297313 w 1804943"/>
              <a:gd name="connsiteY32" fmla="*/ 337284 h 2373250"/>
              <a:gd name="connsiteX33" fmla="*/ 284189 w 1804943"/>
              <a:gd name="connsiteY33" fmla="*/ 356266 h 2373250"/>
              <a:gd name="connsiteX34" fmla="*/ 274169 w 1804943"/>
              <a:gd name="connsiteY34" fmla="*/ 372027 h 2373250"/>
              <a:gd name="connsiteX35" fmla="*/ 271680 w 1804943"/>
              <a:gd name="connsiteY35" fmla="*/ 375940 h 2373250"/>
              <a:gd name="connsiteX36" fmla="*/ 259763 w 1804943"/>
              <a:gd name="connsiteY36" fmla="*/ 396306 h 2373250"/>
              <a:gd name="connsiteX37" fmla="*/ 248431 w 1804943"/>
              <a:gd name="connsiteY37" fmla="*/ 417348 h 2373250"/>
              <a:gd name="connsiteX38" fmla="*/ 237675 w 1804943"/>
              <a:gd name="connsiteY38" fmla="*/ 439077 h 2373250"/>
              <a:gd name="connsiteX39" fmla="*/ 227480 w 1804943"/>
              <a:gd name="connsiteY39" fmla="*/ 461465 h 2373250"/>
              <a:gd name="connsiteX40" fmla="*/ 217839 w 1804943"/>
              <a:gd name="connsiteY40" fmla="*/ 484522 h 2373250"/>
              <a:gd name="connsiteX41" fmla="*/ 208737 w 1804943"/>
              <a:gd name="connsiteY41" fmla="*/ 508239 h 2373250"/>
              <a:gd name="connsiteX42" fmla="*/ 200156 w 1804943"/>
              <a:gd name="connsiteY42" fmla="*/ 532604 h 2373250"/>
              <a:gd name="connsiteX43" fmla="*/ 192100 w 1804943"/>
              <a:gd name="connsiteY43" fmla="*/ 557614 h 2373250"/>
              <a:gd name="connsiteX44" fmla="*/ 184542 w 1804943"/>
              <a:gd name="connsiteY44" fmla="*/ 583262 h 2373250"/>
              <a:gd name="connsiteX45" fmla="*/ 177484 w 1804943"/>
              <a:gd name="connsiteY45" fmla="*/ 609541 h 2373250"/>
              <a:gd name="connsiteX46" fmla="*/ 170903 w 1804943"/>
              <a:gd name="connsiteY46" fmla="*/ 636450 h 2373250"/>
              <a:gd name="connsiteX47" fmla="*/ 164799 w 1804943"/>
              <a:gd name="connsiteY47" fmla="*/ 663974 h 2373250"/>
              <a:gd name="connsiteX48" fmla="*/ 159148 w 1804943"/>
              <a:gd name="connsiteY48" fmla="*/ 692121 h 2373250"/>
              <a:gd name="connsiteX49" fmla="*/ 153950 w 1804943"/>
              <a:gd name="connsiteY49" fmla="*/ 720867 h 2373250"/>
              <a:gd name="connsiteX50" fmla="*/ 149183 w 1804943"/>
              <a:gd name="connsiteY50" fmla="*/ 750212 h 2373250"/>
              <a:gd name="connsiteX51" fmla="*/ 144839 w 1804943"/>
              <a:gd name="connsiteY51" fmla="*/ 780158 h 2373250"/>
              <a:gd name="connsiteX52" fmla="*/ 140910 w 1804943"/>
              <a:gd name="connsiteY52" fmla="*/ 810689 h 2373250"/>
              <a:gd name="connsiteX53" fmla="*/ 137390 w 1804943"/>
              <a:gd name="connsiteY53" fmla="*/ 841803 h 2373250"/>
              <a:gd name="connsiteX54" fmla="*/ 134253 w 1804943"/>
              <a:gd name="connsiteY54" fmla="*/ 873494 h 2373250"/>
              <a:gd name="connsiteX55" fmla="*/ 131501 w 1804943"/>
              <a:gd name="connsiteY55" fmla="*/ 905754 h 2373250"/>
              <a:gd name="connsiteX56" fmla="*/ 129109 w 1804943"/>
              <a:gd name="connsiteY56" fmla="*/ 938575 h 2373250"/>
              <a:gd name="connsiteX57" fmla="*/ 127073 w 1804943"/>
              <a:gd name="connsiteY57" fmla="*/ 971958 h 2373250"/>
              <a:gd name="connsiteX58" fmla="*/ 125389 w 1804943"/>
              <a:gd name="connsiteY58" fmla="*/ 1005886 h 2373250"/>
              <a:gd name="connsiteX59" fmla="*/ 124027 w 1804943"/>
              <a:gd name="connsiteY59" fmla="*/ 1040360 h 2373250"/>
              <a:gd name="connsiteX60" fmla="*/ 122997 w 1804943"/>
              <a:gd name="connsiteY60" fmla="*/ 1075373 h 2373250"/>
              <a:gd name="connsiteX61" fmla="*/ 122267 w 1804943"/>
              <a:gd name="connsiteY61" fmla="*/ 1110923 h 2373250"/>
              <a:gd name="connsiteX62" fmla="*/ 121844 w 1804943"/>
              <a:gd name="connsiteY62" fmla="*/ 1146996 h 2373250"/>
              <a:gd name="connsiteX63" fmla="*/ 121706 w 1804943"/>
              <a:gd name="connsiteY63" fmla="*/ 1183585 h 2373250"/>
              <a:gd name="connsiteX64" fmla="*/ 121829 w 1804943"/>
              <a:gd name="connsiteY64" fmla="*/ 1220003 h 2373250"/>
              <a:gd name="connsiteX65" fmla="*/ 122229 w 1804943"/>
              <a:gd name="connsiteY65" fmla="*/ 1255892 h 2373250"/>
              <a:gd name="connsiteX66" fmla="*/ 122897 w 1804943"/>
              <a:gd name="connsiteY66" fmla="*/ 1291258 h 2373250"/>
              <a:gd name="connsiteX67" fmla="*/ 123850 w 1804943"/>
              <a:gd name="connsiteY67" fmla="*/ 1326087 h 2373250"/>
              <a:gd name="connsiteX68" fmla="*/ 125111 w 1804943"/>
              <a:gd name="connsiteY68" fmla="*/ 1360376 h 2373250"/>
              <a:gd name="connsiteX69" fmla="*/ 126679 w 1804943"/>
              <a:gd name="connsiteY69" fmla="*/ 1394113 h 2373250"/>
              <a:gd name="connsiteX70" fmla="*/ 128571 w 1804943"/>
              <a:gd name="connsiteY70" fmla="*/ 1427303 h 2373250"/>
              <a:gd name="connsiteX71" fmla="*/ 130802 w 1804943"/>
              <a:gd name="connsiteY71" fmla="*/ 1459939 h 2373250"/>
              <a:gd name="connsiteX72" fmla="*/ 133368 w 1804943"/>
              <a:gd name="connsiteY72" fmla="*/ 1492006 h 2373250"/>
              <a:gd name="connsiteX73" fmla="*/ 136298 w 1804943"/>
              <a:gd name="connsiteY73" fmla="*/ 1523513 h 2373250"/>
              <a:gd name="connsiteX74" fmla="*/ 139596 w 1804943"/>
              <a:gd name="connsiteY74" fmla="*/ 1554442 h 2373250"/>
              <a:gd name="connsiteX75" fmla="*/ 143271 w 1804943"/>
              <a:gd name="connsiteY75" fmla="*/ 1584796 h 2373250"/>
              <a:gd name="connsiteX76" fmla="*/ 147338 w 1804943"/>
              <a:gd name="connsiteY76" fmla="*/ 1614566 h 2373250"/>
              <a:gd name="connsiteX77" fmla="*/ 151813 w 1804943"/>
              <a:gd name="connsiteY77" fmla="*/ 1643750 h 2373250"/>
              <a:gd name="connsiteX78" fmla="*/ 156702 w 1804943"/>
              <a:gd name="connsiteY78" fmla="*/ 1672334 h 2373250"/>
              <a:gd name="connsiteX79" fmla="*/ 162015 w 1804943"/>
              <a:gd name="connsiteY79" fmla="*/ 1700320 h 2373250"/>
              <a:gd name="connsiteX80" fmla="*/ 167766 w 1804943"/>
              <a:gd name="connsiteY80" fmla="*/ 1727705 h 2373250"/>
              <a:gd name="connsiteX81" fmla="*/ 173962 w 1804943"/>
              <a:gd name="connsiteY81" fmla="*/ 1754476 h 2373250"/>
              <a:gd name="connsiteX82" fmla="*/ 180629 w 1804943"/>
              <a:gd name="connsiteY82" fmla="*/ 1780631 h 2373250"/>
              <a:gd name="connsiteX83" fmla="*/ 187755 w 1804943"/>
              <a:gd name="connsiteY83" fmla="*/ 1806164 h 2373250"/>
              <a:gd name="connsiteX84" fmla="*/ 195374 w 1804943"/>
              <a:gd name="connsiteY84" fmla="*/ 1831074 h 2373250"/>
              <a:gd name="connsiteX85" fmla="*/ 203485 w 1804943"/>
              <a:gd name="connsiteY85" fmla="*/ 1855346 h 2373250"/>
              <a:gd name="connsiteX86" fmla="*/ 212112 w 1804943"/>
              <a:gd name="connsiteY86" fmla="*/ 1878988 h 2373250"/>
              <a:gd name="connsiteX87" fmla="*/ 221245 w 1804943"/>
              <a:gd name="connsiteY87" fmla="*/ 1901983 h 2373250"/>
              <a:gd name="connsiteX88" fmla="*/ 230917 w 1804943"/>
              <a:gd name="connsiteY88" fmla="*/ 1924332 h 2373250"/>
              <a:gd name="connsiteX89" fmla="*/ 241128 w 1804943"/>
              <a:gd name="connsiteY89" fmla="*/ 1946029 h 2373250"/>
              <a:gd name="connsiteX90" fmla="*/ 251891 w 1804943"/>
              <a:gd name="connsiteY90" fmla="*/ 1967064 h 2373250"/>
              <a:gd name="connsiteX91" fmla="*/ 263216 w 1804943"/>
              <a:gd name="connsiteY91" fmla="*/ 1987430 h 2373250"/>
              <a:gd name="connsiteX92" fmla="*/ 287611 w 1804943"/>
              <a:gd name="connsiteY92" fmla="*/ 2026164 h 2373250"/>
              <a:gd name="connsiteX93" fmla="*/ 314404 w 1804943"/>
              <a:gd name="connsiteY93" fmla="*/ 2062168 h 2373250"/>
              <a:gd name="connsiteX94" fmla="*/ 343681 w 1804943"/>
              <a:gd name="connsiteY94" fmla="*/ 2095412 h 2373250"/>
              <a:gd name="connsiteX95" fmla="*/ 375541 w 1804943"/>
              <a:gd name="connsiteY95" fmla="*/ 2125849 h 2373250"/>
              <a:gd name="connsiteX96" fmla="*/ 410077 w 1804943"/>
              <a:gd name="connsiteY96" fmla="*/ 2153435 h 2373250"/>
              <a:gd name="connsiteX97" fmla="*/ 447372 w 1804943"/>
              <a:gd name="connsiteY97" fmla="*/ 2178130 h 2373250"/>
              <a:gd name="connsiteX98" fmla="*/ 487529 w 1804943"/>
              <a:gd name="connsiteY98" fmla="*/ 2199888 h 2373250"/>
              <a:gd name="connsiteX99" fmla="*/ 508702 w 1804943"/>
              <a:gd name="connsiteY99" fmla="*/ 2209652 h 2373250"/>
              <a:gd name="connsiteX100" fmla="*/ 530629 w 1804943"/>
              <a:gd name="connsiteY100" fmla="*/ 2218662 h 2373250"/>
              <a:gd name="connsiteX101" fmla="*/ 553317 w 1804943"/>
              <a:gd name="connsiteY101" fmla="*/ 2226920 h 2373250"/>
              <a:gd name="connsiteX102" fmla="*/ 576782 w 1804943"/>
              <a:gd name="connsiteY102" fmla="*/ 2234416 h 2373250"/>
              <a:gd name="connsiteX103" fmla="*/ 601022 w 1804943"/>
              <a:gd name="connsiteY103" fmla="*/ 2241150 h 2373250"/>
              <a:gd name="connsiteX104" fmla="*/ 626056 w 1804943"/>
              <a:gd name="connsiteY104" fmla="*/ 2247109 h 2373250"/>
              <a:gd name="connsiteX105" fmla="*/ 651904 w 1804943"/>
              <a:gd name="connsiteY105" fmla="*/ 2252291 h 2373250"/>
              <a:gd name="connsiteX106" fmla="*/ 678567 w 1804943"/>
              <a:gd name="connsiteY106" fmla="*/ 2256688 h 2373250"/>
              <a:gd name="connsiteX107" fmla="*/ 706061 w 1804943"/>
              <a:gd name="connsiteY107" fmla="*/ 2260301 h 2373250"/>
              <a:gd name="connsiteX108" fmla="*/ 734390 w 1804943"/>
              <a:gd name="connsiteY108" fmla="*/ 2263116 h 2373250"/>
              <a:gd name="connsiteX109" fmla="*/ 763575 w 1804943"/>
              <a:gd name="connsiteY109" fmla="*/ 2265138 h 2373250"/>
              <a:gd name="connsiteX110" fmla="*/ 793630 w 1804943"/>
              <a:gd name="connsiteY110" fmla="*/ 2266352 h 2373250"/>
              <a:gd name="connsiteX111" fmla="*/ 824551 w 1804943"/>
              <a:gd name="connsiteY111" fmla="*/ 2266760 h 2373250"/>
              <a:gd name="connsiteX112" fmla="*/ 824551 w 1804943"/>
              <a:gd name="connsiteY112" fmla="*/ 2373250 h 2373250"/>
              <a:gd name="connsiteX113" fmla="*/ 792476 w 1804943"/>
              <a:gd name="connsiteY113" fmla="*/ 2372881 h 2373250"/>
              <a:gd name="connsiteX114" fmla="*/ 761193 w 1804943"/>
              <a:gd name="connsiteY114" fmla="*/ 2371759 h 2373250"/>
              <a:gd name="connsiteX115" fmla="*/ 730694 w 1804943"/>
              <a:gd name="connsiteY115" fmla="*/ 2369898 h 2373250"/>
              <a:gd name="connsiteX116" fmla="*/ 700970 w 1804943"/>
              <a:gd name="connsiteY116" fmla="*/ 2367307 h 2373250"/>
              <a:gd name="connsiteX117" fmla="*/ 672008 w 1804943"/>
              <a:gd name="connsiteY117" fmla="*/ 2363986 h 2373250"/>
              <a:gd name="connsiteX118" fmla="*/ 643800 w 1804943"/>
              <a:gd name="connsiteY118" fmla="*/ 2359941 h 2373250"/>
              <a:gd name="connsiteX119" fmla="*/ 616345 w 1804943"/>
              <a:gd name="connsiteY119" fmla="*/ 2355175 h 2373250"/>
              <a:gd name="connsiteX120" fmla="*/ 589621 w 1804943"/>
              <a:gd name="connsiteY120" fmla="*/ 2349701 h 2373250"/>
              <a:gd name="connsiteX121" fmla="*/ 563635 w 1804943"/>
              <a:gd name="connsiteY121" fmla="*/ 2343519 h 2373250"/>
              <a:gd name="connsiteX122" fmla="*/ 538363 w 1804943"/>
              <a:gd name="connsiteY122" fmla="*/ 2336631 h 2373250"/>
              <a:gd name="connsiteX123" fmla="*/ 513800 w 1804943"/>
              <a:gd name="connsiteY123" fmla="*/ 2329050 h 2373250"/>
              <a:gd name="connsiteX124" fmla="*/ 489950 w 1804943"/>
              <a:gd name="connsiteY124" fmla="*/ 2320785 h 2373250"/>
              <a:gd name="connsiteX125" fmla="*/ 466785 w 1804943"/>
              <a:gd name="connsiteY125" fmla="*/ 2311829 h 2373250"/>
              <a:gd name="connsiteX126" fmla="*/ 444312 w 1804943"/>
              <a:gd name="connsiteY126" fmla="*/ 2302195 h 2373250"/>
              <a:gd name="connsiteX127" fmla="*/ 422516 w 1804943"/>
              <a:gd name="connsiteY127" fmla="*/ 2291885 h 2373250"/>
              <a:gd name="connsiteX128" fmla="*/ 401389 w 1804943"/>
              <a:gd name="connsiteY128" fmla="*/ 2280906 h 2373250"/>
              <a:gd name="connsiteX129" fmla="*/ 380915 w 1804943"/>
              <a:gd name="connsiteY129" fmla="*/ 2269266 h 2373250"/>
              <a:gd name="connsiteX130" fmla="*/ 361094 w 1804943"/>
              <a:gd name="connsiteY130" fmla="*/ 2256965 h 2373250"/>
              <a:gd name="connsiteX131" fmla="*/ 341921 w 1804943"/>
              <a:gd name="connsiteY131" fmla="*/ 2244018 h 2373250"/>
              <a:gd name="connsiteX132" fmla="*/ 305456 w 1804943"/>
              <a:gd name="connsiteY132" fmla="*/ 2216179 h 2373250"/>
              <a:gd name="connsiteX133" fmla="*/ 271450 w 1804943"/>
              <a:gd name="connsiteY133" fmla="*/ 2185803 h 2373250"/>
              <a:gd name="connsiteX134" fmla="*/ 239844 w 1804943"/>
              <a:gd name="connsiteY134" fmla="*/ 2152920 h 2373250"/>
              <a:gd name="connsiteX135" fmla="*/ 210559 w 1804943"/>
              <a:gd name="connsiteY135" fmla="*/ 2117584 h 2373250"/>
              <a:gd name="connsiteX136" fmla="*/ 196759 w 1804943"/>
              <a:gd name="connsiteY136" fmla="*/ 2099010 h 2373250"/>
              <a:gd name="connsiteX137" fmla="*/ 183519 w 1804943"/>
              <a:gd name="connsiteY137" fmla="*/ 2079843 h 2373250"/>
              <a:gd name="connsiteX138" fmla="*/ 170826 w 1804943"/>
              <a:gd name="connsiteY138" fmla="*/ 2060076 h 2373250"/>
              <a:gd name="connsiteX139" fmla="*/ 158670 w 1804943"/>
              <a:gd name="connsiteY139" fmla="*/ 2039725 h 2373250"/>
              <a:gd name="connsiteX140" fmla="*/ 147039 w 1804943"/>
              <a:gd name="connsiteY140" fmla="*/ 2018790 h 2373250"/>
              <a:gd name="connsiteX141" fmla="*/ 135929 w 1804943"/>
              <a:gd name="connsiteY141" fmla="*/ 1997286 h 2373250"/>
              <a:gd name="connsiteX142" fmla="*/ 125326 w 1804943"/>
              <a:gd name="connsiteY142" fmla="*/ 1975206 h 2373250"/>
              <a:gd name="connsiteX143" fmla="*/ 115224 w 1804943"/>
              <a:gd name="connsiteY143" fmla="*/ 1952564 h 2373250"/>
              <a:gd name="connsiteX144" fmla="*/ 105621 w 1804943"/>
              <a:gd name="connsiteY144" fmla="*/ 1929369 h 2373250"/>
              <a:gd name="connsiteX145" fmla="*/ 96495 w 1804943"/>
              <a:gd name="connsiteY145" fmla="*/ 1905612 h 2373250"/>
              <a:gd name="connsiteX146" fmla="*/ 87846 w 1804943"/>
              <a:gd name="connsiteY146" fmla="*/ 1881309 h 2373250"/>
              <a:gd name="connsiteX147" fmla="*/ 79666 w 1804943"/>
              <a:gd name="connsiteY147" fmla="*/ 1856461 h 2373250"/>
              <a:gd name="connsiteX148" fmla="*/ 71947 w 1804943"/>
              <a:gd name="connsiteY148" fmla="*/ 1831082 h 2373250"/>
              <a:gd name="connsiteX149" fmla="*/ 64675 w 1804943"/>
              <a:gd name="connsiteY149" fmla="*/ 1805165 h 2373250"/>
              <a:gd name="connsiteX150" fmla="*/ 57839 w 1804943"/>
              <a:gd name="connsiteY150" fmla="*/ 1778725 h 2373250"/>
              <a:gd name="connsiteX151" fmla="*/ 51435 w 1804943"/>
              <a:gd name="connsiteY151" fmla="*/ 1751762 h 2373250"/>
              <a:gd name="connsiteX152" fmla="*/ 45461 w 1804943"/>
              <a:gd name="connsiteY152" fmla="*/ 1724284 h 2373250"/>
              <a:gd name="connsiteX153" fmla="*/ 39895 w 1804943"/>
              <a:gd name="connsiteY153" fmla="*/ 1696292 h 2373250"/>
              <a:gd name="connsiteX154" fmla="*/ 34736 w 1804943"/>
              <a:gd name="connsiteY154" fmla="*/ 1667799 h 2373250"/>
              <a:gd name="connsiteX155" fmla="*/ 29969 w 1804943"/>
              <a:gd name="connsiteY155" fmla="*/ 1638806 h 2373250"/>
              <a:gd name="connsiteX156" fmla="*/ 25595 w 1804943"/>
              <a:gd name="connsiteY156" fmla="*/ 1609322 h 2373250"/>
              <a:gd name="connsiteX157" fmla="*/ 21597 w 1804943"/>
              <a:gd name="connsiteY157" fmla="*/ 1579352 h 2373250"/>
              <a:gd name="connsiteX158" fmla="*/ 17967 w 1804943"/>
              <a:gd name="connsiteY158" fmla="*/ 1548893 h 2373250"/>
              <a:gd name="connsiteX159" fmla="*/ 14708 w 1804943"/>
              <a:gd name="connsiteY159" fmla="*/ 1517963 h 2373250"/>
              <a:gd name="connsiteX160" fmla="*/ 11794 w 1804943"/>
              <a:gd name="connsiteY160" fmla="*/ 1486556 h 2373250"/>
              <a:gd name="connsiteX161" fmla="*/ 9226 w 1804943"/>
              <a:gd name="connsiteY161" fmla="*/ 1454681 h 2373250"/>
              <a:gd name="connsiteX162" fmla="*/ 6989 w 1804943"/>
              <a:gd name="connsiteY162" fmla="*/ 1422351 h 2373250"/>
              <a:gd name="connsiteX163" fmla="*/ 5082 w 1804943"/>
              <a:gd name="connsiteY163" fmla="*/ 1389569 h 2373250"/>
              <a:gd name="connsiteX164" fmla="*/ 3490 w 1804943"/>
              <a:gd name="connsiteY164" fmla="*/ 1356325 h 2373250"/>
              <a:gd name="connsiteX165" fmla="*/ 2206 w 1804943"/>
              <a:gd name="connsiteY165" fmla="*/ 1322649 h 2373250"/>
              <a:gd name="connsiteX166" fmla="*/ 1230 w 1804943"/>
              <a:gd name="connsiteY166" fmla="*/ 1288530 h 2373250"/>
              <a:gd name="connsiteX167" fmla="*/ 540 w 1804943"/>
              <a:gd name="connsiteY167" fmla="*/ 1253971 h 2373250"/>
              <a:gd name="connsiteX168" fmla="*/ 132 w 1804943"/>
              <a:gd name="connsiteY168" fmla="*/ 1218989 h 2373250"/>
              <a:gd name="connsiteX169" fmla="*/ 0 w 1804943"/>
              <a:gd name="connsiteY169" fmla="*/ 1183585 h 2373250"/>
              <a:gd name="connsiteX170" fmla="*/ 132 w 1804943"/>
              <a:gd name="connsiteY170" fmla="*/ 1148334 h 2373250"/>
              <a:gd name="connsiteX171" fmla="*/ 546 w 1804943"/>
              <a:gd name="connsiteY171" fmla="*/ 1113498 h 2373250"/>
              <a:gd name="connsiteX172" fmla="*/ 1254 w 1804943"/>
              <a:gd name="connsiteY172" fmla="*/ 1079094 h 2373250"/>
              <a:gd name="connsiteX173" fmla="*/ 2246 w 1804943"/>
              <a:gd name="connsiteY173" fmla="*/ 1045127 h 2373250"/>
              <a:gd name="connsiteX174" fmla="*/ 3544 w 1804943"/>
              <a:gd name="connsiteY174" fmla="*/ 1011590 h 2373250"/>
              <a:gd name="connsiteX175" fmla="*/ 5159 w 1804943"/>
              <a:gd name="connsiteY175" fmla="*/ 978500 h 2373250"/>
              <a:gd name="connsiteX176" fmla="*/ 7096 w 1804943"/>
              <a:gd name="connsiteY176" fmla="*/ 945863 h 2373250"/>
              <a:gd name="connsiteX177" fmla="*/ 9356 w 1804943"/>
              <a:gd name="connsiteY177" fmla="*/ 913681 h 2373250"/>
              <a:gd name="connsiteX178" fmla="*/ 11964 w 1804943"/>
              <a:gd name="connsiteY178" fmla="*/ 881951 h 2373250"/>
              <a:gd name="connsiteX179" fmla="*/ 14909 w 1804943"/>
              <a:gd name="connsiteY179" fmla="*/ 850691 h 2373250"/>
              <a:gd name="connsiteX180" fmla="*/ 18214 w 1804943"/>
              <a:gd name="connsiteY180" fmla="*/ 819907 h 2373250"/>
              <a:gd name="connsiteX181" fmla="*/ 21881 w 1804943"/>
              <a:gd name="connsiteY181" fmla="*/ 789592 h 2373250"/>
              <a:gd name="connsiteX182" fmla="*/ 25917 w 1804943"/>
              <a:gd name="connsiteY182" fmla="*/ 759762 h 2373250"/>
              <a:gd name="connsiteX183" fmla="*/ 30338 w 1804943"/>
              <a:gd name="connsiteY183" fmla="*/ 730423 h 2373250"/>
              <a:gd name="connsiteX184" fmla="*/ 35152 w 1804943"/>
              <a:gd name="connsiteY184" fmla="*/ 701569 h 2373250"/>
              <a:gd name="connsiteX185" fmla="*/ 40356 w 1804943"/>
              <a:gd name="connsiteY185" fmla="*/ 673215 h 2373250"/>
              <a:gd name="connsiteX186" fmla="*/ 45968 w 1804943"/>
              <a:gd name="connsiteY186" fmla="*/ 645368 h 2373250"/>
              <a:gd name="connsiteX187" fmla="*/ 51996 w 1804943"/>
              <a:gd name="connsiteY187" fmla="*/ 618029 h 2373250"/>
              <a:gd name="connsiteX188" fmla="*/ 58446 w 1804943"/>
              <a:gd name="connsiteY188" fmla="*/ 591204 h 2373250"/>
              <a:gd name="connsiteX189" fmla="*/ 65335 w 1804943"/>
              <a:gd name="connsiteY189" fmla="*/ 564895 h 2373250"/>
              <a:gd name="connsiteX190" fmla="*/ 72655 w 1804943"/>
              <a:gd name="connsiteY190" fmla="*/ 539109 h 2373250"/>
              <a:gd name="connsiteX191" fmla="*/ 80428 w 1804943"/>
              <a:gd name="connsiteY191" fmla="*/ 513860 h 2373250"/>
              <a:gd name="connsiteX192" fmla="*/ 88661 w 1804943"/>
              <a:gd name="connsiteY192" fmla="*/ 489142 h 2373250"/>
              <a:gd name="connsiteX193" fmla="*/ 97358 w 1804943"/>
              <a:gd name="connsiteY193" fmla="*/ 464962 h 2373250"/>
              <a:gd name="connsiteX194" fmla="*/ 106521 w 1804943"/>
              <a:gd name="connsiteY194" fmla="*/ 441336 h 2373250"/>
              <a:gd name="connsiteX195" fmla="*/ 116178 w 1804943"/>
              <a:gd name="connsiteY195" fmla="*/ 418257 h 2373250"/>
              <a:gd name="connsiteX196" fmla="*/ 126320 w 1804943"/>
              <a:gd name="connsiteY196" fmla="*/ 395738 h 2373250"/>
              <a:gd name="connsiteX197" fmla="*/ 136966 w 1804943"/>
              <a:gd name="connsiteY197" fmla="*/ 373780 h 2373250"/>
              <a:gd name="connsiteX198" fmla="*/ 137880 w 1804943"/>
              <a:gd name="connsiteY198" fmla="*/ 372027 h 2373250"/>
              <a:gd name="connsiteX199" fmla="*/ 137881 w 1804943"/>
              <a:gd name="connsiteY199" fmla="*/ 372027 h 2373250"/>
              <a:gd name="connsiteX200" fmla="*/ 148122 w 1804943"/>
              <a:gd name="connsiteY200" fmla="*/ 352391 h 2373250"/>
              <a:gd name="connsiteX201" fmla="*/ 159787 w 1804943"/>
              <a:gd name="connsiteY201" fmla="*/ 331571 h 2373250"/>
              <a:gd name="connsiteX202" fmla="*/ 171988 w 1804943"/>
              <a:gd name="connsiteY202" fmla="*/ 311336 h 2373250"/>
              <a:gd name="connsiteX203" fmla="*/ 184719 w 1804943"/>
              <a:gd name="connsiteY203" fmla="*/ 291677 h 2373250"/>
              <a:gd name="connsiteX204" fmla="*/ 197988 w 1804943"/>
              <a:gd name="connsiteY204" fmla="*/ 272618 h 2373250"/>
              <a:gd name="connsiteX205" fmla="*/ 211812 w 1804943"/>
              <a:gd name="connsiteY205" fmla="*/ 254143 h 2373250"/>
              <a:gd name="connsiteX206" fmla="*/ 241142 w 1804943"/>
              <a:gd name="connsiteY206" fmla="*/ 219015 h 2373250"/>
              <a:gd name="connsiteX207" fmla="*/ 272787 w 1804943"/>
              <a:gd name="connsiteY207" fmla="*/ 186325 h 2373250"/>
              <a:gd name="connsiteX208" fmla="*/ 306808 w 1804943"/>
              <a:gd name="connsiteY208" fmla="*/ 156118 h 2373250"/>
              <a:gd name="connsiteX209" fmla="*/ 343266 w 1804943"/>
              <a:gd name="connsiteY209" fmla="*/ 128447 h 2373250"/>
              <a:gd name="connsiteX210" fmla="*/ 362432 w 1804943"/>
              <a:gd name="connsiteY210" fmla="*/ 115578 h 2373250"/>
              <a:gd name="connsiteX211" fmla="*/ 382237 w 1804943"/>
              <a:gd name="connsiteY211" fmla="*/ 103346 h 2373250"/>
              <a:gd name="connsiteX212" fmla="*/ 402689 w 1804943"/>
              <a:gd name="connsiteY212" fmla="*/ 91775 h 2373250"/>
              <a:gd name="connsiteX213" fmla="*/ 423793 w 1804943"/>
              <a:gd name="connsiteY213" fmla="*/ 80865 h 2373250"/>
              <a:gd name="connsiteX214" fmla="*/ 445558 w 1804943"/>
              <a:gd name="connsiteY214" fmla="*/ 70617 h 2373250"/>
              <a:gd name="connsiteX215" fmla="*/ 467992 w 1804943"/>
              <a:gd name="connsiteY215" fmla="*/ 61045 h 2373250"/>
              <a:gd name="connsiteX216" fmla="*/ 491103 w 1804943"/>
              <a:gd name="connsiteY216" fmla="*/ 52142 h 2373250"/>
              <a:gd name="connsiteX217" fmla="*/ 514906 w 1804943"/>
              <a:gd name="connsiteY217" fmla="*/ 43923 h 2373250"/>
              <a:gd name="connsiteX218" fmla="*/ 539409 w 1804943"/>
              <a:gd name="connsiteY218" fmla="*/ 36389 h 2373250"/>
              <a:gd name="connsiteX219" fmla="*/ 564612 w 1804943"/>
              <a:gd name="connsiteY219" fmla="*/ 29553 h 2373250"/>
              <a:gd name="connsiteX220" fmla="*/ 590528 w 1804943"/>
              <a:gd name="connsiteY220" fmla="*/ 23403 h 2373250"/>
              <a:gd name="connsiteX221" fmla="*/ 617160 w 1804943"/>
              <a:gd name="connsiteY221" fmla="*/ 17967 h 2373250"/>
              <a:gd name="connsiteX222" fmla="*/ 644530 w 1804943"/>
              <a:gd name="connsiteY222" fmla="*/ 13231 h 2373250"/>
              <a:gd name="connsiteX223" fmla="*/ 672639 w 1804943"/>
              <a:gd name="connsiteY223" fmla="*/ 9210 h 2373250"/>
              <a:gd name="connsiteX224" fmla="*/ 701494 w 1804943"/>
              <a:gd name="connsiteY224" fmla="*/ 5912 h 2373250"/>
              <a:gd name="connsiteX225" fmla="*/ 731100 w 1804943"/>
              <a:gd name="connsiteY225" fmla="*/ 3336 h 2373250"/>
              <a:gd name="connsiteX226" fmla="*/ 761477 w 1804943"/>
              <a:gd name="connsiteY226" fmla="*/ 1484 h 2373250"/>
              <a:gd name="connsiteX227" fmla="*/ 792621 w 1804943"/>
              <a:gd name="connsiteY227" fmla="*/ 377 h 23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804943" h="2373250">
                <a:moveTo>
                  <a:pt x="1135564" y="15338"/>
                </a:moveTo>
                <a:lnTo>
                  <a:pt x="1804943" y="15338"/>
                </a:lnTo>
                <a:lnTo>
                  <a:pt x="1804943" y="121436"/>
                </a:lnTo>
                <a:lnTo>
                  <a:pt x="1260314" y="121436"/>
                </a:lnTo>
                <a:lnTo>
                  <a:pt x="1260314" y="372027"/>
                </a:lnTo>
                <a:lnTo>
                  <a:pt x="1260314" y="2258004"/>
                </a:lnTo>
                <a:lnTo>
                  <a:pt x="1804943" y="2258004"/>
                </a:lnTo>
                <a:lnTo>
                  <a:pt x="1804943" y="2364102"/>
                </a:lnTo>
                <a:lnTo>
                  <a:pt x="1135564" y="2364102"/>
                </a:lnTo>
                <a:lnTo>
                  <a:pt x="1135564" y="2258004"/>
                </a:lnTo>
                <a:lnTo>
                  <a:pt x="1135564" y="372027"/>
                </a:lnTo>
                <a:lnTo>
                  <a:pt x="1135564" y="121436"/>
                </a:lnTo>
                <a:close/>
                <a:moveTo>
                  <a:pt x="824551" y="0"/>
                </a:moveTo>
                <a:lnTo>
                  <a:pt x="824551" y="106498"/>
                </a:lnTo>
                <a:lnTo>
                  <a:pt x="793382" y="106920"/>
                </a:lnTo>
                <a:lnTo>
                  <a:pt x="763107" y="108189"/>
                </a:lnTo>
                <a:lnTo>
                  <a:pt x="733699" y="110296"/>
                </a:lnTo>
                <a:lnTo>
                  <a:pt x="705152" y="113240"/>
                </a:lnTo>
                <a:lnTo>
                  <a:pt x="677451" y="117008"/>
                </a:lnTo>
                <a:lnTo>
                  <a:pt x="650596" y="121598"/>
                </a:lnTo>
                <a:lnTo>
                  <a:pt x="624564" y="126995"/>
                </a:lnTo>
                <a:lnTo>
                  <a:pt x="599346" y="133207"/>
                </a:lnTo>
                <a:lnTo>
                  <a:pt x="574929" y="140218"/>
                </a:lnTo>
                <a:lnTo>
                  <a:pt x="551302" y="148022"/>
                </a:lnTo>
                <a:lnTo>
                  <a:pt x="528461" y="156617"/>
                </a:lnTo>
                <a:lnTo>
                  <a:pt x="506387" y="165997"/>
                </a:lnTo>
                <a:lnTo>
                  <a:pt x="485076" y="176146"/>
                </a:lnTo>
                <a:lnTo>
                  <a:pt x="464502" y="187071"/>
                </a:lnTo>
                <a:lnTo>
                  <a:pt x="425554" y="211204"/>
                </a:lnTo>
                <a:lnTo>
                  <a:pt x="389457" y="238344"/>
                </a:lnTo>
                <a:lnTo>
                  <a:pt x="356105" y="268436"/>
                </a:lnTo>
                <a:lnTo>
                  <a:pt x="325421" y="301433"/>
                </a:lnTo>
                <a:lnTo>
                  <a:pt x="297313" y="337284"/>
                </a:lnTo>
                <a:lnTo>
                  <a:pt x="284189" y="356266"/>
                </a:lnTo>
                <a:lnTo>
                  <a:pt x="274169" y="372027"/>
                </a:lnTo>
                <a:lnTo>
                  <a:pt x="271680" y="375940"/>
                </a:lnTo>
                <a:lnTo>
                  <a:pt x="259763" y="396306"/>
                </a:lnTo>
                <a:lnTo>
                  <a:pt x="248431" y="417348"/>
                </a:lnTo>
                <a:lnTo>
                  <a:pt x="237675" y="439077"/>
                </a:lnTo>
                <a:lnTo>
                  <a:pt x="227480" y="461465"/>
                </a:lnTo>
                <a:lnTo>
                  <a:pt x="217839" y="484522"/>
                </a:lnTo>
                <a:lnTo>
                  <a:pt x="208737" y="508239"/>
                </a:lnTo>
                <a:lnTo>
                  <a:pt x="200156" y="532604"/>
                </a:lnTo>
                <a:lnTo>
                  <a:pt x="192100" y="557614"/>
                </a:lnTo>
                <a:lnTo>
                  <a:pt x="184542" y="583262"/>
                </a:lnTo>
                <a:lnTo>
                  <a:pt x="177484" y="609541"/>
                </a:lnTo>
                <a:lnTo>
                  <a:pt x="170903" y="636450"/>
                </a:lnTo>
                <a:lnTo>
                  <a:pt x="164799" y="663974"/>
                </a:lnTo>
                <a:lnTo>
                  <a:pt x="159148" y="692121"/>
                </a:lnTo>
                <a:lnTo>
                  <a:pt x="153950" y="720867"/>
                </a:lnTo>
                <a:lnTo>
                  <a:pt x="149183" y="750212"/>
                </a:lnTo>
                <a:lnTo>
                  <a:pt x="144839" y="780158"/>
                </a:lnTo>
                <a:lnTo>
                  <a:pt x="140910" y="810689"/>
                </a:lnTo>
                <a:lnTo>
                  <a:pt x="137390" y="841803"/>
                </a:lnTo>
                <a:lnTo>
                  <a:pt x="134253" y="873494"/>
                </a:lnTo>
                <a:lnTo>
                  <a:pt x="131501" y="905754"/>
                </a:lnTo>
                <a:lnTo>
                  <a:pt x="129109" y="938575"/>
                </a:lnTo>
                <a:lnTo>
                  <a:pt x="127073" y="971958"/>
                </a:lnTo>
                <a:lnTo>
                  <a:pt x="125389" y="1005886"/>
                </a:lnTo>
                <a:lnTo>
                  <a:pt x="124027" y="1040360"/>
                </a:lnTo>
                <a:lnTo>
                  <a:pt x="122997" y="1075373"/>
                </a:lnTo>
                <a:lnTo>
                  <a:pt x="122267" y="1110923"/>
                </a:lnTo>
                <a:lnTo>
                  <a:pt x="121844" y="1146996"/>
                </a:lnTo>
                <a:lnTo>
                  <a:pt x="121706" y="1183585"/>
                </a:lnTo>
                <a:lnTo>
                  <a:pt x="121829" y="1220003"/>
                </a:lnTo>
                <a:lnTo>
                  <a:pt x="122229" y="1255892"/>
                </a:lnTo>
                <a:lnTo>
                  <a:pt x="122897" y="1291258"/>
                </a:lnTo>
                <a:lnTo>
                  <a:pt x="123850" y="1326087"/>
                </a:lnTo>
                <a:lnTo>
                  <a:pt x="125111" y="1360376"/>
                </a:lnTo>
                <a:lnTo>
                  <a:pt x="126679" y="1394113"/>
                </a:lnTo>
                <a:lnTo>
                  <a:pt x="128571" y="1427303"/>
                </a:lnTo>
                <a:lnTo>
                  <a:pt x="130802" y="1459939"/>
                </a:lnTo>
                <a:lnTo>
                  <a:pt x="133368" y="1492006"/>
                </a:lnTo>
                <a:lnTo>
                  <a:pt x="136298" y="1523513"/>
                </a:lnTo>
                <a:lnTo>
                  <a:pt x="139596" y="1554442"/>
                </a:lnTo>
                <a:lnTo>
                  <a:pt x="143271" y="1584796"/>
                </a:lnTo>
                <a:lnTo>
                  <a:pt x="147338" y="1614566"/>
                </a:lnTo>
                <a:lnTo>
                  <a:pt x="151813" y="1643750"/>
                </a:lnTo>
                <a:lnTo>
                  <a:pt x="156702" y="1672334"/>
                </a:lnTo>
                <a:lnTo>
                  <a:pt x="162015" y="1700320"/>
                </a:lnTo>
                <a:lnTo>
                  <a:pt x="167766" y="1727705"/>
                </a:lnTo>
                <a:lnTo>
                  <a:pt x="173962" y="1754476"/>
                </a:lnTo>
                <a:lnTo>
                  <a:pt x="180629" y="1780631"/>
                </a:lnTo>
                <a:lnTo>
                  <a:pt x="187755" y="1806164"/>
                </a:lnTo>
                <a:lnTo>
                  <a:pt x="195374" y="1831074"/>
                </a:lnTo>
                <a:lnTo>
                  <a:pt x="203485" y="1855346"/>
                </a:lnTo>
                <a:lnTo>
                  <a:pt x="212112" y="1878988"/>
                </a:lnTo>
                <a:lnTo>
                  <a:pt x="221245" y="1901983"/>
                </a:lnTo>
                <a:lnTo>
                  <a:pt x="230917" y="1924332"/>
                </a:lnTo>
                <a:lnTo>
                  <a:pt x="241128" y="1946029"/>
                </a:lnTo>
                <a:lnTo>
                  <a:pt x="251891" y="1967064"/>
                </a:lnTo>
                <a:lnTo>
                  <a:pt x="263216" y="1987430"/>
                </a:lnTo>
                <a:lnTo>
                  <a:pt x="287611" y="2026164"/>
                </a:lnTo>
                <a:lnTo>
                  <a:pt x="314404" y="2062168"/>
                </a:lnTo>
                <a:lnTo>
                  <a:pt x="343681" y="2095412"/>
                </a:lnTo>
                <a:lnTo>
                  <a:pt x="375541" y="2125849"/>
                </a:lnTo>
                <a:lnTo>
                  <a:pt x="410077" y="2153435"/>
                </a:lnTo>
                <a:lnTo>
                  <a:pt x="447372" y="2178130"/>
                </a:lnTo>
                <a:lnTo>
                  <a:pt x="487529" y="2199888"/>
                </a:lnTo>
                <a:lnTo>
                  <a:pt x="508702" y="2209652"/>
                </a:lnTo>
                <a:lnTo>
                  <a:pt x="530629" y="2218662"/>
                </a:lnTo>
                <a:lnTo>
                  <a:pt x="553317" y="2226920"/>
                </a:lnTo>
                <a:lnTo>
                  <a:pt x="576782" y="2234416"/>
                </a:lnTo>
                <a:lnTo>
                  <a:pt x="601022" y="2241150"/>
                </a:lnTo>
                <a:lnTo>
                  <a:pt x="626056" y="2247109"/>
                </a:lnTo>
                <a:lnTo>
                  <a:pt x="651904" y="2252291"/>
                </a:lnTo>
                <a:lnTo>
                  <a:pt x="678567" y="2256688"/>
                </a:lnTo>
                <a:lnTo>
                  <a:pt x="706061" y="2260301"/>
                </a:lnTo>
                <a:lnTo>
                  <a:pt x="734390" y="2263116"/>
                </a:lnTo>
                <a:lnTo>
                  <a:pt x="763575" y="2265138"/>
                </a:lnTo>
                <a:lnTo>
                  <a:pt x="793630" y="2266352"/>
                </a:lnTo>
                <a:lnTo>
                  <a:pt x="824551" y="2266760"/>
                </a:lnTo>
                <a:lnTo>
                  <a:pt x="824551" y="2373250"/>
                </a:lnTo>
                <a:lnTo>
                  <a:pt x="792476" y="2372881"/>
                </a:lnTo>
                <a:lnTo>
                  <a:pt x="761193" y="2371759"/>
                </a:lnTo>
                <a:lnTo>
                  <a:pt x="730694" y="2369898"/>
                </a:lnTo>
                <a:lnTo>
                  <a:pt x="700970" y="2367307"/>
                </a:lnTo>
                <a:lnTo>
                  <a:pt x="672008" y="2363986"/>
                </a:lnTo>
                <a:lnTo>
                  <a:pt x="643800" y="2359941"/>
                </a:lnTo>
                <a:lnTo>
                  <a:pt x="616345" y="2355175"/>
                </a:lnTo>
                <a:lnTo>
                  <a:pt x="589621" y="2349701"/>
                </a:lnTo>
                <a:lnTo>
                  <a:pt x="563635" y="2343519"/>
                </a:lnTo>
                <a:lnTo>
                  <a:pt x="538363" y="2336631"/>
                </a:lnTo>
                <a:lnTo>
                  <a:pt x="513800" y="2329050"/>
                </a:lnTo>
                <a:lnTo>
                  <a:pt x="489950" y="2320785"/>
                </a:lnTo>
                <a:lnTo>
                  <a:pt x="466785" y="2311829"/>
                </a:lnTo>
                <a:lnTo>
                  <a:pt x="444312" y="2302195"/>
                </a:lnTo>
                <a:lnTo>
                  <a:pt x="422516" y="2291885"/>
                </a:lnTo>
                <a:lnTo>
                  <a:pt x="401389" y="2280906"/>
                </a:lnTo>
                <a:lnTo>
                  <a:pt x="380915" y="2269266"/>
                </a:lnTo>
                <a:lnTo>
                  <a:pt x="361094" y="2256965"/>
                </a:lnTo>
                <a:lnTo>
                  <a:pt x="341921" y="2244018"/>
                </a:lnTo>
                <a:lnTo>
                  <a:pt x="305456" y="2216179"/>
                </a:lnTo>
                <a:lnTo>
                  <a:pt x="271450" y="2185803"/>
                </a:lnTo>
                <a:lnTo>
                  <a:pt x="239844" y="2152920"/>
                </a:lnTo>
                <a:lnTo>
                  <a:pt x="210559" y="2117584"/>
                </a:lnTo>
                <a:lnTo>
                  <a:pt x="196759" y="2099010"/>
                </a:lnTo>
                <a:lnTo>
                  <a:pt x="183519" y="2079843"/>
                </a:lnTo>
                <a:lnTo>
                  <a:pt x="170826" y="2060076"/>
                </a:lnTo>
                <a:lnTo>
                  <a:pt x="158670" y="2039725"/>
                </a:lnTo>
                <a:lnTo>
                  <a:pt x="147039" y="2018790"/>
                </a:lnTo>
                <a:lnTo>
                  <a:pt x="135929" y="1997286"/>
                </a:lnTo>
                <a:lnTo>
                  <a:pt x="125326" y="1975206"/>
                </a:lnTo>
                <a:lnTo>
                  <a:pt x="115224" y="1952564"/>
                </a:lnTo>
                <a:lnTo>
                  <a:pt x="105621" y="1929369"/>
                </a:lnTo>
                <a:lnTo>
                  <a:pt x="96495" y="1905612"/>
                </a:lnTo>
                <a:lnTo>
                  <a:pt x="87846" y="1881309"/>
                </a:lnTo>
                <a:lnTo>
                  <a:pt x="79666" y="1856461"/>
                </a:lnTo>
                <a:lnTo>
                  <a:pt x="71947" y="1831082"/>
                </a:lnTo>
                <a:lnTo>
                  <a:pt x="64675" y="1805165"/>
                </a:lnTo>
                <a:lnTo>
                  <a:pt x="57839" y="1778725"/>
                </a:lnTo>
                <a:lnTo>
                  <a:pt x="51435" y="1751762"/>
                </a:lnTo>
                <a:lnTo>
                  <a:pt x="45461" y="1724284"/>
                </a:lnTo>
                <a:lnTo>
                  <a:pt x="39895" y="1696292"/>
                </a:lnTo>
                <a:lnTo>
                  <a:pt x="34736" y="1667799"/>
                </a:lnTo>
                <a:lnTo>
                  <a:pt x="29969" y="1638806"/>
                </a:lnTo>
                <a:lnTo>
                  <a:pt x="25595" y="1609322"/>
                </a:lnTo>
                <a:lnTo>
                  <a:pt x="21597" y="1579352"/>
                </a:lnTo>
                <a:lnTo>
                  <a:pt x="17967" y="1548893"/>
                </a:lnTo>
                <a:lnTo>
                  <a:pt x="14708" y="1517963"/>
                </a:lnTo>
                <a:lnTo>
                  <a:pt x="11794" y="1486556"/>
                </a:lnTo>
                <a:lnTo>
                  <a:pt x="9226" y="1454681"/>
                </a:lnTo>
                <a:lnTo>
                  <a:pt x="6989" y="1422351"/>
                </a:lnTo>
                <a:lnTo>
                  <a:pt x="5082" y="1389569"/>
                </a:lnTo>
                <a:lnTo>
                  <a:pt x="3490" y="1356325"/>
                </a:lnTo>
                <a:lnTo>
                  <a:pt x="2206" y="1322649"/>
                </a:lnTo>
                <a:lnTo>
                  <a:pt x="1230" y="1288530"/>
                </a:lnTo>
                <a:lnTo>
                  <a:pt x="540" y="1253971"/>
                </a:lnTo>
                <a:lnTo>
                  <a:pt x="132" y="1218989"/>
                </a:lnTo>
                <a:lnTo>
                  <a:pt x="0" y="1183585"/>
                </a:lnTo>
                <a:lnTo>
                  <a:pt x="132" y="1148334"/>
                </a:lnTo>
                <a:lnTo>
                  <a:pt x="546" y="1113498"/>
                </a:lnTo>
                <a:lnTo>
                  <a:pt x="1254" y="1079094"/>
                </a:lnTo>
                <a:lnTo>
                  <a:pt x="2246" y="1045127"/>
                </a:lnTo>
                <a:lnTo>
                  <a:pt x="3544" y="1011590"/>
                </a:lnTo>
                <a:lnTo>
                  <a:pt x="5159" y="978500"/>
                </a:lnTo>
                <a:lnTo>
                  <a:pt x="7096" y="945863"/>
                </a:lnTo>
                <a:lnTo>
                  <a:pt x="9356" y="913681"/>
                </a:lnTo>
                <a:lnTo>
                  <a:pt x="11964" y="881951"/>
                </a:lnTo>
                <a:lnTo>
                  <a:pt x="14909" y="850691"/>
                </a:lnTo>
                <a:lnTo>
                  <a:pt x="18214" y="819907"/>
                </a:lnTo>
                <a:lnTo>
                  <a:pt x="21881" y="789592"/>
                </a:lnTo>
                <a:lnTo>
                  <a:pt x="25917" y="759762"/>
                </a:lnTo>
                <a:lnTo>
                  <a:pt x="30338" y="730423"/>
                </a:lnTo>
                <a:lnTo>
                  <a:pt x="35152" y="701569"/>
                </a:lnTo>
                <a:lnTo>
                  <a:pt x="40356" y="673215"/>
                </a:lnTo>
                <a:lnTo>
                  <a:pt x="45968" y="645368"/>
                </a:lnTo>
                <a:lnTo>
                  <a:pt x="51996" y="618029"/>
                </a:lnTo>
                <a:lnTo>
                  <a:pt x="58446" y="591204"/>
                </a:lnTo>
                <a:lnTo>
                  <a:pt x="65335" y="564895"/>
                </a:lnTo>
                <a:lnTo>
                  <a:pt x="72655" y="539109"/>
                </a:lnTo>
                <a:lnTo>
                  <a:pt x="80428" y="513860"/>
                </a:lnTo>
                <a:lnTo>
                  <a:pt x="88661" y="489142"/>
                </a:lnTo>
                <a:lnTo>
                  <a:pt x="97358" y="464962"/>
                </a:lnTo>
                <a:lnTo>
                  <a:pt x="106521" y="441336"/>
                </a:lnTo>
                <a:lnTo>
                  <a:pt x="116178" y="418257"/>
                </a:lnTo>
                <a:lnTo>
                  <a:pt x="126320" y="395738"/>
                </a:lnTo>
                <a:lnTo>
                  <a:pt x="136966" y="373780"/>
                </a:lnTo>
                <a:lnTo>
                  <a:pt x="137880" y="372027"/>
                </a:lnTo>
                <a:lnTo>
                  <a:pt x="137881" y="372027"/>
                </a:lnTo>
                <a:lnTo>
                  <a:pt x="148122" y="352391"/>
                </a:lnTo>
                <a:lnTo>
                  <a:pt x="159787" y="331571"/>
                </a:lnTo>
                <a:lnTo>
                  <a:pt x="171988" y="311336"/>
                </a:lnTo>
                <a:lnTo>
                  <a:pt x="184719" y="291677"/>
                </a:lnTo>
                <a:lnTo>
                  <a:pt x="197988" y="272618"/>
                </a:lnTo>
                <a:lnTo>
                  <a:pt x="211812" y="254143"/>
                </a:lnTo>
                <a:lnTo>
                  <a:pt x="241142" y="219015"/>
                </a:lnTo>
                <a:lnTo>
                  <a:pt x="272787" y="186325"/>
                </a:lnTo>
                <a:lnTo>
                  <a:pt x="306808" y="156118"/>
                </a:lnTo>
                <a:lnTo>
                  <a:pt x="343266" y="128447"/>
                </a:lnTo>
                <a:lnTo>
                  <a:pt x="362432" y="115578"/>
                </a:lnTo>
                <a:lnTo>
                  <a:pt x="382237" y="103346"/>
                </a:lnTo>
                <a:lnTo>
                  <a:pt x="402689" y="91775"/>
                </a:lnTo>
                <a:lnTo>
                  <a:pt x="423793" y="80865"/>
                </a:lnTo>
                <a:lnTo>
                  <a:pt x="445558" y="70617"/>
                </a:lnTo>
                <a:lnTo>
                  <a:pt x="467992" y="61045"/>
                </a:lnTo>
                <a:lnTo>
                  <a:pt x="491103" y="52142"/>
                </a:lnTo>
                <a:lnTo>
                  <a:pt x="514906" y="43923"/>
                </a:lnTo>
                <a:lnTo>
                  <a:pt x="539409" y="36389"/>
                </a:lnTo>
                <a:lnTo>
                  <a:pt x="564612" y="29553"/>
                </a:lnTo>
                <a:lnTo>
                  <a:pt x="590528" y="23403"/>
                </a:lnTo>
                <a:lnTo>
                  <a:pt x="617160" y="17967"/>
                </a:lnTo>
                <a:lnTo>
                  <a:pt x="644530" y="13231"/>
                </a:lnTo>
                <a:lnTo>
                  <a:pt x="672639" y="9210"/>
                </a:lnTo>
                <a:lnTo>
                  <a:pt x="701494" y="5912"/>
                </a:lnTo>
                <a:lnTo>
                  <a:pt x="731100" y="3336"/>
                </a:lnTo>
                <a:lnTo>
                  <a:pt x="761477" y="1484"/>
                </a:lnTo>
                <a:lnTo>
                  <a:pt x="792621" y="377"/>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3" name="Makro grafik 2">
            <a:extLst>
              <a:ext uri="{FF2B5EF4-FFF2-40B4-BE49-F238E27FC236}">
                <a16:creationId xmlns:a16="http://schemas.microsoft.com/office/drawing/2014/main" id="{3C47DF57-6C35-2F95-62C7-5AF5F1E443EA}"/>
              </a:ext>
            </a:extLst>
          </p:cNvPr>
          <p:cNvSpPr>
            <a:spLocks noGrp="1" noChangeAspect="1"/>
          </p:cNvSpPr>
          <p:nvPr>
            <p:ph type="body" sz="quarter" idx="20" hasCustomPrompt="1"/>
          </p:nvPr>
        </p:nvSpPr>
        <p:spPr>
          <a:xfrm>
            <a:off x="7625339" y="3523023"/>
            <a:ext cx="1123209" cy="1460462"/>
          </a:xfrm>
          <a:custGeom>
            <a:avLst/>
            <a:gdLst>
              <a:gd name="connsiteX0" fmla="*/ 0 w 1497612"/>
              <a:gd name="connsiteY0" fmla="*/ 1 h 1947283"/>
              <a:gd name="connsiteX1" fmla="*/ 133876 w 1497612"/>
              <a:gd name="connsiteY1" fmla="*/ 1 h 1947283"/>
              <a:gd name="connsiteX2" fmla="*/ 542054 w 1497612"/>
              <a:gd name="connsiteY2" fmla="*/ 1262003 h 1947283"/>
              <a:gd name="connsiteX3" fmla="*/ 763698 w 1497612"/>
              <a:gd name="connsiteY3" fmla="*/ 1947283 h 1947283"/>
              <a:gd name="connsiteX4" fmla="*/ 626777 w 1497612"/>
              <a:gd name="connsiteY4" fmla="*/ 1947283 h 1947283"/>
              <a:gd name="connsiteX5" fmla="*/ 406204 w 1497612"/>
              <a:gd name="connsiteY5" fmla="*/ 1262004 h 1947283"/>
              <a:gd name="connsiteX6" fmla="*/ 733914 w 1497612"/>
              <a:gd name="connsiteY6" fmla="*/ 0 h 1947283"/>
              <a:gd name="connsiteX7" fmla="*/ 867789 w 1497612"/>
              <a:gd name="connsiteY7" fmla="*/ 0 h 1947283"/>
              <a:gd name="connsiteX8" fmla="*/ 988168 w 1497612"/>
              <a:gd name="connsiteY8" fmla="*/ 372187 h 1947283"/>
              <a:gd name="connsiteX9" fmla="*/ 1497612 w 1497612"/>
              <a:gd name="connsiteY9" fmla="*/ 1947283 h 1947283"/>
              <a:gd name="connsiteX10" fmla="*/ 1360692 w 1497612"/>
              <a:gd name="connsiteY10" fmla="*/ 1947283 h 1947283"/>
              <a:gd name="connsiteX11" fmla="*/ 988168 w 1497612"/>
              <a:gd name="connsiteY11" fmla="*/ 789920 h 19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7612" h="1947283">
                <a:moveTo>
                  <a:pt x="0" y="1"/>
                </a:moveTo>
                <a:lnTo>
                  <a:pt x="133876" y="1"/>
                </a:lnTo>
                <a:lnTo>
                  <a:pt x="542054" y="1262003"/>
                </a:lnTo>
                <a:lnTo>
                  <a:pt x="763698" y="1947283"/>
                </a:lnTo>
                <a:lnTo>
                  <a:pt x="626777" y="1947283"/>
                </a:lnTo>
                <a:lnTo>
                  <a:pt x="406204" y="1262004"/>
                </a:lnTo>
                <a:close/>
                <a:moveTo>
                  <a:pt x="733914" y="0"/>
                </a:moveTo>
                <a:lnTo>
                  <a:pt x="867789" y="0"/>
                </a:lnTo>
                <a:lnTo>
                  <a:pt x="988168" y="372187"/>
                </a:lnTo>
                <a:lnTo>
                  <a:pt x="1497612" y="1947283"/>
                </a:lnTo>
                <a:lnTo>
                  <a:pt x="1360692" y="1947283"/>
                </a:lnTo>
                <a:lnTo>
                  <a:pt x="988168" y="78992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6" name="TextBox 1">
            <a:extLst>
              <a:ext uri="{FF2B5EF4-FFF2-40B4-BE49-F238E27FC236}">
                <a16:creationId xmlns:a16="http://schemas.microsoft.com/office/drawing/2014/main" id="{65A8188C-11F0-CD4C-0611-D4AE140468F8}"/>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pic>
        <p:nvPicPr>
          <p:cNvPr id="4" name="Logo" descr="#Decrorative">
            <a:extLst>
              <a:ext uri="{FF2B5EF4-FFF2-40B4-BE49-F238E27FC236}">
                <a16:creationId xmlns:a16="http://schemas.microsoft.com/office/drawing/2014/main" id="{BBD24E9C-F13A-7E45-FBDE-18DBA8925663}"/>
              </a:ext>
            </a:extLst>
          </p:cNvPr>
          <p:cNvPicPr/>
          <p:nvPr userDrawn="1"/>
        </p:nvPicPr>
        <p:blipFill>
          <a:blip r:embed="rId2">
            <a:extLst>
              <a:ext uri="{28A0092B-C50C-407E-A947-70E740481C1C}">
                <a14:useLocalDpi xmlns:a14="http://schemas.microsoft.com/office/drawing/2010/main" val="0"/>
              </a:ext>
            </a:extLst>
          </a:blip>
          <a:srcRect/>
          <a:stretch/>
        </p:blipFill>
        <p:spPr>
          <a:xfrm>
            <a:off x="379276" y="156007"/>
            <a:ext cx="1799135" cy="284414"/>
          </a:xfrm>
          <a:prstGeom prst="rect">
            <a:avLst/>
          </a:prstGeom>
        </p:spPr>
      </p:pic>
    </p:spTree>
    <p:extLst>
      <p:ext uri="{BB962C8B-B14F-4D97-AF65-F5344CB8AC3E}">
        <p14:creationId xmlns:p14="http://schemas.microsoft.com/office/powerpoint/2010/main" val="183177792"/>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orger.dk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chemeClr val="accent1"/>
                </a:solidFill>
              </a:defRPr>
            </a:lvl1pPr>
          </a:lstStyle>
          <a:p>
            <a:fld id="{3BA7D959-9C7C-4506-A4A8-52313FF7B34F}" type="datetime2">
              <a:rPr lang="da-DK" smtClean="0"/>
              <a:t>11. december 2025</a:t>
            </a:fld>
            <a:endParaRPr lang="da-DK" dirty="0"/>
          </a:p>
        </p:txBody>
      </p:sp>
      <p:sp>
        <p:nvSpPr>
          <p:cNvPr id="25" name="Makro grafik 1">
            <a:extLst>
              <a:ext uri="{FF2B5EF4-FFF2-40B4-BE49-F238E27FC236}">
                <a16:creationId xmlns:a16="http://schemas.microsoft.com/office/drawing/2014/main" id="{F2E0EEBD-7C39-E8CB-108F-09AF0CD4D448}"/>
              </a:ext>
            </a:extLst>
          </p:cNvPr>
          <p:cNvSpPr>
            <a:spLocks noGrp="1" noChangeAspect="1"/>
          </p:cNvSpPr>
          <p:nvPr>
            <p:ph type="body" sz="quarter" idx="19" hasCustomPrompt="1"/>
          </p:nvPr>
        </p:nvSpPr>
        <p:spPr>
          <a:xfrm>
            <a:off x="2827574" y="391015"/>
            <a:ext cx="1353707" cy="1779938"/>
          </a:xfrm>
          <a:custGeom>
            <a:avLst/>
            <a:gdLst>
              <a:gd name="connsiteX0" fmla="*/ 1135564 w 1804943"/>
              <a:gd name="connsiteY0" fmla="*/ 15338 h 2373250"/>
              <a:gd name="connsiteX1" fmla="*/ 1804943 w 1804943"/>
              <a:gd name="connsiteY1" fmla="*/ 15338 h 2373250"/>
              <a:gd name="connsiteX2" fmla="*/ 1804943 w 1804943"/>
              <a:gd name="connsiteY2" fmla="*/ 121436 h 2373250"/>
              <a:gd name="connsiteX3" fmla="*/ 1260314 w 1804943"/>
              <a:gd name="connsiteY3" fmla="*/ 121436 h 2373250"/>
              <a:gd name="connsiteX4" fmla="*/ 1260314 w 1804943"/>
              <a:gd name="connsiteY4" fmla="*/ 372027 h 2373250"/>
              <a:gd name="connsiteX5" fmla="*/ 1260314 w 1804943"/>
              <a:gd name="connsiteY5" fmla="*/ 2258004 h 2373250"/>
              <a:gd name="connsiteX6" fmla="*/ 1804943 w 1804943"/>
              <a:gd name="connsiteY6" fmla="*/ 2258004 h 2373250"/>
              <a:gd name="connsiteX7" fmla="*/ 1804943 w 1804943"/>
              <a:gd name="connsiteY7" fmla="*/ 2364102 h 2373250"/>
              <a:gd name="connsiteX8" fmla="*/ 1135564 w 1804943"/>
              <a:gd name="connsiteY8" fmla="*/ 2364102 h 2373250"/>
              <a:gd name="connsiteX9" fmla="*/ 1135564 w 1804943"/>
              <a:gd name="connsiteY9" fmla="*/ 2258004 h 2373250"/>
              <a:gd name="connsiteX10" fmla="*/ 1135564 w 1804943"/>
              <a:gd name="connsiteY10" fmla="*/ 372027 h 2373250"/>
              <a:gd name="connsiteX11" fmla="*/ 1135564 w 1804943"/>
              <a:gd name="connsiteY11" fmla="*/ 121436 h 2373250"/>
              <a:gd name="connsiteX12" fmla="*/ 824551 w 1804943"/>
              <a:gd name="connsiteY12" fmla="*/ 0 h 2373250"/>
              <a:gd name="connsiteX13" fmla="*/ 824551 w 1804943"/>
              <a:gd name="connsiteY13" fmla="*/ 106498 h 2373250"/>
              <a:gd name="connsiteX14" fmla="*/ 793382 w 1804943"/>
              <a:gd name="connsiteY14" fmla="*/ 106920 h 2373250"/>
              <a:gd name="connsiteX15" fmla="*/ 763107 w 1804943"/>
              <a:gd name="connsiteY15" fmla="*/ 108189 h 2373250"/>
              <a:gd name="connsiteX16" fmla="*/ 733699 w 1804943"/>
              <a:gd name="connsiteY16" fmla="*/ 110296 h 2373250"/>
              <a:gd name="connsiteX17" fmla="*/ 705152 w 1804943"/>
              <a:gd name="connsiteY17" fmla="*/ 113240 h 2373250"/>
              <a:gd name="connsiteX18" fmla="*/ 677451 w 1804943"/>
              <a:gd name="connsiteY18" fmla="*/ 117008 h 2373250"/>
              <a:gd name="connsiteX19" fmla="*/ 650596 w 1804943"/>
              <a:gd name="connsiteY19" fmla="*/ 121598 h 2373250"/>
              <a:gd name="connsiteX20" fmla="*/ 624564 w 1804943"/>
              <a:gd name="connsiteY20" fmla="*/ 126995 h 2373250"/>
              <a:gd name="connsiteX21" fmla="*/ 599346 w 1804943"/>
              <a:gd name="connsiteY21" fmla="*/ 133207 h 2373250"/>
              <a:gd name="connsiteX22" fmla="*/ 574929 w 1804943"/>
              <a:gd name="connsiteY22" fmla="*/ 140218 h 2373250"/>
              <a:gd name="connsiteX23" fmla="*/ 551302 w 1804943"/>
              <a:gd name="connsiteY23" fmla="*/ 148022 h 2373250"/>
              <a:gd name="connsiteX24" fmla="*/ 528461 w 1804943"/>
              <a:gd name="connsiteY24" fmla="*/ 156617 h 2373250"/>
              <a:gd name="connsiteX25" fmla="*/ 506387 w 1804943"/>
              <a:gd name="connsiteY25" fmla="*/ 165997 h 2373250"/>
              <a:gd name="connsiteX26" fmla="*/ 485076 w 1804943"/>
              <a:gd name="connsiteY26" fmla="*/ 176146 h 2373250"/>
              <a:gd name="connsiteX27" fmla="*/ 464502 w 1804943"/>
              <a:gd name="connsiteY27" fmla="*/ 187071 h 2373250"/>
              <a:gd name="connsiteX28" fmla="*/ 425554 w 1804943"/>
              <a:gd name="connsiteY28" fmla="*/ 211204 h 2373250"/>
              <a:gd name="connsiteX29" fmla="*/ 389457 w 1804943"/>
              <a:gd name="connsiteY29" fmla="*/ 238344 h 2373250"/>
              <a:gd name="connsiteX30" fmla="*/ 356105 w 1804943"/>
              <a:gd name="connsiteY30" fmla="*/ 268436 h 2373250"/>
              <a:gd name="connsiteX31" fmla="*/ 325421 w 1804943"/>
              <a:gd name="connsiteY31" fmla="*/ 301433 h 2373250"/>
              <a:gd name="connsiteX32" fmla="*/ 297313 w 1804943"/>
              <a:gd name="connsiteY32" fmla="*/ 337284 h 2373250"/>
              <a:gd name="connsiteX33" fmla="*/ 284189 w 1804943"/>
              <a:gd name="connsiteY33" fmla="*/ 356266 h 2373250"/>
              <a:gd name="connsiteX34" fmla="*/ 274169 w 1804943"/>
              <a:gd name="connsiteY34" fmla="*/ 372027 h 2373250"/>
              <a:gd name="connsiteX35" fmla="*/ 271680 w 1804943"/>
              <a:gd name="connsiteY35" fmla="*/ 375940 h 2373250"/>
              <a:gd name="connsiteX36" fmla="*/ 259763 w 1804943"/>
              <a:gd name="connsiteY36" fmla="*/ 396306 h 2373250"/>
              <a:gd name="connsiteX37" fmla="*/ 248431 w 1804943"/>
              <a:gd name="connsiteY37" fmla="*/ 417348 h 2373250"/>
              <a:gd name="connsiteX38" fmla="*/ 237675 w 1804943"/>
              <a:gd name="connsiteY38" fmla="*/ 439077 h 2373250"/>
              <a:gd name="connsiteX39" fmla="*/ 227480 w 1804943"/>
              <a:gd name="connsiteY39" fmla="*/ 461465 h 2373250"/>
              <a:gd name="connsiteX40" fmla="*/ 217839 w 1804943"/>
              <a:gd name="connsiteY40" fmla="*/ 484522 h 2373250"/>
              <a:gd name="connsiteX41" fmla="*/ 208737 w 1804943"/>
              <a:gd name="connsiteY41" fmla="*/ 508239 h 2373250"/>
              <a:gd name="connsiteX42" fmla="*/ 200156 w 1804943"/>
              <a:gd name="connsiteY42" fmla="*/ 532604 h 2373250"/>
              <a:gd name="connsiteX43" fmla="*/ 192100 w 1804943"/>
              <a:gd name="connsiteY43" fmla="*/ 557614 h 2373250"/>
              <a:gd name="connsiteX44" fmla="*/ 184542 w 1804943"/>
              <a:gd name="connsiteY44" fmla="*/ 583262 h 2373250"/>
              <a:gd name="connsiteX45" fmla="*/ 177484 w 1804943"/>
              <a:gd name="connsiteY45" fmla="*/ 609541 h 2373250"/>
              <a:gd name="connsiteX46" fmla="*/ 170903 w 1804943"/>
              <a:gd name="connsiteY46" fmla="*/ 636450 h 2373250"/>
              <a:gd name="connsiteX47" fmla="*/ 164799 w 1804943"/>
              <a:gd name="connsiteY47" fmla="*/ 663974 h 2373250"/>
              <a:gd name="connsiteX48" fmla="*/ 159148 w 1804943"/>
              <a:gd name="connsiteY48" fmla="*/ 692121 h 2373250"/>
              <a:gd name="connsiteX49" fmla="*/ 153950 w 1804943"/>
              <a:gd name="connsiteY49" fmla="*/ 720867 h 2373250"/>
              <a:gd name="connsiteX50" fmla="*/ 149183 w 1804943"/>
              <a:gd name="connsiteY50" fmla="*/ 750212 h 2373250"/>
              <a:gd name="connsiteX51" fmla="*/ 144839 w 1804943"/>
              <a:gd name="connsiteY51" fmla="*/ 780158 h 2373250"/>
              <a:gd name="connsiteX52" fmla="*/ 140910 w 1804943"/>
              <a:gd name="connsiteY52" fmla="*/ 810689 h 2373250"/>
              <a:gd name="connsiteX53" fmla="*/ 137390 w 1804943"/>
              <a:gd name="connsiteY53" fmla="*/ 841803 h 2373250"/>
              <a:gd name="connsiteX54" fmla="*/ 134253 w 1804943"/>
              <a:gd name="connsiteY54" fmla="*/ 873494 h 2373250"/>
              <a:gd name="connsiteX55" fmla="*/ 131501 w 1804943"/>
              <a:gd name="connsiteY55" fmla="*/ 905754 h 2373250"/>
              <a:gd name="connsiteX56" fmla="*/ 129109 w 1804943"/>
              <a:gd name="connsiteY56" fmla="*/ 938575 h 2373250"/>
              <a:gd name="connsiteX57" fmla="*/ 127073 w 1804943"/>
              <a:gd name="connsiteY57" fmla="*/ 971958 h 2373250"/>
              <a:gd name="connsiteX58" fmla="*/ 125389 w 1804943"/>
              <a:gd name="connsiteY58" fmla="*/ 1005886 h 2373250"/>
              <a:gd name="connsiteX59" fmla="*/ 124027 w 1804943"/>
              <a:gd name="connsiteY59" fmla="*/ 1040360 h 2373250"/>
              <a:gd name="connsiteX60" fmla="*/ 122997 w 1804943"/>
              <a:gd name="connsiteY60" fmla="*/ 1075373 h 2373250"/>
              <a:gd name="connsiteX61" fmla="*/ 122267 w 1804943"/>
              <a:gd name="connsiteY61" fmla="*/ 1110923 h 2373250"/>
              <a:gd name="connsiteX62" fmla="*/ 121844 w 1804943"/>
              <a:gd name="connsiteY62" fmla="*/ 1146996 h 2373250"/>
              <a:gd name="connsiteX63" fmla="*/ 121706 w 1804943"/>
              <a:gd name="connsiteY63" fmla="*/ 1183585 h 2373250"/>
              <a:gd name="connsiteX64" fmla="*/ 121829 w 1804943"/>
              <a:gd name="connsiteY64" fmla="*/ 1220003 h 2373250"/>
              <a:gd name="connsiteX65" fmla="*/ 122229 w 1804943"/>
              <a:gd name="connsiteY65" fmla="*/ 1255892 h 2373250"/>
              <a:gd name="connsiteX66" fmla="*/ 122897 w 1804943"/>
              <a:gd name="connsiteY66" fmla="*/ 1291258 h 2373250"/>
              <a:gd name="connsiteX67" fmla="*/ 123850 w 1804943"/>
              <a:gd name="connsiteY67" fmla="*/ 1326087 h 2373250"/>
              <a:gd name="connsiteX68" fmla="*/ 125111 w 1804943"/>
              <a:gd name="connsiteY68" fmla="*/ 1360376 h 2373250"/>
              <a:gd name="connsiteX69" fmla="*/ 126679 w 1804943"/>
              <a:gd name="connsiteY69" fmla="*/ 1394113 h 2373250"/>
              <a:gd name="connsiteX70" fmla="*/ 128571 w 1804943"/>
              <a:gd name="connsiteY70" fmla="*/ 1427303 h 2373250"/>
              <a:gd name="connsiteX71" fmla="*/ 130802 w 1804943"/>
              <a:gd name="connsiteY71" fmla="*/ 1459939 h 2373250"/>
              <a:gd name="connsiteX72" fmla="*/ 133368 w 1804943"/>
              <a:gd name="connsiteY72" fmla="*/ 1492006 h 2373250"/>
              <a:gd name="connsiteX73" fmla="*/ 136298 w 1804943"/>
              <a:gd name="connsiteY73" fmla="*/ 1523513 h 2373250"/>
              <a:gd name="connsiteX74" fmla="*/ 139596 w 1804943"/>
              <a:gd name="connsiteY74" fmla="*/ 1554442 h 2373250"/>
              <a:gd name="connsiteX75" fmla="*/ 143271 w 1804943"/>
              <a:gd name="connsiteY75" fmla="*/ 1584796 h 2373250"/>
              <a:gd name="connsiteX76" fmla="*/ 147338 w 1804943"/>
              <a:gd name="connsiteY76" fmla="*/ 1614566 h 2373250"/>
              <a:gd name="connsiteX77" fmla="*/ 151813 w 1804943"/>
              <a:gd name="connsiteY77" fmla="*/ 1643750 h 2373250"/>
              <a:gd name="connsiteX78" fmla="*/ 156702 w 1804943"/>
              <a:gd name="connsiteY78" fmla="*/ 1672334 h 2373250"/>
              <a:gd name="connsiteX79" fmla="*/ 162015 w 1804943"/>
              <a:gd name="connsiteY79" fmla="*/ 1700320 h 2373250"/>
              <a:gd name="connsiteX80" fmla="*/ 167766 w 1804943"/>
              <a:gd name="connsiteY80" fmla="*/ 1727705 h 2373250"/>
              <a:gd name="connsiteX81" fmla="*/ 173962 w 1804943"/>
              <a:gd name="connsiteY81" fmla="*/ 1754476 h 2373250"/>
              <a:gd name="connsiteX82" fmla="*/ 180629 w 1804943"/>
              <a:gd name="connsiteY82" fmla="*/ 1780631 h 2373250"/>
              <a:gd name="connsiteX83" fmla="*/ 187755 w 1804943"/>
              <a:gd name="connsiteY83" fmla="*/ 1806164 h 2373250"/>
              <a:gd name="connsiteX84" fmla="*/ 195374 w 1804943"/>
              <a:gd name="connsiteY84" fmla="*/ 1831074 h 2373250"/>
              <a:gd name="connsiteX85" fmla="*/ 203485 w 1804943"/>
              <a:gd name="connsiteY85" fmla="*/ 1855346 h 2373250"/>
              <a:gd name="connsiteX86" fmla="*/ 212112 w 1804943"/>
              <a:gd name="connsiteY86" fmla="*/ 1878988 h 2373250"/>
              <a:gd name="connsiteX87" fmla="*/ 221245 w 1804943"/>
              <a:gd name="connsiteY87" fmla="*/ 1901983 h 2373250"/>
              <a:gd name="connsiteX88" fmla="*/ 230917 w 1804943"/>
              <a:gd name="connsiteY88" fmla="*/ 1924332 h 2373250"/>
              <a:gd name="connsiteX89" fmla="*/ 241128 w 1804943"/>
              <a:gd name="connsiteY89" fmla="*/ 1946029 h 2373250"/>
              <a:gd name="connsiteX90" fmla="*/ 251891 w 1804943"/>
              <a:gd name="connsiteY90" fmla="*/ 1967064 h 2373250"/>
              <a:gd name="connsiteX91" fmla="*/ 263216 w 1804943"/>
              <a:gd name="connsiteY91" fmla="*/ 1987430 h 2373250"/>
              <a:gd name="connsiteX92" fmla="*/ 287611 w 1804943"/>
              <a:gd name="connsiteY92" fmla="*/ 2026164 h 2373250"/>
              <a:gd name="connsiteX93" fmla="*/ 314404 w 1804943"/>
              <a:gd name="connsiteY93" fmla="*/ 2062168 h 2373250"/>
              <a:gd name="connsiteX94" fmla="*/ 343681 w 1804943"/>
              <a:gd name="connsiteY94" fmla="*/ 2095412 h 2373250"/>
              <a:gd name="connsiteX95" fmla="*/ 375541 w 1804943"/>
              <a:gd name="connsiteY95" fmla="*/ 2125849 h 2373250"/>
              <a:gd name="connsiteX96" fmla="*/ 410077 w 1804943"/>
              <a:gd name="connsiteY96" fmla="*/ 2153435 h 2373250"/>
              <a:gd name="connsiteX97" fmla="*/ 447372 w 1804943"/>
              <a:gd name="connsiteY97" fmla="*/ 2178130 h 2373250"/>
              <a:gd name="connsiteX98" fmla="*/ 487529 w 1804943"/>
              <a:gd name="connsiteY98" fmla="*/ 2199888 h 2373250"/>
              <a:gd name="connsiteX99" fmla="*/ 508702 w 1804943"/>
              <a:gd name="connsiteY99" fmla="*/ 2209652 h 2373250"/>
              <a:gd name="connsiteX100" fmla="*/ 530629 w 1804943"/>
              <a:gd name="connsiteY100" fmla="*/ 2218662 h 2373250"/>
              <a:gd name="connsiteX101" fmla="*/ 553317 w 1804943"/>
              <a:gd name="connsiteY101" fmla="*/ 2226920 h 2373250"/>
              <a:gd name="connsiteX102" fmla="*/ 576782 w 1804943"/>
              <a:gd name="connsiteY102" fmla="*/ 2234416 h 2373250"/>
              <a:gd name="connsiteX103" fmla="*/ 601022 w 1804943"/>
              <a:gd name="connsiteY103" fmla="*/ 2241150 h 2373250"/>
              <a:gd name="connsiteX104" fmla="*/ 626056 w 1804943"/>
              <a:gd name="connsiteY104" fmla="*/ 2247109 h 2373250"/>
              <a:gd name="connsiteX105" fmla="*/ 651904 w 1804943"/>
              <a:gd name="connsiteY105" fmla="*/ 2252291 h 2373250"/>
              <a:gd name="connsiteX106" fmla="*/ 678567 w 1804943"/>
              <a:gd name="connsiteY106" fmla="*/ 2256688 h 2373250"/>
              <a:gd name="connsiteX107" fmla="*/ 706061 w 1804943"/>
              <a:gd name="connsiteY107" fmla="*/ 2260301 h 2373250"/>
              <a:gd name="connsiteX108" fmla="*/ 734390 w 1804943"/>
              <a:gd name="connsiteY108" fmla="*/ 2263116 h 2373250"/>
              <a:gd name="connsiteX109" fmla="*/ 763575 w 1804943"/>
              <a:gd name="connsiteY109" fmla="*/ 2265138 h 2373250"/>
              <a:gd name="connsiteX110" fmla="*/ 793630 w 1804943"/>
              <a:gd name="connsiteY110" fmla="*/ 2266352 h 2373250"/>
              <a:gd name="connsiteX111" fmla="*/ 824551 w 1804943"/>
              <a:gd name="connsiteY111" fmla="*/ 2266760 h 2373250"/>
              <a:gd name="connsiteX112" fmla="*/ 824551 w 1804943"/>
              <a:gd name="connsiteY112" fmla="*/ 2373250 h 2373250"/>
              <a:gd name="connsiteX113" fmla="*/ 792476 w 1804943"/>
              <a:gd name="connsiteY113" fmla="*/ 2372881 h 2373250"/>
              <a:gd name="connsiteX114" fmla="*/ 761193 w 1804943"/>
              <a:gd name="connsiteY114" fmla="*/ 2371759 h 2373250"/>
              <a:gd name="connsiteX115" fmla="*/ 730694 w 1804943"/>
              <a:gd name="connsiteY115" fmla="*/ 2369898 h 2373250"/>
              <a:gd name="connsiteX116" fmla="*/ 700970 w 1804943"/>
              <a:gd name="connsiteY116" fmla="*/ 2367307 h 2373250"/>
              <a:gd name="connsiteX117" fmla="*/ 672008 w 1804943"/>
              <a:gd name="connsiteY117" fmla="*/ 2363986 h 2373250"/>
              <a:gd name="connsiteX118" fmla="*/ 643800 w 1804943"/>
              <a:gd name="connsiteY118" fmla="*/ 2359941 h 2373250"/>
              <a:gd name="connsiteX119" fmla="*/ 616345 w 1804943"/>
              <a:gd name="connsiteY119" fmla="*/ 2355175 h 2373250"/>
              <a:gd name="connsiteX120" fmla="*/ 589621 w 1804943"/>
              <a:gd name="connsiteY120" fmla="*/ 2349701 h 2373250"/>
              <a:gd name="connsiteX121" fmla="*/ 563635 w 1804943"/>
              <a:gd name="connsiteY121" fmla="*/ 2343519 h 2373250"/>
              <a:gd name="connsiteX122" fmla="*/ 538363 w 1804943"/>
              <a:gd name="connsiteY122" fmla="*/ 2336631 h 2373250"/>
              <a:gd name="connsiteX123" fmla="*/ 513800 w 1804943"/>
              <a:gd name="connsiteY123" fmla="*/ 2329050 h 2373250"/>
              <a:gd name="connsiteX124" fmla="*/ 489950 w 1804943"/>
              <a:gd name="connsiteY124" fmla="*/ 2320785 h 2373250"/>
              <a:gd name="connsiteX125" fmla="*/ 466785 w 1804943"/>
              <a:gd name="connsiteY125" fmla="*/ 2311829 h 2373250"/>
              <a:gd name="connsiteX126" fmla="*/ 444312 w 1804943"/>
              <a:gd name="connsiteY126" fmla="*/ 2302195 h 2373250"/>
              <a:gd name="connsiteX127" fmla="*/ 422516 w 1804943"/>
              <a:gd name="connsiteY127" fmla="*/ 2291885 h 2373250"/>
              <a:gd name="connsiteX128" fmla="*/ 401389 w 1804943"/>
              <a:gd name="connsiteY128" fmla="*/ 2280906 h 2373250"/>
              <a:gd name="connsiteX129" fmla="*/ 380915 w 1804943"/>
              <a:gd name="connsiteY129" fmla="*/ 2269266 h 2373250"/>
              <a:gd name="connsiteX130" fmla="*/ 361094 w 1804943"/>
              <a:gd name="connsiteY130" fmla="*/ 2256965 h 2373250"/>
              <a:gd name="connsiteX131" fmla="*/ 341921 w 1804943"/>
              <a:gd name="connsiteY131" fmla="*/ 2244018 h 2373250"/>
              <a:gd name="connsiteX132" fmla="*/ 305456 w 1804943"/>
              <a:gd name="connsiteY132" fmla="*/ 2216179 h 2373250"/>
              <a:gd name="connsiteX133" fmla="*/ 271450 w 1804943"/>
              <a:gd name="connsiteY133" fmla="*/ 2185803 h 2373250"/>
              <a:gd name="connsiteX134" fmla="*/ 239844 w 1804943"/>
              <a:gd name="connsiteY134" fmla="*/ 2152920 h 2373250"/>
              <a:gd name="connsiteX135" fmla="*/ 210559 w 1804943"/>
              <a:gd name="connsiteY135" fmla="*/ 2117584 h 2373250"/>
              <a:gd name="connsiteX136" fmla="*/ 196759 w 1804943"/>
              <a:gd name="connsiteY136" fmla="*/ 2099010 h 2373250"/>
              <a:gd name="connsiteX137" fmla="*/ 183519 w 1804943"/>
              <a:gd name="connsiteY137" fmla="*/ 2079843 h 2373250"/>
              <a:gd name="connsiteX138" fmla="*/ 170826 w 1804943"/>
              <a:gd name="connsiteY138" fmla="*/ 2060076 h 2373250"/>
              <a:gd name="connsiteX139" fmla="*/ 158670 w 1804943"/>
              <a:gd name="connsiteY139" fmla="*/ 2039725 h 2373250"/>
              <a:gd name="connsiteX140" fmla="*/ 147039 w 1804943"/>
              <a:gd name="connsiteY140" fmla="*/ 2018790 h 2373250"/>
              <a:gd name="connsiteX141" fmla="*/ 135929 w 1804943"/>
              <a:gd name="connsiteY141" fmla="*/ 1997286 h 2373250"/>
              <a:gd name="connsiteX142" fmla="*/ 125326 w 1804943"/>
              <a:gd name="connsiteY142" fmla="*/ 1975206 h 2373250"/>
              <a:gd name="connsiteX143" fmla="*/ 115224 w 1804943"/>
              <a:gd name="connsiteY143" fmla="*/ 1952564 h 2373250"/>
              <a:gd name="connsiteX144" fmla="*/ 105621 w 1804943"/>
              <a:gd name="connsiteY144" fmla="*/ 1929369 h 2373250"/>
              <a:gd name="connsiteX145" fmla="*/ 96495 w 1804943"/>
              <a:gd name="connsiteY145" fmla="*/ 1905612 h 2373250"/>
              <a:gd name="connsiteX146" fmla="*/ 87846 w 1804943"/>
              <a:gd name="connsiteY146" fmla="*/ 1881309 h 2373250"/>
              <a:gd name="connsiteX147" fmla="*/ 79666 w 1804943"/>
              <a:gd name="connsiteY147" fmla="*/ 1856461 h 2373250"/>
              <a:gd name="connsiteX148" fmla="*/ 71947 w 1804943"/>
              <a:gd name="connsiteY148" fmla="*/ 1831082 h 2373250"/>
              <a:gd name="connsiteX149" fmla="*/ 64675 w 1804943"/>
              <a:gd name="connsiteY149" fmla="*/ 1805165 h 2373250"/>
              <a:gd name="connsiteX150" fmla="*/ 57839 w 1804943"/>
              <a:gd name="connsiteY150" fmla="*/ 1778725 h 2373250"/>
              <a:gd name="connsiteX151" fmla="*/ 51435 w 1804943"/>
              <a:gd name="connsiteY151" fmla="*/ 1751762 h 2373250"/>
              <a:gd name="connsiteX152" fmla="*/ 45461 w 1804943"/>
              <a:gd name="connsiteY152" fmla="*/ 1724284 h 2373250"/>
              <a:gd name="connsiteX153" fmla="*/ 39895 w 1804943"/>
              <a:gd name="connsiteY153" fmla="*/ 1696292 h 2373250"/>
              <a:gd name="connsiteX154" fmla="*/ 34736 w 1804943"/>
              <a:gd name="connsiteY154" fmla="*/ 1667799 h 2373250"/>
              <a:gd name="connsiteX155" fmla="*/ 29969 w 1804943"/>
              <a:gd name="connsiteY155" fmla="*/ 1638806 h 2373250"/>
              <a:gd name="connsiteX156" fmla="*/ 25595 w 1804943"/>
              <a:gd name="connsiteY156" fmla="*/ 1609322 h 2373250"/>
              <a:gd name="connsiteX157" fmla="*/ 21597 w 1804943"/>
              <a:gd name="connsiteY157" fmla="*/ 1579352 h 2373250"/>
              <a:gd name="connsiteX158" fmla="*/ 17967 w 1804943"/>
              <a:gd name="connsiteY158" fmla="*/ 1548893 h 2373250"/>
              <a:gd name="connsiteX159" fmla="*/ 14708 w 1804943"/>
              <a:gd name="connsiteY159" fmla="*/ 1517963 h 2373250"/>
              <a:gd name="connsiteX160" fmla="*/ 11794 w 1804943"/>
              <a:gd name="connsiteY160" fmla="*/ 1486556 h 2373250"/>
              <a:gd name="connsiteX161" fmla="*/ 9226 w 1804943"/>
              <a:gd name="connsiteY161" fmla="*/ 1454681 h 2373250"/>
              <a:gd name="connsiteX162" fmla="*/ 6989 w 1804943"/>
              <a:gd name="connsiteY162" fmla="*/ 1422351 h 2373250"/>
              <a:gd name="connsiteX163" fmla="*/ 5082 w 1804943"/>
              <a:gd name="connsiteY163" fmla="*/ 1389569 h 2373250"/>
              <a:gd name="connsiteX164" fmla="*/ 3490 w 1804943"/>
              <a:gd name="connsiteY164" fmla="*/ 1356325 h 2373250"/>
              <a:gd name="connsiteX165" fmla="*/ 2206 w 1804943"/>
              <a:gd name="connsiteY165" fmla="*/ 1322649 h 2373250"/>
              <a:gd name="connsiteX166" fmla="*/ 1230 w 1804943"/>
              <a:gd name="connsiteY166" fmla="*/ 1288530 h 2373250"/>
              <a:gd name="connsiteX167" fmla="*/ 540 w 1804943"/>
              <a:gd name="connsiteY167" fmla="*/ 1253971 h 2373250"/>
              <a:gd name="connsiteX168" fmla="*/ 132 w 1804943"/>
              <a:gd name="connsiteY168" fmla="*/ 1218989 h 2373250"/>
              <a:gd name="connsiteX169" fmla="*/ 0 w 1804943"/>
              <a:gd name="connsiteY169" fmla="*/ 1183585 h 2373250"/>
              <a:gd name="connsiteX170" fmla="*/ 132 w 1804943"/>
              <a:gd name="connsiteY170" fmla="*/ 1148334 h 2373250"/>
              <a:gd name="connsiteX171" fmla="*/ 546 w 1804943"/>
              <a:gd name="connsiteY171" fmla="*/ 1113498 h 2373250"/>
              <a:gd name="connsiteX172" fmla="*/ 1254 w 1804943"/>
              <a:gd name="connsiteY172" fmla="*/ 1079094 h 2373250"/>
              <a:gd name="connsiteX173" fmla="*/ 2246 w 1804943"/>
              <a:gd name="connsiteY173" fmla="*/ 1045127 h 2373250"/>
              <a:gd name="connsiteX174" fmla="*/ 3544 w 1804943"/>
              <a:gd name="connsiteY174" fmla="*/ 1011590 h 2373250"/>
              <a:gd name="connsiteX175" fmla="*/ 5159 w 1804943"/>
              <a:gd name="connsiteY175" fmla="*/ 978500 h 2373250"/>
              <a:gd name="connsiteX176" fmla="*/ 7096 w 1804943"/>
              <a:gd name="connsiteY176" fmla="*/ 945863 h 2373250"/>
              <a:gd name="connsiteX177" fmla="*/ 9356 w 1804943"/>
              <a:gd name="connsiteY177" fmla="*/ 913681 h 2373250"/>
              <a:gd name="connsiteX178" fmla="*/ 11964 w 1804943"/>
              <a:gd name="connsiteY178" fmla="*/ 881951 h 2373250"/>
              <a:gd name="connsiteX179" fmla="*/ 14909 w 1804943"/>
              <a:gd name="connsiteY179" fmla="*/ 850691 h 2373250"/>
              <a:gd name="connsiteX180" fmla="*/ 18214 w 1804943"/>
              <a:gd name="connsiteY180" fmla="*/ 819907 h 2373250"/>
              <a:gd name="connsiteX181" fmla="*/ 21881 w 1804943"/>
              <a:gd name="connsiteY181" fmla="*/ 789592 h 2373250"/>
              <a:gd name="connsiteX182" fmla="*/ 25917 w 1804943"/>
              <a:gd name="connsiteY182" fmla="*/ 759762 h 2373250"/>
              <a:gd name="connsiteX183" fmla="*/ 30338 w 1804943"/>
              <a:gd name="connsiteY183" fmla="*/ 730423 h 2373250"/>
              <a:gd name="connsiteX184" fmla="*/ 35152 w 1804943"/>
              <a:gd name="connsiteY184" fmla="*/ 701569 h 2373250"/>
              <a:gd name="connsiteX185" fmla="*/ 40356 w 1804943"/>
              <a:gd name="connsiteY185" fmla="*/ 673215 h 2373250"/>
              <a:gd name="connsiteX186" fmla="*/ 45968 w 1804943"/>
              <a:gd name="connsiteY186" fmla="*/ 645368 h 2373250"/>
              <a:gd name="connsiteX187" fmla="*/ 51996 w 1804943"/>
              <a:gd name="connsiteY187" fmla="*/ 618029 h 2373250"/>
              <a:gd name="connsiteX188" fmla="*/ 58446 w 1804943"/>
              <a:gd name="connsiteY188" fmla="*/ 591204 h 2373250"/>
              <a:gd name="connsiteX189" fmla="*/ 65335 w 1804943"/>
              <a:gd name="connsiteY189" fmla="*/ 564895 h 2373250"/>
              <a:gd name="connsiteX190" fmla="*/ 72655 w 1804943"/>
              <a:gd name="connsiteY190" fmla="*/ 539109 h 2373250"/>
              <a:gd name="connsiteX191" fmla="*/ 80428 w 1804943"/>
              <a:gd name="connsiteY191" fmla="*/ 513860 h 2373250"/>
              <a:gd name="connsiteX192" fmla="*/ 88661 w 1804943"/>
              <a:gd name="connsiteY192" fmla="*/ 489142 h 2373250"/>
              <a:gd name="connsiteX193" fmla="*/ 97358 w 1804943"/>
              <a:gd name="connsiteY193" fmla="*/ 464962 h 2373250"/>
              <a:gd name="connsiteX194" fmla="*/ 106521 w 1804943"/>
              <a:gd name="connsiteY194" fmla="*/ 441336 h 2373250"/>
              <a:gd name="connsiteX195" fmla="*/ 116178 w 1804943"/>
              <a:gd name="connsiteY195" fmla="*/ 418257 h 2373250"/>
              <a:gd name="connsiteX196" fmla="*/ 126320 w 1804943"/>
              <a:gd name="connsiteY196" fmla="*/ 395738 h 2373250"/>
              <a:gd name="connsiteX197" fmla="*/ 136966 w 1804943"/>
              <a:gd name="connsiteY197" fmla="*/ 373780 h 2373250"/>
              <a:gd name="connsiteX198" fmla="*/ 137880 w 1804943"/>
              <a:gd name="connsiteY198" fmla="*/ 372027 h 2373250"/>
              <a:gd name="connsiteX199" fmla="*/ 137881 w 1804943"/>
              <a:gd name="connsiteY199" fmla="*/ 372027 h 2373250"/>
              <a:gd name="connsiteX200" fmla="*/ 148122 w 1804943"/>
              <a:gd name="connsiteY200" fmla="*/ 352391 h 2373250"/>
              <a:gd name="connsiteX201" fmla="*/ 159787 w 1804943"/>
              <a:gd name="connsiteY201" fmla="*/ 331571 h 2373250"/>
              <a:gd name="connsiteX202" fmla="*/ 171988 w 1804943"/>
              <a:gd name="connsiteY202" fmla="*/ 311336 h 2373250"/>
              <a:gd name="connsiteX203" fmla="*/ 184719 w 1804943"/>
              <a:gd name="connsiteY203" fmla="*/ 291677 h 2373250"/>
              <a:gd name="connsiteX204" fmla="*/ 197988 w 1804943"/>
              <a:gd name="connsiteY204" fmla="*/ 272618 h 2373250"/>
              <a:gd name="connsiteX205" fmla="*/ 211812 w 1804943"/>
              <a:gd name="connsiteY205" fmla="*/ 254143 h 2373250"/>
              <a:gd name="connsiteX206" fmla="*/ 241142 w 1804943"/>
              <a:gd name="connsiteY206" fmla="*/ 219015 h 2373250"/>
              <a:gd name="connsiteX207" fmla="*/ 272787 w 1804943"/>
              <a:gd name="connsiteY207" fmla="*/ 186325 h 2373250"/>
              <a:gd name="connsiteX208" fmla="*/ 306808 w 1804943"/>
              <a:gd name="connsiteY208" fmla="*/ 156118 h 2373250"/>
              <a:gd name="connsiteX209" fmla="*/ 343266 w 1804943"/>
              <a:gd name="connsiteY209" fmla="*/ 128447 h 2373250"/>
              <a:gd name="connsiteX210" fmla="*/ 362432 w 1804943"/>
              <a:gd name="connsiteY210" fmla="*/ 115578 h 2373250"/>
              <a:gd name="connsiteX211" fmla="*/ 382237 w 1804943"/>
              <a:gd name="connsiteY211" fmla="*/ 103346 h 2373250"/>
              <a:gd name="connsiteX212" fmla="*/ 402689 w 1804943"/>
              <a:gd name="connsiteY212" fmla="*/ 91775 h 2373250"/>
              <a:gd name="connsiteX213" fmla="*/ 423793 w 1804943"/>
              <a:gd name="connsiteY213" fmla="*/ 80865 h 2373250"/>
              <a:gd name="connsiteX214" fmla="*/ 445558 w 1804943"/>
              <a:gd name="connsiteY214" fmla="*/ 70617 h 2373250"/>
              <a:gd name="connsiteX215" fmla="*/ 467992 w 1804943"/>
              <a:gd name="connsiteY215" fmla="*/ 61045 h 2373250"/>
              <a:gd name="connsiteX216" fmla="*/ 491103 w 1804943"/>
              <a:gd name="connsiteY216" fmla="*/ 52142 h 2373250"/>
              <a:gd name="connsiteX217" fmla="*/ 514906 w 1804943"/>
              <a:gd name="connsiteY217" fmla="*/ 43923 h 2373250"/>
              <a:gd name="connsiteX218" fmla="*/ 539409 w 1804943"/>
              <a:gd name="connsiteY218" fmla="*/ 36389 h 2373250"/>
              <a:gd name="connsiteX219" fmla="*/ 564612 w 1804943"/>
              <a:gd name="connsiteY219" fmla="*/ 29553 h 2373250"/>
              <a:gd name="connsiteX220" fmla="*/ 590528 w 1804943"/>
              <a:gd name="connsiteY220" fmla="*/ 23403 h 2373250"/>
              <a:gd name="connsiteX221" fmla="*/ 617160 w 1804943"/>
              <a:gd name="connsiteY221" fmla="*/ 17967 h 2373250"/>
              <a:gd name="connsiteX222" fmla="*/ 644530 w 1804943"/>
              <a:gd name="connsiteY222" fmla="*/ 13231 h 2373250"/>
              <a:gd name="connsiteX223" fmla="*/ 672639 w 1804943"/>
              <a:gd name="connsiteY223" fmla="*/ 9210 h 2373250"/>
              <a:gd name="connsiteX224" fmla="*/ 701494 w 1804943"/>
              <a:gd name="connsiteY224" fmla="*/ 5912 h 2373250"/>
              <a:gd name="connsiteX225" fmla="*/ 731100 w 1804943"/>
              <a:gd name="connsiteY225" fmla="*/ 3336 h 2373250"/>
              <a:gd name="connsiteX226" fmla="*/ 761477 w 1804943"/>
              <a:gd name="connsiteY226" fmla="*/ 1484 h 2373250"/>
              <a:gd name="connsiteX227" fmla="*/ 792621 w 1804943"/>
              <a:gd name="connsiteY227" fmla="*/ 377 h 23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804943" h="2373250">
                <a:moveTo>
                  <a:pt x="1135564" y="15338"/>
                </a:moveTo>
                <a:lnTo>
                  <a:pt x="1804943" y="15338"/>
                </a:lnTo>
                <a:lnTo>
                  <a:pt x="1804943" y="121436"/>
                </a:lnTo>
                <a:lnTo>
                  <a:pt x="1260314" y="121436"/>
                </a:lnTo>
                <a:lnTo>
                  <a:pt x="1260314" y="372027"/>
                </a:lnTo>
                <a:lnTo>
                  <a:pt x="1260314" y="2258004"/>
                </a:lnTo>
                <a:lnTo>
                  <a:pt x="1804943" y="2258004"/>
                </a:lnTo>
                <a:lnTo>
                  <a:pt x="1804943" y="2364102"/>
                </a:lnTo>
                <a:lnTo>
                  <a:pt x="1135564" y="2364102"/>
                </a:lnTo>
                <a:lnTo>
                  <a:pt x="1135564" y="2258004"/>
                </a:lnTo>
                <a:lnTo>
                  <a:pt x="1135564" y="372027"/>
                </a:lnTo>
                <a:lnTo>
                  <a:pt x="1135564" y="121436"/>
                </a:lnTo>
                <a:close/>
                <a:moveTo>
                  <a:pt x="824551" y="0"/>
                </a:moveTo>
                <a:lnTo>
                  <a:pt x="824551" y="106498"/>
                </a:lnTo>
                <a:lnTo>
                  <a:pt x="793382" y="106920"/>
                </a:lnTo>
                <a:lnTo>
                  <a:pt x="763107" y="108189"/>
                </a:lnTo>
                <a:lnTo>
                  <a:pt x="733699" y="110296"/>
                </a:lnTo>
                <a:lnTo>
                  <a:pt x="705152" y="113240"/>
                </a:lnTo>
                <a:lnTo>
                  <a:pt x="677451" y="117008"/>
                </a:lnTo>
                <a:lnTo>
                  <a:pt x="650596" y="121598"/>
                </a:lnTo>
                <a:lnTo>
                  <a:pt x="624564" y="126995"/>
                </a:lnTo>
                <a:lnTo>
                  <a:pt x="599346" y="133207"/>
                </a:lnTo>
                <a:lnTo>
                  <a:pt x="574929" y="140218"/>
                </a:lnTo>
                <a:lnTo>
                  <a:pt x="551302" y="148022"/>
                </a:lnTo>
                <a:lnTo>
                  <a:pt x="528461" y="156617"/>
                </a:lnTo>
                <a:lnTo>
                  <a:pt x="506387" y="165997"/>
                </a:lnTo>
                <a:lnTo>
                  <a:pt x="485076" y="176146"/>
                </a:lnTo>
                <a:lnTo>
                  <a:pt x="464502" y="187071"/>
                </a:lnTo>
                <a:lnTo>
                  <a:pt x="425554" y="211204"/>
                </a:lnTo>
                <a:lnTo>
                  <a:pt x="389457" y="238344"/>
                </a:lnTo>
                <a:lnTo>
                  <a:pt x="356105" y="268436"/>
                </a:lnTo>
                <a:lnTo>
                  <a:pt x="325421" y="301433"/>
                </a:lnTo>
                <a:lnTo>
                  <a:pt x="297313" y="337284"/>
                </a:lnTo>
                <a:lnTo>
                  <a:pt x="284189" y="356266"/>
                </a:lnTo>
                <a:lnTo>
                  <a:pt x="274169" y="372027"/>
                </a:lnTo>
                <a:lnTo>
                  <a:pt x="271680" y="375940"/>
                </a:lnTo>
                <a:lnTo>
                  <a:pt x="259763" y="396306"/>
                </a:lnTo>
                <a:lnTo>
                  <a:pt x="248431" y="417348"/>
                </a:lnTo>
                <a:lnTo>
                  <a:pt x="237675" y="439077"/>
                </a:lnTo>
                <a:lnTo>
                  <a:pt x="227480" y="461465"/>
                </a:lnTo>
                <a:lnTo>
                  <a:pt x="217839" y="484522"/>
                </a:lnTo>
                <a:lnTo>
                  <a:pt x="208737" y="508239"/>
                </a:lnTo>
                <a:lnTo>
                  <a:pt x="200156" y="532604"/>
                </a:lnTo>
                <a:lnTo>
                  <a:pt x="192100" y="557614"/>
                </a:lnTo>
                <a:lnTo>
                  <a:pt x="184542" y="583262"/>
                </a:lnTo>
                <a:lnTo>
                  <a:pt x="177484" y="609541"/>
                </a:lnTo>
                <a:lnTo>
                  <a:pt x="170903" y="636450"/>
                </a:lnTo>
                <a:lnTo>
                  <a:pt x="164799" y="663974"/>
                </a:lnTo>
                <a:lnTo>
                  <a:pt x="159148" y="692121"/>
                </a:lnTo>
                <a:lnTo>
                  <a:pt x="153950" y="720867"/>
                </a:lnTo>
                <a:lnTo>
                  <a:pt x="149183" y="750212"/>
                </a:lnTo>
                <a:lnTo>
                  <a:pt x="144839" y="780158"/>
                </a:lnTo>
                <a:lnTo>
                  <a:pt x="140910" y="810689"/>
                </a:lnTo>
                <a:lnTo>
                  <a:pt x="137390" y="841803"/>
                </a:lnTo>
                <a:lnTo>
                  <a:pt x="134253" y="873494"/>
                </a:lnTo>
                <a:lnTo>
                  <a:pt x="131501" y="905754"/>
                </a:lnTo>
                <a:lnTo>
                  <a:pt x="129109" y="938575"/>
                </a:lnTo>
                <a:lnTo>
                  <a:pt x="127073" y="971958"/>
                </a:lnTo>
                <a:lnTo>
                  <a:pt x="125389" y="1005886"/>
                </a:lnTo>
                <a:lnTo>
                  <a:pt x="124027" y="1040360"/>
                </a:lnTo>
                <a:lnTo>
                  <a:pt x="122997" y="1075373"/>
                </a:lnTo>
                <a:lnTo>
                  <a:pt x="122267" y="1110923"/>
                </a:lnTo>
                <a:lnTo>
                  <a:pt x="121844" y="1146996"/>
                </a:lnTo>
                <a:lnTo>
                  <a:pt x="121706" y="1183585"/>
                </a:lnTo>
                <a:lnTo>
                  <a:pt x="121829" y="1220003"/>
                </a:lnTo>
                <a:lnTo>
                  <a:pt x="122229" y="1255892"/>
                </a:lnTo>
                <a:lnTo>
                  <a:pt x="122897" y="1291258"/>
                </a:lnTo>
                <a:lnTo>
                  <a:pt x="123850" y="1326087"/>
                </a:lnTo>
                <a:lnTo>
                  <a:pt x="125111" y="1360376"/>
                </a:lnTo>
                <a:lnTo>
                  <a:pt x="126679" y="1394113"/>
                </a:lnTo>
                <a:lnTo>
                  <a:pt x="128571" y="1427303"/>
                </a:lnTo>
                <a:lnTo>
                  <a:pt x="130802" y="1459939"/>
                </a:lnTo>
                <a:lnTo>
                  <a:pt x="133368" y="1492006"/>
                </a:lnTo>
                <a:lnTo>
                  <a:pt x="136298" y="1523513"/>
                </a:lnTo>
                <a:lnTo>
                  <a:pt x="139596" y="1554442"/>
                </a:lnTo>
                <a:lnTo>
                  <a:pt x="143271" y="1584796"/>
                </a:lnTo>
                <a:lnTo>
                  <a:pt x="147338" y="1614566"/>
                </a:lnTo>
                <a:lnTo>
                  <a:pt x="151813" y="1643750"/>
                </a:lnTo>
                <a:lnTo>
                  <a:pt x="156702" y="1672334"/>
                </a:lnTo>
                <a:lnTo>
                  <a:pt x="162015" y="1700320"/>
                </a:lnTo>
                <a:lnTo>
                  <a:pt x="167766" y="1727705"/>
                </a:lnTo>
                <a:lnTo>
                  <a:pt x="173962" y="1754476"/>
                </a:lnTo>
                <a:lnTo>
                  <a:pt x="180629" y="1780631"/>
                </a:lnTo>
                <a:lnTo>
                  <a:pt x="187755" y="1806164"/>
                </a:lnTo>
                <a:lnTo>
                  <a:pt x="195374" y="1831074"/>
                </a:lnTo>
                <a:lnTo>
                  <a:pt x="203485" y="1855346"/>
                </a:lnTo>
                <a:lnTo>
                  <a:pt x="212112" y="1878988"/>
                </a:lnTo>
                <a:lnTo>
                  <a:pt x="221245" y="1901983"/>
                </a:lnTo>
                <a:lnTo>
                  <a:pt x="230917" y="1924332"/>
                </a:lnTo>
                <a:lnTo>
                  <a:pt x="241128" y="1946029"/>
                </a:lnTo>
                <a:lnTo>
                  <a:pt x="251891" y="1967064"/>
                </a:lnTo>
                <a:lnTo>
                  <a:pt x="263216" y="1987430"/>
                </a:lnTo>
                <a:lnTo>
                  <a:pt x="287611" y="2026164"/>
                </a:lnTo>
                <a:lnTo>
                  <a:pt x="314404" y="2062168"/>
                </a:lnTo>
                <a:lnTo>
                  <a:pt x="343681" y="2095412"/>
                </a:lnTo>
                <a:lnTo>
                  <a:pt x="375541" y="2125849"/>
                </a:lnTo>
                <a:lnTo>
                  <a:pt x="410077" y="2153435"/>
                </a:lnTo>
                <a:lnTo>
                  <a:pt x="447372" y="2178130"/>
                </a:lnTo>
                <a:lnTo>
                  <a:pt x="487529" y="2199888"/>
                </a:lnTo>
                <a:lnTo>
                  <a:pt x="508702" y="2209652"/>
                </a:lnTo>
                <a:lnTo>
                  <a:pt x="530629" y="2218662"/>
                </a:lnTo>
                <a:lnTo>
                  <a:pt x="553317" y="2226920"/>
                </a:lnTo>
                <a:lnTo>
                  <a:pt x="576782" y="2234416"/>
                </a:lnTo>
                <a:lnTo>
                  <a:pt x="601022" y="2241150"/>
                </a:lnTo>
                <a:lnTo>
                  <a:pt x="626056" y="2247109"/>
                </a:lnTo>
                <a:lnTo>
                  <a:pt x="651904" y="2252291"/>
                </a:lnTo>
                <a:lnTo>
                  <a:pt x="678567" y="2256688"/>
                </a:lnTo>
                <a:lnTo>
                  <a:pt x="706061" y="2260301"/>
                </a:lnTo>
                <a:lnTo>
                  <a:pt x="734390" y="2263116"/>
                </a:lnTo>
                <a:lnTo>
                  <a:pt x="763575" y="2265138"/>
                </a:lnTo>
                <a:lnTo>
                  <a:pt x="793630" y="2266352"/>
                </a:lnTo>
                <a:lnTo>
                  <a:pt x="824551" y="2266760"/>
                </a:lnTo>
                <a:lnTo>
                  <a:pt x="824551" y="2373250"/>
                </a:lnTo>
                <a:lnTo>
                  <a:pt x="792476" y="2372881"/>
                </a:lnTo>
                <a:lnTo>
                  <a:pt x="761193" y="2371759"/>
                </a:lnTo>
                <a:lnTo>
                  <a:pt x="730694" y="2369898"/>
                </a:lnTo>
                <a:lnTo>
                  <a:pt x="700970" y="2367307"/>
                </a:lnTo>
                <a:lnTo>
                  <a:pt x="672008" y="2363986"/>
                </a:lnTo>
                <a:lnTo>
                  <a:pt x="643800" y="2359941"/>
                </a:lnTo>
                <a:lnTo>
                  <a:pt x="616345" y="2355175"/>
                </a:lnTo>
                <a:lnTo>
                  <a:pt x="589621" y="2349701"/>
                </a:lnTo>
                <a:lnTo>
                  <a:pt x="563635" y="2343519"/>
                </a:lnTo>
                <a:lnTo>
                  <a:pt x="538363" y="2336631"/>
                </a:lnTo>
                <a:lnTo>
                  <a:pt x="513800" y="2329050"/>
                </a:lnTo>
                <a:lnTo>
                  <a:pt x="489950" y="2320785"/>
                </a:lnTo>
                <a:lnTo>
                  <a:pt x="466785" y="2311829"/>
                </a:lnTo>
                <a:lnTo>
                  <a:pt x="444312" y="2302195"/>
                </a:lnTo>
                <a:lnTo>
                  <a:pt x="422516" y="2291885"/>
                </a:lnTo>
                <a:lnTo>
                  <a:pt x="401389" y="2280906"/>
                </a:lnTo>
                <a:lnTo>
                  <a:pt x="380915" y="2269266"/>
                </a:lnTo>
                <a:lnTo>
                  <a:pt x="361094" y="2256965"/>
                </a:lnTo>
                <a:lnTo>
                  <a:pt x="341921" y="2244018"/>
                </a:lnTo>
                <a:lnTo>
                  <a:pt x="305456" y="2216179"/>
                </a:lnTo>
                <a:lnTo>
                  <a:pt x="271450" y="2185803"/>
                </a:lnTo>
                <a:lnTo>
                  <a:pt x="239844" y="2152920"/>
                </a:lnTo>
                <a:lnTo>
                  <a:pt x="210559" y="2117584"/>
                </a:lnTo>
                <a:lnTo>
                  <a:pt x="196759" y="2099010"/>
                </a:lnTo>
                <a:lnTo>
                  <a:pt x="183519" y="2079843"/>
                </a:lnTo>
                <a:lnTo>
                  <a:pt x="170826" y="2060076"/>
                </a:lnTo>
                <a:lnTo>
                  <a:pt x="158670" y="2039725"/>
                </a:lnTo>
                <a:lnTo>
                  <a:pt x="147039" y="2018790"/>
                </a:lnTo>
                <a:lnTo>
                  <a:pt x="135929" y="1997286"/>
                </a:lnTo>
                <a:lnTo>
                  <a:pt x="125326" y="1975206"/>
                </a:lnTo>
                <a:lnTo>
                  <a:pt x="115224" y="1952564"/>
                </a:lnTo>
                <a:lnTo>
                  <a:pt x="105621" y="1929369"/>
                </a:lnTo>
                <a:lnTo>
                  <a:pt x="96495" y="1905612"/>
                </a:lnTo>
                <a:lnTo>
                  <a:pt x="87846" y="1881309"/>
                </a:lnTo>
                <a:lnTo>
                  <a:pt x="79666" y="1856461"/>
                </a:lnTo>
                <a:lnTo>
                  <a:pt x="71947" y="1831082"/>
                </a:lnTo>
                <a:lnTo>
                  <a:pt x="64675" y="1805165"/>
                </a:lnTo>
                <a:lnTo>
                  <a:pt x="57839" y="1778725"/>
                </a:lnTo>
                <a:lnTo>
                  <a:pt x="51435" y="1751762"/>
                </a:lnTo>
                <a:lnTo>
                  <a:pt x="45461" y="1724284"/>
                </a:lnTo>
                <a:lnTo>
                  <a:pt x="39895" y="1696292"/>
                </a:lnTo>
                <a:lnTo>
                  <a:pt x="34736" y="1667799"/>
                </a:lnTo>
                <a:lnTo>
                  <a:pt x="29969" y="1638806"/>
                </a:lnTo>
                <a:lnTo>
                  <a:pt x="25595" y="1609322"/>
                </a:lnTo>
                <a:lnTo>
                  <a:pt x="21597" y="1579352"/>
                </a:lnTo>
                <a:lnTo>
                  <a:pt x="17967" y="1548893"/>
                </a:lnTo>
                <a:lnTo>
                  <a:pt x="14708" y="1517963"/>
                </a:lnTo>
                <a:lnTo>
                  <a:pt x="11794" y="1486556"/>
                </a:lnTo>
                <a:lnTo>
                  <a:pt x="9226" y="1454681"/>
                </a:lnTo>
                <a:lnTo>
                  <a:pt x="6989" y="1422351"/>
                </a:lnTo>
                <a:lnTo>
                  <a:pt x="5082" y="1389569"/>
                </a:lnTo>
                <a:lnTo>
                  <a:pt x="3490" y="1356325"/>
                </a:lnTo>
                <a:lnTo>
                  <a:pt x="2206" y="1322649"/>
                </a:lnTo>
                <a:lnTo>
                  <a:pt x="1230" y="1288530"/>
                </a:lnTo>
                <a:lnTo>
                  <a:pt x="540" y="1253971"/>
                </a:lnTo>
                <a:lnTo>
                  <a:pt x="132" y="1218989"/>
                </a:lnTo>
                <a:lnTo>
                  <a:pt x="0" y="1183585"/>
                </a:lnTo>
                <a:lnTo>
                  <a:pt x="132" y="1148334"/>
                </a:lnTo>
                <a:lnTo>
                  <a:pt x="546" y="1113498"/>
                </a:lnTo>
                <a:lnTo>
                  <a:pt x="1254" y="1079094"/>
                </a:lnTo>
                <a:lnTo>
                  <a:pt x="2246" y="1045127"/>
                </a:lnTo>
                <a:lnTo>
                  <a:pt x="3544" y="1011590"/>
                </a:lnTo>
                <a:lnTo>
                  <a:pt x="5159" y="978500"/>
                </a:lnTo>
                <a:lnTo>
                  <a:pt x="7096" y="945863"/>
                </a:lnTo>
                <a:lnTo>
                  <a:pt x="9356" y="913681"/>
                </a:lnTo>
                <a:lnTo>
                  <a:pt x="11964" y="881951"/>
                </a:lnTo>
                <a:lnTo>
                  <a:pt x="14909" y="850691"/>
                </a:lnTo>
                <a:lnTo>
                  <a:pt x="18214" y="819907"/>
                </a:lnTo>
                <a:lnTo>
                  <a:pt x="21881" y="789592"/>
                </a:lnTo>
                <a:lnTo>
                  <a:pt x="25917" y="759762"/>
                </a:lnTo>
                <a:lnTo>
                  <a:pt x="30338" y="730423"/>
                </a:lnTo>
                <a:lnTo>
                  <a:pt x="35152" y="701569"/>
                </a:lnTo>
                <a:lnTo>
                  <a:pt x="40356" y="673215"/>
                </a:lnTo>
                <a:lnTo>
                  <a:pt x="45968" y="645368"/>
                </a:lnTo>
                <a:lnTo>
                  <a:pt x="51996" y="618029"/>
                </a:lnTo>
                <a:lnTo>
                  <a:pt x="58446" y="591204"/>
                </a:lnTo>
                <a:lnTo>
                  <a:pt x="65335" y="564895"/>
                </a:lnTo>
                <a:lnTo>
                  <a:pt x="72655" y="539109"/>
                </a:lnTo>
                <a:lnTo>
                  <a:pt x="80428" y="513860"/>
                </a:lnTo>
                <a:lnTo>
                  <a:pt x="88661" y="489142"/>
                </a:lnTo>
                <a:lnTo>
                  <a:pt x="97358" y="464962"/>
                </a:lnTo>
                <a:lnTo>
                  <a:pt x="106521" y="441336"/>
                </a:lnTo>
                <a:lnTo>
                  <a:pt x="116178" y="418257"/>
                </a:lnTo>
                <a:lnTo>
                  <a:pt x="126320" y="395738"/>
                </a:lnTo>
                <a:lnTo>
                  <a:pt x="136966" y="373780"/>
                </a:lnTo>
                <a:lnTo>
                  <a:pt x="137880" y="372027"/>
                </a:lnTo>
                <a:lnTo>
                  <a:pt x="137881" y="372027"/>
                </a:lnTo>
                <a:lnTo>
                  <a:pt x="148122" y="352391"/>
                </a:lnTo>
                <a:lnTo>
                  <a:pt x="159787" y="331571"/>
                </a:lnTo>
                <a:lnTo>
                  <a:pt x="171988" y="311336"/>
                </a:lnTo>
                <a:lnTo>
                  <a:pt x="184719" y="291677"/>
                </a:lnTo>
                <a:lnTo>
                  <a:pt x="197988" y="272618"/>
                </a:lnTo>
                <a:lnTo>
                  <a:pt x="211812" y="254143"/>
                </a:lnTo>
                <a:lnTo>
                  <a:pt x="241142" y="219015"/>
                </a:lnTo>
                <a:lnTo>
                  <a:pt x="272787" y="186325"/>
                </a:lnTo>
                <a:lnTo>
                  <a:pt x="306808" y="156118"/>
                </a:lnTo>
                <a:lnTo>
                  <a:pt x="343266" y="128447"/>
                </a:lnTo>
                <a:lnTo>
                  <a:pt x="362432" y="115578"/>
                </a:lnTo>
                <a:lnTo>
                  <a:pt x="382237" y="103346"/>
                </a:lnTo>
                <a:lnTo>
                  <a:pt x="402689" y="91775"/>
                </a:lnTo>
                <a:lnTo>
                  <a:pt x="423793" y="80865"/>
                </a:lnTo>
                <a:lnTo>
                  <a:pt x="445558" y="70617"/>
                </a:lnTo>
                <a:lnTo>
                  <a:pt x="467992" y="61045"/>
                </a:lnTo>
                <a:lnTo>
                  <a:pt x="491103" y="52142"/>
                </a:lnTo>
                <a:lnTo>
                  <a:pt x="514906" y="43923"/>
                </a:lnTo>
                <a:lnTo>
                  <a:pt x="539409" y="36389"/>
                </a:lnTo>
                <a:lnTo>
                  <a:pt x="564612" y="29553"/>
                </a:lnTo>
                <a:lnTo>
                  <a:pt x="590528" y="23403"/>
                </a:lnTo>
                <a:lnTo>
                  <a:pt x="617160" y="17967"/>
                </a:lnTo>
                <a:lnTo>
                  <a:pt x="644530" y="13231"/>
                </a:lnTo>
                <a:lnTo>
                  <a:pt x="672639" y="9210"/>
                </a:lnTo>
                <a:lnTo>
                  <a:pt x="701494" y="5912"/>
                </a:lnTo>
                <a:lnTo>
                  <a:pt x="731100" y="3336"/>
                </a:lnTo>
                <a:lnTo>
                  <a:pt x="761477" y="1484"/>
                </a:lnTo>
                <a:lnTo>
                  <a:pt x="792621" y="377"/>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3" name="Makro grafik 2">
            <a:extLst>
              <a:ext uri="{FF2B5EF4-FFF2-40B4-BE49-F238E27FC236}">
                <a16:creationId xmlns:a16="http://schemas.microsoft.com/office/drawing/2014/main" id="{3C47DF57-6C35-2F95-62C7-5AF5F1E443EA}"/>
              </a:ext>
            </a:extLst>
          </p:cNvPr>
          <p:cNvSpPr>
            <a:spLocks noGrp="1" noChangeAspect="1"/>
          </p:cNvSpPr>
          <p:nvPr>
            <p:ph type="body" sz="quarter" idx="20" hasCustomPrompt="1"/>
          </p:nvPr>
        </p:nvSpPr>
        <p:spPr>
          <a:xfrm>
            <a:off x="7625339" y="3523023"/>
            <a:ext cx="1123209" cy="1460462"/>
          </a:xfrm>
          <a:custGeom>
            <a:avLst/>
            <a:gdLst>
              <a:gd name="connsiteX0" fmla="*/ 0 w 1497612"/>
              <a:gd name="connsiteY0" fmla="*/ 1 h 1947283"/>
              <a:gd name="connsiteX1" fmla="*/ 133876 w 1497612"/>
              <a:gd name="connsiteY1" fmla="*/ 1 h 1947283"/>
              <a:gd name="connsiteX2" fmla="*/ 542054 w 1497612"/>
              <a:gd name="connsiteY2" fmla="*/ 1262003 h 1947283"/>
              <a:gd name="connsiteX3" fmla="*/ 763698 w 1497612"/>
              <a:gd name="connsiteY3" fmla="*/ 1947283 h 1947283"/>
              <a:gd name="connsiteX4" fmla="*/ 626777 w 1497612"/>
              <a:gd name="connsiteY4" fmla="*/ 1947283 h 1947283"/>
              <a:gd name="connsiteX5" fmla="*/ 406204 w 1497612"/>
              <a:gd name="connsiteY5" fmla="*/ 1262004 h 1947283"/>
              <a:gd name="connsiteX6" fmla="*/ 733914 w 1497612"/>
              <a:gd name="connsiteY6" fmla="*/ 0 h 1947283"/>
              <a:gd name="connsiteX7" fmla="*/ 867789 w 1497612"/>
              <a:gd name="connsiteY7" fmla="*/ 0 h 1947283"/>
              <a:gd name="connsiteX8" fmla="*/ 988168 w 1497612"/>
              <a:gd name="connsiteY8" fmla="*/ 372187 h 1947283"/>
              <a:gd name="connsiteX9" fmla="*/ 1497612 w 1497612"/>
              <a:gd name="connsiteY9" fmla="*/ 1947283 h 1947283"/>
              <a:gd name="connsiteX10" fmla="*/ 1360692 w 1497612"/>
              <a:gd name="connsiteY10" fmla="*/ 1947283 h 1947283"/>
              <a:gd name="connsiteX11" fmla="*/ 988168 w 1497612"/>
              <a:gd name="connsiteY11" fmla="*/ 789920 h 19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7612" h="1947283">
                <a:moveTo>
                  <a:pt x="0" y="1"/>
                </a:moveTo>
                <a:lnTo>
                  <a:pt x="133876" y="1"/>
                </a:lnTo>
                <a:lnTo>
                  <a:pt x="542054" y="1262003"/>
                </a:lnTo>
                <a:lnTo>
                  <a:pt x="763698" y="1947283"/>
                </a:lnTo>
                <a:lnTo>
                  <a:pt x="626777" y="1947283"/>
                </a:lnTo>
                <a:lnTo>
                  <a:pt x="406204" y="1262004"/>
                </a:lnTo>
                <a:close/>
                <a:moveTo>
                  <a:pt x="733914" y="0"/>
                </a:moveTo>
                <a:lnTo>
                  <a:pt x="867789" y="0"/>
                </a:lnTo>
                <a:lnTo>
                  <a:pt x="988168" y="372187"/>
                </a:lnTo>
                <a:lnTo>
                  <a:pt x="1497612" y="1947283"/>
                </a:lnTo>
                <a:lnTo>
                  <a:pt x="1360692" y="1947283"/>
                </a:lnTo>
                <a:lnTo>
                  <a:pt x="988168" y="78992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4" name="TextBox 1">
            <a:extLst>
              <a:ext uri="{FF2B5EF4-FFF2-40B4-BE49-F238E27FC236}">
                <a16:creationId xmlns:a16="http://schemas.microsoft.com/office/drawing/2014/main" id="{38C4D288-BF41-D871-ACA4-A53FE219D09D}"/>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pic>
        <p:nvPicPr>
          <p:cNvPr id="6" name="Picture 5" descr="A logo with a crown on it&#10;&#10;Description automatically generated">
            <a:extLst>
              <a:ext uri="{FF2B5EF4-FFF2-40B4-BE49-F238E27FC236}">
                <a16:creationId xmlns:a16="http://schemas.microsoft.com/office/drawing/2014/main" id="{B70A1385-8762-9571-8D0A-FFD19EDC99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1783" y="209188"/>
            <a:ext cx="2137345" cy="305335"/>
          </a:xfrm>
          <a:prstGeom prst="rect">
            <a:avLst/>
          </a:prstGeom>
        </p:spPr>
      </p:pic>
    </p:spTree>
    <p:extLst>
      <p:ext uri="{BB962C8B-B14F-4D97-AF65-F5344CB8AC3E}">
        <p14:creationId xmlns:p14="http://schemas.microsoft.com/office/powerpoint/2010/main" val="971386661"/>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orger.dk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dirty="0"/>
          </a:p>
        </p:txBody>
      </p:sp>
      <p:sp>
        <p:nvSpPr>
          <p:cNvPr id="25" name="Makro grafik 1">
            <a:extLst>
              <a:ext uri="{FF2B5EF4-FFF2-40B4-BE49-F238E27FC236}">
                <a16:creationId xmlns:a16="http://schemas.microsoft.com/office/drawing/2014/main" id="{F2E0EEBD-7C39-E8CB-108F-09AF0CD4D448}"/>
              </a:ext>
            </a:extLst>
          </p:cNvPr>
          <p:cNvSpPr>
            <a:spLocks noGrp="1" noChangeAspect="1"/>
          </p:cNvSpPr>
          <p:nvPr>
            <p:ph type="body" sz="quarter" idx="19" hasCustomPrompt="1"/>
          </p:nvPr>
        </p:nvSpPr>
        <p:spPr>
          <a:xfrm>
            <a:off x="2827574" y="391015"/>
            <a:ext cx="1353707" cy="1779938"/>
          </a:xfrm>
          <a:custGeom>
            <a:avLst/>
            <a:gdLst>
              <a:gd name="connsiteX0" fmla="*/ 1135564 w 1804943"/>
              <a:gd name="connsiteY0" fmla="*/ 15338 h 2373250"/>
              <a:gd name="connsiteX1" fmla="*/ 1804943 w 1804943"/>
              <a:gd name="connsiteY1" fmla="*/ 15338 h 2373250"/>
              <a:gd name="connsiteX2" fmla="*/ 1804943 w 1804943"/>
              <a:gd name="connsiteY2" fmla="*/ 121436 h 2373250"/>
              <a:gd name="connsiteX3" fmla="*/ 1260314 w 1804943"/>
              <a:gd name="connsiteY3" fmla="*/ 121436 h 2373250"/>
              <a:gd name="connsiteX4" fmla="*/ 1260314 w 1804943"/>
              <a:gd name="connsiteY4" fmla="*/ 372027 h 2373250"/>
              <a:gd name="connsiteX5" fmla="*/ 1260314 w 1804943"/>
              <a:gd name="connsiteY5" fmla="*/ 2258004 h 2373250"/>
              <a:gd name="connsiteX6" fmla="*/ 1804943 w 1804943"/>
              <a:gd name="connsiteY6" fmla="*/ 2258004 h 2373250"/>
              <a:gd name="connsiteX7" fmla="*/ 1804943 w 1804943"/>
              <a:gd name="connsiteY7" fmla="*/ 2364102 h 2373250"/>
              <a:gd name="connsiteX8" fmla="*/ 1135564 w 1804943"/>
              <a:gd name="connsiteY8" fmla="*/ 2364102 h 2373250"/>
              <a:gd name="connsiteX9" fmla="*/ 1135564 w 1804943"/>
              <a:gd name="connsiteY9" fmla="*/ 2258004 h 2373250"/>
              <a:gd name="connsiteX10" fmla="*/ 1135564 w 1804943"/>
              <a:gd name="connsiteY10" fmla="*/ 372027 h 2373250"/>
              <a:gd name="connsiteX11" fmla="*/ 1135564 w 1804943"/>
              <a:gd name="connsiteY11" fmla="*/ 121436 h 2373250"/>
              <a:gd name="connsiteX12" fmla="*/ 824551 w 1804943"/>
              <a:gd name="connsiteY12" fmla="*/ 0 h 2373250"/>
              <a:gd name="connsiteX13" fmla="*/ 824551 w 1804943"/>
              <a:gd name="connsiteY13" fmla="*/ 106498 h 2373250"/>
              <a:gd name="connsiteX14" fmla="*/ 793382 w 1804943"/>
              <a:gd name="connsiteY14" fmla="*/ 106920 h 2373250"/>
              <a:gd name="connsiteX15" fmla="*/ 763107 w 1804943"/>
              <a:gd name="connsiteY15" fmla="*/ 108189 h 2373250"/>
              <a:gd name="connsiteX16" fmla="*/ 733699 w 1804943"/>
              <a:gd name="connsiteY16" fmla="*/ 110296 h 2373250"/>
              <a:gd name="connsiteX17" fmla="*/ 705152 w 1804943"/>
              <a:gd name="connsiteY17" fmla="*/ 113240 h 2373250"/>
              <a:gd name="connsiteX18" fmla="*/ 677451 w 1804943"/>
              <a:gd name="connsiteY18" fmla="*/ 117008 h 2373250"/>
              <a:gd name="connsiteX19" fmla="*/ 650596 w 1804943"/>
              <a:gd name="connsiteY19" fmla="*/ 121598 h 2373250"/>
              <a:gd name="connsiteX20" fmla="*/ 624564 w 1804943"/>
              <a:gd name="connsiteY20" fmla="*/ 126995 h 2373250"/>
              <a:gd name="connsiteX21" fmla="*/ 599346 w 1804943"/>
              <a:gd name="connsiteY21" fmla="*/ 133207 h 2373250"/>
              <a:gd name="connsiteX22" fmla="*/ 574929 w 1804943"/>
              <a:gd name="connsiteY22" fmla="*/ 140218 h 2373250"/>
              <a:gd name="connsiteX23" fmla="*/ 551302 w 1804943"/>
              <a:gd name="connsiteY23" fmla="*/ 148022 h 2373250"/>
              <a:gd name="connsiteX24" fmla="*/ 528461 w 1804943"/>
              <a:gd name="connsiteY24" fmla="*/ 156617 h 2373250"/>
              <a:gd name="connsiteX25" fmla="*/ 506387 w 1804943"/>
              <a:gd name="connsiteY25" fmla="*/ 165997 h 2373250"/>
              <a:gd name="connsiteX26" fmla="*/ 485076 w 1804943"/>
              <a:gd name="connsiteY26" fmla="*/ 176146 h 2373250"/>
              <a:gd name="connsiteX27" fmla="*/ 464502 w 1804943"/>
              <a:gd name="connsiteY27" fmla="*/ 187071 h 2373250"/>
              <a:gd name="connsiteX28" fmla="*/ 425554 w 1804943"/>
              <a:gd name="connsiteY28" fmla="*/ 211204 h 2373250"/>
              <a:gd name="connsiteX29" fmla="*/ 389457 w 1804943"/>
              <a:gd name="connsiteY29" fmla="*/ 238344 h 2373250"/>
              <a:gd name="connsiteX30" fmla="*/ 356105 w 1804943"/>
              <a:gd name="connsiteY30" fmla="*/ 268436 h 2373250"/>
              <a:gd name="connsiteX31" fmla="*/ 325421 w 1804943"/>
              <a:gd name="connsiteY31" fmla="*/ 301433 h 2373250"/>
              <a:gd name="connsiteX32" fmla="*/ 297313 w 1804943"/>
              <a:gd name="connsiteY32" fmla="*/ 337284 h 2373250"/>
              <a:gd name="connsiteX33" fmla="*/ 284189 w 1804943"/>
              <a:gd name="connsiteY33" fmla="*/ 356266 h 2373250"/>
              <a:gd name="connsiteX34" fmla="*/ 274169 w 1804943"/>
              <a:gd name="connsiteY34" fmla="*/ 372027 h 2373250"/>
              <a:gd name="connsiteX35" fmla="*/ 271680 w 1804943"/>
              <a:gd name="connsiteY35" fmla="*/ 375940 h 2373250"/>
              <a:gd name="connsiteX36" fmla="*/ 259763 w 1804943"/>
              <a:gd name="connsiteY36" fmla="*/ 396306 h 2373250"/>
              <a:gd name="connsiteX37" fmla="*/ 248431 w 1804943"/>
              <a:gd name="connsiteY37" fmla="*/ 417348 h 2373250"/>
              <a:gd name="connsiteX38" fmla="*/ 237675 w 1804943"/>
              <a:gd name="connsiteY38" fmla="*/ 439077 h 2373250"/>
              <a:gd name="connsiteX39" fmla="*/ 227480 w 1804943"/>
              <a:gd name="connsiteY39" fmla="*/ 461465 h 2373250"/>
              <a:gd name="connsiteX40" fmla="*/ 217839 w 1804943"/>
              <a:gd name="connsiteY40" fmla="*/ 484522 h 2373250"/>
              <a:gd name="connsiteX41" fmla="*/ 208737 w 1804943"/>
              <a:gd name="connsiteY41" fmla="*/ 508239 h 2373250"/>
              <a:gd name="connsiteX42" fmla="*/ 200156 w 1804943"/>
              <a:gd name="connsiteY42" fmla="*/ 532604 h 2373250"/>
              <a:gd name="connsiteX43" fmla="*/ 192100 w 1804943"/>
              <a:gd name="connsiteY43" fmla="*/ 557614 h 2373250"/>
              <a:gd name="connsiteX44" fmla="*/ 184542 w 1804943"/>
              <a:gd name="connsiteY44" fmla="*/ 583262 h 2373250"/>
              <a:gd name="connsiteX45" fmla="*/ 177484 w 1804943"/>
              <a:gd name="connsiteY45" fmla="*/ 609541 h 2373250"/>
              <a:gd name="connsiteX46" fmla="*/ 170903 w 1804943"/>
              <a:gd name="connsiteY46" fmla="*/ 636450 h 2373250"/>
              <a:gd name="connsiteX47" fmla="*/ 164799 w 1804943"/>
              <a:gd name="connsiteY47" fmla="*/ 663974 h 2373250"/>
              <a:gd name="connsiteX48" fmla="*/ 159148 w 1804943"/>
              <a:gd name="connsiteY48" fmla="*/ 692121 h 2373250"/>
              <a:gd name="connsiteX49" fmla="*/ 153950 w 1804943"/>
              <a:gd name="connsiteY49" fmla="*/ 720867 h 2373250"/>
              <a:gd name="connsiteX50" fmla="*/ 149183 w 1804943"/>
              <a:gd name="connsiteY50" fmla="*/ 750212 h 2373250"/>
              <a:gd name="connsiteX51" fmla="*/ 144839 w 1804943"/>
              <a:gd name="connsiteY51" fmla="*/ 780158 h 2373250"/>
              <a:gd name="connsiteX52" fmla="*/ 140910 w 1804943"/>
              <a:gd name="connsiteY52" fmla="*/ 810689 h 2373250"/>
              <a:gd name="connsiteX53" fmla="*/ 137390 w 1804943"/>
              <a:gd name="connsiteY53" fmla="*/ 841803 h 2373250"/>
              <a:gd name="connsiteX54" fmla="*/ 134253 w 1804943"/>
              <a:gd name="connsiteY54" fmla="*/ 873494 h 2373250"/>
              <a:gd name="connsiteX55" fmla="*/ 131501 w 1804943"/>
              <a:gd name="connsiteY55" fmla="*/ 905754 h 2373250"/>
              <a:gd name="connsiteX56" fmla="*/ 129109 w 1804943"/>
              <a:gd name="connsiteY56" fmla="*/ 938575 h 2373250"/>
              <a:gd name="connsiteX57" fmla="*/ 127073 w 1804943"/>
              <a:gd name="connsiteY57" fmla="*/ 971958 h 2373250"/>
              <a:gd name="connsiteX58" fmla="*/ 125389 w 1804943"/>
              <a:gd name="connsiteY58" fmla="*/ 1005886 h 2373250"/>
              <a:gd name="connsiteX59" fmla="*/ 124027 w 1804943"/>
              <a:gd name="connsiteY59" fmla="*/ 1040360 h 2373250"/>
              <a:gd name="connsiteX60" fmla="*/ 122997 w 1804943"/>
              <a:gd name="connsiteY60" fmla="*/ 1075373 h 2373250"/>
              <a:gd name="connsiteX61" fmla="*/ 122267 w 1804943"/>
              <a:gd name="connsiteY61" fmla="*/ 1110923 h 2373250"/>
              <a:gd name="connsiteX62" fmla="*/ 121844 w 1804943"/>
              <a:gd name="connsiteY62" fmla="*/ 1146996 h 2373250"/>
              <a:gd name="connsiteX63" fmla="*/ 121706 w 1804943"/>
              <a:gd name="connsiteY63" fmla="*/ 1183585 h 2373250"/>
              <a:gd name="connsiteX64" fmla="*/ 121829 w 1804943"/>
              <a:gd name="connsiteY64" fmla="*/ 1220003 h 2373250"/>
              <a:gd name="connsiteX65" fmla="*/ 122229 w 1804943"/>
              <a:gd name="connsiteY65" fmla="*/ 1255892 h 2373250"/>
              <a:gd name="connsiteX66" fmla="*/ 122897 w 1804943"/>
              <a:gd name="connsiteY66" fmla="*/ 1291258 h 2373250"/>
              <a:gd name="connsiteX67" fmla="*/ 123850 w 1804943"/>
              <a:gd name="connsiteY67" fmla="*/ 1326087 h 2373250"/>
              <a:gd name="connsiteX68" fmla="*/ 125111 w 1804943"/>
              <a:gd name="connsiteY68" fmla="*/ 1360376 h 2373250"/>
              <a:gd name="connsiteX69" fmla="*/ 126679 w 1804943"/>
              <a:gd name="connsiteY69" fmla="*/ 1394113 h 2373250"/>
              <a:gd name="connsiteX70" fmla="*/ 128571 w 1804943"/>
              <a:gd name="connsiteY70" fmla="*/ 1427303 h 2373250"/>
              <a:gd name="connsiteX71" fmla="*/ 130802 w 1804943"/>
              <a:gd name="connsiteY71" fmla="*/ 1459939 h 2373250"/>
              <a:gd name="connsiteX72" fmla="*/ 133368 w 1804943"/>
              <a:gd name="connsiteY72" fmla="*/ 1492006 h 2373250"/>
              <a:gd name="connsiteX73" fmla="*/ 136298 w 1804943"/>
              <a:gd name="connsiteY73" fmla="*/ 1523513 h 2373250"/>
              <a:gd name="connsiteX74" fmla="*/ 139596 w 1804943"/>
              <a:gd name="connsiteY74" fmla="*/ 1554442 h 2373250"/>
              <a:gd name="connsiteX75" fmla="*/ 143271 w 1804943"/>
              <a:gd name="connsiteY75" fmla="*/ 1584796 h 2373250"/>
              <a:gd name="connsiteX76" fmla="*/ 147338 w 1804943"/>
              <a:gd name="connsiteY76" fmla="*/ 1614566 h 2373250"/>
              <a:gd name="connsiteX77" fmla="*/ 151813 w 1804943"/>
              <a:gd name="connsiteY77" fmla="*/ 1643750 h 2373250"/>
              <a:gd name="connsiteX78" fmla="*/ 156702 w 1804943"/>
              <a:gd name="connsiteY78" fmla="*/ 1672334 h 2373250"/>
              <a:gd name="connsiteX79" fmla="*/ 162015 w 1804943"/>
              <a:gd name="connsiteY79" fmla="*/ 1700320 h 2373250"/>
              <a:gd name="connsiteX80" fmla="*/ 167766 w 1804943"/>
              <a:gd name="connsiteY80" fmla="*/ 1727705 h 2373250"/>
              <a:gd name="connsiteX81" fmla="*/ 173962 w 1804943"/>
              <a:gd name="connsiteY81" fmla="*/ 1754476 h 2373250"/>
              <a:gd name="connsiteX82" fmla="*/ 180629 w 1804943"/>
              <a:gd name="connsiteY82" fmla="*/ 1780631 h 2373250"/>
              <a:gd name="connsiteX83" fmla="*/ 187755 w 1804943"/>
              <a:gd name="connsiteY83" fmla="*/ 1806164 h 2373250"/>
              <a:gd name="connsiteX84" fmla="*/ 195374 w 1804943"/>
              <a:gd name="connsiteY84" fmla="*/ 1831074 h 2373250"/>
              <a:gd name="connsiteX85" fmla="*/ 203485 w 1804943"/>
              <a:gd name="connsiteY85" fmla="*/ 1855346 h 2373250"/>
              <a:gd name="connsiteX86" fmla="*/ 212112 w 1804943"/>
              <a:gd name="connsiteY86" fmla="*/ 1878988 h 2373250"/>
              <a:gd name="connsiteX87" fmla="*/ 221245 w 1804943"/>
              <a:gd name="connsiteY87" fmla="*/ 1901983 h 2373250"/>
              <a:gd name="connsiteX88" fmla="*/ 230917 w 1804943"/>
              <a:gd name="connsiteY88" fmla="*/ 1924332 h 2373250"/>
              <a:gd name="connsiteX89" fmla="*/ 241128 w 1804943"/>
              <a:gd name="connsiteY89" fmla="*/ 1946029 h 2373250"/>
              <a:gd name="connsiteX90" fmla="*/ 251891 w 1804943"/>
              <a:gd name="connsiteY90" fmla="*/ 1967064 h 2373250"/>
              <a:gd name="connsiteX91" fmla="*/ 263216 w 1804943"/>
              <a:gd name="connsiteY91" fmla="*/ 1987430 h 2373250"/>
              <a:gd name="connsiteX92" fmla="*/ 287611 w 1804943"/>
              <a:gd name="connsiteY92" fmla="*/ 2026164 h 2373250"/>
              <a:gd name="connsiteX93" fmla="*/ 314404 w 1804943"/>
              <a:gd name="connsiteY93" fmla="*/ 2062168 h 2373250"/>
              <a:gd name="connsiteX94" fmla="*/ 343681 w 1804943"/>
              <a:gd name="connsiteY94" fmla="*/ 2095412 h 2373250"/>
              <a:gd name="connsiteX95" fmla="*/ 375541 w 1804943"/>
              <a:gd name="connsiteY95" fmla="*/ 2125849 h 2373250"/>
              <a:gd name="connsiteX96" fmla="*/ 410077 w 1804943"/>
              <a:gd name="connsiteY96" fmla="*/ 2153435 h 2373250"/>
              <a:gd name="connsiteX97" fmla="*/ 447372 w 1804943"/>
              <a:gd name="connsiteY97" fmla="*/ 2178130 h 2373250"/>
              <a:gd name="connsiteX98" fmla="*/ 487529 w 1804943"/>
              <a:gd name="connsiteY98" fmla="*/ 2199888 h 2373250"/>
              <a:gd name="connsiteX99" fmla="*/ 508702 w 1804943"/>
              <a:gd name="connsiteY99" fmla="*/ 2209652 h 2373250"/>
              <a:gd name="connsiteX100" fmla="*/ 530629 w 1804943"/>
              <a:gd name="connsiteY100" fmla="*/ 2218662 h 2373250"/>
              <a:gd name="connsiteX101" fmla="*/ 553317 w 1804943"/>
              <a:gd name="connsiteY101" fmla="*/ 2226920 h 2373250"/>
              <a:gd name="connsiteX102" fmla="*/ 576782 w 1804943"/>
              <a:gd name="connsiteY102" fmla="*/ 2234416 h 2373250"/>
              <a:gd name="connsiteX103" fmla="*/ 601022 w 1804943"/>
              <a:gd name="connsiteY103" fmla="*/ 2241150 h 2373250"/>
              <a:gd name="connsiteX104" fmla="*/ 626056 w 1804943"/>
              <a:gd name="connsiteY104" fmla="*/ 2247109 h 2373250"/>
              <a:gd name="connsiteX105" fmla="*/ 651904 w 1804943"/>
              <a:gd name="connsiteY105" fmla="*/ 2252291 h 2373250"/>
              <a:gd name="connsiteX106" fmla="*/ 678567 w 1804943"/>
              <a:gd name="connsiteY106" fmla="*/ 2256688 h 2373250"/>
              <a:gd name="connsiteX107" fmla="*/ 706061 w 1804943"/>
              <a:gd name="connsiteY107" fmla="*/ 2260301 h 2373250"/>
              <a:gd name="connsiteX108" fmla="*/ 734390 w 1804943"/>
              <a:gd name="connsiteY108" fmla="*/ 2263116 h 2373250"/>
              <a:gd name="connsiteX109" fmla="*/ 763575 w 1804943"/>
              <a:gd name="connsiteY109" fmla="*/ 2265138 h 2373250"/>
              <a:gd name="connsiteX110" fmla="*/ 793630 w 1804943"/>
              <a:gd name="connsiteY110" fmla="*/ 2266352 h 2373250"/>
              <a:gd name="connsiteX111" fmla="*/ 824551 w 1804943"/>
              <a:gd name="connsiteY111" fmla="*/ 2266760 h 2373250"/>
              <a:gd name="connsiteX112" fmla="*/ 824551 w 1804943"/>
              <a:gd name="connsiteY112" fmla="*/ 2373250 h 2373250"/>
              <a:gd name="connsiteX113" fmla="*/ 792476 w 1804943"/>
              <a:gd name="connsiteY113" fmla="*/ 2372881 h 2373250"/>
              <a:gd name="connsiteX114" fmla="*/ 761193 w 1804943"/>
              <a:gd name="connsiteY114" fmla="*/ 2371759 h 2373250"/>
              <a:gd name="connsiteX115" fmla="*/ 730694 w 1804943"/>
              <a:gd name="connsiteY115" fmla="*/ 2369898 h 2373250"/>
              <a:gd name="connsiteX116" fmla="*/ 700970 w 1804943"/>
              <a:gd name="connsiteY116" fmla="*/ 2367307 h 2373250"/>
              <a:gd name="connsiteX117" fmla="*/ 672008 w 1804943"/>
              <a:gd name="connsiteY117" fmla="*/ 2363986 h 2373250"/>
              <a:gd name="connsiteX118" fmla="*/ 643800 w 1804943"/>
              <a:gd name="connsiteY118" fmla="*/ 2359941 h 2373250"/>
              <a:gd name="connsiteX119" fmla="*/ 616345 w 1804943"/>
              <a:gd name="connsiteY119" fmla="*/ 2355175 h 2373250"/>
              <a:gd name="connsiteX120" fmla="*/ 589621 w 1804943"/>
              <a:gd name="connsiteY120" fmla="*/ 2349701 h 2373250"/>
              <a:gd name="connsiteX121" fmla="*/ 563635 w 1804943"/>
              <a:gd name="connsiteY121" fmla="*/ 2343519 h 2373250"/>
              <a:gd name="connsiteX122" fmla="*/ 538363 w 1804943"/>
              <a:gd name="connsiteY122" fmla="*/ 2336631 h 2373250"/>
              <a:gd name="connsiteX123" fmla="*/ 513800 w 1804943"/>
              <a:gd name="connsiteY123" fmla="*/ 2329050 h 2373250"/>
              <a:gd name="connsiteX124" fmla="*/ 489950 w 1804943"/>
              <a:gd name="connsiteY124" fmla="*/ 2320785 h 2373250"/>
              <a:gd name="connsiteX125" fmla="*/ 466785 w 1804943"/>
              <a:gd name="connsiteY125" fmla="*/ 2311829 h 2373250"/>
              <a:gd name="connsiteX126" fmla="*/ 444312 w 1804943"/>
              <a:gd name="connsiteY126" fmla="*/ 2302195 h 2373250"/>
              <a:gd name="connsiteX127" fmla="*/ 422516 w 1804943"/>
              <a:gd name="connsiteY127" fmla="*/ 2291885 h 2373250"/>
              <a:gd name="connsiteX128" fmla="*/ 401389 w 1804943"/>
              <a:gd name="connsiteY128" fmla="*/ 2280906 h 2373250"/>
              <a:gd name="connsiteX129" fmla="*/ 380915 w 1804943"/>
              <a:gd name="connsiteY129" fmla="*/ 2269266 h 2373250"/>
              <a:gd name="connsiteX130" fmla="*/ 361094 w 1804943"/>
              <a:gd name="connsiteY130" fmla="*/ 2256965 h 2373250"/>
              <a:gd name="connsiteX131" fmla="*/ 341921 w 1804943"/>
              <a:gd name="connsiteY131" fmla="*/ 2244018 h 2373250"/>
              <a:gd name="connsiteX132" fmla="*/ 305456 w 1804943"/>
              <a:gd name="connsiteY132" fmla="*/ 2216179 h 2373250"/>
              <a:gd name="connsiteX133" fmla="*/ 271450 w 1804943"/>
              <a:gd name="connsiteY133" fmla="*/ 2185803 h 2373250"/>
              <a:gd name="connsiteX134" fmla="*/ 239844 w 1804943"/>
              <a:gd name="connsiteY134" fmla="*/ 2152920 h 2373250"/>
              <a:gd name="connsiteX135" fmla="*/ 210559 w 1804943"/>
              <a:gd name="connsiteY135" fmla="*/ 2117584 h 2373250"/>
              <a:gd name="connsiteX136" fmla="*/ 196759 w 1804943"/>
              <a:gd name="connsiteY136" fmla="*/ 2099010 h 2373250"/>
              <a:gd name="connsiteX137" fmla="*/ 183519 w 1804943"/>
              <a:gd name="connsiteY137" fmla="*/ 2079843 h 2373250"/>
              <a:gd name="connsiteX138" fmla="*/ 170826 w 1804943"/>
              <a:gd name="connsiteY138" fmla="*/ 2060076 h 2373250"/>
              <a:gd name="connsiteX139" fmla="*/ 158670 w 1804943"/>
              <a:gd name="connsiteY139" fmla="*/ 2039725 h 2373250"/>
              <a:gd name="connsiteX140" fmla="*/ 147039 w 1804943"/>
              <a:gd name="connsiteY140" fmla="*/ 2018790 h 2373250"/>
              <a:gd name="connsiteX141" fmla="*/ 135929 w 1804943"/>
              <a:gd name="connsiteY141" fmla="*/ 1997286 h 2373250"/>
              <a:gd name="connsiteX142" fmla="*/ 125326 w 1804943"/>
              <a:gd name="connsiteY142" fmla="*/ 1975206 h 2373250"/>
              <a:gd name="connsiteX143" fmla="*/ 115224 w 1804943"/>
              <a:gd name="connsiteY143" fmla="*/ 1952564 h 2373250"/>
              <a:gd name="connsiteX144" fmla="*/ 105621 w 1804943"/>
              <a:gd name="connsiteY144" fmla="*/ 1929369 h 2373250"/>
              <a:gd name="connsiteX145" fmla="*/ 96495 w 1804943"/>
              <a:gd name="connsiteY145" fmla="*/ 1905612 h 2373250"/>
              <a:gd name="connsiteX146" fmla="*/ 87846 w 1804943"/>
              <a:gd name="connsiteY146" fmla="*/ 1881309 h 2373250"/>
              <a:gd name="connsiteX147" fmla="*/ 79666 w 1804943"/>
              <a:gd name="connsiteY147" fmla="*/ 1856461 h 2373250"/>
              <a:gd name="connsiteX148" fmla="*/ 71947 w 1804943"/>
              <a:gd name="connsiteY148" fmla="*/ 1831082 h 2373250"/>
              <a:gd name="connsiteX149" fmla="*/ 64675 w 1804943"/>
              <a:gd name="connsiteY149" fmla="*/ 1805165 h 2373250"/>
              <a:gd name="connsiteX150" fmla="*/ 57839 w 1804943"/>
              <a:gd name="connsiteY150" fmla="*/ 1778725 h 2373250"/>
              <a:gd name="connsiteX151" fmla="*/ 51435 w 1804943"/>
              <a:gd name="connsiteY151" fmla="*/ 1751762 h 2373250"/>
              <a:gd name="connsiteX152" fmla="*/ 45461 w 1804943"/>
              <a:gd name="connsiteY152" fmla="*/ 1724284 h 2373250"/>
              <a:gd name="connsiteX153" fmla="*/ 39895 w 1804943"/>
              <a:gd name="connsiteY153" fmla="*/ 1696292 h 2373250"/>
              <a:gd name="connsiteX154" fmla="*/ 34736 w 1804943"/>
              <a:gd name="connsiteY154" fmla="*/ 1667799 h 2373250"/>
              <a:gd name="connsiteX155" fmla="*/ 29969 w 1804943"/>
              <a:gd name="connsiteY155" fmla="*/ 1638806 h 2373250"/>
              <a:gd name="connsiteX156" fmla="*/ 25595 w 1804943"/>
              <a:gd name="connsiteY156" fmla="*/ 1609322 h 2373250"/>
              <a:gd name="connsiteX157" fmla="*/ 21597 w 1804943"/>
              <a:gd name="connsiteY157" fmla="*/ 1579352 h 2373250"/>
              <a:gd name="connsiteX158" fmla="*/ 17967 w 1804943"/>
              <a:gd name="connsiteY158" fmla="*/ 1548893 h 2373250"/>
              <a:gd name="connsiteX159" fmla="*/ 14708 w 1804943"/>
              <a:gd name="connsiteY159" fmla="*/ 1517963 h 2373250"/>
              <a:gd name="connsiteX160" fmla="*/ 11794 w 1804943"/>
              <a:gd name="connsiteY160" fmla="*/ 1486556 h 2373250"/>
              <a:gd name="connsiteX161" fmla="*/ 9226 w 1804943"/>
              <a:gd name="connsiteY161" fmla="*/ 1454681 h 2373250"/>
              <a:gd name="connsiteX162" fmla="*/ 6989 w 1804943"/>
              <a:gd name="connsiteY162" fmla="*/ 1422351 h 2373250"/>
              <a:gd name="connsiteX163" fmla="*/ 5082 w 1804943"/>
              <a:gd name="connsiteY163" fmla="*/ 1389569 h 2373250"/>
              <a:gd name="connsiteX164" fmla="*/ 3490 w 1804943"/>
              <a:gd name="connsiteY164" fmla="*/ 1356325 h 2373250"/>
              <a:gd name="connsiteX165" fmla="*/ 2206 w 1804943"/>
              <a:gd name="connsiteY165" fmla="*/ 1322649 h 2373250"/>
              <a:gd name="connsiteX166" fmla="*/ 1230 w 1804943"/>
              <a:gd name="connsiteY166" fmla="*/ 1288530 h 2373250"/>
              <a:gd name="connsiteX167" fmla="*/ 540 w 1804943"/>
              <a:gd name="connsiteY167" fmla="*/ 1253971 h 2373250"/>
              <a:gd name="connsiteX168" fmla="*/ 132 w 1804943"/>
              <a:gd name="connsiteY168" fmla="*/ 1218989 h 2373250"/>
              <a:gd name="connsiteX169" fmla="*/ 0 w 1804943"/>
              <a:gd name="connsiteY169" fmla="*/ 1183585 h 2373250"/>
              <a:gd name="connsiteX170" fmla="*/ 132 w 1804943"/>
              <a:gd name="connsiteY170" fmla="*/ 1148334 h 2373250"/>
              <a:gd name="connsiteX171" fmla="*/ 546 w 1804943"/>
              <a:gd name="connsiteY171" fmla="*/ 1113498 h 2373250"/>
              <a:gd name="connsiteX172" fmla="*/ 1254 w 1804943"/>
              <a:gd name="connsiteY172" fmla="*/ 1079094 h 2373250"/>
              <a:gd name="connsiteX173" fmla="*/ 2246 w 1804943"/>
              <a:gd name="connsiteY173" fmla="*/ 1045127 h 2373250"/>
              <a:gd name="connsiteX174" fmla="*/ 3544 w 1804943"/>
              <a:gd name="connsiteY174" fmla="*/ 1011590 h 2373250"/>
              <a:gd name="connsiteX175" fmla="*/ 5159 w 1804943"/>
              <a:gd name="connsiteY175" fmla="*/ 978500 h 2373250"/>
              <a:gd name="connsiteX176" fmla="*/ 7096 w 1804943"/>
              <a:gd name="connsiteY176" fmla="*/ 945863 h 2373250"/>
              <a:gd name="connsiteX177" fmla="*/ 9356 w 1804943"/>
              <a:gd name="connsiteY177" fmla="*/ 913681 h 2373250"/>
              <a:gd name="connsiteX178" fmla="*/ 11964 w 1804943"/>
              <a:gd name="connsiteY178" fmla="*/ 881951 h 2373250"/>
              <a:gd name="connsiteX179" fmla="*/ 14909 w 1804943"/>
              <a:gd name="connsiteY179" fmla="*/ 850691 h 2373250"/>
              <a:gd name="connsiteX180" fmla="*/ 18214 w 1804943"/>
              <a:gd name="connsiteY180" fmla="*/ 819907 h 2373250"/>
              <a:gd name="connsiteX181" fmla="*/ 21881 w 1804943"/>
              <a:gd name="connsiteY181" fmla="*/ 789592 h 2373250"/>
              <a:gd name="connsiteX182" fmla="*/ 25917 w 1804943"/>
              <a:gd name="connsiteY182" fmla="*/ 759762 h 2373250"/>
              <a:gd name="connsiteX183" fmla="*/ 30338 w 1804943"/>
              <a:gd name="connsiteY183" fmla="*/ 730423 h 2373250"/>
              <a:gd name="connsiteX184" fmla="*/ 35152 w 1804943"/>
              <a:gd name="connsiteY184" fmla="*/ 701569 h 2373250"/>
              <a:gd name="connsiteX185" fmla="*/ 40356 w 1804943"/>
              <a:gd name="connsiteY185" fmla="*/ 673215 h 2373250"/>
              <a:gd name="connsiteX186" fmla="*/ 45968 w 1804943"/>
              <a:gd name="connsiteY186" fmla="*/ 645368 h 2373250"/>
              <a:gd name="connsiteX187" fmla="*/ 51996 w 1804943"/>
              <a:gd name="connsiteY187" fmla="*/ 618029 h 2373250"/>
              <a:gd name="connsiteX188" fmla="*/ 58446 w 1804943"/>
              <a:gd name="connsiteY188" fmla="*/ 591204 h 2373250"/>
              <a:gd name="connsiteX189" fmla="*/ 65335 w 1804943"/>
              <a:gd name="connsiteY189" fmla="*/ 564895 h 2373250"/>
              <a:gd name="connsiteX190" fmla="*/ 72655 w 1804943"/>
              <a:gd name="connsiteY190" fmla="*/ 539109 h 2373250"/>
              <a:gd name="connsiteX191" fmla="*/ 80428 w 1804943"/>
              <a:gd name="connsiteY191" fmla="*/ 513860 h 2373250"/>
              <a:gd name="connsiteX192" fmla="*/ 88661 w 1804943"/>
              <a:gd name="connsiteY192" fmla="*/ 489142 h 2373250"/>
              <a:gd name="connsiteX193" fmla="*/ 97358 w 1804943"/>
              <a:gd name="connsiteY193" fmla="*/ 464962 h 2373250"/>
              <a:gd name="connsiteX194" fmla="*/ 106521 w 1804943"/>
              <a:gd name="connsiteY194" fmla="*/ 441336 h 2373250"/>
              <a:gd name="connsiteX195" fmla="*/ 116178 w 1804943"/>
              <a:gd name="connsiteY195" fmla="*/ 418257 h 2373250"/>
              <a:gd name="connsiteX196" fmla="*/ 126320 w 1804943"/>
              <a:gd name="connsiteY196" fmla="*/ 395738 h 2373250"/>
              <a:gd name="connsiteX197" fmla="*/ 136966 w 1804943"/>
              <a:gd name="connsiteY197" fmla="*/ 373780 h 2373250"/>
              <a:gd name="connsiteX198" fmla="*/ 137880 w 1804943"/>
              <a:gd name="connsiteY198" fmla="*/ 372027 h 2373250"/>
              <a:gd name="connsiteX199" fmla="*/ 137881 w 1804943"/>
              <a:gd name="connsiteY199" fmla="*/ 372027 h 2373250"/>
              <a:gd name="connsiteX200" fmla="*/ 148122 w 1804943"/>
              <a:gd name="connsiteY200" fmla="*/ 352391 h 2373250"/>
              <a:gd name="connsiteX201" fmla="*/ 159787 w 1804943"/>
              <a:gd name="connsiteY201" fmla="*/ 331571 h 2373250"/>
              <a:gd name="connsiteX202" fmla="*/ 171988 w 1804943"/>
              <a:gd name="connsiteY202" fmla="*/ 311336 h 2373250"/>
              <a:gd name="connsiteX203" fmla="*/ 184719 w 1804943"/>
              <a:gd name="connsiteY203" fmla="*/ 291677 h 2373250"/>
              <a:gd name="connsiteX204" fmla="*/ 197988 w 1804943"/>
              <a:gd name="connsiteY204" fmla="*/ 272618 h 2373250"/>
              <a:gd name="connsiteX205" fmla="*/ 211812 w 1804943"/>
              <a:gd name="connsiteY205" fmla="*/ 254143 h 2373250"/>
              <a:gd name="connsiteX206" fmla="*/ 241142 w 1804943"/>
              <a:gd name="connsiteY206" fmla="*/ 219015 h 2373250"/>
              <a:gd name="connsiteX207" fmla="*/ 272787 w 1804943"/>
              <a:gd name="connsiteY207" fmla="*/ 186325 h 2373250"/>
              <a:gd name="connsiteX208" fmla="*/ 306808 w 1804943"/>
              <a:gd name="connsiteY208" fmla="*/ 156118 h 2373250"/>
              <a:gd name="connsiteX209" fmla="*/ 343266 w 1804943"/>
              <a:gd name="connsiteY209" fmla="*/ 128447 h 2373250"/>
              <a:gd name="connsiteX210" fmla="*/ 362432 w 1804943"/>
              <a:gd name="connsiteY210" fmla="*/ 115578 h 2373250"/>
              <a:gd name="connsiteX211" fmla="*/ 382237 w 1804943"/>
              <a:gd name="connsiteY211" fmla="*/ 103346 h 2373250"/>
              <a:gd name="connsiteX212" fmla="*/ 402689 w 1804943"/>
              <a:gd name="connsiteY212" fmla="*/ 91775 h 2373250"/>
              <a:gd name="connsiteX213" fmla="*/ 423793 w 1804943"/>
              <a:gd name="connsiteY213" fmla="*/ 80865 h 2373250"/>
              <a:gd name="connsiteX214" fmla="*/ 445558 w 1804943"/>
              <a:gd name="connsiteY214" fmla="*/ 70617 h 2373250"/>
              <a:gd name="connsiteX215" fmla="*/ 467992 w 1804943"/>
              <a:gd name="connsiteY215" fmla="*/ 61045 h 2373250"/>
              <a:gd name="connsiteX216" fmla="*/ 491103 w 1804943"/>
              <a:gd name="connsiteY216" fmla="*/ 52142 h 2373250"/>
              <a:gd name="connsiteX217" fmla="*/ 514906 w 1804943"/>
              <a:gd name="connsiteY217" fmla="*/ 43923 h 2373250"/>
              <a:gd name="connsiteX218" fmla="*/ 539409 w 1804943"/>
              <a:gd name="connsiteY218" fmla="*/ 36389 h 2373250"/>
              <a:gd name="connsiteX219" fmla="*/ 564612 w 1804943"/>
              <a:gd name="connsiteY219" fmla="*/ 29553 h 2373250"/>
              <a:gd name="connsiteX220" fmla="*/ 590528 w 1804943"/>
              <a:gd name="connsiteY220" fmla="*/ 23403 h 2373250"/>
              <a:gd name="connsiteX221" fmla="*/ 617160 w 1804943"/>
              <a:gd name="connsiteY221" fmla="*/ 17967 h 2373250"/>
              <a:gd name="connsiteX222" fmla="*/ 644530 w 1804943"/>
              <a:gd name="connsiteY222" fmla="*/ 13231 h 2373250"/>
              <a:gd name="connsiteX223" fmla="*/ 672639 w 1804943"/>
              <a:gd name="connsiteY223" fmla="*/ 9210 h 2373250"/>
              <a:gd name="connsiteX224" fmla="*/ 701494 w 1804943"/>
              <a:gd name="connsiteY224" fmla="*/ 5912 h 2373250"/>
              <a:gd name="connsiteX225" fmla="*/ 731100 w 1804943"/>
              <a:gd name="connsiteY225" fmla="*/ 3336 h 2373250"/>
              <a:gd name="connsiteX226" fmla="*/ 761477 w 1804943"/>
              <a:gd name="connsiteY226" fmla="*/ 1484 h 2373250"/>
              <a:gd name="connsiteX227" fmla="*/ 792621 w 1804943"/>
              <a:gd name="connsiteY227" fmla="*/ 377 h 23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804943" h="2373250">
                <a:moveTo>
                  <a:pt x="1135564" y="15338"/>
                </a:moveTo>
                <a:lnTo>
                  <a:pt x="1804943" y="15338"/>
                </a:lnTo>
                <a:lnTo>
                  <a:pt x="1804943" y="121436"/>
                </a:lnTo>
                <a:lnTo>
                  <a:pt x="1260314" y="121436"/>
                </a:lnTo>
                <a:lnTo>
                  <a:pt x="1260314" y="372027"/>
                </a:lnTo>
                <a:lnTo>
                  <a:pt x="1260314" y="2258004"/>
                </a:lnTo>
                <a:lnTo>
                  <a:pt x="1804943" y="2258004"/>
                </a:lnTo>
                <a:lnTo>
                  <a:pt x="1804943" y="2364102"/>
                </a:lnTo>
                <a:lnTo>
                  <a:pt x="1135564" y="2364102"/>
                </a:lnTo>
                <a:lnTo>
                  <a:pt x="1135564" y="2258004"/>
                </a:lnTo>
                <a:lnTo>
                  <a:pt x="1135564" y="372027"/>
                </a:lnTo>
                <a:lnTo>
                  <a:pt x="1135564" y="121436"/>
                </a:lnTo>
                <a:close/>
                <a:moveTo>
                  <a:pt x="824551" y="0"/>
                </a:moveTo>
                <a:lnTo>
                  <a:pt x="824551" y="106498"/>
                </a:lnTo>
                <a:lnTo>
                  <a:pt x="793382" y="106920"/>
                </a:lnTo>
                <a:lnTo>
                  <a:pt x="763107" y="108189"/>
                </a:lnTo>
                <a:lnTo>
                  <a:pt x="733699" y="110296"/>
                </a:lnTo>
                <a:lnTo>
                  <a:pt x="705152" y="113240"/>
                </a:lnTo>
                <a:lnTo>
                  <a:pt x="677451" y="117008"/>
                </a:lnTo>
                <a:lnTo>
                  <a:pt x="650596" y="121598"/>
                </a:lnTo>
                <a:lnTo>
                  <a:pt x="624564" y="126995"/>
                </a:lnTo>
                <a:lnTo>
                  <a:pt x="599346" y="133207"/>
                </a:lnTo>
                <a:lnTo>
                  <a:pt x="574929" y="140218"/>
                </a:lnTo>
                <a:lnTo>
                  <a:pt x="551302" y="148022"/>
                </a:lnTo>
                <a:lnTo>
                  <a:pt x="528461" y="156617"/>
                </a:lnTo>
                <a:lnTo>
                  <a:pt x="506387" y="165997"/>
                </a:lnTo>
                <a:lnTo>
                  <a:pt x="485076" y="176146"/>
                </a:lnTo>
                <a:lnTo>
                  <a:pt x="464502" y="187071"/>
                </a:lnTo>
                <a:lnTo>
                  <a:pt x="425554" y="211204"/>
                </a:lnTo>
                <a:lnTo>
                  <a:pt x="389457" y="238344"/>
                </a:lnTo>
                <a:lnTo>
                  <a:pt x="356105" y="268436"/>
                </a:lnTo>
                <a:lnTo>
                  <a:pt x="325421" y="301433"/>
                </a:lnTo>
                <a:lnTo>
                  <a:pt x="297313" y="337284"/>
                </a:lnTo>
                <a:lnTo>
                  <a:pt x="284189" y="356266"/>
                </a:lnTo>
                <a:lnTo>
                  <a:pt x="274169" y="372027"/>
                </a:lnTo>
                <a:lnTo>
                  <a:pt x="271680" y="375940"/>
                </a:lnTo>
                <a:lnTo>
                  <a:pt x="259763" y="396306"/>
                </a:lnTo>
                <a:lnTo>
                  <a:pt x="248431" y="417348"/>
                </a:lnTo>
                <a:lnTo>
                  <a:pt x="237675" y="439077"/>
                </a:lnTo>
                <a:lnTo>
                  <a:pt x="227480" y="461465"/>
                </a:lnTo>
                <a:lnTo>
                  <a:pt x="217839" y="484522"/>
                </a:lnTo>
                <a:lnTo>
                  <a:pt x="208737" y="508239"/>
                </a:lnTo>
                <a:lnTo>
                  <a:pt x="200156" y="532604"/>
                </a:lnTo>
                <a:lnTo>
                  <a:pt x="192100" y="557614"/>
                </a:lnTo>
                <a:lnTo>
                  <a:pt x="184542" y="583262"/>
                </a:lnTo>
                <a:lnTo>
                  <a:pt x="177484" y="609541"/>
                </a:lnTo>
                <a:lnTo>
                  <a:pt x="170903" y="636450"/>
                </a:lnTo>
                <a:lnTo>
                  <a:pt x="164799" y="663974"/>
                </a:lnTo>
                <a:lnTo>
                  <a:pt x="159148" y="692121"/>
                </a:lnTo>
                <a:lnTo>
                  <a:pt x="153950" y="720867"/>
                </a:lnTo>
                <a:lnTo>
                  <a:pt x="149183" y="750212"/>
                </a:lnTo>
                <a:lnTo>
                  <a:pt x="144839" y="780158"/>
                </a:lnTo>
                <a:lnTo>
                  <a:pt x="140910" y="810689"/>
                </a:lnTo>
                <a:lnTo>
                  <a:pt x="137390" y="841803"/>
                </a:lnTo>
                <a:lnTo>
                  <a:pt x="134253" y="873494"/>
                </a:lnTo>
                <a:lnTo>
                  <a:pt x="131501" y="905754"/>
                </a:lnTo>
                <a:lnTo>
                  <a:pt x="129109" y="938575"/>
                </a:lnTo>
                <a:lnTo>
                  <a:pt x="127073" y="971958"/>
                </a:lnTo>
                <a:lnTo>
                  <a:pt x="125389" y="1005886"/>
                </a:lnTo>
                <a:lnTo>
                  <a:pt x="124027" y="1040360"/>
                </a:lnTo>
                <a:lnTo>
                  <a:pt x="122997" y="1075373"/>
                </a:lnTo>
                <a:lnTo>
                  <a:pt x="122267" y="1110923"/>
                </a:lnTo>
                <a:lnTo>
                  <a:pt x="121844" y="1146996"/>
                </a:lnTo>
                <a:lnTo>
                  <a:pt x="121706" y="1183585"/>
                </a:lnTo>
                <a:lnTo>
                  <a:pt x="121829" y="1220003"/>
                </a:lnTo>
                <a:lnTo>
                  <a:pt x="122229" y="1255892"/>
                </a:lnTo>
                <a:lnTo>
                  <a:pt x="122897" y="1291258"/>
                </a:lnTo>
                <a:lnTo>
                  <a:pt x="123850" y="1326087"/>
                </a:lnTo>
                <a:lnTo>
                  <a:pt x="125111" y="1360376"/>
                </a:lnTo>
                <a:lnTo>
                  <a:pt x="126679" y="1394113"/>
                </a:lnTo>
                <a:lnTo>
                  <a:pt x="128571" y="1427303"/>
                </a:lnTo>
                <a:lnTo>
                  <a:pt x="130802" y="1459939"/>
                </a:lnTo>
                <a:lnTo>
                  <a:pt x="133368" y="1492006"/>
                </a:lnTo>
                <a:lnTo>
                  <a:pt x="136298" y="1523513"/>
                </a:lnTo>
                <a:lnTo>
                  <a:pt x="139596" y="1554442"/>
                </a:lnTo>
                <a:lnTo>
                  <a:pt x="143271" y="1584796"/>
                </a:lnTo>
                <a:lnTo>
                  <a:pt x="147338" y="1614566"/>
                </a:lnTo>
                <a:lnTo>
                  <a:pt x="151813" y="1643750"/>
                </a:lnTo>
                <a:lnTo>
                  <a:pt x="156702" y="1672334"/>
                </a:lnTo>
                <a:lnTo>
                  <a:pt x="162015" y="1700320"/>
                </a:lnTo>
                <a:lnTo>
                  <a:pt x="167766" y="1727705"/>
                </a:lnTo>
                <a:lnTo>
                  <a:pt x="173962" y="1754476"/>
                </a:lnTo>
                <a:lnTo>
                  <a:pt x="180629" y="1780631"/>
                </a:lnTo>
                <a:lnTo>
                  <a:pt x="187755" y="1806164"/>
                </a:lnTo>
                <a:lnTo>
                  <a:pt x="195374" y="1831074"/>
                </a:lnTo>
                <a:lnTo>
                  <a:pt x="203485" y="1855346"/>
                </a:lnTo>
                <a:lnTo>
                  <a:pt x="212112" y="1878988"/>
                </a:lnTo>
                <a:lnTo>
                  <a:pt x="221245" y="1901983"/>
                </a:lnTo>
                <a:lnTo>
                  <a:pt x="230917" y="1924332"/>
                </a:lnTo>
                <a:lnTo>
                  <a:pt x="241128" y="1946029"/>
                </a:lnTo>
                <a:lnTo>
                  <a:pt x="251891" y="1967064"/>
                </a:lnTo>
                <a:lnTo>
                  <a:pt x="263216" y="1987430"/>
                </a:lnTo>
                <a:lnTo>
                  <a:pt x="287611" y="2026164"/>
                </a:lnTo>
                <a:lnTo>
                  <a:pt x="314404" y="2062168"/>
                </a:lnTo>
                <a:lnTo>
                  <a:pt x="343681" y="2095412"/>
                </a:lnTo>
                <a:lnTo>
                  <a:pt x="375541" y="2125849"/>
                </a:lnTo>
                <a:lnTo>
                  <a:pt x="410077" y="2153435"/>
                </a:lnTo>
                <a:lnTo>
                  <a:pt x="447372" y="2178130"/>
                </a:lnTo>
                <a:lnTo>
                  <a:pt x="487529" y="2199888"/>
                </a:lnTo>
                <a:lnTo>
                  <a:pt x="508702" y="2209652"/>
                </a:lnTo>
                <a:lnTo>
                  <a:pt x="530629" y="2218662"/>
                </a:lnTo>
                <a:lnTo>
                  <a:pt x="553317" y="2226920"/>
                </a:lnTo>
                <a:lnTo>
                  <a:pt x="576782" y="2234416"/>
                </a:lnTo>
                <a:lnTo>
                  <a:pt x="601022" y="2241150"/>
                </a:lnTo>
                <a:lnTo>
                  <a:pt x="626056" y="2247109"/>
                </a:lnTo>
                <a:lnTo>
                  <a:pt x="651904" y="2252291"/>
                </a:lnTo>
                <a:lnTo>
                  <a:pt x="678567" y="2256688"/>
                </a:lnTo>
                <a:lnTo>
                  <a:pt x="706061" y="2260301"/>
                </a:lnTo>
                <a:lnTo>
                  <a:pt x="734390" y="2263116"/>
                </a:lnTo>
                <a:lnTo>
                  <a:pt x="763575" y="2265138"/>
                </a:lnTo>
                <a:lnTo>
                  <a:pt x="793630" y="2266352"/>
                </a:lnTo>
                <a:lnTo>
                  <a:pt x="824551" y="2266760"/>
                </a:lnTo>
                <a:lnTo>
                  <a:pt x="824551" y="2373250"/>
                </a:lnTo>
                <a:lnTo>
                  <a:pt x="792476" y="2372881"/>
                </a:lnTo>
                <a:lnTo>
                  <a:pt x="761193" y="2371759"/>
                </a:lnTo>
                <a:lnTo>
                  <a:pt x="730694" y="2369898"/>
                </a:lnTo>
                <a:lnTo>
                  <a:pt x="700970" y="2367307"/>
                </a:lnTo>
                <a:lnTo>
                  <a:pt x="672008" y="2363986"/>
                </a:lnTo>
                <a:lnTo>
                  <a:pt x="643800" y="2359941"/>
                </a:lnTo>
                <a:lnTo>
                  <a:pt x="616345" y="2355175"/>
                </a:lnTo>
                <a:lnTo>
                  <a:pt x="589621" y="2349701"/>
                </a:lnTo>
                <a:lnTo>
                  <a:pt x="563635" y="2343519"/>
                </a:lnTo>
                <a:lnTo>
                  <a:pt x="538363" y="2336631"/>
                </a:lnTo>
                <a:lnTo>
                  <a:pt x="513800" y="2329050"/>
                </a:lnTo>
                <a:lnTo>
                  <a:pt x="489950" y="2320785"/>
                </a:lnTo>
                <a:lnTo>
                  <a:pt x="466785" y="2311829"/>
                </a:lnTo>
                <a:lnTo>
                  <a:pt x="444312" y="2302195"/>
                </a:lnTo>
                <a:lnTo>
                  <a:pt x="422516" y="2291885"/>
                </a:lnTo>
                <a:lnTo>
                  <a:pt x="401389" y="2280906"/>
                </a:lnTo>
                <a:lnTo>
                  <a:pt x="380915" y="2269266"/>
                </a:lnTo>
                <a:lnTo>
                  <a:pt x="361094" y="2256965"/>
                </a:lnTo>
                <a:lnTo>
                  <a:pt x="341921" y="2244018"/>
                </a:lnTo>
                <a:lnTo>
                  <a:pt x="305456" y="2216179"/>
                </a:lnTo>
                <a:lnTo>
                  <a:pt x="271450" y="2185803"/>
                </a:lnTo>
                <a:lnTo>
                  <a:pt x="239844" y="2152920"/>
                </a:lnTo>
                <a:lnTo>
                  <a:pt x="210559" y="2117584"/>
                </a:lnTo>
                <a:lnTo>
                  <a:pt x="196759" y="2099010"/>
                </a:lnTo>
                <a:lnTo>
                  <a:pt x="183519" y="2079843"/>
                </a:lnTo>
                <a:lnTo>
                  <a:pt x="170826" y="2060076"/>
                </a:lnTo>
                <a:lnTo>
                  <a:pt x="158670" y="2039725"/>
                </a:lnTo>
                <a:lnTo>
                  <a:pt x="147039" y="2018790"/>
                </a:lnTo>
                <a:lnTo>
                  <a:pt x="135929" y="1997286"/>
                </a:lnTo>
                <a:lnTo>
                  <a:pt x="125326" y="1975206"/>
                </a:lnTo>
                <a:lnTo>
                  <a:pt x="115224" y="1952564"/>
                </a:lnTo>
                <a:lnTo>
                  <a:pt x="105621" y="1929369"/>
                </a:lnTo>
                <a:lnTo>
                  <a:pt x="96495" y="1905612"/>
                </a:lnTo>
                <a:lnTo>
                  <a:pt x="87846" y="1881309"/>
                </a:lnTo>
                <a:lnTo>
                  <a:pt x="79666" y="1856461"/>
                </a:lnTo>
                <a:lnTo>
                  <a:pt x="71947" y="1831082"/>
                </a:lnTo>
                <a:lnTo>
                  <a:pt x="64675" y="1805165"/>
                </a:lnTo>
                <a:lnTo>
                  <a:pt x="57839" y="1778725"/>
                </a:lnTo>
                <a:lnTo>
                  <a:pt x="51435" y="1751762"/>
                </a:lnTo>
                <a:lnTo>
                  <a:pt x="45461" y="1724284"/>
                </a:lnTo>
                <a:lnTo>
                  <a:pt x="39895" y="1696292"/>
                </a:lnTo>
                <a:lnTo>
                  <a:pt x="34736" y="1667799"/>
                </a:lnTo>
                <a:lnTo>
                  <a:pt x="29969" y="1638806"/>
                </a:lnTo>
                <a:lnTo>
                  <a:pt x="25595" y="1609322"/>
                </a:lnTo>
                <a:lnTo>
                  <a:pt x="21597" y="1579352"/>
                </a:lnTo>
                <a:lnTo>
                  <a:pt x="17967" y="1548893"/>
                </a:lnTo>
                <a:lnTo>
                  <a:pt x="14708" y="1517963"/>
                </a:lnTo>
                <a:lnTo>
                  <a:pt x="11794" y="1486556"/>
                </a:lnTo>
                <a:lnTo>
                  <a:pt x="9226" y="1454681"/>
                </a:lnTo>
                <a:lnTo>
                  <a:pt x="6989" y="1422351"/>
                </a:lnTo>
                <a:lnTo>
                  <a:pt x="5082" y="1389569"/>
                </a:lnTo>
                <a:lnTo>
                  <a:pt x="3490" y="1356325"/>
                </a:lnTo>
                <a:lnTo>
                  <a:pt x="2206" y="1322649"/>
                </a:lnTo>
                <a:lnTo>
                  <a:pt x="1230" y="1288530"/>
                </a:lnTo>
                <a:lnTo>
                  <a:pt x="540" y="1253971"/>
                </a:lnTo>
                <a:lnTo>
                  <a:pt x="132" y="1218989"/>
                </a:lnTo>
                <a:lnTo>
                  <a:pt x="0" y="1183585"/>
                </a:lnTo>
                <a:lnTo>
                  <a:pt x="132" y="1148334"/>
                </a:lnTo>
                <a:lnTo>
                  <a:pt x="546" y="1113498"/>
                </a:lnTo>
                <a:lnTo>
                  <a:pt x="1254" y="1079094"/>
                </a:lnTo>
                <a:lnTo>
                  <a:pt x="2246" y="1045127"/>
                </a:lnTo>
                <a:lnTo>
                  <a:pt x="3544" y="1011590"/>
                </a:lnTo>
                <a:lnTo>
                  <a:pt x="5159" y="978500"/>
                </a:lnTo>
                <a:lnTo>
                  <a:pt x="7096" y="945863"/>
                </a:lnTo>
                <a:lnTo>
                  <a:pt x="9356" y="913681"/>
                </a:lnTo>
                <a:lnTo>
                  <a:pt x="11964" y="881951"/>
                </a:lnTo>
                <a:lnTo>
                  <a:pt x="14909" y="850691"/>
                </a:lnTo>
                <a:lnTo>
                  <a:pt x="18214" y="819907"/>
                </a:lnTo>
                <a:lnTo>
                  <a:pt x="21881" y="789592"/>
                </a:lnTo>
                <a:lnTo>
                  <a:pt x="25917" y="759762"/>
                </a:lnTo>
                <a:lnTo>
                  <a:pt x="30338" y="730423"/>
                </a:lnTo>
                <a:lnTo>
                  <a:pt x="35152" y="701569"/>
                </a:lnTo>
                <a:lnTo>
                  <a:pt x="40356" y="673215"/>
                </a:lnTo>
                <a:lnTo>
                  <a:pt x="45968" y="645368"/>
                </a:lnTo>
                <a:lnTo>
                  <a:pt x="51996" y="618029"/>
                </a:lnTo>
                <a:lnTo>
                  <a:pt x="58446" y="591204"/>
                </a:lnTo>
                <a:lnTo>
                  <a:pt x="65335" y="564895"/>
                </a:lnTo>
                <a:lnTo>
                  <a:pt x="72655" y="539109"/>
                </a:lnTo>
                <a:lnTo>
                  <a:pt x="80428" y="513860"/>
                </a:lnTo>
                <a:lnTo>
                  <a:pt x="88661" y="489142"/>
                </a:lnTo>
                <a:lnTo>
                  <a:pt x="97358" y="464962"/>
                </a:lnTo>
                <a:lnTo>
                  <a:pt x="106521" y="441336"/>
                </a:lnTo>
                <a:lnTo>
                  <a:pt x="116178" y="418257"/>
                </a:lnTo>
                <a:lnTo>
                  <a:pt x="126320" y="395738"/>
                </a:lnTo>
                <a:lnTo>
                  <a:pt x="136966" y="373780"/>
                </a:lnTo>
                <a:lnTo>
                  <a:pt x="137880" y="372027"/>
                </a:lnTo>
                <a:lnTo>
                  <a:pt x="137881" y="372027"/>
                </a:lnTo>
                <a:lnTo>
                  <a:pt x="148122" y="352391"/>
                </a:lnTo>
                <a:lnTo>
                  <a:pt x="159787" y="331571"/>
                </a:lnTo>
                <a:lnTo>
                  <a:pt x="171988" y="311336"/>
                </a:lnTo>
                <a:lnTo>
                  <a:pt x="184719" y="291677"/>
                </a:lnTo>
                <a:lnTo>
                  <a:pt x="197988" y="272618"/>
                </a:lnTo>
                <a:lnTo>
                  <a:pt x="211812" y="254143"/>
                </a:lnTo>
                <a:lnTo>
                  <a:pt x="241142" y="219015"/>
                </a:lnTo>
                <a:lnTo>
                  <a:pt x="272787" y="186325"/>
                </a:lnTo>
                <a:lnTo>
                  <a:pt x="306808" y="156118"/>
                </a:lnTo>
                <a:lnTo>
                  <a:pt x="343266" y="128447"/>
                </a:lnTo>
                <a:lnTo>
                  <a:pt x="362432" y="115578"/>
                </a:lnTo>
                <a:lnTo>
                  <a:pt x="382237" y="103346"/>
                </a:lnTo>
                <a:lnTo>
                  <a:pt x="402689" y="91775"/>
                </a:lnTo>
                <a:lnTo>
                  <a:pt x="423793" y="80865"/>
                </a:lnTo>
                <a:lnTo>
                  <a:pt x="445558" y="70617"/>
                </a:lnTo>
                <a:lnTo>
                  <a:pt x="467992" y="61045"/>
                </a:lnTo>
                <a:lnTo>
                  <a:pt x="491103" y="52142"/>
                </a:lnTo>
                <a:lnTo>
                  <a:pt x="514906" y="43923"/>
                </a:lnTo>
                <a:lnTo>
                  <a:pt x="539409" y="36389"/>
                </a:lnTo>
                <a:lnTo>
                  <a:pt x="564612" y="29553"/>
                </a:lnTo>
                <a:lnTo>
                  <a:pt x="590528" y="23403"/>
                </a:lnTo>
                <a:lnTo>
                  <a:pt x="617160" y="17967"/>
                </a:lnTo>
                <a:lnTo>
                  <a:pt x="644530" y="13231"/>
                </a:lnTo>
                <a:lnTo>
                  <a:pt x="672639" y="9210"/>
                </a:lnTo>
                <a:lnTo>
                  <a:pt x="701494" y="5912"/>
                </a:lnTo>
                <a:lnTo>
                  <a:pt x="731100" y="3336"/>
                </a:lnTo>
                <a:lnTo>
                  <a:pt x="761477" y="1484"/>
                </a:lnTo>
                <a:lnTo>
                  <a:pt x="792621" y="377"/>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3" name="Makro grafik 2">
            <a:extLst>
              <a:ext uri="{FF2B5EF4-FFF2-40B4-BE49-F238E27FC236}">
                <a16:creationId xmlns:a16="http://schemas.microsoft.com/office/drawing/2014/main" id="{3C47DF57-6C35-2F95-62C7-5AF5F1E443EA}"/>
              </a:ext>
            </a:extLst>
          </p:cNvPr>
          <p:cNvSpPr>
            <a:spLocks noGrp="1" noChangeAspect="1"/>
          </p:cNvSpPr>
          <p:nvPr>
            <p:ph type="body" sz="quarter" idx="20" hasCustomPrompt="1"/>
          </p:nvPr>
        </p:nvSpPr>
        <p:spPr>
          <a:xfrm>
            <a:off x="7625339" y="3523023"/>
            <a:ext cx="1123209" cy="1460462"/>
          </a:xfrm>
          <a:custGeom>
            <a:avLst/>
            <a:gdLst>
              <a:gd name="connsiteX0" fmla="*/ 0 w 1497612"/>
              <a:gd name="connsiteY0" fmla="*/ 1 h 1947283"/>
              <a:gd name="connsiteX1" fmla="*/ 133876 w 1497612"/>
              <a:gd name="connsiteY1" fmla="*/ 1 h 1947283"/>
              <a:gd name="connsiteX2" fmla="*/ 542054 w 1497612"/>
              <a:gd name="connsiteY2" fmla="*/ 1262003 h 1947283"/>
              <a:gd name="connsiteX3" fmla="*/ 763698 w 1497612"/>
              <a:gd name="connsiteY3" fmla="*/ 1947283 h 1947283"/>
              <a:gd name="connsiteX4" fmla="*/ 626777 w 1497612"/>
              <a:gd name="connsiteY4" fmla="*/ 1947283 h 1947283"/>
              <a:gd name="connsiteX5" fmla="*/ 406204 w 1497612"/>
              <a:gd name="connsiteY5" fmla="*/ 1262004 h 1947283"/>
              <a:gd name="connsiteX6" fmla="*/ 733914 w 1497612"/>
              <a:gd name="connsiteY6" fmla="*/ 0 h 1947283"/>
              <a:gd name="connsiteX7" fmla="*/ 867789 w 1497612"/>
              <a:gd name="connsiteY7" fmla="*/ 0 h 1947283"/>
              <a:gd name="connsiteX8" fmla="*/ 988168 w 1497612"/>
              <a:gd name="connsiteY8" fmla="*/ 372187 h 1947283"/>
              <a:gd name="connsiteX9" fmla="*/ 1497612 w 1497612"/>
              <a:gd name="connsiteY9" fmla="*/ 1947283 h 1947283"/>
              <a:gd name="connsiteX10" fmla="*/ 1360692 w 1497612"/>
              <a:gd name="connsiteY10" fmla="*/ 1947283 h 1947283"/>
              <a:gd name="connsiteX11" fmla="*/ 988168 w 1497612"/>
              <a:gd name="connsiteY11" fmla="*/ 789920 h 19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7612" h="1947283">
                <a:moveTo>
                  <a:pt x="0" y="1"/>
                </a:moveTo>
                <a:lnTo>
                  <a:pt x="133876" y="1"/>
                </a:lnTo>
                <a:lnTo>
                  <a:pt x="542054" y="1262003"/>
                </a:lnTo>
                <a:lnTo>
                  <a:pt x="763698" y="1947283"/>
                </a:lnTo>
                <a:lnTo>
                  <a:pt x="626777" y="1947283"/>
                </a:lnTo>
                <a:lnTo>
                  <a:pt x="406204" y="1262004"/>
                </a:lnTo>
                <a:close/>
                <a:moveTo>
                  <a:pt x="733914" y="0"/>
                </a:moveTo>
                <a:lnTo>
                  <a:pt x="867789" y="0"/>
                </a:lnTo>
                <a:lnTo>
                  <a:pt x="988168" y="372187"/>
                </a:lnTo>
                <a:lnTo>
                  <a:pt x="1497612" y="1947283"/>
                </a:lnTo>
                <a:lnTo>
                  <a:pt x="1360692" y="1947283"/>
                </a:lnTo>
                <a:lnTo>
                  <a:pt x="988168" y="78992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6" name="TextBox 1">
            <a:extLst>
              <a:ext uri="{FF2B5EF4-FFF2-40B4-BE49-F238E27FC236}">
                <a16:creationId xmlns:a16="http://schemas.microsoft.com/office/drawing/2014/main" id="{65A8188C-11F0-CD4C-0611-D4AE140468F8}"/>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pic>
        <p:nvPicPr>
          <p:cNvPr id="11" name="Picture 10">
            <a:extLst>
              <a:ext uri="{FF2B5EF4-FFF2-40B4-BE49-F238E27FC236}">
                <a16:creationId xmlns:a16="http://schemas.microsoft.com/office/drawing/2014/main" id="{205005FD-E98E-7ACA-1C7E-7281F6C31E8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01784" y="209188"/>
            <a:ext cx="2137343" cy="305335"/>
          </a:xfrm>
          <a:prstGeom prst="rect">
            <a:avLst/>
          </a:prstGeom>
        </p:spPr>
      </p:pic>
    </p:spTree>
    <p:extLst>
      <p:ext uri="{BB962C8B-B14F-4D97-AF65-F5344CB8AC3E}">
        <p14:creationId xmlns:p14="http://schemas.microsoft.com/office/powerpoint/2010/main" val="1957761016"/>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verskrift + tekst + billede (højr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002998-56E0-B41C-4611-6E392593EFA3}"/>
              </a:ext>
            </a:extLst>
          </p:cNvPr>
          <p:cNvSpPr>
            <a:spLocks noGrp="1"/>
          </p:cNvSpPr>
          <p:nvPr>
            <p:ph type="title"/>
          </p:nvPr>
        </p:nvSpPr>
        <p:spPr>
          <a:xfrm>
            <a:off x="468313" y="555625"/>
            <a:ext cx="3959671" cy="647973"/>
          </a:xfrm>
        </p:spPr>
        <p:txBody>
          <a:bodyPr/>
          <a:lstStyle/>
          <a:p>
            <a:r>
              <a:rPr lang="da-DK"/>
              <a:t>Klik for at redigere titeltypografien i masteren</a:t>
            </a:r>
            <a:endParaRPr lang="en-GB"/>
          </a:p>
        </p:txBody>
      </p:sp>
      <p:sp>
        <p:nvSpPr>
          <p:cNvPr id="4" name="Pladsholder til tekst 3">
            <a:extLst>
              <a:ext uri="{FF2B5EF4-FFF2-40B4-BE49-F238E27FC236}">
                <a16:creationId xmlns:a16="http://schemas.microsoft.com/office/drawing/2014/main" id="{E4635518-A0E4-AE02-8A01-B963156D663C}"/>
              </a:ext>
            </a:extLst>
          </p:cNvPr>
          <p:cNvSpPr>
            <a:spLocks noGrp="1"/>
          </p:cNvSpPr>
          <p:nvPr>
            <p:ph type="body" sz="quarter" idx="10"/>
          </p:nvPr>
        </p:nvSpPr>
        <p:spPr>
          <a:xfrm>
            <a:off x="468313" y="1419225"/>
            <a:ext cx="3671639" cy="3168650"/>
          </a:xfrm>
        </p:spPr>
        <p:txBody>
          <a:bodyPr/>
          <a:lstStyle>
            <a:lvl1pPr marL="0" indent="0">
              <a:buNone/>
              <a:defRPr sz="1100"/>
            </a:lvl1pPr>
            <a:lvl2pPr marL="72000" indent="0">
              <a:buNone/>
              <a:defRPr/>
            </a:lvl2pPr>
            <a:lvl3pPr marL="252000" indent="0">
              <a:buNone/>
              <a:defRPr/>
            </a:lvl3pPr>
          </a:lstStyle>
          <a:p>
            <a:pPr lvl="0"/>
            <a:r>
              <a:rPr lang="da-DK"/>
              <a:t>Klik for at redigere teksttypografierne i masteren</a:t>
            </a:r>
          </a:p>
        </p:txBody>
      </p:sp>
      <p:sp>
        <p:nvSpPr>
          <p:cNvPr id="6" name="Pladsholder til tekst 5">
            <a:extLst>
              <a:ext uri="{FF2B5EF4-FFF2-40B4-BE49-F238E27FC236}">
                <a16:creationId xmlns:a16="http://schemas.microsoft.com/office/drawing/2014/main" id="{0E6AF5B2-3A69-1F49-DA1A-FED935DE13C4}"/>
              </a:ext>
            </a:extLst>
          </p:cNvPr>
          <p:cNvSpPr>
            <a:spLocks noGrp="1"/>
          </p:cNvSpPr>
          <p:nvPr>
            <p:ph type="body" sz="quarter" idx="11"/>
          </p:nvPr>
        </p:nvSpPr>
        <p:spPr>
          <a:xfrm>
            <a:off x="468313" y="339726"/>
            <a:ext cx="4103687" cy="144462"/>
          </a:xfrm>
        </p:spPr>
        <p:txBody>
          <a:bodyPr vert="horz" lIns="14400" tIns="0" rIns="0" bIns="0" rtlCol="0">
            <a:noAutofit/>
          </a:bodyPr>
          <a:lstStyle>
            <a:lvl1pPr marL="0" indent="0">
              <a:buNone/>
              <a:defRPr lang="en-GB" sz="1000" cap="all" dirty="0">
                <a:solidFill>
                  <a:srgbClr val="878787"/>
                </a:solidFill>
                <a:latin typeface="Neue Haas Grotesk Text Pro" panose="020B0504020202020204" pitchFamily="34" charset="77"/>
              </a:defRPr>
            </a:lvl1pPr>
          </a:lstStyle>
          <a:p>
            <a:pPr marL="171450" lvl="0" indent="-171450"/>
            <a:r>
              <a:rPr lang="da-DK"/>
              <a:t>Klik for at redigere teksttypografierne i masteren</a:t>
            </a:r>
          </a:p>
        </p:txBody>
      </p:sp>
      <p:sp>
        <p:nvSpPr>
          <p:cNvPr id="3" name="Pladsholder til billede 5">
            <a:extLst>
              <a:ext uri="{FF2B5EF4-FFF2-40B4-BE49-F238E27FC236}">
                <a16:creationId xmlns:a16="http://schemas.microsoft.com/office/drawing/2014/main" id="{87DB21CB-4EE7-18D5-FFC4-F2591CC30315}"/>
              </a:ext>
            </a:extLst>
          </p:cNvPr>
          <p:cNvSpPr>
            <a:spLocks noGrp="1"/>
          </p:cNvSpPr>
          <p:nvPr>
            <p:ph type="pic" sz="quarter" idx="12"/>
          </p:nvPr>
        </p:nvSpPr>
        <p:spPr>
          <a:xfrm>
            <a:off x="4572000" y="0"/>
            <a:ext cx="4572000" cy="5143500"/>
          </a:xfrm>
        </p:spPr>
        <p:txBody>
          <a:bodyPr>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Tree>
    <p:extLst>
      <p:ext uri="{BB962C8B-B14F-4D97-AF65-F5344CB8AC3E}">
        <p14:creationId xmlns:p14="http://schemas.microsoft.com/office/powerpoint/2010/main" val="250145441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igital Post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chemeClr val="accent1"/>
                </a:solidFill>
              </a:defRPr>
            </a:lvl1pPr>
          </a:lstStyle>
          <a:p>
            <a:fld id="{3BA7D959-9C7C-4506-A4A8-52313FF7B34F}" type="datetime2">
              <a:rPr lang="da-DK" smtClean="0"/>
              <a:t>11. december 2025</a:t>
            </a:fld>
            <a:endParaRPr lang="da-DK" dirty="0"/>
          </a:p>
        </p:txBody>
      </p:sp>
      <p:sp>
        <p:nvSpPr>
          <p:cNvPr id="25" name="Makro grafik 1">
            <a:extLst>
              <a:ext uri="{FF2B5EF4-FFF2-40B4-BE49-F238E27FC236}">
                <a16:creationId xmlns:a16="http://schemas.microsoft.com/office/drawing/2014/main" id="{F2E0EEBD-7C39-E8CB-108F-09AF0CD4D448}"/>
              </a:ext>
            </a:extLst>
          </p:cNvPr>
          <p:cNvSpPr>
            <a:spLocks noGrp="1" noChangeAspect="1"/>
          </p:cNvSpPr>
          <p:nvPr>
            <p:ph type="body" sz="quarter" idx="19" hasCustomPrompt="1"/>
          </p:nvPr>
        </p:nvSpPr>
        <p:spPr>
          <a:xfrm>
            <a:off x="2827574" y="391015"/>
            <a:ext cx="1353707" cy="1779938"/>
          </a:xfrm>
          <a:custGeom>
            <a:avLst/>
            <a:gdLst>
              <a:gd name="connsiteX0" fmla="*/ 1135564 w 1804943"/>
              <a:gd name="connsiteY0" fmla="*/ 15338 h 2373250"/>
              <a:gd name="connsiteX1" fmla="*/ 1804943 w 1804943"/>
              <a:gd name="connsiteY1" fmla="*/ 15338 h 2373250"/>
              <a:gd name="connsiteX2" fmla="*/ 1804943 w 1804943"/>
              <a:gd name="connsiteY2" fmla="*/ 121436 h 2373250"/>
              <a:gd name="connsiteX3" fmla="*/ 1260314 w 1804943"/>
              <a:gd name="connsiteY3" fmla="*/ 121436 h 2373250"/>
              <a:gd name="connsiteX4" fmla="*/ 1260314 w 1804943"/>
              <a:gd name="connsiteY4" fmla="*/ 372027 h 2373250"/>
              <a:gd name="connsiteX5" fmla="*/ 1260314 w 1804943"/>
              <a:gd name="connsiteY5" fmla="*/ 2258004 h 2373250"/>
              <a:gd name="connsiteX6" fmla="*/ 1804943 w 1804943"/>
              <a:gd name="connsiteY6" fmla="*/ 2258004 h 2373250"/>
              <a:gd name="connsiteX7" fmla="*/ 1804943 w 1804943"/>
              <a:gd name="connsiteY7" fmla="*/ 2364102 h 2373250"/>
              <a:gd name="connsiteX8" fmla="*/ 1135564 w 1804943"/>
              <a:gd name="connsiteY8" fmla="*/ 2364102 h 2373250"/>
              <a:gd name="connsiteX9" fmla="*/ 1135564 w 1804943"/>
              <a:gd name="connsiteY9" fmla="*/ 2258004 h 2373250"/>
              <a:gd name="connsiteX10" fmla="*/ 1135564 w 1804943"/>
              <a:gd name="connsiteY10" fmla="*/ 372027 h 2373250"/>
              <a:gd name="connsiteX11" fmla="*/ 1135564 w 1804943"/>
              <a:gd name="connsiteY11" fmla="*/ 121436 h 2373250"/>
              <a:gd name="connsiteX12" fmla="*/ 824551 w 1804943"/>
              <a:gd name="connsiteY12" fmla="*/ 0 h 2373250"/>
              <a:gd name="connsiteX13" fmla="*/ 824551 w 1804943"/>
              <a:gd name="connsiteY13" fmla="*/ 106498 h 2373250"/>
              <a:gd name="connsiteX14" fmla="*/ 793382 w 1804943"/>
              <a:gd name="connsiteY14" fmla="*/ 106920 h 2373250"/>
              <a:gd name="connsiteX15" fmla="*/ 763107 w 1804943"/>
              <a:gd name="connsiteY15" fmla="*/ 108189 h 2373250"/>
              <a:gd name="connsiteX16" fmla="*/ 733699 w 1804943"/>
              <a:gd name="connsiteY16" fmla="*/ 110296 h 2373250"/>
              <a:gd name="connsiteX17" fmla="*/ 705152 w 1804943"/>
              <a:gd name="connsiteY17" fmla="*/ 113240 h 2373250"/>
              <a:gd name="connsiteX18" fmla="*/ 677451 w 1804943"/>
              <a:gd name="connsiteY18" fmla="*/ 117008 h 2373250"/>
              <a:gd name="connsiteX19" fmla="*/ 650596 w 1804943"/>
              <a:gd name="connsiteY19" fmla="*/ 121598 h 2373250"/>
              <a:gd name="connsiteX20" fmla="*/ 624564 w 1804943"/>
              <a:gd name="connsiteY20" fmla="*/ 126995 h 2373250"/>
              <a:gd name="connsiteX21" fmla="*/ 599346 w 1804943"/>
              <a:gd name="connsiteY21" fmla="*/ 133207 h 2373250"/>
              <a:gd name="connsiteX22" fmla="*/ 574929 w 1804943"/>
              <a:gd name="connsiteY22" fmla="*/ 140218 h 2373250"/>
              <a:gd name="connsiteX23" fmla="*/ 551302 w 1804943"/>
              <a:gd name="connsiteY23" fmla="*/ 148022 h 2373250"/>
              <a:gd name="connsiteX24" fmla="*/ 528461 w 1804943"/>
              <a:gd name="connsiteY24" fmla="*/ 156617 h 2373250"/>
              <a:gd name="connsiteX25" fmla="*/ 506387 w 1804943"/>
              <a:gd name="connsiteY25" fmla="*/ 165997 h 2373250"/>
              <a:gd name="connsiteX26" fmla="*/ 485076 w 1804943"/>
              <a:gd name="connsiteY26" fmla="*/ 176146 h 2373250"/>
              <a:gd name="connsiteX27" fmla="*/ 464502 w 1804943"/>
              <a:gd name="connsiteY27" fmla="*/ 187071 h 2373250"/>
              <a:gd name="connsiteX28" fmla="*/ 425554 w 1804943"/>
              <a:gd name="connsiteY28" fmla="*/ 211204 h 2373250"/>
              <a:gd name="connsiteX29" fmla="*/ 389457 w 1804943"/>
              <a:gd name="connsiteY29" fmla="*/ 238344 h 2373250"/>
              <a:gd name="connsiteX30" fmla="*/ 356105 w 1804943"/>
              <a:gd name="connsiteY30" fmla="*/ 268436 h 2373250"/>
              <a:gd name="connsiteX31" fmla="*/ 325421 w 1804943"/>
              <a:gd name="connsiteY31" fmla="*/ 301433 h 2373250"/>
              <a:gd name="connsiteX32" fmla="*/ 297313 w 1804943"/>
              <a:gd name="connsiteY32" fmla="*/ 337284 h 2373250"/>
              <a:gd name="connsiteX33" fmla="*/ 284189 w 1804943"/>
              <a:gd name="connsiteY33" fmla="*/ 356266 h 2373250"/>
              <a:gd name="connsiteX34" fmla="*/ 274169 w 1804943"/>
              <a:gd name="connsiteY34" fmla="*/ 372027 h 2373250"/>
              <a:gd name="connsiteX35" fmla="*/ 271680 w 1804943"/>
              <a:gd name="connsiteY35" fmla="*/ 375940 h 2373250"/>
              <a:gd name="connsiteX36" fmla="*/ 259763 w 1804943"/>
              <a:gd name="connsiteY36" fmla="*/ 396306 h 2373250"/>
              <a:gd name="connsiteX37" fmla="*/ 248431 w 1804943"/>
              <a:gd name="connsiteY37" fmla="*/ 417348 h 2373250"/>
              <a:gd name="connsiteX38" fmla="*/ 237675 w 1804943"/>
              <a:gd name="connsiteY38" fmla="*/ 439077 h 2373250"/>
              <a:gd name="connsiteX39" fmla="*/ 227480 w 1804943"/>
              <a:gd name="connsiteY39" fmla="*/ 461465 h 2373250"/>
              <a:gd name="connsiteX40" fmla="*/ 217839 w 1804943"/>
              <a:gd name="connsiteY40" fmla="*/ 484522 h 2373250"/>
              <a:gd name="connsiteX41" fmla="*/ 208737 w 1804943"/>
              <a:gd name="connsiteY41" fmla="*/ 508239 h 2373250"/>
              <a:gd name="connsiteX42" fmla="*/ 200156 w 1804943"/>
              <a:gd name="connsiteY42" fmla="*/ 532604 h 2373250"/>
              <a:gd name="connsiteX43" fmla="*/ 192100 w 1804943"/>
              <a:gd name="connsiteY43" fmla="*/ 557614 h 2373250"/>
              <a:gd name="connsiteX44" fmla="*/ 184542 w 1804943"/>
              <a:gd name="connsiteY44" fmla="*/ 583262 h 2373250"/>
              <a:gd name="connsiteX45" fmla="*/ 177484 w 1804943"/>
              <a:gd name="connsiteY45" fmla="*/ 609541 h 2373250"/>
              <a:gd name="connsiteX46" fmla="*/ 170903 w 1804943"/>
              <a:gd name="connsiteY46" fmla="*/ 636450 h 2373250"/>
              <a:gd name="connsiteX47" fmla="*/ 164799 w 1804943"/>
              <a:gd name="connsiteY47" fmla="*/ 663974 h 2373250"/>
              <a:gd name="connsiteX48" fmla="*/ 159148 w 1804943"/>
              <a:gd name="connsiteY48" fmla="*/ 692121 h 2373250"/>
              <a:gd name="connsiteX49" fmla="*/ 153950 w 1804943"/>
              <a:gd name="connsiteY49" fmla="*/ 720867 h 2373250"/>
              <a:gd name="connsiteX50" fmla="*/ 149183 w 1804943"/>
              <a:gd name="connsiteY50" fmla="*/ 750212 h 2373250"/>
              <a:gd name="connsiteX51" fmla="*/ 144839 w 1804943"/>
              <a:gd name="connsiteY51" fmla="*/ 780158 h 2373250"/>
              <a:gd name="connsiteX52" fmla="*/ 140910 w 1804943"/>
              <a:gd name="connsiteY52" fmla="*/ 810689 h 2373250"/>
              <a:gd name="connsiteX53" fmla="*/ 137390 w 1804943"/>
              <a:gd name="connsiteY53" fmla="*/ 841803 h 2373250"/>
              <a:gd name="connsiteX54" fmla="*/ 134253 w 1804943"/>
              <a:gd name="connsiteY54" fmla="*/ 873494 h 2373250"/>
              <a:gd name="connsiteX55" fmla="*/ 131501 w 1804943"/>
              <a:gd name="connsiteY55" fmla="*/ 905754 h 2373250"/>
              <a:gd name="connsiteX56" fmla="*/ 129109 w 1804943"/>
              <a:gd name="connsiteY56" fmla="*/ 938575 h 2373250"/>
              <a:gd name="connsiteX57" fmla="*/ 127073 w 1804943"/>
              <a:gd name="connsiteY57" fmla="*/ 971958 h 2373250"/>
              <a:gd name="connsiteX58" fmla="*/ 125389 w 1804943"/>
              <a:gd name="connsiteY58" fmla="*/ 1005886 h 2373250"/>
              <a:gd name="connsiteX59" fmla="*/ 124027 w 1804943"/>
              <a:gd name="connsiteY59" fmla="*/ 1040360 h 2373250"/>
              <a:gd name="connsiteX60" fmla="*/ 122997 w 1804943"/>
              <a:gd name="connsiteY60" fmla="*/ 1075373 h 2373250"/>
              <a:gd name="connsiteX61" fmla="*/ 122267 w 1804943"/>
              <a:gd name="connsiteY61" fmla="*/ 1110923 h 2373250"/>
              <a:gd name="connsiteX62" fmla="*/ 121844 w 1804943"/>
              <a:gd name="connsiteY62" fmla="*/ 1146996 h 2373250"/>
              <a:gd name="connsiteX63" fmla="*/ 121706 w 1804943"/>
              <a:gd name="connsiteY63" fmla="*/ 1183585 h 2373250"/>
              <a:gd name="connsiteX64" fmla="*/ 121829 w 1804943"/>
              <a:gd name="connsiteY64" fmla="*/ 1220003 h 2373250"/>
              <a:gd name="connsiteX65" fmla="*/ 122229 w 1804943"/>
              <a:gd name="connsiteY65" fmla="*/ 1255892 h 2373250"/>
              <a:gd name="connsiteX66" fmla="*/ 122897 w 1804943"/>
              <a:gd name="connsiteY66" fmla="*/ 1291258 h 2373250"/>
              <a:gd name="connsiteX67" fmla="*/ 123850 w 1804943"/>
              <a:gd name="connsiteY67" fmla="*/ 1326087 h 2373250"/>
              <a:gd name="connsiteX68" fmla="*/ 125111 w 1804943"/>
              <a:gd name="connsiteY68" fmla="*/ 1360376 h 2373250"/>
              <a:gd name="connsiteX69" fmla="*/ 126679 w 1804943"/>
              <a:gd name="connsiteY69" fmla="*/ 1394113 h 2373250"/>
              <a:gd name="connsiteX70" fmla="*/ 128571 w 1804943"/>
              <a:gd name="connsiteY70" fmla="*/ 1427303 h 2373250"/>
              <a:gd name="connsiteX71" fmla="*/ 130802 w 1804943"/>
              <a:gd name="connsiteY71" fmla="*/ 1459939 h 2373250"/>
              <a:gd name="connsiteX72" fmla="*/ 133368 w 1804943"/>
              <a:gd name="connsiteY72" fmla="*/ 1492006 h 2373250"/>
              <a:gd name="connsiteX73" fmla="*/ 136298 w 1804943"/>
              <a:gd name="connsiteY73" fmla="*/ 1523513 h 2373250"/>
              <a:gd name="connsiteX74" fmla="*/ 139596 w 1804943"/>
              <a:gd name="connsiteY74" fmla="*/ 1554442 h 2373250"/>
              <a:gd name="connsiteX75" fmla="*/ 143271 w 1804943"/>
              <a:gd name="connsiteY75" fmla="*/ 1584796 h 2373250"/>
              <a:gd name="connsiteX76" fmla="*/ 147338 w 1804943"/>
              <a:gd name="connsiteY76" fmla="*/ 1614566 h 2373250"/>
              <a:gd name="connsiteX77" fmla="*/ 151813 w 1804943"/>
              <a:gd name="connsiteY77" fmla="*/ 1643750 h 2373250"/>
              <a:gd name="connsiteX78" fmla="*/ 156702 w 1804943"/>
              <a:gd name="connsiteY78" fmla="*/ 1672334 h 2373250"/>
              <a:gd name="connsiteX79" fmla="*/ 162015 w 1804943"/>
              <a:gd name="connsiteY79" fmla="*/ 1700320 h 2373250"/>
              <a:gd name="connsiteX80" fmla="*/ 167766 w 1804943"/>
              <a:gd name="connsiteY80" fmla="*/ 1727705 h 2373250"/>
              <a:gd name="connsiteX81" fmla="*/ 173962 w 1804943"/>
              <a:gd name="connsiteY81" fmla="*/ 1754476 h 2373250"/>
              <a:gd name="connsiteX82" fmla="*/ 180629 w 1804943"/>
              <a:gd name="connsiteY82" fmla="*/ 1780631 h 2373250"/>
              <a:gd name="connsiteX83" fmla="*/ 187755 w 1804943"/>
              <a:gd name="connsiteY83" fmla="*/ 1806164 h 2373250"/>
              <a:gd name="connsiteX84" fmla="*/ 195374 w 1804943"/>
              <a:gd name="connsiteY84" fmla="*/ 1831074 h 2373250"/>
              <a:gd name="connsiteX85" fmla="*/ 203485 w 1804943"/>
              <a:gd name="connsiteY85" fmla="*/ 1855346 h 2373250"/>
              <a:gd name="connsiteX86" fmla="*/ 212112 w 1804943"/>
              <a:gd name="connsiteY86" fmla="*/ 1878988 h 2373250"/>
              <a:gd name="connsiteX87" fmla="*/ 221245 w 1804943"/>
              <a:gd name="connsiteY87" fmla="*/ 1901983 h 2373250"/>
              <a:gd name="connsiteX88" fmla="*/ 230917 w 1804943"/>
              <a:gd name="connsiteY88" fmla="*/ 1924332 h 2373250"/>
              <a:gd name="connsiteX89" fmla="*/ 241128 w 1804943"/>
              <a:gd name="connsiteY89" fmla="*/ 1946029 h 2373250"/>
              <a:gd name="connsiteX90" fmla="*/ 251891 w 1804943"/>
              <a:gd name="connsiteY90" fmla="*/ 1967064 h 2373250"/>
              <a:gd name="connsiteX91" fmla="*/ 263216 w 1804943"/>
              <a:gd name="connsiteY91" fmla="*/ 1987430 h 2373250"/>
              <a:gd name="connsiteX92" fmla="*/ 287611 w 1804943"/>
              <a:gd name="connsiteY92" fmla="*/ 2026164 h 2373250"/>
              <a:gd name="connsiteX93" fmla="*/ 314404 w 1804943"/>
              <a:gd name="connsiteY93" fmla="*/ 2062168 h 2373250"/>
              <a:gd name="connsiteX94" fmla="*/ 343681 w 1804943"/>
              <a:gd name="connsiteY94" fmla="*/ 2095412 h 2373250"/>
              <a:gd name="connsiteX95" fmla="*/ 375541 w 1804943"/>
              <a:gd name="connsiteY95" fmla="*/ 2125849 h 2373250"/>
              <a:gd name="connsiteX96" fmla="*/ 410077 w 1804943"/>
              <a:gd name="connsiteY96" fmla="*/ 2153435 h 2373250"/>
              <a:gd name="connsiteX97" fmla="*/ 447372 w 1804943"/>
              <a:gd name="connsiteY97" fmla="*/ 2178130 h 2373250"/>
              <a:gd name="connsiteX98" fmla="*/ 487529 w 1804943"/>
              <a:gd name="connsiteY98" fmla="*/ 2199888 h 2373250"/>
              <a:gd name="connsiteX99" fmla="*/ 508702 w 1804943"/>
              <a:gd name="connsiteY99" fmla="*/ 2209652 h 2373250"/>
              <a:gd name="connsiteX100" fmla="*/ 530629 w 1804943"/>
              <a:gd name="connsiteY100" fmla="*/ 2218662 h 2373250"/>
              <a:gd name="connsiteX101" fmla="*/ 553317 w 1804943"/>
              <a:gd name="connsiteY101" fmla="*/ 2226920 h 2373250"/>
              <a:gd name="connsiteX102" fmla="*/ 576782 w 1804943"/>
              <a:gd name="connsiteY102" fmla="*/ 2234416 h 2373250"/>
              <a:gd name="connsiteX103" fmla="*/ 601022 w 1804943"/>
              <a:gd name="connsiteY103" fmla="*/ 2241150 h 2373250"/>
              <a:gd name="connsiteX104" fmla="*/ 626056 w 1804943"/>
              <a:gd name="connsiteY104" fmla="*/ 2247109 h 2373250"/>
              <a:gd name="connsiteX105" fmla="*/ 651904 w 1804943"/>
              <a:gd name="connsiteY105" fmla="*/ 2252291 h 2373250"/>
              <a:gd name="connsiteX106" fmla="*/ 678567 w 1804943"/>
              <a:gd name="connsiteY106" fmla="*/ 2256688 h 2373250"/>
              <a:gd name="connsiteX107" fmla="*/ 706061 w 1804943"/>
              <a:gd name="connsiteY107" fmla="*/ 2260301 h 2373250"/>
              <a:gd name="connsiteX108" fmla="*/ 734390 w 1804943"/>
              <a:gd name="connsiteY108" fmla="*/ 2263116 h 2373250"/>
              <a:gd name="connsiteX109" fmla="*/ 763575 w 1804943"/>
              <a:gd name="connsiteY109" fmla="*/ 2265138 h 2373250"/>
              <a:gd name="connsiteX110" fmla="*/ 793630 w 1804943"/>
              <a:gd name="connsiteY110" fmla="*/ 2266352 h 2373250"/>
              <a:gd name="connsiteX111" fmla="*/ 824551 w 1804943"/>
              <a:gd name="connsiteY111" fmla="*/ 2266760 h 2373250"/>
              <a:gd name="connsiteX112" fmla="*/ 824551 w 1804943"/>
              <a:gd name="connsiteY112" fmla="*/ 2373250 h 2373250"/>
              <a:gd name="connsiteX113" fmla="*/ 792476 w 1804943"/>
              <a:gd name="connsiteY113" fmla="*/ 2372881 h 2373250"/>
              <a:gd name="connsiteX114" fmla="*/ 761193 w 1804943"/>
              <a:gd name="connsiteY114" fmla="*/ 2371759 h 2373250"/>
              <a:gd name="connsiteX115" fmla="*/ 730694 w 1804943"/>
              <a:gd name="connsiteY115" fmla="*/ 2369898 h 2373250"/>
              <a:gd name="connsiteX116" fmla="*/ 700970 w 1804943"/>
              <a:gd name="connsiteY116" fmla="*/ 2367307 h 2373250"/>
              <a:gd name="connsiteX117" fmla="*/ 672008 w 1804943"/>
              <a:gd name="connsiteY117" fmla="*/ 2363986 h 2373250"/>
              <a:gd name="connsiteX118" fmla="*/ 643800 w 1804943"/>
              <a:gd name="connsiteY118" fmla="*/ 2359941 h 2373250"/>
              <a:gd name="connsiteX119" fmla="*/ 616345 w 1804943"/>
              <a:gd name="connsiteY119" fmla="*/ 2355175 h 2373250"/>
              <a:gd name="connsiteX120" fmla="*/ 589621 w 1804943"/>
              <a:gd name="connsiteY120" fmla="*/ 2349701 h 2373250"/>
              <a:gd name="connsiteX121" fmla="*/ 563635 w 1804943"/>
              <a:gd name="connsiteY121" fmla="*/ 2343519 h 2373250"/>
              <a:gd name="connsiteX122" fmla="*/ 538363 w 1804943"/>
              <a:gd name="connsiteY122" fmla="*/ 2336631 h 2373250"/>
              <a:gd name="connsiteX123" fmla="*/ 513800 w 1804943"/>
              <a:gd name="connsiteY123" fmla="*/ 2329050 h 2373250"/>
              <a:gd name="connsiteX124" fmla="*/ 489950 w 1804943"/>
              <a:gd name="connsiteY124" fmla="*/ 2320785 h 2373250"/>
              <a:gd name="connsiteX125" fmla="*/ 466785 w 1804943"/>
              <a:gd name="connsiteY125" fmla="*/ 2311829 h 2373250"/>
              <a:gd name="connsiteX126" fmla="*/ 444312 w 1804943"/>
              <a:gd name="connsiteY126" fmla="*/ 2302195 h 2373250"/>
              <a:gd name="connsiteX127" fmla="*/ 422516 w 1804943"/>
              <a:gd name="connsiteY127" fmla="*/ 2291885 h 2373250"/>
              <a:gd name="connsiteX128" fmla="*/ 401389 w 1804943"/>
              <a:gd name="connsiteY128" fmla="*/ 2280906 h 2373250"/>
              <a:gd name="connsiteX129" fmla="*/ 380915 w 1804943"/>
              <a:gd name="connsiteY129" fmla="*/ 2269266 h 2373250"/>
              <a:gd name="connsiteX130" fmla="*/ 361094 w 1804943"/>
              <a:gd name="connsiteY130" fmla="*/ 2256965 h 2373250"/>
              <a:gd name="connsiteX131" fmla="*/ 341921 w 1804943"/>
              <a:gd name="connsiteY131" fmla="*/ 2244018 h 2373250"/>
              <a:gd name="connsiteX132" fmla="*/ 305456 w 1804943"/>
              <a:gd name="connsiteY132" fmla="*/ 2216179 h 2373250"/>
              <a:gd name="connsiteX133" fmla="*/ 271450 w 1804943"/>
              <a:gd name="connsiteY133" fmla="*/ 2185803 h 2373250"/>
              <a:gd name="connsiteX134" fmla="*/ 239844 w 1804943"/>
              <a:gd name="connsiteY134" fmla="*/ 2152920 h 2373250"/>
              <a:gd name="connsiteX135" fmla="*/ 210559 w 1804943"/>
              <a:gd name="connsiteY135" fmla="*/ 2117584 h 2373250"/>
              <a:gd name="connsiteX136" fmla="*/ 196759 w 1804943"/>
              <a:gd name="connsiteY136" fmla="*/ 2099010 h 2373250"/>
              <a:gd name="connsiteX137" fmla="*/ 183519 w 1804943"/>
              <a:gd name="connsiteY137" fmla="*/ 2079843 h 2373250"/>
              <a:gd name="connsiteX138" fmla="*/ 170826 w 1804943"/>
              <a:gd name="connsiteY138" fmla="*/ 2060076 h 2373250"/>
              <a:gd name="connsiteX139" fmla="*/ 158670 w 1804943"/>
              <a:gd name="connsiteY139" fmla="*/ 2039725 h 2373250"/>
              <a:gd name="connsiteX140" fmla="*/ 147039 w 1804943"/>
              <a:gd name="connsiteY140" fmla="*/ 2018790 h 2373250"/>
              <a:gd name="connsiteX141" fmla="*/ 135929 w 1804943"/>
              <a:gd name="connsiteY141" fmla="*/ 1997286 h 2373250"/>
              <a:gd name="connsiteX142" fmla="*/ 125326 w 1804943"/>
              <a:gd name="connsiteY142" fmla="*/ 1975206 h 2373250"/>
              <a:gd name="connsiteX143" fmla="*/ 115224 w 1804943"/>
              <a:gd name="connsiteY143" fmla="*/ 1952564 h 2373250"/>
              <a:gd name="connsiteX144" fmla="*/ 105621 w 1804943"/>
              <a:gd name="connsiteY144" fmla="*/ 1929369 h 2373250"/>
              <a:gd name="connsiteX145" fmla="*/ 96495 w 1804943"/>
              <a:gd name="connsiteY145" fmla="*/ 1905612 h 2373250"/>
              <a:gd name="connsiteX146" fmla="*/ 87846 w 1804943"/>
              <a:gd name="connsiteY146" fmla="*/ 1881309 h 2373250"/>
              <a:gd name="connsiteX147" fmla="*/ 79666 w 1804943"/>
              <a:gd name="connsiteY147" fmla="*/ 1856461 h 2373250"/>
              <a:gd name="connsiteX148" fmla="*/ 71947 w 1804943"/>
              <a:gd name="connsiteY148" fmla="*/ 1831082 h 2373250"/>
              <a:gd name="connsiteX149" fmla="*/ 64675 w 1804943"/>
              <a:gd name="connsiteY149" fmla="*/ 1805165 h 2373250"/>
              <a:gd name="connsiteX150" fmla="*/ 57839 w 1804943"/>
              <a:gd name="connsiteY150" fmla="*/ 1778725 h 2373250"/>
              <a:gd name="connsiteX151" fmla="*/ 51435 w 1804943"/>
              <a:gd name="connsiteY151" fmla="*/ 1751762 h 2373250"/>
              <a:gd name="connsiteX152" fmla="*/ 45461 w 1804943"/>
              <a:gd name="connsiteY152" fmla="*/ 1724284 h 2373250"/>
              <a:gd name="connsiteX153" fmla="*/ 39895 w 1804943"/>
              <a:gd name="connsiteY153" fmla="*/ 1696292 h 2373250"/>
              <a:gd name="connsiteX154" fmla="*/ 34736 w 1804943"/>
              <a:gd name="connsiteY154" fmla="*/ 1667799 h 2373250"/>
              <a:gd name="connsiteX155" fmla="*/ 29969 w 1804943"/>
              <a:gd name="connsiteY155" fmla="*/ 1638806 h 2373250"/>
              <a:gd name="connsiteX156" fmla="*/ 25595 w 1804943"/>
              <a:gd name="connsiteY156" fmla="*/ 1609322 h 2373250"/>
              <a:gd name="connsiteX157" fmla="*/ 21597 w 1804943"/>
              <a:gd name="connsiteY157" fmla="*/ 1579352 h 2373250"/>
              <a:gd name="connsiteX158" fmla="*/ 17967 w 1804943"/>
              <a:gd name="connsiteY158" fmla="*/ 1548893 h 2373250"/>
              <a:gd name="connsiteX159" fmla="*/ 14708 w 1804943"/>
              <a:gd name="connsiteY159" fmla="*/ 1517963 h 2373250"/>
              <a:gd name="connsiteX160" fmla="*/ 11794 w 1804943"/>
              <a:gd name="connsiteY160" fmla="*/ 1486556 h 2373250"/>
              <a:gd name="connsiteX161" fmla="*/ 9226 w 1804943"/>
              <a:gd name="connsiteY161" fmla="*/ 1454681 h 2373250"/>
              <a:gd name="connsiteX162" fmla="*/ 6989 w 1804943"/>
              <a:gd name="connsiteY162" fmla="*/ 1422351 h 2373250"/>
              <a:gd name="connsiteX163" fmla="*/ 5082 w 1804943"/>
              <a:gd name="connsiteY163" fmla="*/ 1389569 h 2373250"/>
              <a:gd name="connsiteX164" fmla="*/ 3490 w 1804943"/>
              <a:gd name="connsiteY164" fmla="*/ 1356325 h 2373250"/>
              <a:gd name="connsiteX165" fmla="*/ 2206 w 1804943"/>
              <a:gd name="connsiteY165" fmla="*/ 1322649 h 2373250"/>
              <a:gd name="connsiteX166" fmla="*/ 1230 w 1804943"/>
              <a:gd name="connsiteY166" fmla="*/ 1288530 h 2373250"/>
              <a:gd name="connsiteX167" fmla="*/ 540 w 1804943"/>
              <a:gd name="connsiteY167" fmla="*/ 1253971 h 2373250"/>
              <a:gd name="connsiteX168" fmla="*/ 132 w 1804943"/>
              <a:gd name="connsiteY168" fmla="*/ 1218989 h 2373250"/>
              <a:gd name="connsiteX169" fmla="*/ 0 w 1804943"/>
              <a:gd name="connsiteY169" fmla="*/ 1183585 h 2373250"/>
              <a:gd name="connsiteX170" fmla="*/ 132 w 1804943"/>
              <a:gd name="connsiteY170" fmla="*/ 1148334 h 2373250"/>
              <a:gd name="connsiteX171" fmla="*/ 546 w 1804943"/>
              <a:gd name="connsiteY171" fmla="*/ 1113498 h 2373250"/>
              <a:gd name="connsiteX172" fmla="*/ 1254 w 1804943"/>
              <a:gd name="connsiteY172" fmla="*/ 1079094 h 2373250"/>
              <a:gd name="connsiteX173" fmla="*/ 2246 w 1804943"/>
              <a:gd name="connsiteY173" fmla="*/ 1045127 h 2373250"/>
              <a:gd name="connsiteX174" fmla="*/ 3544 w 1804943"/>
              <a:gd name="connsiteY174" fmla="*/ 1011590 h 2373250"/>
              <a:gd name="connsiteX175" fmla="*/ 5159 w 1804943"/>
              <a:gd name="connsiteY175" fmla="*/ 978500 h 2373250"/>
              <a:gd name="connsiteX176" fmla="*/ 7096 w 1804943"/>
              <a:gd name="connsiteY176" fmla="*/ 945863 h 2373250"/>
              <a:gd name="connsiteX177" fmla="*/ 9356 w 1804943"/>
              <a:gd name="connsiteY177" fmla="*/ 913681 h 2373250"/>
              <a:gd name="connsiteX178" fmla="*/ 11964 w 1804943"/>
              <a:gd name="connsiteY178" fmla="*/ 881951 h 2373250"/>
              <a:gd name="connsiteX179" fmla="*/ 14909 w 1804943"/>
              <a:gd name="connsiteY179" fmla="*/ 850691 h 2373250"/>
              <a:gd name="connsiteX180" fmla="*/ 18214 w 1804943"/>
              <a:gd name="connsiteY180" fmla="*/ 819907 h 2373250"/>
              <a:gd name="connsiteX181" fmla="*/ 21881 w 1804943"/>
              <a:gd name="connsiteY181" fmla="*/ 789592 h 2373250"/>
              <a:gd name="connsiteX182" fmla="*/ 25917 w 1804943"/>
              <a:gd name="connsiteY182" fmla="*/ 759762 h 2373250"/>
              <a:gd name="connsiteX183" fmla="*/ 30338 w 1804943"/>
              <a:gd name="connsiteY183" fmla="*/ 730423 h 2373250"/>
              <a:gd name="connsiteX184" fmla="*/ 35152 w 1804943"/>
              <a:gd name="connsiteY184" fmla="*/ 701569 h 2373250"/>
              <a:gd name="connsiteX185" fmla="*/ 40356 w 1804943"/>
              <a:gd name="connsiteY185" fmla="*/ 673215 h 2373250"/>
              <a:gd name="connsiteX186" fmla="*/ 45968 w 1804943"/>
              <a:gd name="connsiteY186" fmla="*/ 645368 h 2373250"/>
              <a:gd name="connsiteX187" fmla="*/ 51996 w 1804943"/>
              <a:gd name="connsiteY187" fmla="*/ 618029 h 2373250"/>
              <a:gd name="connsiteX188" fmla="*/ 58446 w 1804943"/>
              <a:gd name="connsiteY188" fmla="*/ 591204 h 2373250"/>
              <a:gd name="connsiteX189" fmla="*/ 65335 w 1804943"/>
              <a:gd name="connsiteY189" fmla="*/ 564895 h 2373250"/>
              <a:gd name="connsiteX190" fmla="*/ 72655 w 1804943"/>
              <a:gd name="connsiteY190" fmla="*/ 539109 h 2373250"/>
              <a:gd name="connsiteX191" fmla="*/ 80428 w 1804943"/>
              <a:gd name="connsiteY191" fmla="*/ 513860 h 2373250"/>
              <a:gd name="connsiteX192" fmla="*/ 88661 w 1804943"/>
              <a:gd name="connsiteY192" fmla="*/ 489142 h 2373250"/>
              <a:gd name="connsiteX193" fmla="*/ 97358 w 1804943"/>
              <a:gd name="connsiteY193" fmla="*/ 464962 h 2373250"/>
              <a:gd name="connsiteX194" fmla="*/ 106521 w 1804943"/>
              <a:gd name="connsiteY194" fmla="*/ 441336 h 2373250"/>
              <a:gd name="connsiteX195" fmla="*/ 116178 w 1804943"/>
              <a:gd name="connsiteY195" fmla="*/ 418257 h 2373250"/>
              <a:gd name="connsiteX196" fmla="*/ 126320 w 1804943"/>
              <a:gd name="connsiteY196" fmla="*/ 395738 h 2373250"/>
              <a:gd name="connsiteX197" fmla="*/ 136966 w 1804943"/>
              <a:gd name="connsiteY197" fmla="*/ 373780 h 2373250"/>
              <a:gd name="connsiteX198" fmla="*/ 137880 w 1804943"/>
              <a:gd name="connsiteY198" fmla="*/ 372027 h 2373250"/>
              <a:gd name="connsiteX199" fmla="*/ 137881 w 1804943"/>
              <a:gd name="connsiteY199" fmla="*/ 372027 h 2373250"/>
              <a:gd name="connsiteX200" fmla="*/ 148122 w 1804943"/>
              <a:gd name="connsiteY200" fmla="*/ 352391 h 2373250"/>
              <a:gd name="connsiteX201" fmla="*/ 159787 w 1804943"/>
              <a:gd name="connsiteY201" fmla="*/ 331571 h 2373250"/>
              <a:gd name="connsiteX202" fmla="*/ 171988 w 1804943"/>
              <a:gd name="connsiteY202" fmla="*/ 311336 h 2373250"/>
              <a:gd name="connsiteX203" fmla="*/ 184719 w 1804943"/>
              <a:gd name="connsiteY203" fmla="*/ 291677 h 2373250"/>
              <a:gd name="connsiteX204" fmla="*/ 197988 w 1804943"/>
              <a:gd name="connsiteY204" fmla="*/ 272618 h 2373250"/>
              <a:gd name="connsiteX205" fmla="*/ 211812 w 1804943"/>
              <a:gd name="connsiteY205" fmla="*/ 254143 h 2373250"/>
              <a:gd name="connsiteX206" fmla="*/ 241142 w 1804943"/>
              <a:gd name="connsiteY206" fmla="*/ 219015 h 2373250"/>
              <a:gd name="connsiteX207" fmla="*/ 272787 w 1804943"/>
              <a:gd name="connsiteY207" fmla="*/ 186325 h 2373250"/>
              <a:gd name="connsiteX208" fmla="*/ 306808 w 1804943"/>
              <a:gd name="connsiteY208" fmla="*/ 156118 h 2373250"/>
              <a:gd name="connsiteX209" fmla="*/ 343266 w 1804943"/>
              <a:gd name="connsiteY209" fmla="*/ 128447 h 2373250"/>
              <a:gd name="connsiteX210" fmla="*/ 362432 w 1804943"/>
              <a:gd name="connsiteY210" fmla="*/ 115578 h 2373250"/>
              <a:gd name="connsiteX211" fmla="*/ 382237 w 1804943"/>
              <a:gd name="connsiteY211" fmla="*/ 103346 h 2373250"/>
              <a:gd name="connsiteX212" fmla="*/ 402689 w 1804943"/>
              <a:gd name="connsiteY212" fmla="*/ 91775 h 2373250"/>
              <a:gd name="connsiteX213" fmla="*/ 423793 w 1804943"/>
              <a:gd name="connsiteY213" fmla="*/ 80865 h 2373250"/>
              <a:gd name="connsiteX214" fmla="*/ 445558 w 1804943"/>
              <a:gd name="connsiteY214" fmla="*/ 70617 h 2373250"/>
              <a:gd name="connsiteX215" fmla="*/ 467992 w 1804943"/>
              <a:gd name="connsiteY215" fmla="*/ 61045 h 2373250"/>
              <a:gd name="connsiteX216" fmla="*/ 491103 w 1804943"/>
              <a:gd name="connsiteY216" fmla="*/ 52142 h 2373250"/>
              <a:gd name="connsiteX217" fmla="*/ 514906 w 1804943"/>
              <a:gd name="connsiteY217" fmla="*/ 43923 h 2373250"/>
              <a:gd name="connsiteX218" fmla="*/ 539409 w 1804943"/>
              <a:gd name="connsiteY218" fmla="*/ 36389 h 2373250"/>
              <a:gd name="connsiteX219" fmla="*/ 564612 w 1804943"/>
              <a:gd name="connsiteY219" fmla="*/ 29553 h 2373250"/>
              <a:gd name="connsiteX220" fmla="*/ 590528 w 1804943"/>
              <a:gd name="connsiteY220" fmla="*/ 23403 h 2373250"/>
              <a:gd name="connsiteX221" fmla="*/ 617160 w 1804943"/>
              <a:gd name="connsiteY221" fmla="*/ 17967 h 2373250"/>
              <a:gd name="connsiteX222" fmla="*/ 644530 w 1804943"/>
              <a:gd name="connsiteY222" fmla="*/ 13231 h 2373250"/>
              <a:gd name="connsiteX223" fmla="*/ 672639 w 1804943"/>
              <a:gd name="connsiteY223" fmla="*/ 9210 h 2373250"/>
              <a:gd name="connsiteX224" fmla="*/ 701494 w 1804943"/>
              <a:gd name="connsiteY224" fmla="*/ 5912 h 2373250"/>
              <a:gd name="connsiteX225" fmla="*/ 731100 w 1804943"/>
              <a:gd name="connsiteY225" fmla="*/ 3336 h 2373250"/>
              <a:gd name="connsiteX226" fmla="*/ 761477 w 1804943"/>
              <a:gd name="connsiteY226" fmla="*/ 1484 h 2373250"/>
              <a:gd name="connsiteX227" fmla="*/ 792621 w 1804943"/>
              <a:gd name="connsiteY227" fmla="*/ 377 h 23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804943" h="2373250">
                <a:moveTo>
                  <a:pt x="1135564" y="15338"/>
                </a:moveTo>
                <a:lnTo>
                  <a:pt x="1804943" y="15338"/>
                </a:lnTo>
                <a:lnTo>
                  <a:pt x="1804943" y="121436"/>
                </a:lnTo>
                <a:lnTo>
                  <a:pt x="1260314" y="121436"/>
                </a:lnTo>
                <a:lnTo>
                  <a:pt x="1260314" y="372027"/>
                </a:lnTo>
                <a:lnTo>
                  <a:pt x="1260314" y="2258004"/>
                </a:lnTo>
                <a:lnTo>
                  <a:pt x="1804943" y="2258004"/>
                </a:lnTo>
                <a:lnTo>
                  <a:pt x="1804943" y="2364102"/>
                </a:lnTo>
                <a:lnTo>
                  <a:pt x="1135564" y="2364102"/>
                </a:lnTo>
                <a:lnTo>
                  <a:pt x="1135564" y="2258004"/>
                </a:lnTo>
                <a:lnTo>
                  <a:pt x="1135564" y="372027"/>
                </a:lnTo>
                <a:lnTo>
                  <a:pt x="1135564" y="121436"/>
                </a:lnTo>
                <a:close/>
                <a:moveTo>
                  <a:pt x="824551" y="0"/>
                </a:moveTo>
                <a:lnTo>
                  <a:pt x="824551" y="106498"/>
                </a:lnTo>
                <a:lnTo>
                  <a:pt x="793382" y="106920"/>
                </a:lnTo>
                <a:lnTo>
                  <a:pt x="763107" y="108189"/>
                </a:lnTo>
                <a:lnTo>
                  <a:pt x="733699" y="110296"/>
                </a:lnTo>
                <a:lnTo>
                  <a:pt x="705152" y="113240"/>
                </a:lnTo>
                <a:lnTo>
                  <a:pt x="677451" y="117008"/>
                </a:lnTo>
                <a:lnTo>
                  <a:pt x="650596" y="121598"/>
                </a:lnTo>
                <a:lnTo>
                  <a:pt x="624564" y="126995"/>
                </a:lnTo>
                <a:lnTo>
                  <a:pt x="599346" y="133207"/>
                </a:lnTo>
                <a:lnTo>
                  <a:pt x="574929" y="140218"/>
                </a:lnTo>
                <a:lnTo>
                  <a:pt x="551302" y="148022"/>
                </a:lnTo>
                <a:lnTo>
                  <a:pt x="528461" y="156617"/>
                </a:lnTo>
                <a:lnTo>
                  <a:pt x="506387" y="165997"/>
                </a:lnTo>
                <a:lnTo>
                  <a:pt x="485076" y="176146"/>
                </a:lnTo>
                <a:lnTo>
                  <a:pt x="464502" y="187071"/>
                </a:lnTo>
                <a:lnTo>
                  <a:pt x="425554" y="211204"/>
                </a:lnTo>
                <a:lnTo>
                  <a:pt x="389457" y="238344"/>
                </a:lnTo>
                <a:lnTo>
                  <a:pt x="356105" y="268436"/>
                </a:lnTo>
                <a:lnTo>
                  <a:pt x="325421" y="301433"/>
                </a:lnTo>
                <a:lnTo>
                  <a:pt x="297313" y="337284"/>
                </a:lnTo>
                <a:lnTo>
                  <a:pt x="284189" y="356266"/>
                </a:lnTo>
                <a:lnTo>
                  <a:pt x="274169" y="372027"/>
                </a:lnTo>
                <a:lnTo>
                  <a:pt x="271680" y="375940"/>
                </a:lnTo>
                <a:lnTo>
                  <a:pt x="259763" y="396306"/>
                </a:lnTo>
                <a:lnTo>
                  <a:pt x="248431" y="417348"/>
                </a:lnTo>
                <a:lnTo>
                  <a:pt x="237675" y="439077"/>
                </a:lnTo>
                <a:lnTo>
                  <a:pt x="227480" y="461465"/>
                </a:lnTo>
                <a:lnTo>
                  <a:pt x="217839" y="484522"/>
                </a:lnTo>
                <a:lnTo>
                  <a:pt x="208737" y="508239"/>
                </a:lnTo>
                <a:lnTo>
                  <a:pt x="200156" y="532604"/>
                </a:lnTo>
                <a:lnTo>
                  <a:pt x="192100" y="557614"/>
                </a:lnTo>
                <a:lnTo>
                  <a:pt x="184542" y="583262"/>
                </a:lnTo>
                <a:lnTo>
                  <a:pt x="177484" y="609541"/>
                </a:lnTo>
                <a:lnTo>
                  <a:pt x="170903" y="636450"/>
                </a:lnTo>
                <a:lnTo>
                  <a:pt x="164799" y="663974"/>
                </a:lnTo>
                <a:lnTo>
                  <a:pt x="159148" y="692121"/>
                </a:lnTo>
                <a:lnTo>
                  <a:pt x="153950" y="720867"/>
                </a:lnTo>
                <a:lnTo>
                  <a:pt x="149183" y="750212"/>
                </a:lnTo>
                <a:lnTo>
                  <a:pt x="144839" y="780158"/>
                </a:lnTo>
                <a:lnTo>
                  <a:pt x="140910" y="810689"/>
                </a:lnTo>
                <a:lnTo>
                  <a:pt x="137390" y="841803"/>
                </a:lnTo>
                <a:lnTo>
                  <a:pt x="134253" y="873494"/>
                </a:lnTo>
                <a:lnTo>
                  <a:pt x="131501" y="905754"/>
                </a:lnTo>
                <a:lnTo>
                  <a:pt x="129109" y="938575"/>
                </a:lnTo>
                <a:lnTo>
                  <a:pt x="127073" y="971958"/>
                </a:lnTo>
                <a:lnTo>
                  <a:pt x="125389" y="1005886"/>
                </a:lnTo>
                <a:lnTo>
                  <a:pt x="124027" y="1040360"/>
                </a:lnTo>
                <a:lnTo>
                  <a:pt x="122997" y="1075373"/>
                </a:lnTo>
                <a:lnTo>
                  <a:pt x="122267" y="1110923"/>
                </a:lnTo>
                <a:lnTo>
                  <a:pt x="121844" y="1146996"/>
                </a:lnTo>
                <a:lnTo>
                  <a:pt x="121706" y="1183585"/>
                </a:lnTo>
                <a:lnTo>
                  <a:pt x="121829" y="1220003"/>
                </a:lnTo>
                <a:lnTo>
                  <a:pt x="122229" y="1255892"/>
                </a:lnTo>
                <a:lnTo>
                  <a:pt x="122897" y="1291258"/>
                </a:lnTo>
                <a:lnTo>
                  <a:pt x="123850" y="1326087"/>
                </a:lnTo>
                <a:lnTo>
                  <a:pt x="125111" y="1360376"/>
                </a:lnTo>
                <a:lnTo>
                  <a:pt x="126679" y="1394113"/>
                </a:lnTo>
                <a:lnTo>
                  <a:pt x="128571" y="1427303"/>
                </a:lnTo>
                <a:lnTo>
                  <a:pt x="130802" y="1459939"/>
                </a:lnTo>
                <a:lnTo>
                  <a:pt x="133368" y="1492006"/>
                </a:lnTo>
                <a:lnTo>
                  <a:pt x="136298" y="1523513"/>
                </a:lnTo>
                <a:lnTo>
                  <a:pt x="139596" y="1554442"/>
                </a:lnTo>
                <a:lnTo>
                  <a:pt x="143271" y="1584796"/>
                </a:lnTo>
                <a:lnTo>
                  <a:pt x="147338" y="1614566"/>
                </a:lnTo>
                <a:lnTo>
                  <a:pt x="151813" y="1643750"/>
                </a:lnTo>
                <a:lnTo>
                  <a:pt x="156702" y="1672334"/>
                </a:lnTo>
                <a:lnTo>
                  <a:pt x="162015" y="1700320"/>
                </a:lnTo>
                <a:lnTo>
                  <a:pt x="167766" y="1727705"/>
                </a:lnTo>
                <a:lnTo>
                  <a:pt x="173962" y="1754476"/>
                </a:lnTo>
                <a:lnTo>
                  <a:pt x="180629" y="1780631"/>
                </a:lnTo>
                <a:lnTo>
                  <a:pt x="187755" y="1806164"/>
                </a:lnTo>
                <a:lnTo>
                  <a:pt x="195374" y="1831074"/>
                </a:lnTo>
                <a:lnTo>
                  <a:pt x="203485" y="1855346"/>
                </a:lnTo>
                <a:lnTo>
                  <a:pt x="212112" y="1878988"/>
                </a:lnTo>
                <a:lnTo>
                  <a:pt x="221245" y="1901983"/>
                </a:lnTo>
                <a:lnTo>
                  <a:pt x="230917" y="1924332"/>
                </a:lnTo>
                <a:lnTo>
                  <a:pt x="241128" y="1946029"/>
                </a:lnTo>
                <a:lnTo>
                  <a:pt x="251891" y="1967064"/>
                </a:lnTo>
                <a:lnTo>
                  <a:pt x="263216" y="1987430"/>
                </a:lnTo>
                <a:lnTo>
                  <a:pt x="287611" y="2026164"/>
                </a:lnTo>
                <a:lnTo>
                  <a:pt x="314404" y="2062168"/>
                </a:lnTo>
                <a:lnTo>
                  <a:pt x="343681" y="2095412"/>
                </a:lnTo>
                <a:lnTo>
                  <a:pt x="375541" y="2125849"/>
                </a:lnTo>
                <a:lnTo>
                  <a:pt x="410077" y="2153435"/>
                </a:lnTo>
                <a:lnTo>
                  <a:pt x="447372" y="2178130"/>
                </a:lnTo>
                <a:lnTo>
                  <a:pt x="487529" y="2199888"/>
                </a:lnTo>
                <a:lnTo>
                  <a:pt x="508702" y="2209652"/>
                </a:lnTo>
                <a:lnTo>
                  <a:pt x="530629" y="2218662"/>
                </a:lnTo>
                <a:lnTo>
                  <a:pt x="553317" y="2226920"/>
                </a:lnTo>
                <a:lnTo>
                  <a:pt x="576782" y="2234416"/>
                </a:lnTo>
                <a:lnTo>
                  <a:pt x="601022" y="2241150"/>
                </a:lnTo>
                <a:lnTo>
                  <a:pt x="626056" y="2247109"/>
                </a:lnTo>
                <a:lnTo>
                  <a:pt x="651904" y="2252291"/>
                </a:lnTo>
                <a:lnTo>
                  <a:pt x="678567" y="2256688"/>
                </a:lnTo>
                <a:lnTo>
                  <a:pt x="706061" y="2260301"/>
                </a:lnTo>
                <a:lnTo>
                  <a:pt x="734390" y="2263116"/>
                </a:lnTo>
                <a:lnTo>
                  <a:pt x="763575" y="2265138"/>
                </a:lnTo>
                <a:lnTo>
                  <a:pt x="793630" y="2266352"/>
                </a:lnTo>
                <a:lnTo>
                  <a:pt x="824551" y="2266760"/>
                </a:lnTo>
                <a:lnTo>
                  <a:pt x="824551" y="2373250"/>
                </a:lnTo>
                <a:lnTo>
                  <a:pt x="792476" y="2372881"/>
                </a:lnTo>
                <a:lnTo>
                  <a:pt x="761193" y="2371759"/>
                </a:lnTo>
                <a:lnTo>
                  <a:pt x="730694" y="2369898"/>
                </a:lnTo>
                <a:lnTo>
                  <a:pt x="700970" y="2367307"/>
                </a:lnTo>
                <a:lnTo>
                  <a:pt x="672008" y="2363986"/>
                </a:lnTo>
                <a:lnTo>
                  <a:pt x="643800" y="2359941"/>
                </a:lnTo>
                <a:lnTo>
                  <a:pt x="616345" y="2355175"/>
                </a:lnTo>
                <a:lnTo>
                  <a:pt x="589621" y="2349701"/>
                </a:lnTo>
                <a:lnTo>
                  <a:pt x="563635" y="2343519"/>
                </a:lnTo>
                <a:lnTo>
                  <a:pt x="538363" y="2336631"/>
                </a:lnTo>
                <a:lnTo>
                  <a:pt x="513800" y="2329050"/>
                </a:lnTo>
                <a:lnTo>
                  <a:pt x="489950" y="2320785"/>
                </a:lnTo>
                <a:lnTo>
                  <a:pt x="466785" y="2311829"/>
                </a:lnTo>
                <a:lnTo>
                  <a:pt x="444312" y="2302195"/>
                </a:lnTo>
                <a:lnTo>
                  <a:pt x="422516" y="2291885"/>
                </a:lnTo>
                <a:lnTo>
                  <a:pt x="401389" y="2280906"/>
                </a:lnTo>
                <a:lnTo>
                  <a:pt x="380915" y="2269266"/>
                </a:lnTo>
                <a:lnTo>
                  <a:pt x="361094" y="2256965"/>
                </a:lnTo>
                <a:lnTo>
                  <a:pt x="341921" y="2244018"/>
                </a:lnTo>
                <a:lnTo>
                  <a:pt x="305456" y="2216179"/>
                </a:lnTo>
                <a:lnTo>
                  <a:pt x="271450" y="2185803"/>
                </a:lnTo>
                <a:lnTo>
                  <a:pt x="239844" y="2152920"/>
                </a:lnTo>
                <a:lnTo>
                  <a:pt x="210559" y="2117584"/>
                </a:lnTo>
                <a:lnTo>
                  <a:pt x="196759" y="2099010"/>
                </a:lnTo>
                <a:lnTo>
                  <a:pt x="183519" y="2079843"/>
                </a:lnTo>
                <a:lnTo>
                  <a:pt x="170826" y="2060076"/>
                </a:lnTo>
                <a:lnTo>
                  <a:pt x="158670" y="2039725"/>
                </a:lnTo>
                <a:lnTo>
                  <a:pt x="147039" y="2018790"/>
                </a:lnTo>
                <a:lnTo>
                  <a:pt x="135929" y="1997286"/>
                </a:lnTo>
                <a:lnTo>
                  <a:pt x="125326" y="1975206"/>
                </a:lnTo>
                <a:lnTo>
                  <a:pt x="115224" y="1952564"/>
                </a:lnTo>
                <a:lnTo>
                  <a:pt x="105621" y="1929369"/>
                </a:lnTo>
                <a:lnTo>
                  <a:pt x="96495" y="1905612"/>
                </a:lnTo>
                <a:lnTo>
                  <a:pt x="87846" y="1881309"/>
                </a:lnTo>
                <a:lnTo>
                  <a:pt x="79666" y="1856461"/>
                </a:lnTo>
                <a:lnTo>
                  <a:pt x="71947" y="1831082"/>
                </a:lnTo>
                <a:lnTo>
                  <a:pt x="64675" y="1805165"/>
                </a:lnTo>
                <a:lnTo>
                  <a:pt x="57839" y="1778725"/>
                </a:lnTo>
                <a:lnTo>
                  <a:pt x="51435" y="1751762"/>
                </a:lnTo>
                <a:lnTo>
                  <a:pt x="45461" y="1724284"/>
                </a:lnTo>
                <a:lnTo>
                  <a:pt x="39895" y="1696292"/>
                </a:lnTo>
                <a:lnTo>
                  <a:pt x="34736" y="1667799"/>
                </a:lnTo>
                <a:lnTo>
                  <a:pt x="29969" y="1638806"/>
                </a:lnTo>
                <a:lnTo>
                  <a:pt x="25595" y="1609322"/>
                </a:lnTo>
                <a:lnTo>
                  <a:pt x="21597" y="1579352"/>
                </a:lnTo>
                <a:lnTo>
                  <a:pt x="17967" y="1548893"/>
                </a:lnTo>
                <a:lnTo>
                  <a:pt x="14708" y="1517963"/>
                </a:lnTo>
                <a:lnTo>
                  <a:pt x="11794" y="1486556"/>
                </a:lnTo>
                <a:lnTo>
                  <a:pt x="9226" y="1454681"/>
                </a:lnTo>
                <a:lnTo>
                  <a:pt x="6989" y="1422351"/>
                </a:lnTo>
                <a:lnTo>
                  <a:pt x="5082" y="1389569"/>
                </a:lnTo>
                <a:lnTo>
                  <a:pt x="3490" y="1356325"/>
                </a:lnTo>
                <a:lnTo>
                  <a:pt x="2206" y="1322649"/>
                </a:lnTo>
                <a:lnTo>
                  <a:pt x="1230" y="1288530"/>
                </a:lnTo>
                <a:lnTo>
                  <a:pt x="540" y="1253971"/>
                </a:lnTo>
                <a:lnTo>
                  <a:pt x="132" y="1218989"/>
                </a:lnTo>
                <a:lnTo>
                  <a:pt x="0" y="1183585"/>
                </a:lnTo>
                <a:lnTo>
                  <a:pt x="132" y="1148334"/>
                </a:lnTo>
                <a:lnTo>
                  <a:pt x="546" y="1113498"/>
                </a:lnTo>
                <a:lnTo>
                  <a:pt x="1254" y="1079094"/>
                </a:lnTo>
                <a:lnTo>
                  <a:pt x="2246" y="1045127"/>
                </a:lnTo>
                <a:lnTo>
                  <a:pt x="3544" y="1011590"/>
                </a:lnTo>
                <a:lnTo>
                  <a:pt x="5159" y="978500"/>
                </a:lnTo>
                <a:lnTo>
                  <a:pt x="7096" y="945863"/>
                </a:lnTo>
                <a:lnTo>
                  <a:pt x="9356" y="913681"/>
                </a:lnTo>
                <a:lnTo>
                  <a:pt x="11964" y="881951"/>
                </a:lnTo>
                <a:lnTo>
                  <a:pt x="14909" y="850691"/>
                </a:lnTo>
                <a:lnTo>
                  <a:pt x="18214" y="819907"/>
                </a:lnTo>
                <a:lnTo>
                  <a:pt x="21881" y="789592"/>
                </a:lnTo>
                <a:lnTo>
                  <a:pt x="25917" y="759762"/>
                </a:lnTo>
                <a:lnTo>
                  <a:pt x="30338" y="730423"/>
                </a:lnTo>
                <a:lnTo>
                  <a:pt x="35152" y="701569"/>
                </a:lnTo>
                <a:lnTo>
                  <a:pt x="40356" y="673215"/>
                </a:lnTo>
                <a:lnTo>
                  <a:pt x="45968" y="645368"/>
                </a:lnTo>
                <a:lnTo>
                  <a:pt x="51996" y="618029"/>
                </a:lnTo>
                <a:lnTo>
                  <a:pt x="58446" y="591204"/>
                </a:lnTo>
                <a:lnTo>
                  <a:pt x="65335" y="564895"/>
                </a:lnTo>
                <a:lnTo>
                  <a:pt x="72655" y="539109"/>
                </a:lnTo>
                <a:lnTo>
                  <a:pt x="80428" y="513860"/>
                </a:lnTo>
                <a:lnTo>
                  <a:pt x="88661" y="489142"/>
                </a:lnTo>
                <a:lnTo>
                  <a:pt x="97358" y="464962"/>
                </a:lnTo>
                <a:lnTo>
                  <a:pt x="106521" y="441336"/>
                </a:lnTo>
                <a:lnTo>
                  <a:pt x="116178" y="418257"/>
                </a:lnTo>
                <a:lnTo>
                  <a:pt x="126320" y="395738"/>
                </a:lnTo>
                <a:lnTo>
                  <a:pt x="136966" y="373780"/>
                </a:lnTo>
                <a:lnTo>
                  <a:pt x="137880" y="372027"/>
                </a:lnTo>
                <a:lnTo>
                  <a:pt x="137881" y="372027"/>
                </a:lnTo>
                <a:lnTo>
                  <a:pt x="148122" y="352391"/>
                </a:lnTo>
                <a:lnTo>
                  <a:pt x="159787" y="331571"/>
                </a:lnTo>
                <a:lnTo>
                  <a:pt x="171988" y="311336"/>
                </a:lnTo>
                <a:lnTo>
                  <a:pt x="184719" y="291677"/>
                </a:lnTo>
                <a:lnTo>
                  <a:pt x="197988" y="272618"/>
                </a:lnTo>
                <a:lnTo>
                  <a:pt x="211812" y="254143"/>
                </a:lnTo>
                <a:lnTo>
                  <a:pt x="241142" y="219015"/>
                </a:lnTo>
                <a:lnTo>
                  <a:pt x="272787" y="186325"/>
                </a:lnTo>
                <a:lnTo>
                  <a:pt x="306808" y="156118"/>
                </a:lnTo>
                <a:lnTo>
                  <a:pt x="343266" y="128447"/>
                </a:lnTo>
                <a:lnTo>
                  <a:pt x="362432" y="115578"/>
                </a:lnTo>
                <a:lnTo>
                  <a:pt x="382237" y="103346"/>
                </a:lnTo>
                <a:lnTo>
                  <a:pt x="402689" y="91775"/>
                </a:lnTo>
                <a:lnTo>
                  <a:pt x="423793" y="80865"/>
                </a:lnTo>
                <a:lnTo>
                  <a:pt x="445558" y="70617"/>
                </a:lnTo>
                <a:lnTo>
                  <a:pt x="467992" y="61045"/>
                </a:lnTo>
                <a:lnTo>
                  <a:pt x="491103" y="52142"/>
                </a:lnTo>
                <a:lnTo>
                  <a:pt x="514906" y="43923"/>
                </a:lnTo>
                <a:lnTo>
                  <a:pt x="539409" y="36389"/>
                </a:lnTo>
                <a:lnTo>
                  <a:pt x="564612" y="29553"/>
                </a:lnTo>
                <a:lnTo>
                  <a:pt x="590528" y="23403"/>
                </a:lnTo>
                <a:lnTo>
                  <a:pt x="617160" y="17967"/>
                </a:lnTo>
                <a:lnTo>
                  <a:pt x="644530" y="13231"/>
                </a:lnTo>
                <a:lnTo>
                  <a:pt x="672639" y="9210"/>
                </a:lnTo>
                <a:lnTo>
                  <a:pt x="701494" y="5912"/>
                </a:lnTo>
                <a:lnTo>
                  <a:pt x="731100" y="3336"/>
                </a:lnTo>
                <a:lnTo>
                  <a:pt x="761477" y="1484"/>
                </a:lnTo>
                <a:lnTo>
                  <a:pt x="792621" y="377"/>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3" name="Makro grafik 2">
            <a:extLst>
              <a:ext uri="{FF2B5EF4-FFF2-40B4-BE49-F238E27FC236}">
                <a16:creationId xmlns:a16="http://schemas.microsoft.com/office/drawing/2014/main" id="{3C47DF57-6C35-2F95-62C7-5AF5F1E443EA}"/>
              </a:ext>
            </a:extLst>
          </p:cNvPr>
          <p:cNvSpPr>
            <a:spLocks noGrp="1" noChangeAspect="1"/>
          </p:cNvSpPr>
          <p:nvPr>
            <p:ph type="body" sz="quarter" idx="20" hasCustomPrompt="1"/>
          </p:nvPr>
        </p:nvSpPr>
        <p:spPr>
          <a:xfrm>
            <a:off x="7625339" y="3523023"/>
            <a:ext cx="1123209" cy="1460462"/>
          </a:xfrm>
          <a:custGeom>
            <a:avLst/>
            <a:gdLst>
              <a:gd name="connsiteX0" fmla="*/ 0 w 1497612"/>
              <a:gd name="connsiteY0" fmla="*/ 1 h 1947283"/>
              <a:gd name="connsiteX1" fmla="*/ 133876 w 1497612"/>
              <a:gd name="connsiteY1" fmla="*/ 1 h 1947283"/>
              <a:gd name="connsiteX2" fmla="*/ 542054 w 1497612"/>
              <a:gd name="connsiteY2" fmla="*/ 1262003 h 1947283"/>
              <a:gd name="connsiteX3" fmla="*/ 763698 w 1497612"/>
              <a:gd name="connsiteY3" fmla="*/ 1947283 h 1947283"/>
              <a:gd name="connsiteX4" fmla="*/ 626777 w 1497612"/>
              <a:gd name="connsiteY4" fmla="*/ 1947283 h 1947283"/>
              <a:gd name="connsiteX5" fmla="*/ 406204 w 1497612"/>
              <a:gd name="connsiteY5" fmla="*/ 1262004 h 1947283"/>
              <a:gd name="connsiteX6" fmla="*/ 733914 w 1497612"/>
              <a:gd name="connsiteY6" fmla="*/ 0 h 1947283"/>
              <a:gd name="connsiteX7" fmla="*/ 867789 w 1497612"/>
              <a:gd name="connsiteY7" fmla="*/ 0 h 1947283"/>
              <a:gd name="connsiteX8" fmla="*/ 988168 w 1497612"/>
              <a:gd name="connsiteY8" fmla="*/ 372187 h 1947283"/>
              <a:gd name="connsiteX9" fmla="*/ 1497612 w 1497612"/>
              <a:gd name="connsiteY9" fmla="*/ 1947283 h 1947283"/>
              <a:gd name="connsiteX10" fmla="*/ 1360692 w 1497612"/>
              <a:gd name="connsiteY10" fmla="*/ 1947283 h 1947283"/>
              <a:gd name="connsiteX11" fmla="*/ 988168 w 1497612"/>
              <a:gd name="connsiteY11" fmla="*/ 789920 h 19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7612" h="1947283">
                <a:moveTo>
                  <a:pt x="0" y="1"/>
                </a:moveTo>
                <a:lnTo>
                  <a:pt x="133876" y="1"/>
                </a:lnTo>
                <a:lnTo>
                  <a:pt x="542054" y="1262003"/>
                </a:lnTo>
                <a:lnTo>
                  <a:pt x="763698" y="1947283"/>
                </a:lnTo>
                <a:lnTo>
                  <a:pt x="626777" y="1947283"/>
                </a:lnTo>
                <a:lnTo>
                  <a:pt x="406204" y="1262004"/>
                </a:lnTo>
                <a:close/>
                <a:moveTo>
                  <a:pt x="733914" y="0"/>
                </a:moveTo>
                <a:lnTo>
                  <a:pt x="867789" y="0"/>
                </a:lnTo>
                <a:lnTo>
                  <a:pt x="988168" y="372187"/>
                </a:lnTo>
                <a:lnTo>
                  <a:pt x="1497612" y="1947283"/>
                </a:lnTo>
                <a:lnTo>
                  <a:pt x="1360692" y="1947283"/>
                </a:lnTo>
                <a:lnTo>
                  <a:pt x="988168" y="78992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4" name="TextBox 1">
            <a:extLst>
              <a:ext uri="{FF2B5EF4-FFF2-40B4-BE49-F238E27FC236}">
                <a16:creationId xmlns:a16="http://schemas.microsoft.com/office/drawing/2014/main" id="{38C4D288-BF41-D871-ACA4-A53FE219D09D}"/>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pic>
        <p:nvPicPr>
          <p:cNvPr id="7" name="Picture 6" descr="A logo with a crown on it&#10;&#10;Description automatically generated">
            <a:extLst>
              <a:ext uri="{FF2B5EF4-FFF2-40B4-BE49-F238E27FC236}">
                <a16:creationId xmlns:a16="http://schemas.microsoft.com/office/drawing/2014/main" id="{7610CE37-0126-8275-5FAC-D4E07E4607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4813" y="207967"/>
            <a:ext cx="2150000" cy="307143"/>
          </a:xfrm>
          <a:prstGeom prst="rect">
            <a:avLst/>
          </a:prstGeom>
        </p:spPr>
      </p:pic>
    </p:spTree>
    <p:extLst>
      <p:ext uri="{BB962C8B-B14F-4D97-AF65-F5344CB8AC3E}">
        <p14:creationId xmlns:p14="http://schemas.microsoft.com/office/powerpoint/2010/main" val="3607120626"/>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gital Post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dirty="0"/>
          </a:p>
        </p:txBody>
      </p:sp>
      <p:sp>
        <p:nvSpPr>
          <p:cNvPr id="25" name="Makro grafik 1">
            <a:extLst>
              <a:ext uri="{FF2B5EF4-FFF2-40B4-BE49-F238E27FC236}">
                <a16:creationId xmlns:a16="http://schemas.microsoft.com/office/drawing/2014/main" id="{F2E0EEBD-7C39-E8CB-108F-09AF0CD4D448}"/>
              </a:ext>
            </a:extLst>
          </p:cNvPr>
          <p:cNvSpPr>
            <a:spLocks noGrp="1" noChangeAspect="1"/>
          </p:cNvSpPr>
          <p:nvPr>
            <p:ph type="body" sz="quarter" idx="19" hasCustomPrompt="1"/>
          </p:nvPr>
        </p:nvSpPr>
        <p:spPr>
          <a:xfrm>
            <a:off x="2827574" y="391015"/>
            <a:ext cx="1353707" cy="1779938"/>
          </a:xfrm>
          <a:custGeom>
            <a:avLst/>
            <a:gdLst>
              <a:gd name="connsiteX0" fmla="*/ 1135564 w 1804943"/>
              <a:gd name="connsiteY0" fmla="*/ 15338 h 2373250"/>
              <a:gd name="connsiteX1" fmla="*/ 1804943 w 1804943"/>
              <a:gd name="connsiteY1" fmla="*/ 15338 h 2373250"/>
              <a:gd name="connsiteX2" fmla="*/ 1804943 w 1804943"/>
              <a:gd name="connsiteY2" fmla="*/ 121436 h 2373250"/>
              <a:gd name="connsiteX3" fmla="*/ 1260314 w 1804943"/>
              <a:gd name="connsiteY3" fmla="*/ 121436 h 2373250"/>
              <a:gd name="connsiteX4" fmla="*/ 1260314 w 1804943"/>
              <a:gd name="connsiteY4" fmla="*/ 372027 h 2373250"/>
              <a:gd name="connsiteX5" fmla="*/ 1260314 w 1804943"/>
              <a:gd name="connsiteY5" fmla="*/ 2258004 h 2373250"/>
              <a:gd name="connsiteX6" fmla="*/ 1804943 w 1804943"/>
              <a:gd name="connsiteY6" fmla="*/ 2258004 h 2373250"/>
              <a:gd name="connsiteX7" fmla="*/ 1804943 w 1804943"/>
              <a:gd name="connsiteY7" fmla="*/ 2364102 h 2373250"/>
              <a:gd name="connsiteX8" fmla="*/ 1135564 w 1804943"/>
              <a:gd name="connsiteY8" fmla="*/ 2364102 h 2373250"/>
              <a:gd name="connsiteX9" fmla="*/ 1135564 w 1804943"/>
              <a:gd name="connsiteY9" fmla="*/ 2258004 h 2373250"/>
              <a:gd name="connsiteX10" fmla="*/ 1135564 w 1804943"/>
              <a:gd name="connsiteY10" fmla="*/ 372027 h 2373250"/>
              <a:gd name="connsiteX11" fmla="*/ 1135564 w 1804943"/>
              <a:gd name="connsiteY11" fmla="*/ 121436 h 2373250"/>
              <a:gd name="connsiteX12" fmla="*/ 824551 w 1804943"/>
              <a:gd name="connsiteY12" fmla="*/ 0 h 2373250"/>
              <a:gd name="connsiteX13" fmla="*/ 824551 w 1804943"/>
              <a:gd name="connsiteY13" fmla="*/ 106498 h 2373250"/>
              <a:gd name="connsiteX14" fmla="*/ 793382 w 1804943"/>
              <a:gd name="connsiteY14" fmla="*/ 106920 h 2373250"/>
              <a:gd name="connsiteX15" fmla="*/ 763107 w 1804943"/>
              <a:gd name="connsiteY15" fmla="*/ 108189 h 2373250"/>
              <a:gd name="connsiteX16" fmla="*/ 733699 w 1804943"/>
              <a:gd name="connsiteY16" fmla="*/ 110296 h 2373250"/>
              <a:gd name="connsiteX17" fmla="*/ 705152 w 1804943"/>
              <a:gd name="connsiteY17" fmla="*/ 113240 h 2373250"/>
              <a:gd name="connsiteX18" fmla="*/ 677451 w 1804943"/>
              <a:gd name="connsiteY18" fmla="*/ 117008 h 2373250"/>
              <a:gd name="connsiteX19" fmla="*/ 650596 w 1804943"/>
              <a:gd name="connsiteY19" fmla="*/ 121598 h 2373250"/>
              <a:gd name="connsiteX20" fmla="*/ 624564 w 1804943"/>
              <a:gd name="connsiteY20" fmla="*/ 126995 h 2373250"/>
              <a:gd name="connsiteX21" fmla="*/ 599346 w 1804943"/>
              <a:gd name="connsiteY21" fmla="*/ 133207 h 2373250"/>
              <a:gd name="connsiteX22" fmla="*/ 574929 w 1804943"/>
              <a:gd name="connsiteY22" fmla="*/ 140218 h 2373250"/>
              <a:gd name="connsiteX23" fmla="*/ 551302 w 1804943"/>
              <a:gd name="connsiteY23" fmla="*/ 148022 h 2373250"/>
              <a:gd name="connsiteX24" fmla="*/ 528461 w 1804943"/>
              <a:gd name="connsiteY24" fmla="*/ 156617 h 2373250"/>
              <a:gd name="connsiteX25" fmla="*/ 506387 w 1804943"/>
              <a:gd name="connsiteY25" fmla="*/ 165997 h 2373250"/>
              <a:gd name="connsiteX26" fmla="*/ 485076 w 1804943"/>
              <a:gd name="connsiteY26" fmla="*/ 176146 h 2373250"/>
              <a:gd name="connsiteX27" fmla="*/ 464502 w 1804943"/>
              <a:gd name="connsiteY27" fmla="*/ 187071 h 2373250"/>
              <a:gd name="connsiteX28" fmla="*/ 425554 w 1804943"/>
              <a:gd name="connsiteY28" fmla="*/ 211204 h 2373250"/>
              <a:gd name="connsiteX29" fmla="*/ 389457 w 1804943"/>
              <a:gd name="connsiteY29" fmla="*/ 238344 h 2373250"/>
              <a:gd name="connsiteX30" fmla="*/ 356105 w 1804943"/>
              <a:gd name="connsiteY30" fmla="*/ 268436 h 2373250"/>
              <a:gd name="connsiteX31" fmla="*/ 325421 w 1804943"/>
              <a:gd name="connsiteY31" fmla="*/ 301433 h 2373250"/>
              <a:gd name="connsiteX32" fmla="*/ 297313 w 1804943"/>
              <a:gd name="connsiteY32" fmla="*/ 337284 h 2373250"/>
              <a:gd name="connsiteX33" fmla="*/ 284189 w 1804943"/>
              <a:gd name="connsiteY33" fmla="*/ 356266 h 2373250"/>
              <a:gd name="connsiteX34" fmla="*/ 274169 w 1804943"/>
              <a:gd name="connsiteY34" fmla="*/ 372027 h 2373250"/>
              <a:gd name="connsiteX35" fmla="*/ 271680 w 1804943"/>
              <a:gd name="connsiteY35" fmla="*/ 375940 h 2373250"/>
              <a:gd name="connsiteX36" fmla="*/ 259763 w 1804943"/>
              <a:gd name="connsiteY36" fmla="*/ 396306 h 2373250"/>
              <a:gd name="connsiteX37" fmla="*/ 248431 w 1804943"/>
              <a:gd name="connsiteY37" fmla="*/ 417348 h 2373250"/>
              <a:gd name="connsiteX38" fmla="*/ 237675 w 1804943"/>
              <a:gd name="connsiteY38" fmla="*/ 439077 h 2373250"/>
              <a:gd name="connsiteX39" fmla="*/ 227480 w 1804943"/>
              <a:gd name="connsiteY39" fmla="*/ 461465 h 2373250"/>
              <a:gd name="connsiteX40" fmla="*/ 217839 w 1804943"/>
              <a:gd name="connsiteY40" fmla="*/ 484522 h 2373250"/>
              <a:gd name="connsiteX41" fmla="*/ 208737 w 1804943"/>
              <a:gd name="connsiteY41" fmla="*/ 508239 h 2373250"/>
              <a:gd name="connsiteX42" fmla="*/ 200156 w 1804943"/>
              <a:gd name="connsiteY42" fmla="*/ 532604 h 2373250"/>
              <a:gd name="connsiteX43" fmla="*/ 192100 w 1804943"/>
              <a:gd name="connsiteY43" fmla="*/ 557614 h 2373250"/>
              <a:gd name="connsiteX44" fmla="*/ 184542 w 1804943"/>
              <a:gd name="connsiteY44" fmla="*/ 583262 h 2373250"/>
              <a:gd name="connsiteX45" fmla="*/ 177484 w 1804943"/>
              <a:gd name="connsiteY45" fmla="*/ 609541 h 2373250"/>
              <a:gd name="connsiteX46" fmla="*/ 170903 w 1804943"/>
              <a:gd name="connsiteY46" fmla="*/ 636450 h 2373250"/>
              <a:gd name="connsiteX47" fmla="*/ 164799 w 1804943"/>
              <a:gd name="connsiteY47" fmla="*/ 663974 h 2373250"/>
              <a:gd name="connsiteX48" fmla="*/ 159148 w 1804943"/>
              <a:gd name="connsiteY48" fmla="*/ 692121 h 2373250"/>
              <a:gd name="connsiteX49" fmla="*/ 153950 w 1804943"/>
              <a:gd name="connsiteY49" fmla="*/ 720867 h 2373250"/>
              <a:gd name="connsiteX50" fmla="*/ 149183 w 1804943"/>
              <a:gd name="connsiteY50" fmla="*/ 750212 h 2373250"/>
              <a:gd name="connsiteX51" fmla="*/ 144839 w 1804943"/>
              <a:gd name="connsiteY51" fmla="*/ 780158 h 2373250"/>
              <a:gd name="connsiteX52" fmla="*/ 140910 w 1804943"/>
              <a:gd name="connsiteY52" fmla="*/ 810689 h 2373250"/>
              <a:gd name="connsiteX53" fmla="*/ 137390 w 1804943"/>
              <a:gd name="connsiteY53" fmla="*/ 841803 h 2373250"/>
              <a:gd name="connsiteX54" fmla="*/ 134253 w 1804943"/>
              <a:gd name="connsiteY54" fmla="*/ 873494 h 2373250"/>
              <a:gd name="connsiteX55" fmla="*/ 131501 w 1804943"/>
              <a:gd name="connsiteY55" fmla="*/ 905754 h 2373250"/>
              <a:gd name="connsiteX56" fmla="*/ 129109 w 1804943"/>
              <a:gd name="connsiteY56" fmla="*/ 938575 h 2373250"/>
              <a:gd name="connsiteX57" fmla="*/ 127073 w 1804943"/>
              <a:gd name="connsiteY57" fmla="*/ 971958 h 2373250"/>
              <a:gd name="connsiteX58" fmla="*/ 125389 w 1804943"/>
              <a:gd name="connsiteY58" fmla="*/ 1005886 h 2373250"/>
              <a:gd name="connsiteX59" fmla="*/ 124027 w 1804943"/>
              <a:gd name="connsiteY59" fmla="*/ 1040360 h 2373250"/>
              <a:gd name="connsiteX60" fmla="*/ 122997 w 1804943"/>
              <a:gd name="connsiteY60" fmla="*/ 1075373 h 2373250"/>
              <a:gd name="connsiteX61" fmla="*/ 122267 w 1804943"/>
              <a:gd name="connsiteY61" fmla="*/ 1110923 h 2373250"/>
              <a:gd name="connsiteX62" fmla="*/ 121844 w 1804943"/>
              <a:gd name="connsiteY62" fmla="*/ 1146996 h 2373250"/>
              <a:gd name="connsiteX63" fmla="*/ 121706 w 1804943"/>
              <a:gd name="connsiteY63" fmla="*/ 1183585 h 2373250"/>
              <a:gd name="connsiteX64" fmla="*/ 121829 w 1804943"/>
              <a:gd name="connsiteY64" fmla="*/ 1220003 h 2373250"/>
              <a:gd name="connsiteX65" fmla="*/ 122229 w 1804943"/>
              <a:gd name="connsiteY65" fmla="*/ 1255892 h 2373250"/>
              <a:gd name="connsiteX66" fmla="*/ 122897 w 1804943"/>
              <a:gd name="connsiteY66" fmla="*/ 1291258 h 2373250"/>
              <a:gd name="connsiteX67" fmla="*/ 123850 w 1804943"/>
              <a:gd name="connsiteY67" fmla="*/ 1326087 h 2373250"/>
              <a:gd name="connsiteX68" fmla="*/ 125111 w 1804943"/>
              <a:gd name="connsiteY68" fmla="*/ 1360376 h 2373250"/>
              <a:gd name="connsiteX69" fmla="*/ 126679 w 1804943"/>
              <a:gd name="connsiteY69" fmla="*/ 1394113 h 2373250"/>
              <a:gd name="connsiteX70" fmla="*/ 128571 w 1804943"/>
              <a:gd name="connsiteY70" fmla="*/ 1427303 h 2373250"/>
              <a:gd name="connsiteX71" fmla="*/ 130802 w 1804943"/>
              <a:gd name="connsiteY71" fmla="*/ 1459939 h 2373250"/>
              <a:gd name="connsiteX72" fmla="*/ 133368 w 1804943"/>
              <a:gd name="connsiteY72" fmla="*/ 1492006 h 2373250"/>
              <a:gd name="connsiteX73" fmla="*/ 136298 w 1804943"/>
              <a:gd name="connsiteY73" fmla="*/ 1523513 h 2373250"/>
              <a:gd name="connsiteX74" fmla="*/ 139596 w 1804943"/>
              <a:gd name="connsiteY74" fmla="*/ 1554442 h 2373250"/>
              <a:gd name="connsiteX75" fmla="*/ 143271 w 1804943"/>
              <a:gd name="connsiteY75" fmla="*/ 1584796 h 2373250"/>
              <a:gd name="connsiteX76" fmla="*/ 147338 w 1804943"/>
              <a:gd name="connsiteY76" fmla="*/ 1614566 h 2373250"/>
              <a:gd name="connsiteX77" fmla="*/ 151813 w 1804943"/>
              <a:gd name="connsiteY77" fmla="*/ 1643750 h 2373250"/>
              <a:gd name="connsiteX78" fmla="*/ 156702 w 1804943"/>
              <a:gd name="connsiteY78" fmla="*/ 1672334 h 2373250"/>
              <a:gd name="connsiteX79" fmla="*/ 162015 w 1804943"/>
              <a:gd name="connsiteY79" fmla="*/ 1700320 h 2373250"/>
              <a:gd name="connsiteX80" fmla="*/ 167766 w 1804943"/>
              <a:gd name="connsiteY80" fmla="*/ 1727705 h 2373250"/>
              <a:gd name="connsiteX81" fmla="*/ 173962 w 1804943"/>
              <a:gd name="connsiteY81" fmla="*/ 1754476 h 2373250"/>
              <a:gd name="connsiteX82" fmla="*/ 180629 w 1804943"/>
              <a:gd name="connsiteY82" fmla="*/ 1780631 h 2373250"/>
              <a:gd name="connsiteX83" fmla="*/ 187755 w 1804943"/>
              <a:gd name="connsiteY83" fmla="*/ 1806164 h 2373250"/>
              <a:gd name="connsiteX84" fmla="*/ 195374 w 1804943"/>
              <a:gd name="connsiteY84" fmla="*/ 1831074 h 2373250"/>
              <a:gd name="connsiteX85" fmla="*/ 203485 w 1804943"/>
              <a:gd name="connsiteY85" fmla="*/ 1855346 h 2373250"/>
              <a:gd name="connsiteX86" fmla="*/ 212112 w 1804943"/>
              <a:gd name="connsiteY86" fmla="*/ 1878988 h 2373250"/>
              <a:gd name="connsiteX87" fmla="*/ 221245 w 1804943"/>
              <a:gd name="connsiteY87" fmla="*/ 1901983 h 2373250"/>
              <a:gd name="connsiteX88" fmla="*/ 230917 w 1804943"/>
              <a:gd name="connsiteY88" fmla="*/ 1924332 h 2373250"/>
              <a:gd name="connsiteX89" fmla="*/ 241128 w 1804943"/>
              <a:gd name="connsiteY89" fmla="*/ 1946029 h 2373250"/>
              <a:gd name="connsiteX90" fmla="*/ 251891 w 1804943"/>
              <a:gd name="connsiteY90" fmla="*/ 1967064 h 2373250"/>
              <a:gd name="connsiteX91" fmla="*/ 263216 w 1804943"/>
              <a:gd name="connsiteY91" fmla="*/ 1987430 h 2373250"/>
              <a:gd name="connsiteX92" fmla="*/ 287611 w 1804943"/>
              <a:gd name="connsiteY92" fmla="*/ 2026164 h 2373250"/>
              <a:gd name="connsiteX93" fmla="*/ 314404 w 1804943"/>
              <a:gd name="connsiteY93" fmla="*/ 2062168 h 2373250"/>
              <a:gd name="connsiteX94" fmla="*/ 343681 w 1804943"/>
              <a:gd name="connsiteY94" fmla="*/ 2095412 h 2373250"/>
              <a:gd name="connsiteX95" fmla="*/ 375541 w 1804943"/>
              <a:gd name="connsiteY95" fmla="*/ 2125849 h 2373250"/>
              <a:gd name="connsiteX96" fmla="*/ 410077 w 1804943"/>
              <a:gd name="connsiteY96" fmla="*/ 2153435 h 2373250"/>
              <a:gd name="connsiteX97" fmla="*/ 447372 w 1804943"/>
              <a:gd name="connsiteY97" fmla="*/ 2178130 h 2373250"/>
              <a:gd name="connsiteX98" fmla="*/ 487529 w 1804943"/>
              <a:gd name="connsiteY98" fmla="*/ 2199888 h 2373250"/>
              <a:gd name="connsiteX99" fmla="*/ 508702 w 1804943"/>
              <a:gd name="connsiteY99" fmla="*/ 2209652 h 2373250"/>
              <a:gd name="connsiteX100" fmla="*/ 530629 w 1804943"/>
              <a:gd name="connsiteY100" fmla="*/ 2218662 h 2373250"/>
              <a:gd name="connsiteX101" fmla="*/ 553317 w 1804943"/>
              <a:gd name="connsiteY101" fmla="*/ 2226920 h 2373250"/>
              <a:gd name="connsiteX102" fmla="*/ 576782 w 1804943"/>
              <a:gd name="connsiteY102" fmla="*/ 2234416 h 2373250"/>
              <a:gd name="connsiteX103" fmla="*/ 601022 w 1804943"/>
              <a:gd name="connsiteY103" fmla="*/ 2241150 h 2373250"/>
              <a:gd name="connsiteX104" fmla="*/ 626056 w 1804943"/>
              <a:gd name="connsiteY104" fmla="*/ 2247109 h 2373250"/>
              <a:gd name="connsiteX105" fmla="*/ 651904 w 1804943"/>
              <a:gd name="connsiteY105" fmla="*/ 2252291 h 2373250"/>
              <a:gd name="connsiteX106" fmla="*/ 678567 w 1804943"/>
              <a:gd name="connsiteY106" fmla="*/ 2256688 h 2373250"/>
              <a:gd name="connsiteX107" fmla="*/ 706061 w 1804943"/>
              <a:gd name="connsiteY107" fmla="*/ 2260301 h 2373250"/>
              <a:gd name="connsiteX108" fmla="*/ 734390 w 1804943"/>
              <a:gd name="connsiteY108" fmla="*/ 2263116 h 2373250"/>
              <a:gd name="connsiteX109" fmla="*/ 763575 w 1804943"/>
              <a:gd name="connsiteY109" fmla="*/ 2265138 h 2373250"/>
              <a:gd name="connsiteX110" fmla="*/ 793630 w 1804943"/>
              <a:gd name="connsiteY110" fmla="*/ 2266352 h 2373250"/>
              <a:gd name="connsiteX111" fmla="*/ 824551 w 1804943"/>
              <a:gd name="connsiteY111" fmla="*/ 2266760 h 2373250"/>
              <a:gd name="connsiteX112" fmla="*/ 824551 w 1804943"/>
              <a:gd name="connsiteY112" fmla="*/ 2373250 h 2373250"/>
              <a:gd name="connsiteX113" fmla="*/ 792476 w 1804943"/>
              <a:gd name="connsiteY113" fmla="*/ 2372881 h 2373250"/>
              <a:gd name="connsiteX114" fmla="*/ 761193 w 1804943"/>
              <a:gd name="connsiteY114" fmla="*/ 2371759 h 2373250"/>
              <a:gd name="connsiteX115" fmla="*/ 730694 w 1804943"/>
              <a:gd name="connsiteY115" fmla="*/ 2369898 h 2373250"/>
              <a:gd name="connsiteX116" fmla="*/ 700970 w 1804943"/>
              <a:gd name="connsiteY116" fmla="*/ 2367307 h 2373250"/>
              <a:gd name="connsiteX117" fmla="*/ 672008 w 1804943"/>
              <a:gd name="connsiteY117" fmla="*/ 2363986 h 2373250"/>
              <a:gd name="connsiteX118" fmla="*/ 643800 w 1804943"/>
              <a:gd name="connsiteY118" fmla="*/ 2359941 h 2373250"/>
              <a:gd name="connsiteX119" fmla="*/ 616345 w 1804943"/>
              <a:gd name="connsiteY119" fmla="*/ 2355175 h 2373250"/>
              <a:gd name="connsiteX120" fmla="*/ 589621 w 1804943"/>
              <a:gd name="connsiteY120" fmla="*/ 2349701 h 2373250"/>
              <a:gd name="connsiteX121" fmla="*/ 563635 w 1804943"/>
              <a:gd name="connsiteY121" fmla="*/ 2343519 h 2373250"/>
              <a:gd name="connsiteX122" fmla="*/ 538363 w 1804943"/>
              <a:gd name="connsiteY122" fmla="*/ 2336631 h 2373250"/>
              <a:gd name="connsiteX123" fmla="*/ 513800 w 1804943"/>
              <a:gd name="connsiteY123" fmla="*/ 2329050 h 2373250"/>
              <a:gd name="connsiteX124" fmla="*/ 489950 w 1804943"/>
              <a:gd name="connsiteY124" fmla="*/ 2320785 h 2373250"/>
              <a:gd name="connsiteX125" fmla="*/ 466785 w 1804943"/>
              <a:gd name="connsiteY125" fmla="*/ 2311829 h 2373250"/>
              <a:gd name="connsiteX126" fmla="*/ 444312 w 1804943"/>
              <a:gd name="connsiteY126" fmla="*/ 2302195 h 2373250"/>
              <a:gd name="connsiteX127" fmla="*/ 422516 w 1804943"/>
              <a:gd name="connsiteY127" fmla="*/ 2291885 h 2373250"/>
              <a:gd name="connsiteX128" fmla="*/ 401389 w 1804943"/>
              <a:gd name="connsiteY128" fmla="*/ 2280906 h 2373250"/>
              <a:gd name="connsiteX129" fmla="*/ 380915 w 1804943"/>
              <a:gd name="connsiteY129" fmla="*/ 2269266 h 2373250"/>
              <a:gd name="connsiteX130" fmla="*/ 361094 w 1804943"/>
              <a:gd name="connsiteY130" fmla="*/ 2256965 h 2373250"/>
              <a:gd name="connsiteX131" fmla="*/ 341921 w 1804943"/>
              <a:gd name="connsiteY131" fmla="*/ 2244018 h 2373250"/>
              <a:gd name="connsiteX132" fmla="*/ 305456 w 1804943"/>
              <a:gd name="connsiteY132" fmla="*/ 2216179 h 2373250"/>
              <a:gd name="connsiteX133" fmla="*/ 271450 w 1804943"/>
              <a:gd name="connsiteY133" fmla="*/ 2185803 h 2373250"/>
              <a:gd name="connsiteX134" fmla="*/ 239844 w 1804943"/>
              <a:gd name="connsiteY134" fmla="*/ 2152920 h 2373250"/>
              <a:gd name="connsiteX135" fmla="*/ 210559 w 1804943"/>
              <a:gd name="connsiteY135" fmla="*/ 2117584 h 2373250"/>
              <a:gd name="connsiteX136" fmla="*/ 196759 w 1804943"/>
              <a:gd name="connsiteY136" fmla="*/ 2099010 h 2373250"/>
              <a:gd name="connsiteX137" fmla="*/ 183519 w 1804943"/>
              <a:gd name="connsiteY137" fmla="*/ 2079843 h 2373250"/>
              <a:gd name="connsiteX138" fmla="*/ 170826 w 1804943"/>
              <a:gd name="connsiteY138" fmla="*/ 2060076 h 2373250"/>
              <a:gd name="connsiteX139" fmla="*/ 158670 w 1804943"/>
              <a:gd name="connsiteY139" fmla="*/ 2039725 h 2373250"/>
              <a:gd name="connsiteX140" fmla="*/ 147039 w 1804943"/>
              <a:gd name="connsiteY140" fmla="*/ 2018790 h 2373250"/>
              <a:gd name="connsiteX141" fmla="*/ 135929 w 1804943"/>
              <a:gd name="connsiteY141" fmla="*/ 1997286 h 2373250"/>
              <a:gd name="connsiteX142" fmla="*/ 125326 w 1804943"/>
              <a:gd name="connsiteY142" fmla="*/ 1975206 h 2373250"/>
              <a:gd name="connsiteX143" fmla="*/ 115224 w 1804943"/>
              <a:gd name="connsiteY143" fmla="*/ 1952564 h 2373250"/>
              <a:gd name="connsiteX144" fmla="*/ 105621 w 1804943"/>
              <a:gd name="connsiteY144" fmla="*/ 1929369 h 2373250"/>
              <a:gd name="connsiteX145" fmla="*/ 96495 w 1804943"/>
              <a:gd name="connsiteY145" fmla="*/ 1905612 h 2373250"/>
              <a:gd name="connsiteX146" fmla="*/ 87846 w 1804943"/>
              <a:gd name="connsiteY146" fmla="*/ 1881309 h 2373250"/>
              <a:gd name="connsiteX147" fmla="*/ 79666 w 1804943"/>
              <a:gd name="connsiteY147" fmla="*/ 1856461 h 2373250"/>
              <a:gd name="connsiteX148" fmla="*/ 71947 w 1804943"/>
              <a:gd name="connsiteY148" fmla="*/ 1831082 h 2373250"/>
              <a:gd name="connsiteX149" fmla="*/ 64675 w 1804943"/>
              <a:gd name="connsiteY149" fmla="*/ 1805165 h 2373250"/>
              <a:gd name="connsiteX150" fmla="*/ 57839 w 1804943"/>
              <a:gd name="connsiteY150" fmla="*/ 1778725 h 2373250"/>
              <a:gd name="connsiteX151" fmla="*/ 51435 w 1804943"/>
              <a:gd name="connsiteY151" fmla="*/ 1751762 h 2373250"/>
              <a:gd name="connsiteX152" fmla="*/ 45461 w 1804943"/>
              <a:gd name="connsiteY152" fmla="*/ 1724284 h 2373250"/>
              <a:gd name="connsiteX153" fmla="*/ 39895 w 1804943"/>
              <a:gd name="connsiteY153" fmla="*/ 1696292 h 2373250"/>
              <a:gd name="connsiteX154" fmla="*/ 34736 w 1804943"/>
              <a:gd name="connsiteY154" fmla="*/ 1667799 h 2373250"/>
              <a:gd name="connsiteX155" fmla="*/ 29969 w 1804943"/>
              <a:gd name="connsiteY155" fmla="*/ 1638806 h 2373250"/>
              <a:gd name="connsiteX156" fmla="*/ 25595 w 1804943"/>
              <a:gd name="connsiteY156" fmla="*/ 1609322 h 2373250"/>
              <a:gd name="connsiteX157" fmla="*/ 21597 w 1804943"/>
              <a:gd name="connsiteY157" fmla="*/ 1579352 h 2373250"/>
              <a:gd name="connsiteX158" fmla="*/ 17967 w 1804943"/>
              <a:gd name="connsiteY158" fmla="*/ 1548893 h 2373250"/>
              <a:gd name="connsiteX159" fmla="*/ 14708 w 1804943"/>
              <a:gd name="connsiteY159" fmla="*/ 1517963 h 2373250"/>
              <a:gd name="connsiteX160" fmla="*/ 11794 w 1804943"/>
              <a:gd name="connsiteY160" fmla="*/ 1486556 h 2373250"/>
              <a:gd name="connsiteX161" fmla="*/ 9226 w 1804943"/>
              <a:gd name="connsiteY161" fmla="*/ 1454681 h 2373250"/>
              <a:gd name="connsiteX162" fmla="*/ 6989 w 1804943"/>
              <a:gd name="connsiteY162" fmla="*/ 1422351 h 2373250"/>
              <a:gd name="connsiteX163" fmla="*/ 5082 w 1804943"/>
              <a:gd name="connsiteY163" fmla="*/ 1389569 h 2373250"/>
              <a:gd name="connsiteX164" fmla="*/ 3490 w 1804943"/>
              <a:gd name="connsiteY164" fmla="*/ 1356325 h 2373250"/>
              <a:gd name="connsiteX165" fmla="*/ 2206 w 1804943"/>
              <a:gd name="connsiteY165" fmla="*/ 1322649 h 2373250"/>
              <a:gd name="connsiteX166" fmla="*/ 1230 w 1804943"/>
              <a:gd name="connsiteY166" fmla="*/ 1288530 h 2373250"/>
              <a:gd name="connsiteX167" fmla="*/ 540 w 1804943"/>
              <a:gd name="connsiteY167" fmla="*/ 1253971 h 2373250"/>
              <a:gd name="connsiteX168" fmla="*/ 132 w 1804943"/>
              <a:gd name="connsiteY168" fmla="*/ 1218989 h 2373250"/>
              <a:gd name="connsiteX169" fmla="*/ 0 w 1804943"/>
              <a:gd name="connsiteY169" fmla="*/ 1183585 h 2373250"/>
              <a:gd name="connsiteX170" fmla="*/ 132 w 1804943"/>
              <a:gd name="connsiteY170" fmla="*/ 1148334 h 2373250"/>
              <a:gd name="connsiteX171" fmla="*/ 546 w 1804943"/>
              <a:gd name="connsiteY171" fmla="*/ 1113498 h 2373250"/>
              <a:gd name="connsiteX172" fmla="*/ 1254 w 1804943"/>
              <a:gd name="connsiteY172" fmla="*/ 1079094 h 2373250"/>
              <a:gd name="connsiteX173" fmla="*/ 2246 w 1804943"/>
              <a:gd name="connsiteY173" fmla="*/ 1045127 h 2373250"/>
              <a:gd name="connsiteX174" fmla="*/ 3544 w 1804943"/>
              <a:gd name="connsiteY174" fmla="*/ 1011590 h 2373250"/>
              <a:gd name="connsiteX175" fmla="*/ 5159 w 1804943"/>
              <a:gd name="connsiteY175" fmla="*/ 978500 h 2373250"/>
              <a:gd name="connsiteX176" fmla="*/ 7096 w 1804943"/>
              <a:gd name="connsiteY176" fmla="*/ 945863 h 2373250"/>
              <a:gd name="connsiteX177" fmla="*/ 9356 w 1804943"/>
              <a:gd name="connsiteY177" fmla="*/ 913681 h 2373250"/>
              <a:gd name="connsiteX178" fmla="*/ 11964 w 1804943"/>
              <a:gd name="connsiteY178" fmla="*/ 881951 h 2373250"/>
              <a:gd name="connsiteX179" fmla="*/ 14909 w 1804943"/>
              <a:gd name="connsiteY179" fmla="*/ 850691 h 2373250"/>
              <a:gd name="connsiteX180" fmla="*/ 18214 w 1804943"/>
              <a:gd name="connsiteY180" fmla="*/ 819907 h 2373250"/>
              <a:gd name="connsiteX181" fmla="*/ 21881 w 1804943"/>
              <a:gd name="connsiteY181" fmla="*/ 789592 h 2373250"/>
              <a:gd name="connsiteX182" fmla="*/ 25917 w 1804943"/>
              <a:gd name="connsiteY182" fmla="*/ 759762 h 2373250"/>
              <a:gd name="connsiteX183" fmla="*/ 30338 w 1804943"/>
              <a:gd name="connsiteY183" fmla="*/ 730423 h 2373250"/>
              <a:gd name="connsiteX184" fmla="*/ 35152 w 1804943"/>
              <a:gd name="connsiteY184" fmla="*/ 701569 h 2373250"/>
              <a:gd name="connsiteX185" fmla="*/ 40356 w 1804943"/>
              <a:gd name="connsiteY185" fmla="*/ 673215 h 2373250"/>
              <a:gd name="connsiteX186" fmla="*/ 45968 w 1804943"/>
              <a:gd name="connsiteY186" fmla="*/ 645368 h 2373250"/>
              <a:gd name="connsiteX187" fmla="*/ 51996 w 1804943"/>
              <a:gd name="connsiteY187" fmla="*/ 618029 h 2373250"/>
              <a:gd name="connsiteX188" fmla="*/ 58446 w 1804943"/>
              <a:gd name="connsiteY188" fmla="*/ 591204 h 2373250"/>
              <a:gd name="connsiteX189" fmla="*/ 65335 w 1804943"/>
              <a:gd name="connsiteY189" fmla="*/ 564895 h 2373250"/>
              <a:gd name="connsiteX190" fmla="*/ 72655 w 1804943"/>
              <a:gd name="connsiteY190" fmla="*/ 539109 h 2373250"/>
              <a:gd name="connsiteX191" fmla="*/ 80428 w 1804943"/>
              <a:gd name="connsiteY191" fmla="*/ 513860 h 2373250"/>
              <a:gd name="connsiteX192" fmla="*/ 88661 w 1804943"/>
              <a:gd name="connsiteY192" fmla="*/ 489142 h 2373250"/>
              <a:gd name="connsiteX193" fmla="*/ 97358 w 1804943"/>
              <a:gd name="connsiteY193" fmla="*/ 464962 h 2373250"/>
              <a:gd name="connsiteX194" fmla="*/ 106521 w 1804943"/>
              <a:gd name="connsiteY194" fmla="*/ 441336 h 2373250"/>
              <a:gd name="connsiteX195" fmla="*/ 116178 w 1804943"/>
              <a:gd name="connsiteY195" fmla="*/ 418257 h 2373250"/>
              <a:gd name="connsiteX196" fmla="*/ 126320 w 1804943"/>
              <a:gd name="connsiteY196" fmla="*/ 395738 h 2373250"/>
              <a:gd name="connsiteX197" fmla="*/ 136966 w 1804943"/>
              <a:gd name="connsiteY197" fmla="*/ 373780 h 2373250"/>
              <a:gd name="connsiteX198" fmla="*/ 137880 w 1804943"/>
              <a:gd name="connsiteY198" fmla="*/ 372027 h 2373250"/>
              <a:gd name="connsiteX199" fmla="*/ 137881 w 1804943"/>
              <a:gd name="connsiteY199" fmla="*/ 372027 h 2373250"/>
              <a:gd name="connsiteX200" fmla="*/ 148122 w 1804943"/>
              <a:gd name="connsiteY200" fmla="*/ 352391 h 2373250"/>
              <a:gd name="connsiteX201" fmla="*/ 159787 w 1804943"/>
              <a:gd name="connsiteY201" fmla="*/ 331571 h 2373250"/>
              <a:gd name="connsiteX202" fmla="*/ 171988 w 1804943"/>
              <a:gd name="connsiteY202" fmla="*/ 311336 h 2373250"/>
              <a:gd name="connsiteX203" fmla="*/ 184719 w 1804943"/>
              <a:gd name="connsiteY203" fmla="*/ 291677 h 2373250"/>
              <a:gd name="connsiteX204" fmla="*/ 197988 w 1804943"/>
              <a:gd name="connsiteY204" fmla="*/ 272618 h 2373250"/>
              <a:gd name="connsiteX205" fmla="*/ 211812 w 1804943"/>
              <a:gd name="connsiteY205" fmla="*/ 254143 h 2373250"/>
              <a:gd name="connsiteX206" fmla="*/ 241142 w 1804943"/>
              <a:gd name="connsiteY206" fmla="*/ 219015 h 2373250"/>
              <a:gd name="connsiteX207" fmla="*/ 272787 w 1804943"/>
              <a:gd name="connsiteY207" fmla="*/ 186325 h 2373250"/>
              <a:gd name="connsiteX208" fmla="*/ 306808 w 1804943"/>
              <a:gd name="connsiteY208" fmla="*/ 156118 h 2373250"/>
              <a:gd name="connsiteX209" fmla="*/ 343266 w 1804943"/>
              <a:gd name="connsiteY209" fmla="*/ 128447 h 2373250"/>
              <a:gd name="connsiteX210" fmla="*/ 362432 w 1804943"/>
              <a:gd name="connsiteY210" fmla="*/ 115578 h 2373250"/>
              <a:gd name="connsiteX211" fmla="*/ 382237 w 1804943"/>
              <a:gd name="connsiteY211" fmla="*/ 103346 h 2373250"/>
              <a:gd name="connsiteX212" fmla="*/ 402689 w 1804943"/>
              <a:gd name="connsiteY212" fmla="*/ 91775 h 2373250"/>
              <a:gd name="connsiteX213" fmla="*/ 423793 w 1804943"/>
              <a:gd name="connsiteY213" fmla="*/ 80865 h 2373250"/>
              <a:gd name="connsiteX214" fmla="*/ 445558 w 1804943"/>
              <a:gd name="connsiteY214" fmla="*/ 70617 h 2373250"/>
              <a:gd name="connsiteX215" fmla="*/ 467992 w 1804943"/>
              <a:gd name="connsiteY215" fmla="*/ 61045 h 2373250"/>
              <a:gd name="connsiteX216" fmla="*/ 491103 w 1804943"/>
              <a:gd name="connsiteY216" fmla="*/ 52142 h 2373250"/>
              <a:gd name="connsiteX217" fmla="*/ 514906 w 1804943"/>
              <a:gd name="connsiteY217" fmla="*/ 43923 h 2373250"/>
              <a:gd name="connsiteX218" fmla="*/ 539409 w 1804943"/>
              <a:gd name="connsiteY218" fmla="*/ 36389 h 2373250"/>
              <a:gd name="connsiteX219" fmla="*/ 564612 w 1804943"/>
              <a:gd name="connsiteY219" fmla="*/ 29553 h 2373250"/>
              <a:gd name="connsiteX220" fmla="*/ 590528 w 1804943"/>
              <a:gd name="connsiteY220" fmla="*/ 23403 h 2373250"/>
              <a:gd name="connsiteX221" fmla="*/ 617160 w 1804943"/>
              <a:gd name="connsiteY221" fmla="*/ 17967 h 2373250"/>
              <a:gd name="connsiteX222" fmla="*/ 644530 w 1804943"/>
              <a:gd name="connsiteY222" fmla="*/ 13231 h 2373250"/>
              <a:gd name="connsiteX223" fmla="*/ 672639 w 1804943"/>
              <a:gd name="connsiteY223" fmla="*/ 9210 h 2373250"/>
              <a:gd name="connsiteX224" fmla="*/ 701494 w 1804943"/>
              <a:gd name="connsiteY224" fmla="*/ 5912 h 2373250"/>
              <a:gd name="connsiteX225" fmla="*/ 731100 w 1804943"/>
              <a:gd name="connsiteY225" fmla="*/ 3336 h 2373250"/>
              <a:gd name="connsiteX226" fmla="*/ 761477 w 1804943"/>
              <a:gd name="connsiteY226" fmla="*/ 1484 h 2373250"/>
              <a:gd name="connsiteX227" fmla="*/ 792621 w 1804943"/>
              <a:gd name="connsiteY227" fmla="*/ 377 h 23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804943" h="2373250">
                <a:moveTo>
                  <a:pt x="1135564" y="15338"/>
                </a:moveTo>
                <a:lnTo>
                  <a:pt x="1804943" y="15338"/>
                </a:lnTo>
                <a:lnTo>
                  <a:pt x="1804943" y="121436"/>
                </a:lnTo>
                <a:lnTo>
                  <a:pt x="1260314" y="121436"/>
                </a:lnTo>
                <a:lnTo>
                  <a:pt x="1260314" y="372027"/>
                </a:lnTo>
                <a:lnTo>
                  <a:pt x="1260314" y="2258004"/>
                </a:lnTo>
                <a:lnTo>
                  <a:pt x="1804943" y="2258004"/>
                </a:lnTo>
                <a:lnTo>
                  <a:pt x="1804943" y="2364102"/>
                </a:lnTo>
                <a:lnTo>
                  <a:pt x="1135564" y="2364102"/>
                </a:lnTo>
                <a:lnTo>
                  <a:pt x="1135564" y="2258004"/>
                </a:lnTo>
                <a:lnTo>
                  <a:pt x="1135564" y="372027"/>
                </a:lnTo>
                <a:lnTo>
                  <a:pt x="1135564" y="121436"/>
                </a:lnTo>
                <a:close/>
                <a:moveTo>
                  <a:pt x="824551" y="0"/>
                </a:moveTo>
                <a:lnTo>
                  <a:pt x="824551" y="106498"/>
                </a:lnTo>
                <a:lnTo>
                  <a:pt x="793382" y="106920"/>
                </a:lnTo>
                <a:lnTo>
                  <a:pt x="763107" y="108189"/>
                </a:lnTo>
                <a:lnTo>
                  <a:pt x="733699" y="110296"/>
                </a:lnTo>
                <a:lnTo>
                  <a:pt x="705152" y="113240"/>
                </a:lnTo>
                <a:lnTo>
                  <a:pt x="677451" y="117008"/>
                </a:lnTo>
                <a:lnTo>
                  <a:pt x="650596" y="121598"/>
                </a:lnTo>
                <a:lnTo>
                  <a:pt x="624564" y="126995"/>
                </a:lnTo>
                <a:lnTo>
                  <a:pt x="599346" y="133207"/>
                </a:lnTo>
                <a:lnTo>
                  <a:pt x="574929" y="140218"/>
                </a:lnTo>
                <a:lnTo>
                  <a:pt x="551302" y="148022"/>
                </a:lnTo>
                <a:lnTo>
                  <a:pt x="528461" y="156617"/>
                </a:lnTo>
                <a:lnTo>
                  <a:pt x="506387" y="165997"/>
                </a:lnTo>
                <a:lnTo>
                  <a:pt x="485076" y="176146"/>
                </a:lnTo>
                <a:lnTo>
                  <a:pt x="464502" y="187071"/>
                </a:lnTo>
                <a:lnTo>
                  <a:pt x="425554" y="211204"/>
                </a:lnTo>
                <a:lnTo>
                  <a:pt x="389457" y="238344"/>
                </a:lnTo>
                <a:lnTo>
                  <a:pt x="356105" y="268436"/>
                </a:lnTo>
                <a:lnTo>
                  <a:pt x="325421" y="301433"/>
                </a:lnTo>
                <a:lnTo>
                  <a:pt x="297313" y="337284"/>
                </a:lnTo>
                <a:lnTo>
                  <a:pt x="284189" y="356266"/>
                </a:lnTo>
                <a:lnTo>
                  <a:pt x="274169" y="372027"/>
                </a:lnTo>
                <a:lnTo>
                  <a:pt x="271680" y="375940"/>
                </a:lnTo>
                <a:lnTo>
                  <a:pt x="259763" y="396306"/>
                </a:lnTo>
                <a:lnTo>
                  <a:pt x="248431" y="417348"/>
                </a:lnTo>
                <a:lnTo>
                  <a:pt x="237675" y="439077"/>
                </a:lnTo>
                <a:lnTo>
                  <a:pt x="227480" y="461465"/>
                </a:lnTo>
                <a:lnTo>
                  <a:pt x="217839" y="484522"/>
                </a:lnTo>
                <a:lnTo>
                  <a:pt x="208737" y="508239"/>
                </a:lnTo>
                <a:lnTo>
                  <a:pt x="200156" y="532604"/>
                </a:lnTo>
                <a:lnTo>
                  <a:pt x="192100" y="557614"/>
                </a:lnTo>
                <a:lnTo>
                  <a:pt x="184542" y="583262"/>
                </a:lnTo>
                <a:lnTo>
                  <a:pt x="177484" y="609541"/>
                </a:lnTo>
                <a:lnTo>
                  <a:pt x="170903" y="636450"/>
                </a:lnTo>
                <a:lnTo>
                  <a:pt x="164799" y="663974"/>
                </a:lnTo>
                <a:lnTo>
                  <a:pt x="159148" y="692121"/>
                </a:lnTo>
                <a:lnTo>
                  <a:pt x="153950" y="720867"/>
                </a:lnTo>
                <a:lnTo>
                  <a:pt x="149183" y="750212"/>
                </a:lnTo>
                <a:lnTo>
                  <a:pt x="144839" y="780158"/>
                </a:lnTo>
                <a:lnTo>
                  <a:pt x="140910" y="810689"/>
                </a:lnTo>
                <a:lnTo>
                  <a:pt x="137390" y="841803"/>
                </a:lnTo>
                <a:lnTo>
                  <a:pt x="134253" y="873494"/>
                </a:lnTo>
                <a:lnTo>
                  <a:pt x="131501" y="905754"/>
                </a:lnTo>
                <a:lnTo>
                  <a:pt x="129109" y="938575"/>
                </a:lnTo>
                <a:lnTo>
                  <a:pt x="127073" y="971958"/>
                </a:lnTo>
                <a:lnTo>
                  <a:pt x="125389" y="1005886"/>
                </a:lnTo>
                <a:lnTo>
                  <a:pt x="124027" y="1040360"/>
                </a:lnTo>
                <a:lnTo>
                  <a:pt x="122997" y="1075373"/>
                </a:lnTo>
                <a:lnTo>
                  <a:pt x="122267" y="1110923"/>
                </a:lnTo>
                <a:lnTo>
                  <a:pt x="121844" y="1146996"/>
                </a:lnTo>
                <a:lnTo>
                  <a:pt x="121706" y="1183585"/>
                </a:lnTo>
                <a:lnTo>
                  <a:pt x="121829" y="1220003"/>
                </a:lnTo>
                <a:lnTo>
                  <a:pt x="122229" y="1255892"/>
                </a:lnTo>
                <a:lnTo>
                  <a:pt x="122897" y="1291258"/>
                </a:lnTo>
                <a:lnTo>
                  <a:pt x="123850" y="1326087"/>
                </a:lnTo>
                <a:lnTo>
                  <a:pt x="125111" y="1360376"/>
                </a:lnTo>
                <a:lnTo>
                  <a:pt x="126679" y="1394113"/>
                </a:lnTo>
                <a:lnTo>
                  <a:pt x="128571" y="1427303"/>
                </a:lnTo>
                <a:lnTo>
                  <a:pt x="130802" y="1459939"/>
                </a:lnTo>
                <a:lnTo>
                  <a:pt x="133368" y="1492006"/>
                </a:lnTo>
                <a:lnTo>
                  <a:pt x="136298" y="1523513"/>
                </a:lnTo>
                <a:lnTo>
                  <a:pt x="139596" y="1554442"/>
                </a:lnTo>
                <a:lnTo>
                  <a:pt x="143271" y="1584796"/>
                </a:lnTo>
                <a:lnTo>
                  <a:pt x="147338" y="1614566"/>
                </a:lnTo>
                <a:lnTo>
                  <a:pt x="151813" y="1643750"/>
                </a:lnTo>
                <a:lnTo>
                  <a:pt x="156702" y="1672334"/>
                </a:lnTo>
                <a:lnTo>
                  <a:pt x="162015" y="1700320"/>
                </a:lnTo>
                <a:lnTo>
                  <a:pt x="167766" y="1727705"/>
                </a:lnTo>
                <a:lnTo>
                  <a:pt x="173962" y="1754476"/>
                </a:lnTo>
                <a:lnTo>
                  <a:pt x="180629" y="1780631"/>
                </a:lnTo>
                <a:lnTo>
                  <a:pt x="187755" y="1806164"/>
                </a:lnTo>
                <a:lnTo>
                  <a:pt x="195374" y="1831074"/>
                </a:lnTo>
                <a:lnTo>
                  <a:pt x="203485" y="1855346"/>
                </a:lnTo>
                <a:lnTo>
                  <a:pt x="212112" y="1878988"/>
                </a:lnTo>
                <a:lnTo>
                  <a:pt x="221245" y="1901983"/>
                </a:lnTo>
                <a:lnTo>
                  <a:pt x="230917" y="1924332"/>
                </a:lnTo>
                <a:lnTo>
                  <a:pt x="241128" y="1946029"/>
                </a:lnTo>
                <a:lnTo>
                  <a:pt x="251891" y="1967064"/>
                </a:lnTo>
                <a:lnTo>
                  <a:pt x="263216" y="1987430"/>
                </a:lnTo>
                <a:lnTo>
                  <a:pt x="287611" y="2026164"/>
                </a:lnTo>
                <a:lnTo>
                  <a:pt x="314404" y="2062168"/>
                </a:lnTo>
                <a:lnTo>
                  <a:pt x="343681" y="2095412"/>
                </a:lnTo>
                <a:lnTo>
                  <a:pt x="375541" y="2125849"/>
                </a:lnTo>
                <a:lnTo>
                  <a:pt x="410077" y="2153435"/>
                </a:lnTo>
                <a:lnTo>
                  <a:pt x="447372" y="2178130"/>
                </a:lnTo>
                <a:lnTo>
                  <a:pt x="487529" y="2199888"/>
                </a:lnTo>
                <a:lnTo>
                  <a:pt x="508702" y="2209652"/>
                </a:lnTo>
                <a:lnTo>
                  <a:pt x="530629" y="2218662"/>
                </a:lnTo>
                <a:lnTo>
                  <a:pt x="553317" y="2226920"/>
                </a:lnTo>
                <a:lnTo>
                  <a:pt x="576782" y="2234416"/>
                </a:lnTo>
                <a:lnTo>
                  <a:pt x="601022" y="2241150"/>
                </a:lnTo>
                <a:lnTo>
                  <a:pt x="626056" y="2247109"/>
                </a:lnTo>
                <a:lnTo>
                  <a:pt x="651904" y="2252291"/>
                </a:lnTo>
                <a:lnTo>
                  <a:pt x="678567" y="2256688"/>
                </a:lnTo>
                <a:lnTo>
                  <a:pt x="706061" y="2260301"/>
                </a:lnTo>
                <a:lnTo>
                  <a:pt x="734390" y="2263116"/>
                </a:lnTo>
                <a:lnTo>
                  <a:pt x="763575" y="2265138"/>
                </a:lnTo>
                <a:lnTo>
                  <a:pt x="793630" y="2266352"/>
                </a:lnTo>
                <a:lnTo>
                  <a:pt x="824551" y="2266760"/>
                </a:lnTo>
                <a:lnTo>
                  <a:pt x="824551" y="2373250"/>
                </a:lnTo>
                <a:lnTo>
                  <a:pt x="792476" y="2372881"/>
                </a:lnTo>
                <a:lnTo>
                  <a:pt x="761193" y="2371759"/>
                </a:lnTo>
                <a:lnTo>
                  <a:pt x="730694" y="2369898"/>
                </a:lnTo>
                <a:lnTo>
                  <a:pt x="700970" y="2367307"/>
                </a:lnTo>
                <a:lnTo>
                  <a:pt x="672008" y="2363986"/>
                </a:lnTo>
                <a:lnTo>
                  <a:pt x="643800" y="2359941"/>
                </a:lnTo>
                <a:lnTo>
                  <a:pt x="616345" y="2355175"/>
                </a:lnTo>
                <a:lnTo>
                  <a:pt x="589621" y="2349701"/>
                </a:lnTo>
                <a:lnTo>
                  <a:pt x="563635" y="2343519"/>
                </a:lnTo>
                <a:lnTo>
                  <a:pt x="538363" y="2336631"/>
                </a:lnTo>
                <a:lnTo>
                  <a:pt x="513800" y="2329050"/>
                </a:lnTo>
                <a:lnTo>
                  <a:pt x="489950" y="2320785"/>
                </a:lnTo>
                <a:lnTo>
                  <a:pt x="466785" y="2311829"/>
                </a:lnTo>
                <a:lnTo>
                  <a:pt x="444312" y="2302195"/>
                </a:lnTo>
                <a:lnTo>
                  <a:pt x="422516" y="2291885"/>
                </a:lnTo>
                <a:lnTo>
                  <a:pt x="401389" y="2280906"/>
                </a:lnTo>
                <a:lnTo>
                  <a:pt x="380915" y="2269266"/>
                </a:lnTo>
                <a:lnTo>
                  <a:pt x="361094" y="2256965"/>
                </a:lnTo>
                <a:lnTo>
                  <a:pt x="341921" y="2244018"/>
                </a:lnTo>
                <a:lnTo>
                  <a:pt x="305456" y="2216179"/>
                </a:lnTo>
                <a:lnTo>
                  <a:pt x="271450" y="2185803"/>
                </a:lnTo>
                <a:lnTo>
                  <a:pt x="239844" y="2152920"/>
                </a:lnTo>
                <a:lnTo>
                  <a:pt x="210559" y="2117584"/>
                </a:lnTo>
                <a:lnTo>
                  <a:pt x="196759" y="2099010"/>
                </a:lnTo>
                <a:lnTo>
                  <a:pt x="183519" y="2079843"/>
                </a:lnTo>
                <a:lnTo>
                  <a:pt x="170826" y="2060076"/>
                </a:lnTo>
                <a:lnTo>
                  <a:pt x="158670" y="2039725"/>
                </a:lnTo>
                <a:lnTo>
                  <a:pt x="147039" y="2018790"/>
                </a:lnTo>
                <a:lnTo>
                  <a:pt x="135929" y="1997286"/>
                </a:lnTo>
                <a:lnTo>
                  <a:pt x="125326" y="1975206"/>
                </a:lnTo>
                <a:lnTo>
                  <a:pt x="115224" y="1952564"/>
                </a:lnTo>
                <a:lnTo>
                  <a:pt x="105621" y="1929369"/>
                </a:lnTo>
                <a:lnTo>
                  <a:pt x="96495" y="1905612"/>
                </a:lnTo>
                <a:lnTo>
                  <a:pt x="87846" y="1881309"/>
                </a:lnTo>
                <a:lnTo>
                  <a:pt x="79666" y="1856461"/>
                </a:lnTo>
                <a:lnTo>
                  <a:pt x="71947" y="1831082"/>
                </a:lnTo>
                <a:lnTo>
                  <a:pt x="64675" y="1805165"/>
                </a:lnTo>
                <a:lnTo>
                  <a:pt x="57839" y="1778725"/>
                </a:lnTo>
                <a:lnTo>
                  <a:pt x="51435" y="1751762"/>
                </a:lnTo>
                <a:lnTo>
                  <a:pt x="45461" y="1724284"/>
                </a:lnTo>
                <a:lnTo>
                  <a:pt x="39895" y="1696292"/>
                </a:lnTo>
                <a:lnTo>
                  <a:pt x="34736" y="1667799"/>
                </a:lnTo>
                <a:lnTo>
                  <a:pt x="29969" y="1638806"/>
                </a:lnTo>
                <a:lnTo>
                  <a:pt x="25595" y="1609322"/>
                </a:lnTo>
                <a:lnTo>
                  <a:pt x="21597" y="1579352"/>
                </a:lnTo>
                <a:lnTo>
                  <a:pt x="17967" y="1548893"/>
                </a:lnTo>
                <a:lnTo>
                  <a:pt x="14708" y="1517963"/>
                </a:lnTo>
                <a:lnTo>
                  <a:pt x="11794" y="1486556"/>
                </a:lnTo>
                <a:lnTo>
                  <a:pt x="9226" y="1454681"/>
                </a:lnTo>
                <a:lnTo>
                  <a:pt x="6989" y="1422351"/>
                </a:lnTo>
                <a:lnTo>
                  <a:pt x="5082" y="1389569"/>
                </a:lnTo>
                <a:lnTo>
                  <a:pt x="3490" y="1356325"/>
                </a:lnTo>
                <a:lnTo>
                  <a:pt x="2206" y="1322649"/>
                </a:lnTo>
                <a:lnTo>
                  <a:pt x="1230" y="1288530"/>
                </a:lnTo>
                <a:lnTo>
                  <a:pt x="540" y="1253971"/>
                </a:lnTo>
                <a:lnTo>
                  <a:pt x="132" y="1218989"/>
                </a:lnTo>
                <a:lnTo>
                  <a:pt x="0" y="1183585"/>
                </a:lnTo>
                <a:lnTo>
                  <a:pt x="132" y="1148334"/>
                </a:lnTo>
                <a:lnTo>
                  <a:pt x="546" y="1113498"/>
                </a:lnTo>
                <a:lnTo>
                  <a:pt x="1254" y="1079094"/>
                </a:lnTo>
                <a:lnTo>
                  <a:pt x="2246" y="1045127"/>
                </a:lnTo>
                <a:lnTo>
                  <a:pt x="3544" y="1011590"/>
                </a:lnTo>
                <a:lnTo>
                  <a:pt x="5159" y="978500"/>
                </a:lnTo>
                <a:lnTo>
                  <a:pt x="7096" y="945863"/>
                </a:lnTo>
                <a:lnTo>
                  <a:pt x="9356" y="913681"/>
                </a:lnTo>
                <a:lnTo>
                  <a:pt x="11964" y="881951"/>
                </a:lnTo>
                <a:lnTo>
                  <a:pt x="14909" y="850691"/>
                </a:lnTo>
                <a:lnTo>
                  <a:pt x="18214" y="819907"/>
                </a:lnTo>
                <a:lnTo>
                  <a:pt x="21881" y="789592"/>
                </a:lnTo>
                <a:lnTo>
                  <a:pt x="25917" y="759762"/>
                </a:lnTo>
                <a:lnTo>
                  <a:pt x="30338" y="730423"/>
                </a:lnTo>
                <a:lnTo>
                  <a:pt x="35152" y="701569"/>
                </a:lnTo>
                <a:lnTo>
                  <a:pt x="40356" y="673215"/>
                </a:lnTo>
                <a:lnTo>
                  <a:pt x="45968" y="645368"/>
                </a:lnTo>
                <a:lnTo>
                  <a:pt x="51996" y="618029"/>
                </a:lnTo>
                <a:lnTo>
                  <a:pt x="58446" y="591204"/>
                </a:lnTo>
                <a:lnTo>
                  <a:pt x="65335" y="564895"/>
                </a:lnTo>
                <a:lnTo>
                  <a:pt x="72655" y="539109"/>
                </a:lnTo>
                <a:lnTo>
                  <a:pt x="80428" y="513860"/>
                </a:lnTo>
                <a:lnTo>
                  <a:pt x="88661" y="489142"/>
                </a:lnTo>
                <a:lnTo>
                  <a:pt x="97358" y="464962"/>
                </a:lnTo>
                <a:lnTo>
                  <a:pt x="106521" y="441336"/>
                </a:lnTo>
                <a:lnTo>
                  <a:pt x="116178" y="418257"/>
                </a:lnTo>
                <a:lnTo>
                  <a:pt x="126320" y="395738"/>
                </a:lnTo>
                <a:lnTo>
                  <a:pt x="136966" y="373780"/>
                </a:lnTo>
                <a:lnTo>
                  <a:pt x="137880" y="372027"/>
                </a:lnTo>
                <a:lnTo>
                  <a:pt x="137881" y="372027"/>
                </a:lnTo>
                <a:lnTo>
                  <a:pt x="148122" y="352391"/>
                </a:lnTo>
                <a:lnTo>
                  <a:pt x="159787" y="331571"/>
                </a:lnTo>
                <a:lnTo>
                  <a:pt x="171988" y="311336"/>
                </a:lnTo>
                <a:lnTo>
                  <a:pt x="184719" y="291677"/>
                </a:lnTo>
                <a:lnTo>
                  <a:pt x="197988" y="272618"/>
                </a:lnTo>
                <a:lnTo>
                  <a:pt x="211812" y="254143"/>
                </a:lnTo>
                <a:lnTo>
                  <a:pt x="241142" y="219015"/>
                </a:lnTo>
                <a:lnTo>
                  <a:pt x="272787" y="186325"/>
                </a:lnTo>
                <a:lnTo>
                  <a:pt x="306808" y="156118"/>
                </a:lnTo>
                <a:lnTo>
                  <a:pt x="343266" y="128447"/>
                </a:lnTo>
                <a:lnTo>
                  <a:pt x="362432" y="115578"/>
                </a:lnTo>
                <a:lnTo>
                  <a:pt x="382237" y="103346"/>
                </a:lnTo>
                <a:lnTo>
                  <a:pt x="402689" y="91775"/>
                </a:lnTo>
                <a:lnTo>
                  <a:pt x="423793" y="80865"/>
                </a:lnTo>
                <a:lnTo>
                  <a:pt x="445558" y="70617"/>
                </a:lnTo>
                <a:lnTo>
                  <a:pt x="467992" y="61045"/>
                </a:lnTo>
                <a:lnTo>
                  <a:pt x="491103" y="52142"/>
                </a:lnTo>
                <a:lnTo>
                  <a:pt x="514906" y="43923"/>
                </a:lnTo>
                <a:lnTo>
                  <a:pt x="539409" y="36389"/>
                </a:lnTo>
                <a:lnTo>
                  <a:pt x="564612" y="29553"/>
                </a:lnTo>
                <a:lnTo>
                  <a:pt x="590528" y="23403"/>
                </a:lnTo>
                <a:lnTo>
                  <a:pt x="617160" y="17967"/>
                </a:lnTo>
                <a:lnTo>
                  <a:pt x="644530" y="13231"/>
                </a:lnTo>
                <a:lnTo>
                  <a:pt x="672639" y="9210"/>
                </a:lnTo>
                <a:lnTo>
                  <a:pt x="701494" y="5912"/>
                </a:lnTo>
                <a:lnTo>
                  <a:pt x="731100" y="3336"/>
                </a:lnTo>
                <a:lnTo>
                  <a:pt x="761477" y="1484"/>
                </a:lnTo>
                <a:lnTo>
                  <a:pt x="792621" y="377"/>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3" name="Makro grafik 2">
            <a:extLst>
              <a:ext uri="{FF2B5EF4-FFF2-40B4-BE49-F238E27FC236}">
                <a16:creationId xmlns:a16="http://schemas.microsoft.com/office/drawing/2014/main" id="{3C47DF57-6C35-2F95-62C7-5AF5F1E443EA}"/>
              </a:ext>
            </a:extLst>
          </p:cNvPr>
          <p:cNvSpPr>
            <a:spLocks noGrp="1" noChangeAspect="1"/>
          </p:cNvSpPr>
          <p:nvPr>
            <p:ph type="body" sz="quarter" idx="20" hasCustomPrompt="1"/>
          </p:nvPr>
        </p:nvSpPr>
        <p:spPr>
          <a:xfrm>
            <a:off x="7625339" y="3523023"/>
            <a:ext cx="1123209" cy="1460462"/>
          </a:xfrm>
          <a:custGeom>
            <a:avLst/>
            <a:gdLst>
              <a:gd name="connsiteX0" fmla="*/ 0 w 1497612"/>
              <a:gd name="connsiteY0" fmla="*/ 1 h 1947283"/>
              <a:gd name="connsiteX1" fmla="*/ 133876 w 1497612"/>
              <a:gd name="connsiteY1" fmla="*/ 1 h 1947283"/>
              <a:gd name="connsiteX2" fmla="*/ 542054 w 1497612"/>
              <a:gd name="connsiteY2" fmla="*/ 1262003 h 1947283"/>
              <a:gd name="connsiteX3" fmla="*/ 763698 w 1497612"/>
              <a:gd name="connsiteY3" fmla="*/ 1947283 h 1947283"/>
              <a:gd name="connsiteX4" fmla="*/ 626777 w 1497612"/>
              <a:gd name="connsiteY4" fmla="*/ 1947283 h 1947283"/>
              <a:gd name="connsiteX5" fmla="*/ 406204 w 1497612"/>
              <a:gd name="connsiteY5" fmla="*/ 1262004 h 1947283"/>
              <a:gd name="connsiteX6" fmla="*/ 733914 w 1497612"/>
              <a:gd name="connsiteY6" fmla="*/ 0 h 1947283"/>
              <a:gd name="connsiteX7" fmla="*/ 867789 w 1497612"/>
              <a:gd name="connsiteY7" fmla="*/ 0 h 1947283"/>
              <a:gd name="connsiteX8" fmla="*/ 988168 w 1497612"/>
              <a:gd name="connsiteY8" fmla="*/ 372187 h 1947283"/>
              <a:gd name="connsiteX9" fmla="*/ 1497612 w 1497612"/>
              <a:gd name="connsiteY9" fmla="*/ 1947283 h 1947283"/>
              <a:gd name="connsiteX10" fmla="*/ 1360692 w 1497612"/>
              <a:gd name="connsiteY10" fmla="*/ 1947283 h 1947283"/>
              <a:gd name="connsiteX11" fmla="*/ 988168 w 1497612"/>
              <a:gd name="connsiteY11" fmla="*/ 789920 h 19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7612" h="1947283">
                <a:moveTo>
                  <a:pt x="0" y="1"/>
                </a:moveTo>
                <a:lnTo>
                  <a:pt x="133876" y="1"/>
                </a:lnTo>
                <a:lnTo>
                  <a:pt x="542054" y="1262003"/>
                </a:lnTo>
                <a:lnTo>
                  <a:pt x="763698" y="1947283"/>
                </a:lnTo>
                <a:lnTo>
                  <a:pt x="626777" y="1947283"/>
                </a:lnTo>
                <a:lnTo>
                  <a:pt x="406204" y="1262004"/>
                </a:lnTo>
                <a:close/>
                <a:moveTo>
                  <a:pt x="733914" y="0"/>
                </a:moveTo>
                <a:lnTo>
                  <a:pt x="867789" y="0"/>
                </a:lnTo>
                <a:lnTo>
                  <a:pt x="988168" y="372187"/>
                </a:lnTo>
                <a:lnTo>
                  <a:pt x="1497612" y="1947283"/>
                </a:lnTo>
                <a:lnTo>
                  <a:pt x="1360692" y="1947283"/>
                </a:lnTo>
                <a:lnTo>
                  <a:pt x="988168" y="78992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6" name="TextBox 1">
            <a:extLst>
              <a:ext uri="{FF2B5EF4-FFF2-40B4-BE49-F238E27FC236}">
                <a16:creationId xmlns:a16="http://schemas.microsoft.com/office/drawing/2014/main" id="{65A8188C-11F0-CD4C-0611-D4AE140468F8}"/>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pic>
        <p:nvPicPr>
          <p:cNvPr id="4" name="Picture 3">
            <a:extLst>
              <a:ext uri="{FF2B5EF4-FFF2-40B4-BE49-F238E27FC236}">
                <a16:creationId xmlns:a16="http://schemas.microsoft.com/office/drawing/2014/main" id="{B618DB2B-2262-BB0A-780A-B3B11740F76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04813" y="207967"/>
            <a:ext cx="2150000" cy="307142"/>
          </a:xfrm>
          <a:prstGeom prst="rect">
            <a:avLst/>
          </a:prstGeom>
        </p:spPr>
      </p:pic>
    </p:spTree>
    <p:extLst>
      <p:ext uri="{BB962C8B-B14F-4D97-AF65-F5344CB8AC3E}">
        <p14:creationId xmlns:p14="http://schemas.microsoft.com/office/powerpoint/2010/main" val="321339109"/>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itID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chemeClr val="accent1"/>
                </a:solidFill>
              </a:defRPr>
            </a:lvl1pPr>
          </a:lstStyle>
          <a:p>
            <a:fld id="{3BA7D959-9C7C-4506-A4A8-52313FF7B34F}" type="datetime2">
              <a:rPr lang="da-DK" smtClean="0"/>
              <a:t>11. december 2025</a:t>
            </a:fld>
            <a:endParaRPr lang="da-DK" dirty="0"/>
          </a:p>
        </p:txBody>
      </p:sp>
      <p:sp>
        <p:nvSpPr>
          <p:cNvPr id="25" name="Makro grafik 1">
            <a:extLst>
              <a:ext uri="{FF2B5EF4-FFF2-40B4-BE49-F238E27FC236}">
                <a16:creationId xmlns:a16="http://schemas.microsoft.com/office/drawing/2014/main" id="{F2E0EEBD-7C39-E8CB-108F-09AF0CD4D448}"/>
              </a:ext>
            </a:extLst>
          </p:cNvPr>
          <p:cNvSpPr>
            <a:spLocks noGrp="1" noChangeAspect="1"/>
          </p:cNvSpPr>
          <p:nvPr>
            <p:ph type="body" sz="quarter" idx="19" hasCustomPrompt="1"/>
          </p:nvPr>
        </p:nvSpPr>
        <p:spPr>
          <a:xfrm>
            <a:off x="2827574" y="391015"/>
            <a:ext cx="1353707" cy="1779938"/>
          </a:xfrm>
          <a:custGeom>
            <a:avLst/>
            <a:gdLst>
              <a:gd name="connsiteX0" fmla="*/ 1135564 w 1804943"/>
              <a:gd name="connsiteY0" fmla="*/ 15338 h 2373250"/>
              <a:gd name="connsiteX1" fmla="*/ 1804943 w 1804943"/>
              <a:gd name="connsiteY1" fmla="*/ 15338 h 2373250"/>
              <a:gd name="connsiteX2" fmla="*/ 1804943 w 1804943"/>
              <a:gd name="connsiteY2" fmla="*/ 121436 h 2373250"/>
              <a:gd name="connsiteX3" fmla="*/ 1260314 w 1804943"/>
              <a:gd name="connsiteY3" fmla="*/ 121436 h 2373250"/>
              <a:gd name="connsiteX4" fmla="*/ 1260314 w 1804943"/>
              <a:gd name="connsiteY4" fmla="*/ 372027 h 2373250"/>
              <a:gd name="connsiteX5" fmla="*/ 1260314 w 1804943"/>
              <a:gd name="connsiteY5" fmla="*/ 2258004 h 2373250"/>
              <a:gd name="connsiteX6" fmla="*/ 1804943 w 1804943"/>
              <a:gd name="connsiteY6" fmla="*/ 2258004 h 2373250"/>
              <a:gd name="connsiteX7" fmla="*/ 1804943 w 1804943"/>
              <a:gd name="connsiteY7" fmla="*/ 2364102 h 2373250"/>
              <a:gd name="connsiteX8" fmla="*/ 1135564 w 1804943"/>
              <a:gd name="connsiteY8" fmla="*/ 2364102 h 2373250"/>
              <a:gd name="connsiteX9" fmla="*/ 1135564 w 1804943"/>
              <a:gd name="connsiteY9" fmla="*/ 2258004 h 2373250"/>
              <a:gd name="connsiteX10" fmla="*/ 1135564 w 1804943"/>
              <a:gd name="connsiteY10" fmla="*/ 372027 h 2373250"/>
              <a:gd name="connsiteX11" fmla="*/ 1135564 w 1804943"/>
              <a:gd name="connsiteY11" fmla="*/ 121436 h 2373250"/>
              <a:gd name="connsiteX12" fmla="*/ 824551 w 1804943"/>
              <a:gd name="connsiteY12" fmla="*/ 0 h 2373250"/>
              <a:gd name="connsiteX13" fmla="*/ 824551 w 1804943"/>
              <a:gd name="connsiteY13" fmla="*/ 106498 h 2373250"/>
              <a:gd name="connsiteX14" fmla="*/ 793382 w 1804943"/>
              <a:gd name="connsiteY14" fmla="*/ 106920 h 2373250"/>
              <a:gd name="connsiteX15" fmla="*/ 763107 w 1804943"/>
              <a:gd name="connsiteY15" fmla="*/ 108189 h 2373250"/>
              <a:gd name="connsiteX16" fmla="*/ 733699 w 1804943"/>
              <a:gd name="connsiteY16" fmla="*/ 110296 h 2373250"/>
              <a:gd name="connsiteX17" fmla="*/ 705152 w 1804943"/>
              <a:gd name="connsiteY17" fmla="*/ 113240 h 2373250"/>
              <a:gd name="connsiteX18" fmla="*/ 677451 w 1804943"/>
              <a:gd name="connsiteY18" fmla="*/ 117008 h 2373250"/>
              <a:gd name="connsiteX19" fmla="*/ 650596 w 1804943"/>
              <a:gd name="connsiteY19" fmla="*/ 121598 h 2373250"/>
              <a:gd name="connsiteX20" fmla="*/ 624564 w 1804943"/>
              <a:gd name="connsiteY20" fmla="*/ 126995 h 2373250"/>
              <a:gd name="connsiteX21" fmla="*/ 599346 w 1804943"/>
              <a:gd name="connsiteY21" fmla="*/ 133207 h 2373250"/>
              <a:gd name="connsiteX22" fmla="*/ 574929 w 1804943"/>
              <a:gd name="connsiteY22" fmla="*/ 140218 h 2373250"/>
              <a:gd name="connsiteX23" fmla="*/ 551302 w 1804943"/>
              <a:gd name="connsiteY23" fmla="*/ 148022 h 2373250"/>
              <a:gd name="connsiteX24" fmla="*/ 528461 w 1804943"/>
              <a:gd name="connsiteY24" fmla="*/ 156617 h 2373250"/>
              <a:gd name="connsiteX25" fmla="*/ 506387 w 1804943"/>
              <a:gd name="connsiteY25" fmla="*/ 165997 h 2373250"/>
              <a:gd name="connsiteX26" fmla="*/ 485076 w 1804943"/>
              <a:gd name="connsiteY26" fmla="*/ 176146 h 2373250"/>
              <a:gd name="connsiteX27" fmla="*/ 464502 w 1804943"/>
              <a:gd name="connsiteY27" fmla="*/ 187071 h 2373250"/>
              <a:gd name="connsiteX28" fmla="*/ 425554 w 1804943"/>
              <a:gd name="connsiteY28" fmla="*/ 211204 h 2373250"/>
              <a:gd name="connsiteX29" fmla="*/ 389457 w 1804943"/>
              <a:gd name="connsiteY29" fmla="*/ 238344 h 2373250"/>
              <a:gd name="connsiteX30" fmla="*/ 356105 w 1804943"/>
              <a:gd name="connsiteY30" fmla="*/ 268436 h 2373250"/>
              <a:gd name="connsiteX31" fmla="*/ 325421 w 1804943"/>
              <a:gd name="connsiteY31" fmla="*/ 301433 h 2373250"/>
              <a:gd name="connsiteX32" fmla="*/ 297313 w 1804943"/>
              <a:gd name="connsiteY32" fmla="*/ 337284 h 2373250"/>
              <a:gd name="connsiteX33" fmla="*/ 284189 w 1804943"/>
              <a:gd name="connsiteY33" fmla="*/ 356266 h 2373250"/>
              <a:gd name="connsiteX34" fmla="*/ 274169 w 1804943"/>
              <a:gd name="connsiteY34" fmla="*/ 372027 h 2373250"/>
              <a:gd name="connsiteX35" fmla="*/ 271680 w 1804943"/>
              <a:gd name="connsiteY35" fmla="*/ 375940 h 2373250"/>
              <a:gd name="connsiteX36" fmla="*/ 259763 w 1804943"/>
              <a:gd name="connsiteY36" fmla="*/ 396306 h 2373250"/>
              <a:gd name="connsiteX37" fmla="*/ 248431 w 1804943"/>
              <a:gd name="connsiteY37" fmla="*/ 417348 h 2373250"/>
              <a:gd name="connsiteX38" fmla="*/ 237675 w 1804943"/>
              <a:gd name="connsiteY38" fmla="*/ 439077 h 2373250"/>
              <a:gd name="connsiteX39" fmla="*/ 227480 w 1804943"/>
              <a:gd name="connsiteY39" fmla="*/ 461465 h 2373250"/>
              <a:gd name="connsiteX40" fmla="*/ 217839 w 1804943"/>
              <a:gd name="connsiteY40" fmla="*/ 484522 h 2373250"/>
              <a:gd name="connsiteX41" fmla="*/ 208737 w 1804943"/>
              <a:gd name="connsiteY41" fmla="*/ 508239 h 2373250"/>
              <a:gd name="connsiteX42" fmla="*/ 200156 w 1804943"/>
              <a:gd name="connsiteY42" fmla="*/ 532604 h 2373250"/>
              <a:gd name="connsiteX43" fmla="*/ 192100 w 1804943"/>
              <a:gd name="connsiteY43" fmla="*/ 557614 h 2373250"/>
              <a:gd name="connsiteX44" fmla="*/ 184542 w 1804943"/>
              <a:gd name="connsiteY44" fmla="*/ 583262 h 2373250"/>
              <a:gd name="connsiteX45" fmla="*/ 177484 w 1804943"/>
              <a:gd name="connsiteY45" fmla="*/ 609541 h 2373250"/>
              <a:gd name="connsiteX46" fmla="*/ 170903 w 1804943"/>
              <a:gd name="connsiteY46" fmla="*/ 636450 h 2373250"/>
              <a:gd name="connsiteX47" fmla="*/ 164799 w 1804943"/>
              <a:gd name="connsiteY47" fmla="*/ 663974 h 2373250"/>
              <a:gd name="connsiteX48" fmla="*/ 159148 w 1804943"/>
              <a:gd name="connsiteY48" fmla="*/ 692121 h 2373250"/>
              <a:gd name="connsiteX49" fmla="*/ 153950 w 1804943"/>
              <a:gd name="connsiteY49" fmla="*/ 720867 h 2373250"/>
              <a:gd name="connsiteX50" fmla="*/ 149183 w 1804943"/>
              <a:gd name="connsiteY50" fmla="*/ 750212 h 2373250"/>
              <a:gd name="connsiteX51" fmla="*/ 144839 w 1804943"/>
              <a:gd name="connsiteY51" fmla="*/ 780158 h 2373250"/>
              <a:gd name="connsiteX52" fmla="*/ 140910 w 1804943"/>
              <a:gd name="connsiteY52" fmla="*/ 810689 h 2373250"/>
              <a:gd name="connsiteX53" fmla="*/ 137390 w 1804943"/>
              <a:gd name="connsiteY53" fmla="*/ 841803 h 2373250"/>
              <a:gd name="connsiteX54" fmla="*/ 134253 w 1804943"/>
              <a:gd name="connsiteY54" fmla="*/ 873494 h 2373250"/>
              <a:gd name="connsiteX55" fmla="*/ 131501 w 1804943"/>
              <a:gd name="connsiteY55" fmla="*/ 905754 h 2373250"/>
              <a:gd name="connsiteX56" fmla="*/ 129109 w 1804943"/>
              <a:gd name="connsiteY56" fmla="*/ 938575 h 2373250"/>
              <a:gd name="connsiteX57" fmla="*/ 127073 w 1804943"/>
              <a:gd name="connsiteY57" fmla="*/ 971958 h 2373250"/>
              <a:gd name="connsiteX58" fmla="*/ 125389 w 1804943"/>
              <a:gd name="connsiteY58" fmla="*/ 1005886 h 2373250"/>
              <a:gd name="connsiteX59" fmla="*/ 124027 w 1804943"/>
              <a:gd name="connsiteY59" fmla="*/ 1040360 h 2373250"/>
              <a:gd name="connsiteX60" fmla="*/ 122997 w 1804943"/>
              <a:gd name="connsiteY60" fmla="*/ 1075373 h 2373250"/>
              <a:gd name="connsiteX61" fmla="*/ 122267 w 1804943"/>
              <a:gd name="connsiteY61" fmla="*/ 1110923 h 2373250"/>
              <a:gd name="connsiteX62" fmla="*/ 121844 w 1804943"/>
              <a:gd name="connsiteY62" fmla="*/ 1146996 h 2373250"/>
              <a:gd name="connsiteX63" fmla="*/ 121706 w 1804943"/>
              <a:gd name="connsiteY63" fmla="*/ 1183585 h 2373250"/>
              <a:gd name="connsiteX64" fmla="*/ 121829 w 1804943"/>
              <a:gd name="connsiteY64" fmla="*/ 1220003 h 2373250"/>
              <a:gd name="connsiteX65" fmla="*/ 122229 w 1804943"/>
              <a:gd name="connsiteY65" fmla="*/ 1255892 h 2373250"/>
              <a:gd name="connsiteX66" fmla="*/ 122897 w 1804943"/>
              <a:gd name="connsiteY66" fmla="*/ 1291258 h 2373250"/>
              <a:gd name="connsiteX67" fmla="*/ 123850 w 1804943"/>
              <a:gd name="connsiteY67" fmla="*/ 1326087 h 2373250"/>
              <a:gd name="connsiteX68" fmla="*/ 125111 w 1804943"/>
              <a:gd name="connsiteY68" fmla="*/ 1360376 h 2373250"/>
              <a:gd name="connsiteX69" fmla="*/ 126679 w 1804943"/>
              <a:gd name="connsiteY69" fmla="*/ 1394113 h 2373250"/>
              <a:gd name="connsiteX70" fmla="*/ 128571 w 1804943"/>
              <a:gd name="connsiteY70" fmla="*/ 1427303 h 2373250"/>
              <a:gd name="connsiteX71" fmla="*/ 130802 w 1804943"/>
              <a:gd name="connsiteY71" fmla="*/ 1459939 h 2373250"/>
              <a:gd name="connsiteX72" fmla="*/ 133368 w 1804943"/>
              <a:gd name="connsiteY72" fmla="*/ 1492006 h 2373250"/>
              <a:gd name="connsiteX73" fmla="*/ 136298 w 1804943"/>
              <a:gd name="connsiteY73" fmla="*/ 1523513 h 2373250"/>
              <a:gd name="connsiteX74" fmla="*/ 139596 w 1804943"/>
              <a:gd name="connsiteY74" fmla="*/ 1554442 h 2373250"/>
              <a:gd name="connsiteX75" fmla="*/ 143271 w 1804943"/>
              <a:gd name="connsiteY75" fmla="*/ 1584796 h 2373250"/>
              <a:gd name="connsiteX76" fmla="*/ 147338 w 1804943"/>
              <a:gd name="connsiteY76" fmla="*/ 1614566 h 2373250"/>
              <a:gd name="connsiteX77" fmla="*/ 151813 w 1804943"/>
              <a:gd name="connsiteY77" fmla="*/ 1643750 h 2373250"/>
              <a:gd name="connsiteX78" fmla="*/ 156702 w 1804943"/>
              <a:gd name="connsiteY78" fmla="*/ 1672334 h 2373250"/>
              <a:gd name="connsiteX79" fmla="*/ 162015 w 1804943"/>
              <a:gd name="connsiteY79" fmla="*/ 1700320 h 2373250"/>
              <a:gd name="connsiteX80" fmla="*/ 167766 w 1804943"/>
              <a:gd name="connsiteY80" fmla="*/ 1727705 h 2373250"/>
              <a:gd name="connsiteX81" fmla="*/ 173962 w 1804943"/>
              <a:gd name="connsiteY81" fmla="*/ 1754476 h 2373250"/>
              <a:gd name="connsiteX82" fmla="*/ 180629 w 1804943"/>
              <a:gd name="connsiteY82" fmla="*/ 1780631 h 2373250"/>
              <a:gd name="connsiteX83" fmla="*/ 187755 w 1804943"/>
              <a:gd name="connsiteY83" fmla="*/ 1806164 h 2373250"/>
              <a:gd name="connsiteX84" fmla="*/ 195374 w 1804943"/>
              <a:gd name="connsiteY84" fmla="*/ 1831074 h 2373250"/>
              <a:gd name="connsiteX85" fmla="*/ 203485 w 1804943"/>
              <a:gd name="connsiteY85" fmla="*/ 1855346 h 2373250"/>
              <a:gd name="connsiteX86" fmla="*/ 212112 w 1804943"/>
              <a:gd name="connsiteY86" fmla="*/ 1878988 h 2373250"/>
              <a:gd name="connsiteX87" fmla="*/ 221245 w 1804943"/>
              <a:gd name="connsiteY87" fmla="*/ 1901983 h 2373250"/>
              <a:gd name="connsiteX88" fmla="*/ 230917 w 1804943"/>
              <a:gd name="connsiteY88" fmla="*/ 1924332 h 2373250"/>
              <a:gd name="connsiteX89" fmla="*/ 241128 w 1804943"/>
              <a:gd name="connsiteY89" fmla="*/ 1946029 h 2373250"/>
              <a:gd name="connsiteX90" fmla="*/ 251891 w 1804943"/>
              <a:gd name="connsiteY90" fmla="*/ 1967064 h 2373250"/>
              <a:gd name="connsiteX91" fmla="*/ 263216 w 1804943"/>
              <a:gd name="connsiteY91" fmla="*/ 1987430 h 2373250"/>
              <a:gd name="connsiteX92" fmla="*/ 287611 w 1804943"/>
              <a:gd name="connsiteY92" fmla="*/ 2026164 h 2373250"/>
              <a:gd name="connsiteX93" fmla="*/ 314404 w 1804943"/>
              <a:gd name="connsiteY93" fmla="*/ 2062168 h 2373250"/>
              <a:gd name="connsiteX94" fmla="*/ 343681 w 1804943"/>
              <a:gd name="connsiteY94" fmla="*/ 2095412 h 2373250"/>
              <a:gd name="connsiteX95" fmla="*/ 375541 w 1804943"/>
              <a:gd name="connsiteY95" fmla="*/ 2125849 h 2373250"/>
              <a:gd name="connsiteX96" fmla="*/ 410077 w 1804943"/>
              <a:gd name="connsiteY96" fmla="*/ 2153435 h 2373250"/>
              <a:gd name="connsiteX97" fmla="*/ 447372 w 1804943"/>
              <a:gd name="connsiteY97" fmla="*/ 2178130 h 2373250"/>
              <a:gd name="connsiteX98" fmla="*/ 487529 w 1804943"/>
              <a:gd name="connsiteY98" fmla="*/ 2199888 h 2373250"/>
              <a:gd name="connsiteX99" fmla="*/ 508702 w 1804943"/>
              <a:gd name="connsiteY99" fmla="*/ 2209652 h 2373250"/>
              <a:gd name="connsiteX100" fmla="*/ 530629 w 1804943"/>
              <a:gd name="connsiteY100" fmla="*/ 2218662 h 2373250"/>
              <a:gd name="connsiteX101" fmla="*/ 553317 w 1804943"/>
              <a:gd name="connsiteY101" fmla="*/ 2226920 h 2373250"/>
              <a:gd name="connsiteX102" fmla="*/ 576782 w 1804943"/>
              <a:gd name="connsiteY102" fmla="*/ 2234416 h 2373250"/>
              <a:gd name="connsiteX103" fmla="*/ 601022 w 1804943"/>
              <a:gd name="connsiteY103" fmla="*/ 2241150 h 2373250"/>
              <a:gd name="connsiteX104" fmla="*/ 626056 w 1804943"/>
              <a:gd name="connsiteY104" fmla="*/ 2247109 h 2373250"/>
              <a:gd name="connsiteX105" fmla="*/ 651904 w 1804943"/>
              <a:gd name="connsiteY105" fmla="*/ 2252291 h 2373250"/>
              <a:gd name="connsiteX106" fmla="*/ 678567 w 1804943"/>
              <a:gd name="connsiteY106" fmla="*/ 2256688 h 2373250"/>
              <a:gd name="connsiteX107" fmla="*/ 706061 w 1804943"/>
              <a:gd name="connsiteY107" fmla="*/ 2260301 h 2373250"/>
              <a:gd name="connsiteX108" fmla="*/ 734390 w 1804943"/>
              <a:gd name="connsiteY108" fmla="*/ 2263116 h 2373250"/>
              <a:gd name="connsiteX109" fmla="*/ 763575 w 1804943"/>
              <a:gd name="connsiteY109" fmla="*/ 2265138 h 2373250"/>
              <a:gd name="connsiteX110" fmla="*/ 793630 w 1804943"/>
              <a:gd name="connsiteY110" fmla="*/ 2266352 h 2373250"/>
              <a:gd name="connsiteX111" fmla="*/ 824551 w 1804943"/>
              <a:gd name="connsiteY111" fmla="*/ 2266760 h 2373250"/>
              <a:gd name="connsiteX112" fmla="*/ 824551 w 1804943"/>
              <a:gd name="connsiteY112" fmla="*/ 2373250 h 2373250"/>
              <a:gd name="connsiteX113" fmla="*/ 792476 w 1804943"/>
              <a:gd name="connsiteY113" fmla="*/ 2372881 h 2373250"/>
              <a:gd name="connsiteX114" fmla="*/ 761193 w 1804943"/>
              <a:gd name="connsiteY114" fmla="*/ 2371759 h 2373250"/>
              <a:gd name="connsiteX115" fmla="*/ 730694 w 1804943"/>
              <a:gd name="connsiteY115" fmla="*/ 2369898 h 2373250"/>
              <a:gd name="connsiteX116" fmla="*/ 700970 w 1804943"/>
              <a:gd name="connsiteY116" fmla="*/ 2367307 h 2373250"/>
              <a:gd name="connsiteX117" fmla="*/ 672008 w 1804943"/>
              <a:gd name="connsiteY117" fmla="*/ 2363986 h 2373250"/>
              <a:gd name="connsiteX118" fmla="*/ 643800 w 1804943"/>
              <a:gd name="connsiteY118" fmla="*/ 2359941 h 2373250"/>
              <a:gd name="connsiteX119" fmla="*/ 616345 w 1804943"/>
              <a:gd name="connsiteY119" fmla="*/ 2355175 h 2373250"/>
              <a:gd name="connsiteX120" fmla="*/ 589621 w 1804943"/>
              <a:gd name="connsiteY120" fmla="*/ 2349701 h 2373250"/>
              <a:gd name="connsiteX121" fmla="*/ 563635 w 1804943"/>
              <a:gd name="connsiteY121" fmla="*/ 2343519 h 2373250"/>
              <a:gd name="connsiteX122" fmla="*/ 538363 w 1804943"/>
              <a:gd name="connsiteY122" fmla="*/ 2336631 h 2373250"/>
              <a:gd name="connsiteX123" fmla="*/ 513800 w 1804943"/>
              <a:gd name="connsiteY123" fmla="*/ 2329050 h 2373250"/>
              <a:gd name="connsiteX124" fmla="*/ 489950 w 1804943"/>
              <a:gd name="connsiteY124" fmla="*/ 2320785 h 2373250"/>
              <a:gd name="connsiteX125" fmla="*/ 466785 w 1804943"/>
              <a:gd name="connsiteY125" fmla="*/ 2311829 h 2373250"/>
              <a:gd name="connsiteX126" fmla="*/ 444312 w 1804943"/>
              <a:gd name="connsiteY126" fmla="*/ 2302195 h 2373250"/>
              <a:gd name="connsiteX127" fmla="*/ 422516 w 1804943"/>
              <a:gd name="connsiteY127" fmla="*/ 2291885 h 2373250"/>
              <a:gd name="connsiteX128" fmla="*/ 401389 w 1804943"/>
              <a:gd name="connsiteY128" fmla="*/ 2280906 h 2373250"/>
              <a:gd name="connsiteX129" fmla="*/ 380915 w 1804943"/>
              <a:gd name="connsiteY129" fmla="*/ 2269266 h 2373250"/>
              <a:gd name="connsiteX130" fmla="*/ 361094 w 1804943"/>
              <a:gd name="connsiteY130" fmla="*/ 2256965 h 2373250"/>
              <a:gd name="connsiteX131" fmla="*/ 341921 w 1804943"/>
              <a:gd name="connsiteY131" fmla="*/ 2244018 h 2373250"/>
              <a:gd name="connsiteX132" fmla="*/ 305456 w 1804943"/>
              <a:gd name="connsiteY132" fmla="*/ 2216179 h 2373250"/>
              <a:gd name="connsiteX133" fmla="*/ 271450 w 1804943"/>
              <a:gd name="connsiteY133" fmla="*/ 2185803 h 2373250"/>
              <a:gd name="connsiteX134" fmla="*/ 239844 w 1804943"/>
              <a:gd name="connsiteY134" fmla="*/ 2152920 h 2373250"/>
              <a:gd name="connsiteX135" fmla="*/ 210559 w 1804943"/>
              <a:gd name="connsiteY135" fmla="*/ 2117584 h 2373250"/>
              <a:gd name="connsiteX136" fmla="*/ 196759 w 1804943"/>
              <a:gd name="connsiteY136" fmla="*/ 2099010 h 2373250"/>
              <a:gd name="connsiteX137" fmla="*/ 183519 w 1804943"/>
              <a:gd name="connsiteY137" fmla="*/ 2079843 h 2373250"/>
              <a:gd name="connsiteX138" fmla="*/ 170826 w 1804943"/>
              <a:gd name="connsiteY138" fmla="*/ 2060076 h 2373250"/>
              <a:gd name="connsiteX139" fmla="*/ 158670 w 1804943"/>
              <a:gd name="connsiteY139" fmla="*/ 2039725 h 2373250"/>
              <a:gd name="connsiteX140" fmla="*/ 147039 w 1804943"/>
              <a:gd name="connsiteY140" fmla="*/ 2018790 h 2373250"/>
              <a:gd name="connsiteX141" fmla="*/ 135929 w 1804943"/>
              <a:gd name="connsiteY141" fmla="*/ 1997286 h 2373250"/>
              <a:gd name="connsiteX142" fmla="*/ 125326 w 1804943"/>
              <a:gd name="connsiteY142" fmla="*/ 1975206 h 2373250"/>
              <a:gd name="connsiteX143" fmla="*/ 115224 w 1804943"/>
              <a:gd name="connsiteY143" fmla="*/ 1952564 h 2373250"/>
              <a:gd name="connsiteX144" fmla="*/ 105621 w 1804943"/>
              <a:gd name="connsiteY144" fmla="*/ 1929369 h 2373250"/>
              <a:gd name="connsiteX145" fmla="*/ 96495 w 1804943"/>
              <a:gd name="connsiteY145" fmla="*/ 1905612 h 2373250"/>
              <a:gd name="connsiteX146" fmla="*/ 87846 w 1804943"/>
              <a:gd name="connsiteY146" fmla="*/ 1881309 h 2373250"/>
              <a:gd name="connsiteX147" fmla="*/ 79666 w 1804943"/>
              <a:gd name="connsiteY147" fmla="*/ 1856461 h 2373250"/>
              <a:gd name="connsiteX148" fmla="*/ 71947 w 1804943"/>
              <a:gd name="connsiteY148" fmla="*/ 1831082 h 2373250"/>
              <a:gd name="connsiteX149" fmla="*/ 64675 w 1804943"/>
              <a:gd name="connsiteY149" fmla="*/ 1805165 h 2373250"/>
              <a:gd name="connsiteX150" fmla="*/ 57839 w 1804943"/>
              <a:gd name="connsiteY150" fmla="*/ 1778725 h 2373250"/>
              <a:gd name="connsiteX151" fmla="*/ 51435 w 1804943"/>
              <a:gd name="connsiteY151" fmla="*/ 1751762 h 2373250"/>
              <a:gd name="connsiteX152" fmla="*/ 45461 w 1804943"/>
              <a:gd name="connsiteY152" fmla="*/ 1724284 h 2373250"/>
              <a:gd name="connsiteX153" fmla="*/ 39895 w 1804943"/>
              <a:gd name="connsiteY153" fmla="*/ 1696292 h 2373250"/>
              <a:gd name="connsiteX154" fmla="*/ 34736 w 1804943"/>
              <a:gd name="connsiteY154" fmla="*/ 1667799 h 2373250"/>
              <a:gd name="connsiteX155" fmla="*/ 29969 w 1804943"/>
              <a:gd name="connsiteY155" fmla="*/ 1638806 h 2373250"/>
              <a:gd name="connsiteX156" fmla="*/ 25595 w 1804943"/>
              <a:gd name="connsiteY156" fmla="*/ 1609322 h 2373250"/>
              <a:gd name="connsiteX157" fmla="*/ 21597 w 1804943"/>
              <a:gd name="connsiteY157" fmla="*/ 1579352 h 2373250"/>
              <a:gd name="connsiteX158" fmla="*/ 17967 w 1804943"/>
              <a:gd name="connsiteY158" fmla="*/ 1548893 h 2373250"/>
              <a:gd name="connsiteX159" fmla="*/ 14708 w 1804943"/>
              <a:gd name="connsiteY159" fmla="*/ 1517963 h 2373250"/>
              <a:gd name="connsiteX160" fmla="*/ 11794 w 1804943"/>
              <a:gd name="connsiteY160" fmla="*/ 1486556 h 2373250"/>
              <a:gd name="connsiteX161" fmla="*/ 9226 w 1804943"/>
              <a:gd name="connsiteY161" fmla="*/ 1454681 h 2373250"/>
              <a:gd name="connsiteX162" fmla="*/ 6989 w 1804943"/>
              <a:gd name="connsiteY162" fmla="*/ 1422351 h 2373250"/>
              <a:gd name="connsiteX163" fmla="*/ 5082 w 1804943"/>
              <a:gd name="connsiteY163" fmla="*/ 1389569 h 2373250"/>
              <a:gd name="connsiteX164" fmla="*/ 3490 w 1804943"/>
              <a:gd name="connsiteY164" fmla="*/ 1356325 h 2373250"/>
              <a:gd name="connsiteX165" fmla="*/ 2206 w 1804943"/>
              <a:gd name="connsiteY165" fmla="*/ 1322649 h 2373250"/>
              <a:gd name="connsiteX166" fmla="*/ 1230 w 1804943"/>
              <a:gd name="connsiteY166" fmla="*/ 1288530 h 2373250"/>
              <a:gd name="connsiteX167" fmla="*/ 540 w 1804943"/>
              <a:gd name="connsiteY167" fmla="*/ 1253971 h 2373250"/>
              <a:gd name="connsiteX168" fmla="*/ 132 w 1804943"/>
              <a:gd name="connsiteY168" fmla="*/ 1218989 h 2373250"/>
              <a:gd name="connsiteX169" fmla="*/ 0 w 1804943"/>
              <a:gd name="connsiteY169" fmla="*/ 1183585 h 2373250"/>
              <a:gd name="connsiteX170" fmla="*/ 132 w 1804943"/>
              <a:gd name="connsiteY170" fmla="*/ 1148334 h 2373250"/>
              <a:gd name="connsiteX171" fmla="*/ 546 w 1804943"/>
              <a:gd name="connsiteY171" fmla="*/ 1113498 h 2373250"/>
              <a:gd name="connsiteX172" fmla="*/ 1254 w 1804943"/>
              <a:gd name="connsiteY172" fmla="*/ 1079094 h 2373250"/>
              <a:gd name="connsiteX173" fmla="*/ 2246 w 1804943"/>
              <a:gd name="connsiteY173" fmla="*/ 1045127 h 2373250"/>
              <a:gd name="connsiteX174" fmla="*/ 3544 w 1804943"/>
              <a:gd name="connsiteY174" fmla="*/ 1011590 h 2373250"/>
              <a:gd name="connsiteX175" fmla="*/ 5159 w 1804943"/>
              <a:gd name="connsiteY175" fmla="*/ 978500 h 2373250"/>
              <a:gd name="connsiteX176" fmla="*/ 7096 w 1804943"/>
              <a:gd name="connsiteY176" fmla="*/ 945863 h 2373250"/>
              <a:gd name="connsiteX177" fmla="*/ 9356 w 1804943"/>
              <a:gd name="connsiteY177" fmla="*/ 913681 h 2373250"/>
              <a:gd name="connsiteX178" fmla="*/ 11964 w 1804943"/>
              <a:gd name="connsiteY178" fmla="*/ 881951 h 2373250"/>
              <a:gd name="connsiteX179" fmla="*/ 14909 w 1804943"/>
              <a:gd name="connsiteY179" fmla="*/ 850691 h 2373250"/>
              <a:gd name="connsiteX180" fmla="*/ 18214 w 1804943"/>
              <a:gd name="connsiteY180" fmla="*/ 819907 h 2373250"/>
              <a:gd name="connsiteX181" fmla="*/ 21881 w 1804943"/>
              <a:gd name="connsiteY181" fmla="*/ 789592 h 2373250"/>
              <a:gd name="connsiteX182" fmla="*/ 25917 w 1804943"/>
              <a:gd name="connsiteY182" fmla="*/ 759762 h 2373250"/>
              <a:gd name="connsiteX183" fmla="*/ 30338 w 1804943"/>
              <a:gd name="connsiteY183" fmla="*/ 730423 h 2373250"/>
              <a:gd name="connsiteX184" fmla="*/ 35152 w 1804943"/>
              <a:gd name="connsiteY184" fmla="*/ 701569 h 2373250"/>
              <a:gd name="connsiteX185" fmla="*/ 40356 w 1804943"/>
              <a:gd name="connsiteY185" fmla="*/ 673215 h 2373250"/>
              <a:gd name="connsiteX186" fmla="*/ 45968 w 1804943"/>
              <a:gd name="connsiteY186" fmla="*/ 645368 h 2373250"/>
              <a:gd name="connsiteX187" fmla="*/ 51996 w 1804943"/>
              <a:gd name="connsiteY187" fmla="*/ 618029 h 2373250"/>
              <a:gd name="connsiteX188" fmla="*/ 58446 w 1804943"/>
              <a:gd name="connsiteY188" fmla="*/ 591204 h 2373250"/>
              <a:gd name="connsiteX189" fmla="*/ 65335 w 1804943"/>
              <a:gd name="connsiteY189" fmla="*/ 564895 h 2373250"/>
              <a:gd name="connsiteX190" fmla="*/ 72655 w 1804943"/>
              <a:gd name="connsiteY190" fmla="*/ 539109 h 2373250"/>
              <a:gd name="connsiteX191" fmla="*/ 80428 w 1804943"/>
              <a:gd name="connsiteY191" fmla="*/ 513860 h 2373250"/>
              <a:gd name="connsiteX192" fmla="*/ 88661 w 1804943"/>
              <a:gd name="connsiteY192" fmla="*/ 489142 h 2373250"/>
              <a:gd name="connsiteX193" fmla="*/ 97358 w 1804943"/>
              <a:gd name="connsiteY193" fmla="*/ 464962 h 2373250"/>
              <a:gd name="connsiteX194" fmla="*/ 106521 w 1804943"/>
              <a:gd name="connsiteY194" fmla="*/ 441336 h 2373250"/>
              <a:gd name="connsiteX195" fmla="*/ 116178 w 1804943"/>
              <a:gd name="connsiteY195" fmla="*/ 418257 h 2373250"/>
              <a:gd name="connsiteX196" fmla="*/ 126320 w 1804943"/>
              <a:gd name="connsiteY196" fmla="*/ 395738 h 2373250"/>
              <a:gd name="connsiteX197" fmla="*/ 136966 w 1804943"/>
              <a:gd name="connsiteY197" fmla="*/ 373780 h 2373250"/>
              <a:gd name="connsiteX198" fmla="*/ 137880 w 1804943"/>
              <a:gd name="connsiteY198" fmla="*/ 372027 h 2373250"/>
              <a:gd name="connsiteX199" fmla="*/ 137881 w 1804943"/>
              <a:gd name="connsiteY199" fmla="*/ 372027 h 2373250"/>
              <a:gd name="connsiteX200" fmla="*/ 148122 w 1804943"/>
              <a:gd name="connsiteY200" fmla="*/ 352391 h 2373250"/>
              <a:gd name="connsiteX201" fmla="*/ 159787 w 1804943"/>
              <a:gd name="connsiteY201" fmla="*/ 331571 h 2373250"/>
              <a:gd name="connsiteX202" fmla="*/ 171988 w 1804943"/>
              <a:gd name="connsiteY202" fmla="*/ 311336 h 2373250"/>
              <a:gd name="connsiteX203" fmla="*/ 184719 w 1804943"/>
              <a:gd name="connsiteY203" fmla="*/ 291677 h 2373250"/>
              <a:gd name="connsiteX204" fmla="*/ 197988 w 1804943"/>
              <a:gd name="connsiteY204" fmla="*/ 272618 h 2373250"/>
              <a:gd name="connsiteX205" fmla="*/ 211812 w 1804943"/>
              <a:gd name="connsiteY205" fmla="*/ 254143 h 2373250"/>
              <a:gd name="connsiteX206" fmla="*/ 241142 w 1804943"/>
              <a:gd name="connsiteY206" fmla="*/ 219015 h 2373250"/>
              <a:gd name="connsiteX207" fmla="*/ 272787 w 1804943"/>
              <a:gd name="connsiteY207" fmla="*/ 186325 h 2373250"/>
              <a:gd name="connsiteX208" fmla="*/ 306808 w 1804943"/>
              <a:gd name="connsiteY208" fmla="*/ 156118 h 2373250"/>
              <a:gd name="connsiteX209" fmla="*/ 343266 w 1804943"/>
              <a:gd name="connsiteY209" fmla="*/ 128447 h 2373250"/>
              <a:gd name="connsiteX210" fmla="*/ 362432 w 1804943"/>
              <a:gd name="connsiteY210" fmla="*/ 115578 h 2373250"/>
              <a:gd name="connsiteX211" fmla="*/ 382237 w 1804943"/>
              <a:gd name="connsiteY211" fmla="*/ 103346 h 2373250"/>
              <a:gd name="connsiteX212" fmla="*/ 402689 w 1804943"/>
              <a:gd name="connsiteY212" fmla="*/ 91775 h 2373250"/>
              <a:gd name="connsiteX213" fmla="*/ 423793 w 1804943"/>
              <a:gd name="connsiteY213" fmla="*/ 80865 h 2373250"/>
              <a:gd name="connsiteX214" fmla="*/ 445558 w 1804943"/>
              <a:gd name="connsiteY214" fmla="*/ 70617 h 2373250"/>
              <a:gd name="connsiteX215" fmla="*/ 467992 w 1804943"/>
              <a:gd name="connsiteY215" fmla="*/ 61045 h 2373250"/>
              <a:gd name="connsiteX216" fmla="*/ 491103 w 1804943"/>
              <a:gd name="connsiteY216" fmla="*/ 52142 h 2373250"/>
              <a:gd name="connsiteX217" fmla="*/ 514906 w 1804943"/>
              <a:gd name="connsiteY217" fmla="*/ 43923 h 2373250"/>
              <a:gd name="connsiteX218" fmla="*/ 539409 w 1804943"/>
              <a:gd name="connsiteY218" fmla="*/ 36389 h 2373250"/>
              <a:gd name="connsiteX219" fmla="*/ 564612 w 1804943"/>
              <a:gd name="connsiteY219" fmla="*/ 29553 h 2373250"/>
              <a:gd name="connsiteX220" fmla="*/ 590528 w 1804943"/>
              <a:gd name="connsiteY220" fmla="*/ 23403 h 2373250"/>
              <a:gd name="connsiteX221" fmla="*/ 617160 w 1804943"/>
              <a:gd name="connsiteY221" fmla="*/ 17967 h 2373250"/>
              <a:gd name="connsiteX222" fmla="*/ 644530 w 1804943"/>
              <a:gd name="connsiteY222" fmla="*/ 13231 h 2373250"/>
              <a:gd name="connsiteX223" fmla="*/ 672639 w 1804943"/>
              <a:gd name="connsiteY223" fmla="*/ 9210 h 2373250"/>
              <a:gd name="connsiteX224" fmla="*/ 701494 w 1804943"/>
              <a:gd name="connsiteY224" fmla="*/ 5912 h 2373250"/>
              <a:gd name="connsiteX225" fmla="*/ 731100 w 1804943"/>
              <a:gd name="connsiteY225" fmla="*/ 3336 h 2373250"/>
              <a:gd name="connsiteX226" fmla="*/ 761477 w 1804943"/>
              <a:gd name="connsiteY226" fmla="*/ 1484 h 2373250"/>
              <a:gd name="connsiteX227" fmla="*/ 792621 w 1804943"/>
              <a:gd name="connsiteY227" fmla="*/ 377 h 23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804943" h="2373250">
                <a:moveTo>
                  <a:pt x="1135564" y="15338"/>
                </a:moveTo>
                <a:lnTo>
                  <a:pt x="1804943" y="15338"/>
                </a:lnTo>
                <a:lnTo>
                  <a:pt x="1804943" y="121436"/>
                </a:lnTo>
                <a:lnTo>
                  <a:pt x="1260314" y="121436"/>
                </a:lnTo>
                <a:lnTo>
                  <a:pt x="1260314" y="372027"/>
                </a:lnTo>
                <a:lnTo>
                  <a:pt x="1260314" y="2258004"/>
                </a:lnTo>
                <a:lnTo>
                  <a:pt x="1804943" y="2258004"/>
                </a:lnTo>
                <a:lnTo>
                  <a:pt x="1804943" y="2364102"/>
                </a:lnTo>
                <a:lnTo>
                  <a:pt x="1135564" y="2364102"/>
                </a:lnTo>
                <a:lnTo>
                  <a:pt x="1135564" y="2258004"/>
                </a:lnTo>
                <a:lnTo>
                  <a:pt x="1135564" y="372027"/>
                </a:lnTo>
                <a:lnTo>
                  <a:pt x="1135564" y="121436"/>
                </a:lnTo>
                <a:close/>
                <a:moveTo>
                  <a:pt x="824551" y="0"/>
                </a:moveTo>
                <a:lnTo>
                  <a:pt x="824551" y="106498"/>
                </a:lnTo>
                <a:lnTo>
                  <a:pt x="793382" y="106920"/>
                </a:lnTo>
                <a:lnTo>
                  <a:pt x="763107" y="108189"/>
                </a:lnTo>
                <a:lnTo>
                  <a:pt x="733699" y="110296"/>
                </a:lnTo>
                <a:lnTo>
                  <a:pt x="705152" y="113240"/>
                </a:lnTo>
                <a:lnTo>
                  <a:pt x="677451" y="117008"/>
                </a:lnTo>
                <a:lnTo>
                  <a:pt x="650596" y="121598"/>
                </a:lnTo>
                <a:lnTo>
                  <a:pt x="624564" y="126995"/>
                </a:lnTo>
                <a:lnTo>
                  <a:pt x="599346" y="133207"/>
                </a:lnTo>
                <a:lnTo>
                  <a:pt x="574929" y="140218"/>
                </a:lnTo>
                <a:lnTo>
                  <a:pt x="551302" y="148022"/>
                </a:lnTo>
                <a:lnTo>
                  <a:pt x="528461" y="156617"/>
                </a:lnTo>
                <a:lnTo>
                  <a:pt x="506387" y="165997"/>
                </a:lnTo>
                <a:lnTo>
                  <a:pt x="485076" y="176146"/>
                </a:lnTo>
                <a:lnTo>
                  <a:pt x="464502" y="187071"/>
                </a:lnTo>
                <a:lnTo>
                  <a:pt x="425554" y="211204"/>
                </a:lnTo>
                <a:lnTo>
                  <a:pt x="389457" y="238344"/>
                </a:lnTo>
                <a:lnTo>
                  <a:pt x="356105" y="268436"/>
                </a:lnTo>
                <a:lnTo>
                  <a:pt x="325421" y="301433"/>
                </a:lnTo>
                <a:lnTo>
                  <a:pt x="297313" y="337284"/>
                </a:lnTo>
                <a:lnTo>
                  <a:pt x="284189" y="356266"/>
                </a:lnTo>
                <a:lnTo>
                  <a:pt x="274169" y="372027"/>
                </a:lnTo>
                <a:lnTo>
                  <a:pt x="271680" y="375940"/>
                </a:lnTo>
                <a:lnTo>
                  <a:pt x="259763" y="396306"/>
                </a:lnTo>
                <a:lnTo>
                  <a:pt x="248431" y="417348"/>
                </a:lnTo>
                <a:lnTo>
                  <a:pt x="237675" y="439077"/>
                </a:lnTo>
                <a:lnTo>
                  <a:pt x="227480" y="461465"/>
                </a:lnTo>
                <a:lnTo>
                  <a:pt x="217839" y="484522"/>
                </a:lnTo>
                <a:lnTo>
                  <a:pt x="208737" y="508239"/>
                </a:lnTo>
                <a:lnTo>
                  <a:pt x="200156" y="532604"/>
                </a:lnTo>
                <a:lnTo>
                  <a:pt x="192100" y="557614"/>
                </a:lnTo>
                <a:lnTo>
                  <a:pt x="184542" y="583262"/>
                </a:lnTo>
                <a:lnTo>
                  <a:pt x="177484" y="609541"/>
                </a:lnTo>
                <a:lnTo>
                  <a:pt x="170903" y="636450"/>
                </a:lnTo>
                <a:lnTo>
                  <a:pt x="164799" y="663974"/>
                </a:lnTo>
                <a:lnTo>
                  <a:pt x="159148" y="692121"/>
                </a:lnTo>
                <a:lnTo>
                  <a:pt x="153950" y="720867"/>
                </a:lnTo>
                <a:lnTo>
                  <a:pt x="149183" y="750212"/>
                </a:lnTo>
                <a:lnTo>
                  <a:pt x="144839" y="780158"/>
                </a:lnTo>
                <a:lnTo>
                  <a:pt x="140910" y="810689"/>
                </a:lnTo>
                <a:lnTo>
                  <a:pt x="137390" y="841803"/>
                </a:lnTo>
                <a:lnTo>
                  <a:pt x="134253" y="873494"/>
                </a:lnTo>
                <a:lnTo>
                  <a:pt x="131501" y="905754"/>
                </a:lnTo>
                <a:lnTo>
                  <a:pt x="129109" y="938575"/>
                </a:lnTo>
                <a:lnTo>
                  <a:pt x="127073" y="971958"/>
                </a:lnTo>
                <a:lnTo>
                  <a:pt x="125389" y="1005886"/>
                </a:lnTo>
                <a:lnTo>
                  <a:pt x="124027" y="1040360"/>
                </a:lnTo>
                <a:lnTo>
                  <a:pt x="122997" y="1075373"/>
                </a:lnTo>
                <a:lnTo>
                  <a:pt x="122267" y="1110923"/>
                </a:lnTo>
                <a:lnTo>
                  <a:pt x="121844" y="1146996"/>
                </a:lnTo>
                <a:lnTo>
                  <a:pt x="121706" y="1183585"/>
                </a:lnTo>
                <a:lnTo>
                  <a:pt x="121829" y="1220003"/>
                </a:lnTo>
                <a:lnTo>
                  <a:pt x="122229" y="1255892"/>
                </a:lnTo>
                <a:lnTo>
                  <a:pt x="122897" y="1291258"/>
                </a:lnTo>
                <a:lnTo>
                  <a:pt x="123850" y="1326087"/>
                </a:lnTo>
                <a:lnTo>
                  <a:pt x="125111" y="1360376"/>
                </a:lnTo>
                <a:lnTo>
                  <a:pt x="126679" y="1394113"/>
                </a:lnTo>
                <a:lnTo>
                  <a:pt x="128571" y="1427303"/>
                </a:lnTo>
                <a:lnTo>
                  <a:pt x="130802" y="1459939"/>
                </a:lnTo>
                <a:lnTo>
                  <a:pt x="133368" y="1492006"/>
                </a:lnTo>
                <a:lnTo>
                  <a:pt x="136298" y="1523513"/>
                </a:lnTo>
                <a:lnTo>
                  <a:pt x="139596" y="1554442"/>
                </a:lnTo>
                <a:lnTo>
                  <a:pt x="143271" y="1584796"/>
                </a:lnTo>
                <a:lnTo>
                  <a:pt x="147338" y="1614566"/>
                </a:lnTo>
                <a:lnTo>
                  <a:pt x="151813" y="1643750"/>
                </a:lnTo>
                <a:lnTo>
                  <a:pt x="156702" y="1672334"/>
                </a:lnTo>
                <a:lnTo>
                  <a:pt x="162015" y="1700320"/>
                </a:lnTo>
                <a:lnTo>
                  <a:pt x="167766" y="1727705"/>
                </a:lnTo>
                <a:lnTo>
                  <a:pt x="173962" y="1754476"/>
                </a:lnTo>
                <a:lnTo>
                  <a:pt x="180629" y="1780631"/>
                </a:lnTo>
                <a:lnTo>
                  <a:pt x="187755" y="1806164"/>
                </a:lnTo>
                <a:lnTo>
                  <a:pt x="195374" y="1831074"/>
                </a:lnTo>
                <a:lnTo>
                  <a:pt x="203485" y="1855346"/>
                </a:lnTo>
                <a:lnTo>
                  <a:pt x="212112" y="1878988"/>
                </a:lnTo>
                <a:lnTo>
                  <a:pt x="221245" y="1901983"/>
                </a:lnTo>
                <a:lnTo>
                  <a:pt x="230917" y="1924332"/>
                </a:lnTo>
                <a:lnTo>
                  <a:pt x="241128" y="1946029"/>
                </a:lnTo>
                <a:lnTo>
                  <a:pt x="251891" y="1967064"/>
                </a:lnTo>
                <a:lnTo>
                  <a:pt x="263216" y="1987430"/>
                </a:lnTo>
                <a:lnTo>
                  <a:pt x="287611" y="2026164"/>
                </a:lnTo>
                <a:lnTo>
                  <a:pt x="314404" y="2062168"/>
                </a:lnTo>
                <a:lnTo>
                  <a:pt x="343681" y="2095412"/>
                </a:lnTo>
                <a:lnTo>
                  <a:pt x="375541" y="2125849"/>
                </a:lnTo>
                <a:lnTo>
                  <a:pt x="410077" y="2153435"/>
                </a:lnTo>
                <a:lnTo>
                  <a:pt x="447372" y="2178130"/>
                </a:lnTo>
                <a:lnTo>
                  <a:pt x="487529" y="2199888"/>
                </a:lnTo>
                <a:lnTo>
                  <a:pt x="508702" y="2209652"/>
                </a:lnTo>
                <a:lnTo>
                  <a:pt x="530629" y="2218662"/>
                </a:lnTo>
                <a:lnTo>
                  <a:pt x="553317" y="2226920"/>
                </a:lnTo>
                <a:lnTo>
                  <a:pt x="576782" y="2234416"/>
                </a:lnTo>
                <a:lnTo>
                  <a:pt x="601022" y="2241150"/>
                </a:lnTo>
                <a:lnTo>
                  <a:pt x="626056" y="2247109"/>
                </a:lnTo>
                <a:lnTo>
                  <a:pt x="651904" y="2252291"/>
                </a:lnTo>
                <a:lnTo>
                  <a:pt x="678567" y="2256688"/>
                </a:lnTo>
                <a:lnTo>
                  <a:pt x="706061" y="2260301"/>
                </a:lnTo>
                <a:lnTo>
                  <a:pt x="734390" y="2263116"/>
                </a:lnTo>
                <a:lnTo>
                  <a:pt x="763575" y="2265138"/>
                </a:lnTo>
                <a:lnTo>
                  <a:pt x="793630" y="2266352"/>
                </a:lnTo>
                <a:lnTo>
                  <a:pt x="824551" y="2266760"/>
                </a:lnTo>
                <a:lnTo>
                  <a:pt x="824551" y="2373250"/>
                </a:lnTo>
                <a:lnTo>
                  <a:pt x="792476" y="2372881"/>
                </a:lnTo>
                <a:lnTo>
                  <a:pt x="761193" y="2371759"/>
                </a:lnTo>
                <a:lnTo>
                  <a:pt x="730694" y="2369898"/>
                </a:lnTo>
                <a:lnTo>
                  <a:pt x="700970" y="2367307"/>
                </a:lnTo>
                <a:lnTo>
                  <a:pt x="672008" y="2363986"/>
                </a:lnTo>
                <a:lnTo>
                  <a:pt x="643800" y="2359941"/>
                </a:lnTo>
                <a:lnTo>
                  <a:pt x="616345" y="2355175"/>
                </a:lnTo>
                <a:lnTo>
                  <a:pt x="589621" y="2349701"/>
                </a:lnTo>
                <a:lnTo>
                  <a:pt x="563635" y="2343519"/>
                </a:lnTo>
                <a:lnTo>
                  <a:pt x="538363" y="2336631"/>
                </a:lnTo>
                <a:lnTo>
                  <a:pt x="513800" y="2329050"/>
                </a:lnTo>
                <a:lnTo>
                  <a:pt x="489950" y="2320785"/>
                </a:lnTo>
                <a:lnTo>
                  <a:pt x="466785" y="2311829"/>
                </a:lnTo>
                <a:lnTo>
                  <a:pt x="444312" y="2302195"/>
                </a:lnTo>
                <a:lnTo>
                  <a:pt x="422516" y="2291885"/>
                </a:lnTo>
                <a:lnTo>
                  <a:pt x="401389" y="2280906"/>
                </a:lnTo>
                <a:lnTo>
                  <a:pt x="380915" y="2269266"/>
                </a:lnTo>
                <a:lnTo>
                  <a:pt x="361094" y="2256965"/>
                </a:lnTo>
                <a:lnTo>
                  <a:pt x="341921" y="2244018"/>
                </a:lnTo>
                <a:lnTo>
                  <a:pt x="305456" y="2216179"/>
                </a:lnTo>
                <a:lnTo>
                  <a:pt x="271450" y="2185803"/>
                </a:lnTo>
                <a:lnTo>
                  <a:pt x="239844" y="2152920"/>
                </a:lnTo>
                <a:lnTo>
                  <a:pt x="210559" y="2117584"/>
                </a:lnTo>
                <a:lnTo>
                  <a:pt x="196759" y="2099010"/>
                </a:lnTo>
                <a:lnTo>
                  <a:pt x="183519" y="2079843"/>
                </a:lnTo>
                <a:lnTo>
                  <a:pt x="170826" y="2060076"/>
                </a:lnTo>
                <a:lnTo>
                  <a:pt x="158670" y="2039725"/>
                </a:lnTo>
                <a:lnTo>
                  <a:pt x="147039" y="2018790"/>
                </a:lnTo>
                <a:lnTo>
                  <a:pt x="135929" y="1997286"/>
                </a:lnTo>
                <a:lnTo>
                  <a:pt x="125326" y="1975206"/>
                </a:lnTo>
                <a:lnTo>
                  <a:pt x="115224" y="1952564"/>
                </a:lnTo>
                <a:lnTo>
                  <a:pt x="105621" y="1929369"/>
                </a:lnTo>
                <a:lnTo>
                  <a:pt x="96495" y="1905612"/>
                </a:lnTo>
                <a:lnTo>
                  <a:pt x="87846" y="1881309"/>
                </a:lnTo>
                <a:lnTo>
                  <a:pt x="79666" y="1856461"/>
                </a:lnTo>
                <a:lnTo>
                  <a:pt x="71947" y="1831082"/>
                </a:lnTo>
                <a:lnTo>
                  <a:pt x="64675" y="1805165"/>
                </a:lnTo>
                <a:lnTo>
                  <a:pt x="57839" y="1778725"/>
                </a:lnTo>
                <a:lnTo>
                  <a:pt x="51435" y="1751762"/>
                </a:lnTo>
                <a:lnTo>
                  <a:pt x="45461" y="1724284"/>
                </a:lnTo>
                <a:lnTo>
                  <a:pt x="39895" y="1696292"/>
                </a:lnTo>
                <a:lnTo>
                  <a:pt x="34736" y="1667799"/>
                </a:lnTo>
                <a:lnTo>
                  <a:pt x="29969" y="1638806"/>
                </a:lnTo>
                <a:lnTo>
                  <a:pt x="25595" y="1609322"/>
                </a:lnTo>
                <a:lnTo>
                  <a:pt x="21597" y="1579352"/>
                </a:lnTo>
                <a:lnTo>
                  <a:pt x="17967" y="1548893"/>
                </a:lnTo>
                <a:lnTo>
                  <a:pt x="14708" y="1517963"/>
                </a:lnTo>
                <a:lnTo>
                  <a:pt x="11794" y="1486556"/>
                </a:lnTo>
                <a:lnTo>
                  <a:pt x="9226" y="1454681"/>
                </a:lnTo>
                <a:lnTo>
                  <a:pt x="6989" y="1422351"/>
                </a:lnTo>
                <a:lnTo>
                  <a:pt x="5082" y="1389569"/>
                </a:lnTo>
                <a:lnTo>
                  <a:pt x="3490" y="1356325"/>
                </a:lnTo>
                <a:lnTo>
                  <a:pt x="2206" y="1322649"/>
                </a:lnTo>
                <a:lnTo>
                  <a:pt x="1230" y="1288530"/>
                </a:lnTo>
                <a:lnTo>
                  <a:pt x="540" y="1253971"/>
                </a:lnTo>
                <a:lnTo>
                  <a:pt x="132" y="1218989"/>
                </a:lnTo>
                <a:lnTo>
                  <a:pt x="0" y="1183585"/>
                </a:lnTo>
                <a:lnTo>
                  <a:pt x="132" y="1148334"/>
                </a:lnTo>
                <a:lnTo>
                  <a:pt x="546" y="1113498"/>
                </a:lnTo>
                <a:lnTo>
                  <a:pt x="1254" y="1079094"/>
                </a:lnTo>
                <a:lnTo>
                  <a:pt x="2246" y="1045127"/>
                </a:lnTo>
                <a:lnTo>
                  <a:pt x="3544" y="1011590"/>
                </a:lnTo>
                <a:lnTo>
                  <a:pt x="5159" y="978500"/>
                </a:lnTo>
                <a:lnTo>
                  <a:pt x="7096" y="945863"/>
                </a:lnTo>
                <a:lnTo>
                  <a:pt x="9356" y="913681"/>
                </a:lnTo>
                <a:lnTo>
                  <a:pt x="11964" y="881951"/>
                </a:lnTo>
                <a:lnTo>
                  <a:pt x="14909" y="850691"/>
                </a:lnTo>
                <a:lnTo>
                  <a:pt x="18214" y="819907"/>
                </a:lnTo>
                <a:lnTo>
                  <a:pt x="21881" y="789592"/>
                </a:lnTo>
                <a:lnTo>
                  <a:pt x="25917" y="759762"/>
                </a:lnTo>
                <a:lnTo>
                  <a:pt x="30338" y="730423"/>
                </a:lnTo>
                <a:lnTo>
                  <a:pt x="35152" y="701569"/>
                </a:lnTo>
                <a:lnTo>
                  <a:pt x="40356" y="673215"/>
                </a:lnTo>
                <a:lnTo>
                  <a:pt x="45968" y="645368"/>
                </a:lnTo>
                <a:lnTo>
                  <a:pt x="51996" y="618029"/>
                </a:lnTo>
                <a:lnTo>
                  <a:pt x="58446" y="591204"/>
                </a:lnTo>
                <a:lnTo>
                  <a:pt x="65335" y="564895"/>
                </a:lnTo>
                <a:lnTo>
                  <a:pt x="72655" y="539109"/>
                </a:lnTo>
                <a:lnTo>
                  <a:pt x="80428" y="513860"/>
                </a:lnTo>
                <a:lnTo>
                  <a:pt x="88661" y="489142"/>
                </a:lnTo>
                <a:lnTo>
                  <a:pt x="97358" y="464962"/>
                </a:lnTo>
                <a:lnTo>
                  <a:pt x="106521" y="441336"/>
                </a:lnTo>
                <a:lnTo>
                  <a:pt x="116178" y="418257"/>
                </a:lnTo>
                <a:lnTo>
                  <a:pt x="126320" y="395738"/>
                </a:lnTo>
                <a:lnTo>
                  <a:pt x="136966" y="373780"/>
                </a:lnTo>
                <a:lnTo>
                  <a:pt x="137880" y="372027"/>
                </a:lnTo>
                <a:lnTo>
                  <a:pt x="137881" y="372027"/>
                </a:lnTo>
                <a:lnTo>
                  <a:pt x="148122" y="352391"/>
                </a:lnTo>
                <a:lnTo>
                  <a:pt x="159787" y="331571"/>
                </a:lnTo>
                <a:lnTo>
                  <a:pt x="171988" y="311336"/>
                </a:lnTo>
                <a:lnTo>
                  <a:pt x="184719" y="291677"/>
                </a:lnTo>
                <a:lnTo>
                  <a:pt x="197988" y="272618"/>
                </a:lnTo>
                <a:lnTo>
                  <a:pt x="211812" y="254143"/>
                </a:lnTo>
                <a:lnTo>
                  <a:pt x="241142" y="219015"/>
                </a:lnTo>
                <a:lnTo>
                  <a:pt x="272787" y="186325"/>
                </a:lnTo>
                <a:lnTo>
                  <a:pt x="306808" y="156118"/>
                </a:lnTo>
                <a:lnTo>
                  <a:pt x="343266" y="128447"/>
                </a:lnTo>
                <a:lnTo>
                  <a:pt x="362432" y="115578"/>
                </a:lnTo>
                <a:lnTo>
                  <a:pt x="382237" y="103346"/>
                </a:lnTo>
                <a:lnTo>
                  <a:pt x="402689" y="91775"/>
                </a:lnTo>
                <a:lnTo>
                  <a:pt x="423793" y="80865"/>
                </a:lnTo>
                <a:lnTo>
                  <a:pt x="445558" y="70617"/>
                </a:lnTo>
                <a:lnTo>
                  <a:pt x="467992" y="61045"/>
                </a:lnTo>
                <a:lnTo>
                  <a:pt x="491103" y="52142"/>
                </a:lnTo>
                <a:lnTo>
                  <a:pt x="514906" y="43923"/>
                </a:lnTo>
                <a:lnTo>
                  <a:pt x="539409" y="36389"/>
                </a:lnTo>
                <a:lnTo>
                  <a:pt x="564612" y="29553"/>
                </a:lnTo>
                <a:lnTo>
                  <a:pt x="590528" y="23403"/>
                </a:lnTo>
                <a:lnTo>
                  <a:pt x="617160" y="17967"/>
                </a:lnTo>
                <a:lnTo>
                  <a:pt x="644530" y="13231"/>
                </a:lnTo>
                <a:lnTo>
                  <a:pt x="672639" y="9210"/>
                </a:lnTo>
                <a:lnTo>
                  <a:pt x="701494" y="5912"/>
                </a:lnTo>
                <a:lnTo>
                  <a:pt x="731100" y="3336"/>
                </a:lnTo>
                <a:lnTo>
                  <a:pt x="761477" y="1484"/>
                </a:lnTo>
                <a:lnTo>
                  <a:pt x="792621" y="377"/>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3" name="Makro grafik 2">
            <a:extLst>
              <a:ext uri="{FF2B5EF4-FFF2-40B4-BE49-F238E27FC236}">
                <a16:creationId xmlns:a16="http://schemas.microsoft.com/office/drawing/2014/main" id="{3C47DF57-6C35-2F95-62C7-5AF5F1E443EA}"/>
              </a:ext>
            </a:extLst>
          </p:cNvPr>
          <p:cNvSpPr>
            <a:spLocks noGrp="1" noChangeAspect="1"/>
          </p:cNvSpPr>
          <p:nvPr>
            <p:ph type="body" sz="quarter" idx="20" hasCustomPrompt="1"/>
          </p:nvPr>
        </p:nvSpPr>
        <p:spPr>
          <a:xfrm>
            <a:off x="7625339" y="3523023"/>
            <a:ext cx="1123209" cy="1460462"/>
          </a:xfrm>
          <a:custGeom>
            <a:avLst/>
            <a:gdLst>
              <a:gd name="connsiteX0" fmla="*/ 0 w 1497612"/>
              <a:gd name="connsiteY0" fmla="*/ 1 h 1947283"/>
              <a:gd name="connsiteX1" fmla="*/ 133876 w 1497612"/>
              <a:gd name="connsiteY1" fmla="*/ 1 h 1947283"/>
              <a:gd name="connsiteX2" fmla="*/ 542054 w 1497612"/>
              <a:gd name="connsiteY2" fmla="*/ 1262003 h 1947283"/>
              <a:gd name="connsiteX3" fmla="*/ 763698 w 1497612"/>
              <a:gd name="connsiteY3" fmla="*/ 1947283 h 1947283"/>
              <a:gd name="connsiteX4" fmla="*/ 626777 w 1497612"/>
              <a:gd name="connsiteY4" fmla="*/ 1947283 h 1947283"/>
              <a:gd name="connsiteX5" fmla="*/ 406204 w 1497612"/>
              <a:gd name="connsiteY5" fmla="*/ 1262004 h 1947283"/>
              <a:gd name="connsiteX6" fmla="*/ 733914 w 1497612"/>
              <a:gd name="connsiteY6" fmla="*/ 0 h 1947283"/>
              <a:gd name="connsiteX7" fmla="*/ 867789 w 1497612"/>
              <a:gd name="connsiteY7" fmla="*/ 0 h 1947283"/>
              <a:gd name="connsiteX8" fmla="*/ 988168 w 1497612"/>
              <a:gd name="connsiteY8" fmla="*/ 372187 h 1947283"/>
              <a:gd name="connsiteX9" fmla="*/ 1497612 w 1497612"/>
              <a:gd name="connsiteY9" fmla="*/ 1947283 h 1947283"/>
              <a:gd name="connsiteX10" fmla="*/ 1360692 w 1497612"/>
              <a:gd name="connsiteY10" fmla="*/ 1947283 h 1947283"/>
              <a:gd name="connsiteX11" fmla="*/ 988168 w 1497612"/>
              <a:gd name="connsiteY11" fmla="*/ 789920 h 19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7612" h="1947283">
                <a:moveTo>
                  <a:pt x="0" y="1"/>
                </a:moveTo>
                <a:lnTo>
                  <a:pt x="133876" y="1"/>
                </a:lnTo>
                <a:lnTo>
                  <a:pt x="542054" y="1262003"/>
                </a:lnTo>
                <a:lnTo>
                  <a:pt x="763698" y="1947283"/>
                </a:lnTo>
                <a:lnTo>
                  <a:pt x="626777" y="1947283"/>
                </a:lnTo>
                <a:lnTo>
                  <a:pt x="406204" y="1262004"/>
                </a:lnTo>
                <a:close/>
                <a:moveTo>
                  <a:pt x="733914" y="0"/>
                </a:moveTo>
                <a:lnTo>
                  <a:pt x="867789" y="0"/>
                </a:lnTo>
                <a:lnTo>
                  <a:pt x="988168" y="372187"/>
                </a:lnTo>
                <a:lnTo>
                  <a:pt x="1497612" y="1947283"/>
                </a:lnTo>
                <a:lnTo>
                  <a:pt x="1360692" y="1947283"/>
                </a:lnTo>
                <a:lnTo>
                  <a:pt x="988168" y="78992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4" name="TextBox 1">
            <a:extLst>
              <a:ext uri="{FF2B5EF4-FFF2-40B4-BE49-F238E27FC236}">
                <a16:creationId xmlns:a16="http://schemas.microsoft.com/office/drawing/2014/main" id="{38C4D288-BF41-D871-ACA4-A53FE219D09D}"/>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pic>
        <p:nvPicPr>
          <p:cNvPr id="6" name="Picture 5" descr="A logo with a crown on it&#10;&#10;Description automatically generated">
            <a:extLst>
              <a:ext uri="{FF2B5EF4-FFF2-40B4-BE49-F238E27FC236}">
                <a16:creationId xmlns:a16="http://schemas.microsoft.com/office/drawing/2014/main" id="{E996BA8B-CEFC-7C17-176F-FB6D259D0D9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5001" y="207900"/>
            <a:ext cx="2150000" cy="307143"/>
          </a:xfrm>
          <a:prstGeom prst="rect">
            <a:avLst/>
          </a:prstGeom>
        </p:spPr>
      </p:pic>
    </p:spTree>
    <p:extLst>
      <p:ext uri="{BB962C8B-B14F-4D97-AF65-F5344CB8AC3E}">
        <p14:creationId xmlns:p14="http://schemas.microsoft.com/office/powerpoint/2010/main" val="1709463660"/>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MitID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dirty="0"/>
          </a:p>
        </p:txBody>
      </p:sp>
      <p:sp>
        <p:nvSpPr>
          <p:cNvPr id="25" name="Makro grafik 1">
            <a:extLst>
              <a:ext uri="{FF2B5EF4-FFF2-40B4-BE49-F238E27FC236}">
                <a16:creationId xmlns:a16="http://schemas.microsoft.com/office/drawing/2014/main" id="{F2E0EEBD-7C39-E8CB-108F-09AF0CD4D448}"/>
              </a:ext>
            </a:extLst>
          </p:cNvPr>
          <p:cNvSpPr>
            <a:spLocks noGrp="1" noChangeAspect="1"/>
          </p:cNvSpPr>
          <p:nvPr>
            <p:ph type="body" sz="quarter" idx="19" hasCustomPrompt="1"/>
          </p:nvPr>
        </p:nvSpPr>
        <p:spPr>
          <a:xfrm>
            <a:off x="2827574" y="391015"/>
            <a:ext cx="1353707" cy="1779938"/>
          </a:xfrm>
          <a:custGeom>
            <a:avLst/>
            <a:gdLst>
              <a:gd name="connsiteX0" fmla="*/ 1135564 w 1804943"/>
              <a:gd name="connsiteY0" fmla="*/ 15338 h 2373250"/>
              <a:gd name="connsiteX1" fmla="*/ 1804943 w 1804943"/>
              <a:gd name="connsiteY1" fmla="*/ 15338 h 2373250"/>
              <a:gd name="connsiteX2" fmla="*/ 1804943 w 1804943"/>
              <a:gd name="connsiteY2" fmla="*/ 121436 h 2373250"/>
              <a:gd name="connsiteX3" fmla="*/ 1260314 w 1804943"/>
              <a:gd name="connsiteY3" fmla="*/ 121436 h 2373250"/>
              <a:gd name="connsiteX4" fmla="*/ 1260314 w 1804943"/>
              <a:gd name="connsiteY4" fmla="*/ 372027 h 2373250"/>
              <a:gd name="connsiteX5" fmla="*/ 1260314 w 1804943"/>
              <a:gd name="connsiteY5" fmla="*/ 2258004 h 2373250"/>
              <a:gd name="connsiteX6" fmla="*/ 1804943 w 1804943"/>
              <a:gd name="connsiteY6" fmla="*/ 2258004 h 2373250"/>
              <a:gd name="connsiteX7" fmla="*/ 1804943 w 1804943"/>
              <a:gd name="connsiteY7" fmla="*/ 2364102 h 2373250"/>
              <a:gd name="connsiteX8" fmla="*/ 1135564 w 1804943"/>
              <a:gd name="connsiteY8" fmla="*/ 2364102 h 2373250"/>
              <a:gd name="connsiteX9" fmla="*/ 1135564 w 1804943"/>
              <a:gd name="connsiteY9" fmla="*/ 2258004 h 2373250"/>
              <a:gd name="connsiteX10" fmla="*/ 1135564 w 1804943"/>
              <a:gd name="connsiteY10" fmla="*/ 372027 h 2373250"/>
              <a:gd name="connsiteX11" fmla="*/ 1135564 w 1804943"/>
              <a:gd name="connsiteY11" fmla="*/ 121436 h 2373250"/>
              <a:gd name="connsiteX12" fmla="*/ 824551 w 1804943"/>
              <a:gd name="connsiteY12" fmla="*/ 0 h 2373250"/>
              <a:gd name="connsiteX13" fmla="*/ 824551 w 1804943"/>
              <a:gd name="connsiteY13" fmla="*/ 106498 h 2373250"/>
              <a:gd name="connsiteX14" fmla="*/ 793382 w 1804943"/>
              <a:gd name="connsiteY14" fmla="*/ 106920 h 2373250"/>
              <a:gd name="connsiteX15" fmla="*/ 763107 w 1804943"/>
              <a:gd name="connsiteY15" fmla="*/ 108189 h 2373250"/>
              <a:gd name="connsiteX16" fmla="*/ 733699 w 1804943"/>
              <a:gd name="connsiteY16" fmla="*/ 110296 h 2373250"/>
              <a:gd name="connsiteX17" fmla="*/ 705152 w 1804943"/>
              <a:gd name="connsiteY17" fmla="*/ 113240 h 2373250"/>
              <a:gd name="connsiteX18" fmla="*/ 677451 w 1804943"/>
              <a:gd name="connsiteY18" fmla="*/ 117008 h 2373250"/>
              <a:gd name="connsiteX19" fmla="*/ 650596 w 1804943"/>
              <a:gd name="connsiteY19" fmla="*/ 121598 h 2373250"/>
              <a:gd name="connsiteX20" fmla="*/ 624564 w 1804943"/>
              <a:gd name="connsiteY20" fmla="*/ 126995 h 2373250"/>
              <a:gd name="connsiteX21" fmla="*/ 599346 w 1804943"/>
              <a:gd name="connsiteY21" fmla="*/ 133207 h 2373250"/>
              <a:gd name="connsiteX22" fmla="*/ 574929 w 1804943"/>
              <a:gd name="connsiteY22" fmla="*/ 140218 h 2373250"/>
              <a:gd name="connsiteX23" fmla="*/ 551302 w 1804943"/>
              <a:gd name="connsiteY23" fmla="*/ 148022 h 2373250"/>
              <a:gd name="connsiteX24" fmla="*/ 528461 w 1804943"/>
              <a:gd name="connsiteY24" fmla="*/ 156617 h 2373250"/>
              <a:gd name="connsiteX25" fmla="*/ 506387 w 1804943"/>
              <a:gd name="connsiteY25" fmla="*/ 165997 h 2373250"/>
              <a:gd name="connsiteX26" fmla="*/ 485076 w 1804943"/>
              <a:gd name="connsiteY26" fmla="*/ 176146 h 2373250"/>
              <a:gd name="connsiteX27" fmla="*/ 464502 w 1804943"/>
              <a:gd name="connsiteY27" fmla="*/ 187071 h 2373250"/>
              <a:gd name="connsiteX28" fmla="*/ 425554 w 1804943"/>
              <a:gd name="connsiteY28" fmla="*/ 211204 h 2373250"/>
              <a:gd name="connsiteX29" fmla="*/ 389457 w 1804943"/>
              <a:gd name="connsiteY29" fmla="*/ 238344 h 2373250"/>
              <a:gd name="connsiteX30" fmla="*/ 356105 w 1804943"/>
              <a:gd name="connsiteY30" fmla="*/ 268436 h 2373250"/>
              <a:gd name="connsiteX31" fmla="*/ 325421 w 1804943"/>
              <a:gd name="connsiteY31" fmla="*/ 301433 h 2373250"/>
              <a:gd name="connsiteX32" fmla="*/ 297313 w 1804943"/>
              <a:gd name="connsiteY32" fmla="*/ 337284 h 2373250"/>
              <a:gd name="connsiteX33" fmla="*/ 284189 w 1804943"/>
              <a:gd name="connsiteY33" fmla="*/ 356266 h 2373250"/>
              <a:gd name="connsiteX34" fmla="*/ 274169 w 1804943"/>
              <a:gd name="connsiteY34" fmla="*/ 372027 h 2373250"/>
              <a:gd name="connsiteX35" fmla="*/ 271680 w 1804943"/>
              <a:gd name="connsiteY35" fmla="*/ 375940 h 2373250"/>
              <a:gd name="connsiteX36" fmla="*/ 259763 w 1804943"/>
              <a:gd name="connsiteY36" fmla="*/ 396306 h 2373250"/>
              <a:gd name="connsiteX37" fmla="*/ 248431 w 1804943"/>
              <a:gd name="connsiteY37" fmla="*/ 417348 h 2373250"/>
              <a:gd name="connsiteX38" fmla="*/ 237675 w 1804943"/>
              <a:gd name="connsiteY38" fmla="*/ 439077 h 2373250"/>
              <a:gd name="connsiteX39" fmla="*/ 227480 w 1804943"/>
              <a:gd name="connsiteY39" fmla="*/ 461465 h 2373250"/>
              <a:gd name="connsiteX40" fmla="*/ 217839 w 1804943"/>
              <a:gd name="connsiteY40" fmla="*/ 484522 h 2373250"/>
              <a:gd name="connsiteX41" fmla="*/ 208737 w 1804943"/>
              <a:gd name="connsiteY41" fmla="*/ 508239 h 2373250"/>
              <a:gd name="connsiteX42" fmla="*/ 200156 w 1804943"/>
              <a:gd name="connsiteY42" fmla="*/ 532604 h 2373250"/>
              <a:gd name="connsiteX43" fmla="*/ 192100 w 1804943"/>
              <a:gd name="connsiteY43" fmla="*/ 557614 h 2373250"/>
              <a:gd name="connsiteX44" fmla="*/ 184542 w 1804943"/>
              <a:gd name="connsiteY44" fmla="*/ 583262 h 2373250"/>
              <a:gd name="connsiteX45" fmla="*/ 177484 w 1804943"/>
              <a:gd name="connsiteY45" fmla="*/ 609541 h 2373250"/>
              <a:gd name="connsiteX46" fmla="*/ 170903 w 1804943"/>
              <a:gd name="connsiteY46" fmla="*/ 636450 h 2373250"/>
              <a:gd name="connsiteX47" fmla="*/ 164799 w 1804943"/>
              <a:gd name="connsiteY47" fmla="*/ 663974 h 2373250"/>
              <a:gd name="connsiteX48" fmla="*/ 159148 w 1804943"/>
              <a:gd name="connsiteY48" fmla="*/ 692121 h 2373250"/>
              <a:gd name="connsiteX49" fmla="*/ 153950 w 1804943"/>
              <a:gd name="connsiteY49" fmla="*/ 720867 h 2373250"/>
              <a:gd name="connsiteX50" fmla="*/ 149183 w 1804943"/>
              <a:gd name="connsiteY50" fmla="*/ 750212 h 2373250"/>
              <a:gd name="connsiteX51" fmla="*/ 144839 w 1804943"/>
              <a:gd name="connsiteY51" fmla="*/ 780158 h 2373250"/>
              <a:gd name="connsiteX52" fmla="*/ 140910 w 1804943"/>
              <a:gd name="connsiteY52" fmla="*/ 810689 h 2373250"/>
              <a:gd name="connsiteX53" fmla="*/ 137390 w 1804943"/>
              <a:gd name="connsiteY53" fmla="*/ 841803 h 2373250"/>
              <a:gd name="connsiteX54" fmla="*/ 134253 w 1804943"/>
              <a:gd name="connsiteY54" fmla="*/ 873494 h 2373250"/>
              <a:gd name="connsiteX55" fmla="*/ 131501 w 1804943"/>
              <a:gd name="connsiteY55" fmla="*/ 905754 h 2373250"/>
              <a:gd name="connsiteX56" fmla="*/ 129109 w 1804943"/>
              <a:gd name="connsiteY56" fmla="*/ 938575 h 2373250"/>
              <a:gd name="connsiteX57" fmla="*/ 127073 w 1804943"/>
              <a:gd name="connsiteY57" fmla="*/ 971958 h 2373250"/>
              <a:gd name="connsiteX58" fmla="*/ 125389 w 1804943"/>
              <a:gd name="connsiteY58" fmla="*/ 1005886 h 2373250"/>
              <a:gd name="connsiteX59" fmla="*/ 124027 w 1804943"/>
              <a:gd name="connsiteY59" fmla="*/ 1040360 h 2373250"/>
              <a:gd name="connsiteX60" fmla="*/ 122997 w 1804943"/>
              <a:gd name="connsiteY60" fmla="*/ 1075373 h 2373250"/>
              <a:gd name="connsiteX61" fmla="*/ 122267 w 1804943"/>
              <a:gd name="connsiteY61" fmla="*/ 1110923 h 2373250"/>
              <a:gd name="connsiteX62" fmla="*/ 121844 w 1804943"/>
              <a:gd name="connsiteY62" fmla="*/ 1146996 h 2373250"/>
              <a:gd name="connsiteX63" fmla="*/ 121706 w 1804943"/>
              <a:gd name="connsiteY63" fmla="*/ 1183585 h 2373250"/>
              <a:gd name="connsiteX64" fmla="*/ 121829 w 1804943"/>
              <a:gd name="connsiteY64" fmla="*/ 1220003 h 2373250"/>
              <a:gd name="connsiteX65" fmla="*/ 122229 w 1804943"/>
              <a:gd name="connsiteY65" fmla="*/ 1255892 h 2373250"/>
              <a:gd name="connsiteX66" fmla="*/ 122897 w 1804943"/>
              <a:gd name="connsiteY66" fmla="*/ 1291258 h 2373250"/>
              <a:gd name="connsiteX67" fmla="*/ 123850 w 1804943"/>
              <a:gd name="connsiteY67" fmla="*/ 1326087 h 2373250"/>
              <a:gd name="connsiteX68" fmla="*/ 125111 w 1804943"/>
              <a:gd name="connsiteY68" fmla="*/ 1360376 h 2373250"/>
              <a:gd name="connsiteX69" fmla="*/ 126679 w 1804943"/>
              <a:gd name="connsiteY69" fmla="*/ 1394113 h 2373250"/>
              <a:gd name="connsiteX70" fmla="*/ 128571 w 1804943"/>
              <a:gd name="connsiteY70" fmla="*/ 1427303 h 2373250"/>
              <a:gd name="connsiteX71" fmla="*/ 130802 w 1804943"/>
              <a:gd name="connsiteY71" fmla="*/ 1459939 h 2373250"/>
              <a:gd name="connsiteX72" fmla="*/ 133368 w 1804943"/>
              <a:gd name="connsiteY72" fmla="*/ 1492006 h 2373250"/>
              <a:gd name="connsiteX73" fmla="*/ 136298 w 1804943"/>
              <a:gd name="connsiteY73" fmla="*/ 1523513 h 2373250"/>
              <a:gd name="connsiteX74" fmla="*/ 139596 w 1804943"/>
              <a:gd name="connsiteY74" fmla="*/ 1554442 h 2373250"/>
              <a:gd name="connsiteX75" fmla="*/ 143271 w 1804943"/>
              <a:gd name="connsiteY75" fmla="*/ 1584796 h 2373250"/>
              <a:gd name="connsiteX76" fmla="*/ 147338 w 1804943"/>
              <a:gd name="connsiteY76" fmla="*/ 1614566 h 2373250"/>
              <a:gd name="connsiteX77" fmla="*/ 151813 w 1804943"/>
              <a:gd name="connsiteY77" fmla="*/ 1643750 h 2373250"/>
              <a:gd name="connsiteX78" fmla="*/ 156702 w 1804943"/>
              <a:gd name="connsiteY78" fmla="*/ 1672334 h 2373250"/>
              <a:gd name="connsiteX79" fmla="*/ 162015 w 1804943"/>
              <a:gd name="connsiteY79" fmla="*/ 1700320 h 2373250"/>
              <a:gd name="connsiteX80" fmla="*/ 167766 w 1804943"/>
              <a:gd name="connsiteY80" fmla="*/ 1727705 h 2373250"/>
              <a:gd name="connsiteX81" fmla="*/ 173962 w 1804943"/>
              <a:gd name="connsiteY81" fmla="*/ 1754476 h 2373250"/>
              <a:gd name="connsiteX82" fmla="*/ 180629 w 1804943"/>
              <a:gd name="connsiteY82" fmla="*/ 1780631 h 2373250"/>
              <a:gd name="connsiteX83" fmla="*/ 187755 w 1804943"/>
              <a:gd name="connsiteY83" fmla="*/ 1806164 h 2373250"/>
              <a:gd name="connsiteX84" fmla="*/ 195374 w 1804943"/>
              <a:gd name="connsiteY84" fmla="*/ 1831074 h 2373250"/>
              <a:gd name="connsiteX85" fmla="*/ 203485 w 1804943"/>
              <a:gd name="connsiteY85" fmla="*/ 1855346 h 2373250"/>
              <a:gd name="connsiteX86" fmla="*/ 212112 w 1804943"/>
              <a:gd name="connsiteY86" fmla="*/ 1878988 h 2373250"/>
              <a:gd name="connsiteX87" fmla="*/ 221245 w 1804943"/>
              <a:gd name="connsiteY87" fmla="*/ 1901983 h 2373250"/>
              <a:gd name="connsiteX88" fmla="*/ 230917 w 1804943"/>
              <a:gd name="connsiteY88" fmla="*/ 1924332 h 2373250"/>
              <a:gd name="connsiteX89" fmla="*/ 241128 w 1804943"/>
              <a:gd name="connsiteY89" fmla="*/ 1946029 h 2373250"/>
              <a:gd name="connsiteX90" fmla="*/ 251891 w 1804943"/>
              <a:gd name="connsiteY90" fmla="*/ 1967064 h 2373250"/>
              <a:gd name="connsiteX91" fmla="*/ 263216 w 1804943"/>
              <a:gd name="connsiteY91" fmla="*/ 1987430 h 2373250"/>
              <a:gd name="connsiteX92" fmla="*/ 287611 w 1804943"/>
              <a:gd name="connsiteY92" fmla="*/ 2026164 h 2373250"/>
              <a:gd name="connsiteX93" fmla="*/ 314404 w 1804943"/>
              <a:gd name="connsiteY93" fmla="*/ 2062168 h 2373250"/>
              <a:gd name="connsiteX94" fmla="*/ 343681 w 1804943"/>
              <a:gd name="connsiteY94" fmla="*/ 2095412 h 2373250"/>
              <a:gd name="connsiteX95" fmla="*/ 375541 w 1804943"/>
              <a:gd name="connsiteY95" fmla="*/ 2125849 h 2373250"/>
              <a:gd name="connsiteX96" fmla="*/ 410077 w 1804943"/>
              <a:gd name="connsiteY96" fmla="*/ 2153435 h 2373250"/>
              <a:gd name="connsiteX97" fmla="*/ 447372 w 1804943"/>
              <a:gd name="connsiteY97" fmla="*/ 2178130 h 2373250"/>
              <a:gd name="connsiteX98" fmla="*/ 487529 w 1804943"/>
              <a:gd name="connsiteY98" fmla="*/ 2199888 h 2373250"/>
              <a:gd name="connsiteX99" fmla="*/ 508702 w 1804943"/>
              <a:gd name="connsiteY99" fmla="*/ 2209652 h 2373250"/>
              <a:gd name="connsiteX100" fmla="*/ 530629 w 1804943"/>
              <a:gd name="connsiteY100" fmla="*/ 2218662 h 2373250"/>
              <a:gd name="connsiteX101" fmla="*/ 553317 w 1804943"/>
              <a:gd name="connsiteY101" fmla="*/ 2226920 h 2373250"/>
              <a:gd name="connsiteX102" fmla="*/ 576782 w 1804943"/>
              <a:gd name="connsiteY102" fmla="*/ 2234416 h 2373250"/>
              <a:gd name="connsiteX103" fmla="*/ 601022 w 1804943"/>
              <a:gd name="connsiteY103" fmla="*/ 2241150 h 2373250"/>
              <a:gd name="connsiteX104" fmla="*/ 626056 w 1804943"/>
              <a:gd name="connsiteY104" fmla="*/ 2247109 h 2373250"/>
              <a:gd name="connsiteX105" fmla="*/ 651904 w 1804943"/>
              <a:gd name="connsiteY105" fmla="*/ 2252291 h 2373250"/>
              <a:gd name="connsiteX106" fmla="*/ 678567 w 1804943"/>
              <a:gd name="connsiteY106" fmla="*/ 2256688 h 2373250"/>
              <a:gd name="connsiteX107" fmla="*/ 706061 w 1804943"/>
              <a:gd name="connsiteY107" fmla="*/ 2260301 h 2373250"/>
              <a:gd name="connsiteX108" fmla="*/ 734390 w 1804943"/>
              <a:gd name="connsiteY108" fmla="*/ 2263116 h 2373250"/>
              <a:gd name="connsiteX109" fmla="*/ 763575 w 1804943"/>
              <a:gd name="connsiteY109" fmla="*/ 2265138 h 2373250"/>
              <a:gd name="connsiteX110" fmla="*/ 793630 w 1804943"/>
              <a:gd name="connsiteY110" fmla="*/ 2266352 h 2373250"/>
              <a:gd name="connsiteX111" fmla="*/ 824551 w 1804943"/>
              <a:gd name="connsiteY111" fmla="*/ 2266760 h 2373250"/>
              <a:gd name="connsiteX112" fmla="*/ 824551 w 1804943"/>
              <a:gd name="connsiteY112" fmla="*/ 2373250 h 2373250"/>
              <a:gd name="connsiteX113" fmla="*/ 792476 w 1804943"/>
              <a:gd name="connsiteY113" fmla="*/ 2372881 h 2373250"/>
              <a:gd name="connsiteX114" fmla="*/ 761193 w 1804943"/>
              <a:gd name="connsiteY114" fmla="*/ 2371759 h 2373250"/>
              <a:gd name="connsiteX115" fmla="*/ 730694 w 1804943"/>
              <a:gd name="connsiteY115" fmla="*/ 2369898 h 2373250"/>
              <a:gd name="connsiteX116" fmla="*/ 700970 w 1804943"/>
              <a:gd name="connsiteY116" fmla="*/ 2367307 h 2373250"/>
              <a:gd name="connsiteX117" fmla="*/ 672008 w 1804943"/>
              <a:gd name="connsiteY117" fmla="*/ 2363986 h 2373250"/>
              <a:gd name="connsiteX118" fmla="*/ 643800 w 1804943"/>
              <a:gd name="connsiteY118" fmla="*/ 2359941 h 2373250"/>
              <a:gd name="connsiteX119" fmla="*/ 616345 w 1804943"/>
              <a:gd name="connsiteY119" fmla="*/ 2355175 h 2373250"/>
              <a:gd name="connsiteX120" fmla="*/ 589621 w 1804943"/>
              <a:gd name="connsiteY120" fmla="*/ 2349701 h 2373250"/>
              <a:gd name="connsiteX121" fmla="*/ 563635 w 1804943"/>
              <a:gd name="connsiteY121" fmla="*/ 2343519 h 2373250"/>
              <a:gd name="connsiteX122" fmla="*/ 538363 w 1804943"/>
              <a:gd name="connsiteY122" fmla="*/ 2336631 h 2373250"/>
              <a:gd name="connsiteX123" fmla="*/ 513800 w 1804943"/>
              <a:gd name="connsiteY123" fmla="*/ 2329050 h 2373250"/>
              <a:gd name="connsiteX124" fmla="*/ 489950 w 1804943"/>
              <a:gd name="connsiteY124" fmla="*/ 2320785 h 2373250"/>
              <a:gd name="connsiteX125" fmla="*/ 466785 w 1804943"/>
              <a:gd name="connsiteY125" fmla="*/ 2311829 h 2373250"/>
              <a:gd name="connsiteX126" fmla="*/ 444312 w 1804943"/>
              <a:gd name="connsiteY126" fmla="*/ 2302195 h 2373250"/>
              <a:gd name="connsiteX127" fmla="*/ 422516 w 1804943"/>
              <a:gd name="connsiteY127" fmla="*/ 2291885 h 2373250"/>
              <a:gd name="connsiteX128" fmla="*/ 401389 w 1804943"/>
              <a:gd name="connsiteY128" fmla="*/ 2280906 h 2373250"/>
              <a:gd name="connsiteX129" fmla="*/ 380915 w 1804943"/>
              <a:gd name="connsiteY129" fmla="*/ 2269266 h 2373250"/>
              <a:gd name="connsiteX130" fmla="*/ 361094 w 1804943"/>
              <a:gd name="connsiteY130" fmla="*/ 2256965 h 2373250"/>
              <a:gd name="connsiteX131" fmla="*/ 341921 w 1804943"/>
              <a:gd name="connsiteY131" fmla="*/ 2244018 h 2373250"/>
              <a:gd name="connsiteX132" fmla="*/ 305456 w 1804943"/>
              <a:gd name="connsiteY132" fmla="*/ 2216179 h 2373250"/>
              <a:gd name="connsiteX133" fmla="*/ 271450 w 1804943"/>
              <a:gd name="connsiteY133" fmla="*/ 2185803 h 2373250"/>
              <a:gd name="connsiteX134" fmla="*/ 239844 w 1804943"/>
              <a:gd name="connsiteY134" fmla="*/ 2152920 h 2373250"/>
              <a:gd name="connsiteX135" fmla="*/ 210559 w 1804943"/>
              <a:gd name="connsiteY135" fmla="*/ 2117584 h 2373250"/>
              <a:gd name="connsiteX136" fmla="*/ 196759 w 1804943"/>
              <a:gd name="connsiteY136" fmla="*/ 2099010 h 2373250"/>
              <a:gd name="connsiteX137" fmla="*/ 183519 w 1804943"/>
              <a:gd name="connsiteY137" fmla="*/ 2079843 h 2373250"/>
              <a:gd name="connsiteX138" fmla="*/ 170826 w 1804943"/>
              <a:gd name="connsiteY138" fmla="*/ 2060076 h 2373250"/>
              <a:gd name="connsiteX139" fmla="*/ 158670 w 1804943"/>
              <a:gd name="connsiteY139" fmla="*/ 2039725 h 2373250"/>
              <a:gd name="connsiteX140" fmla="*/ 147039 w 1804943"/>
              <a:gd name="connsiteY140" fmla="*/ 2018790 h 2373250"/>
              <a:gd name="connsiteX141" fmla="*/ 135929 w 1804943"/>
              <a:gd name="connsiteY141" fmla="*/ 1997286 h 2373250"/>
              <a:gd name="connsiteX142" fmla="*/ 125326 w 1804943"/>
              <a:gd name="connsiteY142" fmla="*/ 1975206 h 2373250"/>
              <a:gd name="connsiteX143" fmla="*/ 115224 w 1804943"/>
              <a:gd name="connsiteY143" fmla="*/ 1952564 h 2373250"/>
              <a:gd name="connsiteX144" fmla="*/ 105621 w 1804943"/>
              <a:gd name="connsiteY144" fmla="*/ 1929369 h 2373250"/>
              <a:gd name="connsiteX145" fmla="*/ 96495 w 1804943"/>
              <a:gd name="connsiteY145" fmla="*/ 1905612 h 2373250"/>
              <a:gd name="connsiteX146" fmla="*/ 87846 w 1804943"/>
              <a:gd name="connsiteY146" fmla="*/ 1881309 h 2373250"/>
              <a:gd name="connsiteX147" fmla="*/ 79666 w 1804943"/>
              <a:gd name="connsiteY147" fmla="*/ 1856461 h 2373250"/>
              <a:gd name="connsiteX148" fmla="*/ 71947 w 1804943"/>
              <a:gd name="connsiteY148" fmla="*/ 1831082 h 2373250"/>
              <a:gd name="connsiteX149" fmla="*/ 64675 w 1804943"/>
              <a:gd name="connsiteY149" fmla="*/ 1805165 h 2373250"/>
              <a:gd name="connsiteX150" fmla="*/ 57839 w 1804943"/>
              <a:gd name="connsiteY150" fmla="*/ 1778725 h 2373250"/>
              <a:gd name="connsiteX151" fmla="*/ 51435 w 1804943"/>
              <a:gd name="connsiteY151" fmla="*/ 1751762 h 2373250"/>
              <a:gd name="connsiteX152" fmla="*/ 45461 w 1804943"/>
              <a:gd name="connsiteY152" fmla="*/ 1724284 h 2373250"/>
              <a:gd name="connsiteX153" fmla="*/ 39895 w 1804943"/>
              <a:gd name="connsiteY153" fmla="*/ 1696292 h 2373250"/>
              <a:gd name="connsiteX154" fmla="*/ 34736 w 1804943"/>
              <a:gd name="connsiteY154" fmla="*/ 1667799 h 2373250"/>
              <a:gd name="connsiteX155" fmla="*/ 29969 w 1804943"/>
              <a:gd name="connsiteY155" fmla="*/ 1638806 h 2373250"/>
              <a:gd name="connsiteX156" fmla="*/ 25595 w 1804943"/>
              <a:gd name="connsiteY156" fmla="*/ 1609322 h 2373250"/>
              <a:gd name="connsiteX157" fmla="*/ 21597 w 1804943"/>
              <a:gd name="connsiteY157" fmla="*/ 1579352 h 2373250"/>
              <a:gd name="connsiteX158" fmla="*/ 17967 w 1804943"/>
              <a:gd name="connsiteY158" fmla="*/ 1548893 h 2373250"/>
              <a:gd name="connsiteX159" fmla="*/ 14708 w 1804943"/>
              <a:gd name="connsiteY159" fmla="*/ 1517963 h 2373250"/>
              <a:gd name="connsiteX160" fmla="*/ 11794 w 1804943"/>
              <a:gd name="connsiteY160" fmla="*/ 1486556 h 2373250"/>
              <a:gd name="connsiteX161" fmla="*/ 9226 w 1804943"/>
              <a:gd name="connsiteY161" fmla="*/ 1454681 h 2373250"/>
              <a:gd name="connsiteX162" fmla="*/ 6989 w 1804943"/>
              <a:gd name="connsiteY162" fmla="*/ 1422351 h 2373250"/>
              <a:gd name="connsiteX163" fmla="*/ 5082 w 1804943"/>
              <a:gd name="connsiteY163" fmla="*/ 1389569 h 2373250"/>
              <a:gd name="connsiteX164" fmla="*/ 3490 w 1804943"/>
              <a:gd name="connsiteY164" fmla="*/ 1356325 h 2373250"/>
              <a:gd name="connsiteX165" fmla="*/ 2206 w 1804943"/>
              <a:gd name="connsiteY165" fmla="*/ 1322649 h 2373250"/>
              <a:gd name="connsiteX166" fmla="*/ 1230 w 1804943"/>
              <a:gd name="connsiteY166" fmla="*/ 1288530 h 2373250"/>
              <a:gd name="connsiteX167" fmla="*/ 540 w 1804943"/>
              <a:gd name="connsiteY167" fmla="*/ 1253971 h 2373250"/>
              <a:gd name="connsiteX168" fmla="*/ 132 w 1804943"/>
              <a:gd name="connsiteY168" fmla="*/ 1218989 h 2373250"/>
              <a:gd name="connsiteX169" fmla="*/ 0 w 1804943"/>
              <a:gd name="connsiteY169" fmla="*/ 1183585 h 2373250"/>
              <a:gd name="connsiteX170" fmla="*/ 132 w 1804943"/>
              <a:gd name="connsiteY170" fmla="*/ 1148334 h 2373250"/>
              <a:gd name="connsiteX171" fmla="*/ 546 w 1804943"/>
              <a:gd name="connsiteY171" fmla="*/ 1113498 h 2373250"/>
              <a:gd name="connsiteX172" fmla="*/ 1254 w 1804943"/>
              <a:gd name="connsiteY172" fmla="*/ 1079094 h 2373250"/>
              <a:gd name="connsiteX173" fmla="*/ 2246 w 1804943"/>
              <a:gd name="connsiteY173" fmla="*/ 1045127 h 2373250"/>
              <a:gd name="connsiteX174" fmla="*/ 3544 w 1804943"/>
              <a:gd name="connsiteY174" fmla="*/ 1011590 h 2373250"/>
              <a:gd name="connsiteX175" fmla="*/ 5159 w 1804943"/>
              <a:gd name="connsiteY175" fmla="*/ 978500 h 2373250"/>
              <a:gd name="connsiteX176" fmla="*/ 7096 w 1804943"/>
              <a:gd name="connsiteY176" fmla="*/ 945863 h 2373250"/>
              <a:gd name="connsiteX177" fmla="*/ 9356 w 1804943"/>
              <a:gd name="connsiteY177" fmla="*/ 913681 h 2373250"/>
              <a:gd name="connsiteX178" fmla="*/ 11964 w 1804943"/>
              <a:gd name="connsiteY178" fmla="*/ 881951 h 2373250"/>
              <a:gd name="connsiteX179" fmla="*/ 14909 w 1804943"/>
              <a:gd name="connsiteY179" fmla="*/ 850691 h 2373250"/>
              <a:gd name="connsiteX180" fmla="*/ 18214 w 1804943"/>
              <a:gd name="connsiteY180" fmla="*/ 819907 h 2373250"/>
              <a:gd name="connsiteX181" fmla="*/ 21881 w 1804943"/>
              <a:gd name="connsiteY181" fmla="*/ 789592 h 2373250"/>
              <a:gd name="connsiteX182" fmla="*/ 25917 w 1804943"/>
              <a:gd name="connsiteY182" fmla="*/ 759762 h 2373250"/>
              <a:gd name="connsiteX183" fmla="*/ 30338 w 1804943"/>
              <a:gd name="connsiteY183" fmla="*/ 730423 h 2373250"/>
              <a:gd name="connsiteX184" fmla="*/ 35152 w 1804943"/>
              <a:gd name="connsiteY184" fmla="*/ 701569 h 2373250"/>
              <a:gd name="connsiteX185" fmla="*/ 40356 w 1804943"/>
              <a:gd name="connsiteY185" fmla="*/ 673215 h 2373250"/>
              <a:gd name="connsiteX186" fmla="*/ 45968 w 1804943"/>
              <a:gd name="connsiteY186" fmla="*/ 645368 h 2373250"/>
              <a:gd name="connsiteX187" fmla="*/ 51996 w 1804943"/>
              <a:gd name="connsiteY187" fmla="*/ 618029 h 2373250"/>
              <a:gd name="connsiteX188" fmla="*/ 58446 w 1804943"/>
              <a:gd name="connsiteY188" fmla="*/ 591204 h 2373250"/>
              <a:gd name="connsiteX189" fmla="*/ 65335 w 1804943"/>
              <a:gd name="connsiteY189" fmla="*/ 564895 h 2373250"/>
              <a:gd name="connsiteX190" fmla="*/ 72655 w 1804943"/>
              <a:gd name="connsiteY190" fmla="*/ 539109 h 2373250"/>
              <a:gd name="connsiteX191" fmla="*/ 80428 w 1804943"/>
              <a:gd name="connsiteY191" fmla="*/ 513860 h 2373250"/>
              <a:gd name="connsiteX192" fmla="*/ 88661 w 1804943"/>
              <a:gd name="connsiteY192" fmla="*/ 489142 h 2373250"/>
              <a:gd name="connsiteX193" fmla="*/ 97358 w 1804943"/>
              <a:gd name="connsiteY193" fmla="*/ 464962 h 2373250"/>
              <a:gd name="connsiteX194" fmla="*/ 106521 w 1804943"/>
              <a:gd name="connsiteY194" fmla="*/ 441336 h 2373250"/>
              <a:gd name="connsiteX195" fmla="*/ 116178 w 1804943"/>
              <a:gd name="connsiteY195" fmla="*/ 418257 h 2373250"/>
              <a:gd name="connsiteX196" fmla="*/ 126320 w 1804943"/>
              <a:gd name="connsiteY196" fmla="*/ 395738 h 2373250"/>
              <a:gd name="connsiteX197" fmla="*/ 136966 w 1804943"/>
              <a:gd name="connsiteY197" fmla="*/ 373780 h 2373250"/>
              <a:gd name="connsiteX198" fmla="*/ 137880 w 1804943"/>
              <a:gd name="connsiteY198" fmla="*/ 372027 h 2373250"/>
              <a:gd name="connsiteX199" fmla="*/ 137881 w 1804943"/>
              <a:gd name="connsiteY199" fmla="*/ 372027 h 2373250"/>
              <a:gd name="connsiteX200" fmla="*/ 148122 w 1804943"/>
              <a:gd name="connsiteY200" fmla="*/ 352391 h 2373250"/>
              <a:gd name="connsiteX201" fmla="*/ 159787 w 1804943"/>
              <a:gd name="connsiteY201" fmla="*/ 331571 h 2373250"/>
              <a:gd name="connsiteX202" fmla="*/ 171988 w 1804943"/>
              <a:gd name="connsiteY202" fmla="*/ 311336 h 2373250"/>
              <a:gd name="connsiteX203" fmla="*/ 184719 w 1804943"/>
              <a:gd name="connsiteY203" fmla="*/ 291677 h 2373250"/>
              <a:gd name="connsiteX204" fmla="*/ 197988 w 1804943"/>
              <a:gd name="connsiteY204" fmla="*/ 272618 h 2373250"/>
              <a:gd name="connsiteX205" fmla="*/ 211812 w 1804943"/>
              <a:gd name="connsiteY205" fmla="*/ 254143 h 2373250"/>
              <a:gd name="connsiteX206" fmla="*/ 241142 w 1804943"/>
              <a:gd name="connsiteY206" fmla="*/ 219015 h 2373250"/>
              <a:gd name="connsiteX207" fmla="*/ 272787 w 1804943"/>
              <a:gd name="connsiteY207" fmla="*/ 186325 h 2373250"/>
              <a:gd name="connsiteX208" fmla="*/ 306808 w 1804943"/>
              <a:gd name="connsiteY208" fmla="*/ 156118 h 2373250"/>
              <a:gd name="connsiteX209" fmla="*/ 343266 w 1804943"/>
              <a:gd name="connsiteY209" fmla="*/ 128447 h 2373250"/>
              <a:gd name="connsiteX210" fmla="*/ 362432 w 1804943"/>
              <a:gd name="connsiteY210" fmla="*/ 115578 h 2373250"/>
              <a:gd name="connsiteX211" fmla="*/ 382237 w 1804943"/>
              <a:gd name="connsiteY211" fmla="*/ 103346 h 2373250"/>
              <a:gd name="connsiteX212" fmla="*/ 402689 w 1804943"/>
              <a:gd name="connsiteY212" fmla="*/ 91775 h 2373250"/>
              <a:gd name="connsiteX213" fmla="*/ 423793 w 1804943"/>
              <a:gd name="connsiteY213" fmla="*/ 80865 h 2373250"/>
              <a:gd name="connsiteX214" fmla="*/ 445558 w 1804943"/>
              <a:gd name="connsiteY214" fmla="*/ 70617 h 2373250"/>
              <a:gd name="connsiteX215" fmla="*/ 467992 w 1804943"/>
              <a:gd name="connsiteY215" fmla="*/ 61045 h 2373250"/>
              <a:gd name="connsiteX216" fmla="*/ 491103 w 1804943"/>
              <a:gd name="connsiteY216" fmla="*/ 52142 h 2373250"/>
              <a:gd name="connsiteX217" fmla="*/ 514906 w 1804943"/>
              <a:gd name="connsiteY217" fmla="*/ 43923 h 2373250"/>
              <a:gd name="connsiteX218" fmla="*/ 539409 w 1804943"/>
              <a:gd name="connsiteY218" fmla="*/ 36389 h 2373250"/>
              <a:gd name="connsiteX219" fmla="*/ 564612 w 1804943"/>
              <a:gd name="connsiteY219" fmla="*/ 29553 h 2373250"/>
              <a:gd name="connsiteX220" fmla="*/ 590528 w 1804943"/>
              <a:gd name="connsiteY220" fmla="*/ 23403 h 2373250"/>
              <a:gd name="connsiteX221" fmla="*/ 617160 w 1804943"/>
              <a:gd name="connsiteY221" fmla="*/ 17967 h 2373250"/>
              <a:gd name="connsiteX222" fmla="*/ 644530 w 1804943"/>
              <a:gd name="connsiteY222" fmla="*/ 13231 h 2373250"/>
              <a:gd name="connsiteX223" fmla="*/ 672639 w 1804943"/>
              <a:gd name="connsiteY223" fmla="*/ 9210 h 2373250"/>
              <a:gd name="connsiteX224" fmla="*/ 701494 w 1804943"/>
              <a:gd name="connsiteY224" fmla="*/ 5912 h 2373250"/>
              <a:gd name="connsiteX225" fmla="*/ 731100 w 1804943"/>
              <a:gd name="connsiteY225" fmla="*/ 3336 h 2373250"/>
              <a:gd name="connsiteX226" fmla="*/ 761477 w 1804943"/>
              <a:gd name="connsiteY226" fmla="*/ 1484 h 2373250"/>
              <a:gd name="connsiteX227" fmla="*/ 792621 w 1804943"/>
              <a:gd name="connsiteY227" fmla="*/ 377 h 23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804943" h="2373250">
                <a:moveTo>
                  <a:pt x="1135564" y="15338"/>
                </a:moveTo>
                <a:lnTo>
                  <a:pt x="1804943" y="15338"/>
                </a:lnTo>
                <a:lnTo>
                  <a:pt x="1804943" y="121436"/>
                </a:lnTo>
                <a:lnTo>
                  <a:pt x="1260314" y="121436"/>
                </a:lnTo>
                <a:lnTo>
                  <a:pt x="1260314" y="372027"/>
                </a:lnTo>
                <a:lnTo>
                  <a:pt x="1260314" y="2258004"/>
                </a:lnTo>
                <a:lnTo>
                  <a:pt x="1804943" y="2258004"/>
                </a:lnTo>
                <a:lnTo>
                  <a:pt x="1804943" y="2364102"/>
                </a:lnTo>
                <a:lnTo>
                  <a:pt x="1135564" y="2364102"/>
                </a:lnTo>
                <a:lnTo>
                  <a:pt x="1135564" y="2258004"/>
                </a:lnTo>
                <a:lnTo>
                  <a:pt x="1135564" y="372027"/>
                </a:lnTo>
                <a:lnTo>
                  <a:pt x="1135564" y="121436"/>
                </a:lnTo>
                <a:close/>
                <a:moveTo>
                  <a:pt x="824551" y="0"/>
                </a:moveTo>
                <a:lnTo>
                  <a:pt x="824551" y="106498"/>
                </a:lnTo>
                <a:lnTo>
                  <a:pt x="793382" y="106920"/>
                </a:lnTo>
                <a:lnTo>
                  <a:pt x="763107" y="108189"/>
                </a:lnTo>
                <a:lnTo>
                  <a:pt x="733699" y="110296"/>
                </a:lnTo>
                <a:lnTo>
                  <a:pt x="705152" y="113240"/>
                </a:lnTo>
                <a:lnTo>
                  <a:pt x="677451" y="117008"/>
                </a:lnTo>
                <a:lnTo>
                  <a:pt x="650596" y="121598"/>
                </a:lnTo>
                <a:lnTo>
                  <a:pt x="624564" y="126995"/>
                </a:lnTo>
                <a:lnTo>
                  <a:pt x="599346" y="133207"/>
                </a:lnTo>
                <a:lnTo>
                  <a:pt x="574929" y="140218"/>
                </a:lnTo>
                <a:lnTo>
                  <a:pt x="551302" y="148022"/>
                </a:lnTo>
                <a:lnTo>
                  <a:pt x="528461" y="156617"/>
                </a:lnTo>
                <a:lnTo>
                  <a:pt x="506387" y="165997"/>
                </a:lnTo>
                <a:lnTo>
                  <a:pt x="485076" y="176146"/>
                </a:lnTo>
                <a:lnTo>
                  <a:pt x="464502" y="187071"/>
                </a:lnTo>
                <a:lnTo>
                  <a:pt x="425554" y="211204"/>
                </a:lnTo>
                <a:lnTo>
                  <a:pt x="389457" y="238344"/>
                </a:lnTo>
                <a:lnTo>
                  <a:pt x="356105" y="268436"/>
                </a:lnTo>
                <a:lnTo>
                  <a:pt x="325421" y="301433"/>
                </a:lnTo>
                <a:lnTo>
                  <a:pt x="297313" y="337284"/>
                </a:lnTo>
                <a:lnTo>
                  <a:pt x="284189" y="356266"/>
                </a:lnTo>
                <a:lnTo>
                  <a:pt x="274169" y="372027"/>
                </a:lnTo>
                <a:lnTo>
                  <a:pt x="271680" y="375940"/>
                </a:lnTo>
                <a:lnTo>
                  <a:pt x="259763" y="396306"/>
                </a:lnTo>
                <a:lnTo>
                  <a:pt x="248431" y="417348"/>
                </a:lnTo>
                <a:lnTo>
                  <a:pt x="237675" y="439077"/>
                </a:lnTo>
                <a:lnTo>
                  <a:pt x="227480" y="461465"/>
                </a:lnTo>
                <a:lnTo>
                  <a:pt x="217839" y="484522"/>
                </a:lnTo>
                <a:lnTo>
                  <a:pt x="208737" y="508239"/>
                </a:lnTo>
                <a:lnTo>
                  <a:pt x="200156" y="532604"/>
                </a:lnTo>
                <a:lnTo>
                  <a:pt x="192100" y="557614"/>
                </a:lnTo>
                <a:lnTo>
                  <a:pt x="184542" y="583262"/>
                </a:lnTo>
                <a:lnTo>
                  <a:pt x="177484" y="609541"/>
                </a:lnTo>
                <a:lnTo>
                  <a:pt x="170903" y="636450"/>
                </a:lnTo>
                <a:lnTo>
                  <a:pt x="164799" y="663974"/>
                </a:lnTo>
                <a:lnTo>
                  <a:pt x="159148" y="692121"/>
                </a:lnTo>
                <a:lnTo>
                  <a:pt x="153950" y="720867"/>
                </a:lnTo>
                <a:lnTo>
                  <a:pt x="149183" y="750212"/>
                </a:lnTo>
                <a:lnTo>
                  <a:pt x="144839" y="780158"/>
                </a:lnTo>
                <a:lnTo>
                  <a:pt x="140910" y="810689"/>
                </a:lnTo>
                <a:lnTo>
                  <a:pt x="137390" y="841803"/>
                </a:lnTo>
                <a:lnTo>
                  <a:pt x="134253" y="873494"/>
                </a:lnTo>
                <a:lnTo>
                  <a:pt x="131501" y="905754"/>
                </a:lnTo>
                <a:lnTo>
                  <a:pt x="129109" y="938575"/>
                </a:lnTo>
                <a:lnTo>
                  <a:pt x="127073" y="971958"/>
                </a:lnTo>
                <a:lnTo>
                  <a:pt x="125389" y="1005886"/>
                </a:lnTo>
                <a:lnTo>
                  <a:pt x="124027" y="1040360"/>
                </a:lnTo>
                <a:lnTo>
                  <a:pt x="122997" y="1075373"/>
                </a:lnTo>
                <a:lnTo>
                  <a:pt x="122267" y="1110923"/>
                </a:lnTo>
                <a:lnTo>
                  <a:pt x="121844" y="1146996"/>
                </a:lnTo>
                <a:lnTo>
                  <a:pt x="121706" y="1183585"/>
                </a:lnTo>
                <a:lnTo>
                  <a:pt x="121829" y="1220003"/>
                </a:lnTo>
                <a:lnTo>
                  <a:pt x="122229" y="1255892"/>
                </a:lnTo>
                <a:lnTo>
                  <a:pt x="122897" y="1291258"/>
                </a:lnTo>
                <a:lnTo>
                  <a:pt x="123850" y="1326087"/>
                </a:lnTo>
                <a:lnTo>
                  <a:pt x="125111" y="1360376"/>
                </a:lnTo>
                <a:lnTo>
                  <a:pt x="126679" y="1394113"/>
                </a:lnTo>
                <a:lnTo>
                  <a:pt x="128571" y="1427303"/>
                </a:lnTo>
                <a:lnTo>
                  <a:pt x="130802" y="1459939"/>
                </a:lnTo>
                <a:lnTo>
                  <a:pt x="133368" y="1492006"/>
                </a:lnTo>
                <a:lnTo>
                  <a:pt x="136298" y="1523513"/>
                </a:lnTo>
                <a:lnTo>
                  <a:pt x="139596" y="1554442"/>
                </a:lnTo>
                <a:lnTo>
                  <a:pt x="143271" y="1584796"/>
                </a:lnTo>
                <a:lnTo>
                  <a:pt x="147338" y="1614566"/>
                </a:lnTo>
                <a:lnTo>
                  <a:pt x="151813" y="1643750"/>
                </a:lnTo>
                <a:lnTo>
                  <a:pt x="156702" y="1672334"/>
                </a:lnTo>
                <a:lnTo>
                  <a:pt x="162015" y="1700320"/>
                </a:lnTo>
                <a:lnTo>
                  <a:pt x="167766" y="1727705"/>
                </a:lnTo>
                <a:lnTo>
                  <a:pt x="173962" y="1754476"/>
                </a:lnTo>
                <a:lnTo>
                  <a:pt x="180629" y="1780631"/>
                </a:lnTo>
                <a:lnTo>
                  <a:pt x="187755" y="1806164"/>
                </a:lnTo>
                <a:lnTo>
                  <a:pt x="195374" y="1831074"/>
                </a:lnTo>
                <a:lnTo>
                  <a:pt x="203485" y="1855346"/>
                </a:lnTo>
                <a:lnTo>
                  <a:pt x="212112" y="1878988"/>
                </a:lnTo>
                <a:lnTo>
                  <a:pt x="221245" y="1901983"/>
                </a:lnTo>
                <a:lnTo>
                  <a:pt x="230917" y="1924332"/>
                </a:lnTo>
                <a:lnTo>
                  <a:pt x="241128" y="1946029"/>
                </a:lnTo>
                <a:lnTo>
                  <a:pt x="251891" y="1967064"/>
                </a:lnTo>
                <a:lnTo>
                  <a:pt x="263216" y="1987430"/>
                </a:lnTo>
                <a:lnTo>
                  <a:pt x="287611" y="2026164"/>
                </a:lnTo>
                <a:lnTo>
                  <a:pt x="314404" y="2062168"/>
                </a:lnTo>
                <a:lnTo>
                  <a:pt x="343681" y="2095412"/>
                </a:lnTo>
                <a:lnTo>
                  <a:pt x="375541" y="2125849"/>
                </a:lnTo>
                <a:lnTo>
                  <a:pt x="410077" y="2153435"/>
                </a:lnTo>
                <a:lnTo>
                  <a:pt x="447372" y="2178130"/>
                </a:lnTo>
                <a:lnTo>
                  <a:pt x="487529" y="2199888"/>
                </a:lnTo>
                <a:lnTo>
                  <a:pt x="508702" y="2209652"/>
                </a:lnTo>
                <a:lnTo>
                  <a:pt x="530629" y="2218662"/>
                </a:lnTo>
                <a:lnTo>
                  <a:pt x="553317" y="2226920"/>
                </a:lnTo>
                <a:lnTo>
                  <a:pt x="576782" y="2234416"/>
                </a:lnTo>
                <a:lnTo>
                  <a:pt x="601022" y="2241150"/>
                </a:lnTo>
                <a:lnTo>
                  <a:pt x="626056" y="2247109"/>
                </a:lnTo>
                <a:lnTo>
                  <a:pt x="651904" y="2252291"/>
                </a:lnTo>
                <a:lnTo>
                  <a:pt x="678567" y="2256688"/>
                </a:lnTo>
                <a:lnTo>
                  <a:pt x="706061" y="2260301"/>
                </a:lnTo>
                <a:lnTo>
                  <a:pt x="734390" y="2263116"/>
                </a:lnTo>
                <a:lnTo>
                  <a:pt x="763575" y="2265138"/>
                </a:lnTo>
                <a:lnTo>
                  <a:pt x="793630" y="2266352"/>
                </a:lnTo>
                <a:lnTo>
                  <a:pt x="824551" y="2266760"/>
                </a:lnTo>
                <a:lnTo>
                  <a:pt x="824551" y="2373250"/>
                </a:lnTo>
                <a:lnTo>
                  <a:pt x="792476" y="2372881"/>
                </a:lnTo>
                <a:lnTo>
                  <a:pt x="761193" y="2371759"/>
                </a:lnTo>
                <a:lnTo>
                  <a:pt x="730694" y="2369898"/>
                </a:lnTo>
                <a:lnTo>
                  <a:pt x="700970" y="2367307"/>
                </a:lnTo>
                <a:lnTo>
                  <a:pt x="672008" y="2363986"/>
                </a:lnTo>
                <a:lnTo>
                  <a:pt x="643800" y="2359941"/>
                </a:lnTo>
                <a:lnTo>
                  <a:pt x="616345" y="2355175"/>
                </a:lnTo>
                <a:lnTo>
                  <a:pt x="589621" y="2349701"/>
                </a:lnTo>
                <a:lnTo>
                  <a:pt x="563635" y="2343519"/>
                </a:lnTo>
                <a:lnTo>
                  <a:pt x="538363" y="2336631"/>
                </a:lnTo>
                <a:lnTo>
                  <a:pt x="513800" y="2329050"/>
                </a:lnTo>
                <a:lnTo>
                  <a:pt x="489950" y="2320785"/>
                </a:lnTo>
                <a:lnTo>
                  <a:pt x="466785" y="2311829"/>
                </a:lnTo>
                <a:lnTo>
                  <a:pt x="444312" y="2302195"/>
                </a:lnTo>
                <a:lnTo>
                  <a:pt x="422516" y="2291885"/>
                </a:lnTo>
                <a:lnTo>
                  <a:pt x="401389" y="2280906"/>
                </a:lnTo>
                <a:lnTo>
                  <a:pt x="380915" y="2269266"/>
                </a:lnTo>
                <a:lnTo>
                  <a:pt x="361094" y="2256965"/>
                </a:lnTo>
                <a:lnTo>
                  <a:pt x="341921" y="2244018"/>
                </a:lnTo>
                <a:lnTo>
                  <a:pt x="305456" y="2216179"/>
                </a:lnTo>
                <a:lnTo>
                  <a:pt x="271450" y="2185803"/>
                </a:lnTo>
                <a:lnTo>
                  <a:pt x="239844" y="2152920"/>
                </a:lnTo>
                <a:lnTo>
                  <a:pt x="210559" y="2117584"/>
                </a:lnTo>
                <a:lnTo>
                  <a:pt x="196759" y="2099010"/>
                </a:lnTo>
                <a:lnTo>
                  <a:pt x="183519" y="2079843"/>
                </a:lnTo>
                <a:lnTo>
                  <a:pt x="170826" y="2060076"/>
                </a:lnTo>
                <a:lnTo>
                  <a:pt x="158670" y="2039725"/>
                </a:lnTo>
                <a:lnTo>
                  <a:pt x="147039" y="2018790"/>
                </a:lnTo>
                <a:lnTo>
                  <a:pt x="135929" y="1997286"/>
                </a:lnTo>
                <a:lnTo>
                  <a:pt x="125326" y="1975206"/>
                </a:lnTo>
                <a:lnTo>
                  <a:pt x="115224" y="1952564"/>
                </a:lnTo>
                <a:lnTo>
                  <a:pt x="105621" y="1929369"/>
                </a:lnTo>
                <a:lnTo>
                  <a:pt x="96495" y="1905612"/>
                </a:lnTo>
                <a:lnTo>
                  <a:pt x="87846" y="1881309"/>
                </a:lnTo>
                <a:lnTo>
                  <a:pt x="79666" y="1856461"/>
                </a:lnTo>
                <a:lnTo>
                  <a:pt x="71947" y="1831082"/>
                </a:lnTo>
                <a:lnTo>
                  <a:pt x="64675" y="1805165"/>
                </a:lnTo>
                <a:lnTo>
                  <a:pt x="57839" y="1778725"/>
                </a:lnTo>
                <a:lnTo>
                  <a:pt x="51435" y="1751762"/>
                </a:lnTo>
                <a:lnTo>
                  <a:pt x="45461" y="1724284"/>
                </a:lnTo>
                <a:lnTo>
                  <a:pt x="39895" y="1696292"/>
                </a:lnTo>
                <a:lnTo>
                  <a:pt x="34736" y="1667799"/>
                </a:lnTo>
                <a:lnTo>
                  <a:pt x="29969" y="1638806"/>
                </a:lnTo>
                <a:lnTo>
                  <a:pt x="25595" y="1609322"/>
                </a:lnTo>
                <a:lnTo>
                  <a:pt x="21597" y="1579352"/>
                </a:lnTo>
                <a:lnTo>
                  <a:pt x="17967" y="1548893"/>
                </a:lnTo>
                <a:lnTo>
                  <a:pt x="14708" y="1517963"/>
                </a:lnTo>
                <a:lnTo>
                  <a:pt x="11794" y="1486556"/>
                </a:lnTo>
                <a:lnTo>
                  <a:pt x="9226" y="1454681"/>
                </a:lnTo>
                <a:lnTo>
                  <a:pt x="6989" y="1422351"/>
                </a:lnTo>
                <a:lnTo>
                  <a:pt x="5082" y="1389569"/>
                </a:lnTo>
                <a:lnTo>
                  <a:pt x="3490" y="1356325"/>
                </a:lnTo>
                <a:lnTo>
                  <a:pt x="2206" y="1322649"/>
                </a:lnTo>
                <a:lnTo>
                  <a:pt x="1230" y="1288530"/>
                </a:lnTo>
                <a:lnTo>
                  <a:pt x="540" y="1253971"/>
                </a:lnTo>
                <a:lnTo>
                  <a:pt x="132" y="1218989"/>
                </a:lnTo>
                <a:lnTo>
                  <a:pt x="0" y="1183585"/>
                </a:lnTo>
                <a:lnTo>
                  <a:pt x="132" y="1148334"/>
                </a:lnTo>
                <a:lnTo>
                  <a:pt x="546" y="1113498"/>
                </a:lnTo>
                <a:lnTo>
                  <a:pt x="1254" y="1079094"/>
                </a:lnTo>
                <a:lnTo>
                  <a:pt x="2246" y="1045127"/>
                </a:lnTo>
                <a:lnTo>
                  <a:pt x="3544" y="1011590"/>
                </a:lnTo>
                <a:lnTo>
                  <a:pt x="5159" y="978500"/>
                </a:lnTo>
                <a:lnTo>
                  <a:pt x="7096" y="945863"/>
                </a:lnTo>
                <a:lnTo>
                  <a:pt x="9356" y="913681"/>
                </a:lnTo>
                <a:lnTo>
                  <a:pt x="11964" y="881951"/>
                </a:lnTo>
                <a:lnTo>
                  <a:pt x="14909" y="850691"/>
                </a:lnTo>
                <a:lnTo>
                  <a:pt x="18214" y="819907"/>
                </a:lnTo>
                <a:lnTo>
                  <a:pt x="21881" y="789592"/>
                </a:lnTo>
                <a:lnTo>
                  <a:pt x="25917" y="759762"/>
                </a:lnTo>
                <a:lnTo>
                  <a:pt x="30338" y="730423"/>
                </a:lnTo>
                <a:lnTo>
                  <a:pt x="35152" y="701569"/>
                </a:lnTo>
                <a:lnTo>
                  <a:pt x="40356" y="673215"/>
                </a:lnTo>
                <a:lnTo>
                  <a:pt x="45968" y="645368"/>
                </a:lnTo>
                <a:lnTo>
                  <a:pt x="51996" y="618029"/>
                </a:lnTo>
                <a:lnTo>
                  <a:pt x="58446" y="591204"/>
                </a:lnTo>
                <a:lnTo>
                  <a:pt x="65335" y="564895"/>
                </a:lnTo>
                <a:lnTo>
                  <a:pt x="72655" y="539109"/>
                </a:lnTo>
                <a:lnTo>
                  <a:pt x="80428" y="513860"/>
                </a:lnTo>
                <a:lnTo>
                  <a:pt x="88661" y="489142"/>
                </a:lnTo>
                <a:lnTo>
                  <a:pt x="97358" y="464962"/>
                </a:lnTo>
                <a:lnTo>
                  <a:pt x="106521" y="441336"/>
                </a:lnTo>
                <a:lnTo>
                  <a:pt x="116178" y="418257"/>
                </a:lnTo>
                <a:lnTo>
                  <a:pt x="126320" y="395738"/>
                </a:lnTo>
                <a:lnTo>
                  <a:pt x="136966" y="373780"/>
                </a:lnTo>
                <a:lnTo>
                  <a:pt x="137880" y="372027"/>
                </a:lnTo>
                <a:lnTo>
                  <a:pt x="137881" y="372027"/>
                </a:lnTo>
                <a:lnTo>
                  <a:pt x="148122" y="352391"/>
                </a:lnTo>
                <a:lnTo>
                  <a:pt x="159787" y="331571"/>
                </a:lnTo>
                <a:lnTo>
                  <a:pt x="171988" y="311336"/>
                </a:lnTo>
                <a:lnTo>
                  <a:pt x="184719" y="291677"/>
                </a:lnTo>
                <a:lnTo>
                  <a:pt x="197988" y="272618"/>
                </a:lnTo>
                <a:lnTo>
                  <a:pt x="211812" y="254143"/>
                </a:lnTo>
                <a:lnTo>
                  <a:pt x="241142" y="219015"/>
                </a:lnTo>
                <a:lnTo>
                  <a:pt x="272787" y="186325"/>
                </a:lnTo>
                <a:lnTo>
                  <a:pt x="306808" y="156118"/>
                </a:lnTo>
                <a:lnTo>
                  <a:pt x="343266" y="128447"/>
                </a:lnTo>
                <a:lnTo>
                  <a:pt x="362432" y="115578"/>
                </a:lnTo>
                <a:lnTo>
                  <a:pt x="382237" y="103346"/>
                </a:lnTo>
                <a:lnTo>
                  <a:pt x="402689" y="91775"/>
                </a:lnTo>
                <a:lnTo>
                  <a:pt x="423793" y="80865"/>
                </a:lnTo>
                <a:lnTo>
                  <a:pt x="445558" y="70617"/>
                </a:lnTo>
                <a:lnTo>
                  <a:pt x="467992" y="61045"/>
                </a:lnTo>
                <a:lnTo>
                  <a:pt x="491103" y="52142"/>
                </a:lnTo>
                <a:lnTo>
                  <a:pt x="514906" y="43923"/>
                </a:lnTo>
                <a:lnTo>
                  <a:pt x="539409" y="36389"/>
                </a:lnTo>
                <a:lnTo>
                  <a:pt x="564612" y="29553"/>
                </a:lnTo>
                <a:lnTo>
                  <a:pt x="590528" y="23403"/>
                </a:lnTo>
                <a:lnTo>
                  <a:pt x="617160" y="17967"/>
                </a:lnTo>
                <a:lnTo>
                  <a:pt x="644530" y="13231"/>
                </a:lnTo>
                <a:lnTo>
                  <a:pt x="672639" y="9210"/>
                </a:lnTo>
                <a:lnTo>
                  <a:pt x="701494" y="5912"/>
                </a:lnTo>
                <a:lnTo>
                  <a:pt x="731100" y="3336"/>
                </a:lnTo>
                <a:lnTo>
                  <a:pt x="761477" y="1484"/>
                </a:lnTo>
                <a:lnTo>
                  <a:pt x="792621" y="377"/>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3" name="Makro grafik 2">
            <a:extLst>
              <a:ext uri="{FF2B5EF4-FFF2-40B4-BE49-F238E27FC236}">
                <a16:creationId xmlns:a16="http://schemas.microsoft.com/office/drawing/2014/main" id="{3C47DF57-6C35-2F95-62C7-5AF5F1E443EA}"/>
              </a:ext>
            </a:extLst>
          </p:cNvPr>
          <p:cNvSpPr>
            <a:spLocks noGrp="1" noChangeAspect="1"/>
          </p:cNvSpPr>
          <p:nvPr>
            <p:ph type="body" sz="quarter" idx="20" hasCustomPrompt="1"/>
          </p:nvPr>
        </p:nvSpPr>
        <p:spPr>
          <a:xfrm>
            <a:off x="7625339" y="3523023"/>
            <a:ext cx="1123209" cy="1460462"/>
          </a:xfrm>
          <a:custGeom>
            <a:avLst/>
            <a:gdLst>
              <a:gd name="connsiteX0" fmla="*/ 0 w 1497612"/>
              <a:gd name="connsiteY0" fmla="*/ 1 h 1947283"/>
              <a:gd name="connsiteX1" fmla="*/ 133876 w 1497612"/>
              <a:gd name="connsiteY1" fmla="*/ 1 h 1947283"/>
              <a:gd name="connsiteX2" fmla="*/ 542054 w 1497612"/>
              <a:gd name="connsiteY2" fmla="*/ 1262003 h 1947283"/>
              <a:gd name="connsiteX3" fmla="*/ 763698 w 1497612"/>
              <a:gd name="connsiteY3" fmla="*/ 1947283 h 1947283"/>
              <a:gd name="connsiteX4" fmla="*/ 626777 w 1497612"/>
              <a:gd name="connsiteY4" fmla="*/ 1947283 h 1947283"/>
              <a:gd name="connsiteX5" fmla="*/ 406204 w 1497612"/>
              <a:gd name="connsiteY5" fmla="*/ 1262004 h 1947283"/>
              <a:gd name="connsiteX6" fmla="*/ 733914 w 1497612"/>
              <a:gd name="connsiteY6" fmla="*/ 0 h 1947283"/>
              <a:gd name="connsiteX7" fmla="*/ 867789 w 1497612"/>
              <a:gd name="connsiteY7" fmla="*/ 0 h 1947283"/>
              <a:gd name="connsiteX8" fmla="*/ 988168 w 1497612"/>
              <a:gd name="connsiteY8" fmla="*/ 372187 h 1947283"/>
              <a:gd name="connsiteX9" fmla="*/ 1497612 w 1497612"/>
              <a:gd name="connsiteY9" fmla="*/ 1947283 h 1947283"/>
              <a:gd name="connsiteX10" fmla="*/ 1360692 w 1497612"/>
              <a:gd name="connsiteY10" fmla="*/ 1947283 h 1947283"/>
              <a:gd name="connsiteX11" fmla="*/ 988168 w 1497612"/>
              <a:gd name="connsiteY11" fmla="*/ 789920 h 19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7612" h="1947283">
                <a:moveTo>
                  <a:pt x="0" y="1"/>
                </a:moveTo>
                <a:lnTo>
                  <a:pt x="133876" y="1"/>
                </a:lnTo>
                <a:lnTo>
                  <a:pt x="542054" y="1262003"/>
                </a:lnTo>
                <a:lnTo>
                  <a:pt x="763698" y="1947283"/>
                </a:lnTo>
                <a:lnTo>
                  <a:pt x="626777" y="1947283"/>
                </a:lnTo>
                <a:lnTo>
                  <a:pt x="406204" y="1262004"/>
                </a:lnTo>
                <a:close/>
                <a:moveTo>
                  <a:pt x="733914" y="0"/>
                </a:moveTo>
                <a:lnTo>
                  <a:pt x="867789" y="0"/>
                </a:lnTo>
                <a:lnTo>
                  <a:pt x="988168" y="372187"/>
                </a:lnTo>
                <a:lnTo>
                  <a:pt x="1497612" y="1947283"/>
                </a:lnTo>
                <a:lnTo>
                  <a:pt x="1360692" y="1947283"/>
                </a:lnTo>
                <a:lnTo>
                  <a:pt x="988168" y="78992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6" name="TextBox 1">
            <a:extLst>
              <a:ext uri="{FF2B5EF4-FFF2-40B4-BE49-F238E27FC236}">
                <a16:creationId xmlns:a16="http://schemas.microsoft.com/office/drawing/2014/main" id="{65A8188C-11F0-CD4C-0611-D4AE140468F8}"/>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pic>
        <p:nvPicPr>
          <p:cNvPr id="11" name="Picture 10">
            <a:extLst>
              <a:ext uri="{FF2B5EF4-FFF2-40B4-BE49-F238E27FC236}">
                <a16:creationId xmlns:a16="http://schemas.microsoft.com/office/drawing/2014/main" id="{B6773088-F904-305E-B07C-C0C1AD136B1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05001" y="207901"/>
            <a:ext cx="2150000" cy="307142"/>
          </a:xfrm>
          <a:prstGeom prst="rect">
            <a:avLst/>
          </a:prstGeom>
        </p:spPr>
      </p:pic>
    </p:spTree>
    <p:extLst>
      <p:ext uri="{BB962C8B-B14F-4D97-AF65-F5344CB8AC3E}">
        <p14:creationId xmlns:p14="http://schemas.microsoft.com/office/powerpoint/2010/main" val="1882849424"/>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itID Erhverv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chemeClr val="accent1"/>
                </a:solidFill>
              </a:defRPr>
            </a:lvl1pPr>
          </a:lstStyle>
          <a:p>
            <a:fld id="{3BA7D959-9C7C-4506-A4A8-52313FF7B34F}" type="datetime2">
              <a:rPr lang="da-DK" smtClean="0"/>
              <a:t>11. december 2025</a:t>
            </a:fld>
            <a:endParaRPr lang="da-DK" dirty="0"/>
          </a:p>
        </p:txBody>
      </p:sp>
      <p:sp>
        <p:nvSpPr>
          <p:cNvPr id="25" name="Makro grafik 1">
            <a:extLst>
              <a:ext uri="{FF2B5EF4-FFF2-40B4-BE49-F238E27FC236}">
                <a16:creationId xmlns:a16="http://schemas.microsoft.com/office/drawing/2014/main" id="{F2E0EEBD-7C39-E8CB-108F-09AF0CD4D448}"/>
              </a:ext>
            </a:extLst>
          </p:cNvPr>
          <p:cNvSpPr>
            <a:spLocks noGrp="1" noChangeAspect="1"/>
          </p:cNvSpPr>
          <p:nvPr>
            <p:ph type="body" sz="quarter" idx="19" hasCustomPrompt="1"/>
          </p:nvPr>
        </p:nvSpPr>
        <p:spPr>
          <a:xfrm>
            <a:off x="2827574" y="391015"/>
            <a:ext cx="1353707" cy="1779938"/>
          </a:xfrm>
          <a:custGeom>
            <a:avLst/>
            <a:gdLst>
              <a:gd name="connsiteX0" fmla="*/ 1135564 w 1804943"/>
              <a:gd name="connsiteY0" fmla="*/ 15338 h 2373250"/>
              <a:gd name="connsiteX1" fmla="*/ 1804943 w 1804943"/>
              <a:gd name="connsiteY1" fmla="*/ 15338 h 2373250"/>
              <a:gd name="connsiteX2" fmla="*/ 1804943 w 1804943"/>
              <a:gd name="connsiteY2" fmla="*/ 121436 h 2373250"/>
              <a:gd name="connsiteX3" fmla="*/ 1260314 w 1804943"/>
              <a:gd name="connsiteY3" fmla="*/ 121436 h 2373250"/>
              <a:gd name="connsiteX4" fmla="*/ 1260314 w 1804943"/>
              <a:gd name="connsiteY4" fmla="*/ 372027 h 2373250"/>
              <a:gd name="connsiteX5" fmla="*/ 1260314 w 1804943"/>
              <a:gd name="connsiteY5" fmla="*/ 2258004 h 2373250"/>
              <a:gd name="connsiteX6" fmla="*/ 1804943 w 1804943"/>
              <a:gd name="connsiteY6" fmla="*/ 2258004 h 2373250"/>
              <a:gd name="connsiteX7" fmla="*/ 1804943 w 1804943"/>
              <a:gd name="connsiteY7" fmla="*/ 2364102 h 2373250"/>
              <a:gd name="connsiteX8" fmla="*/ 1135564 w 1804943"/>
              <a:gd name="connsiteY8" fmla="*/ 2364102 h 2373250"/>
              <a:gd name="connsiteX9" fmla="*/ 1135564 w 1804943"/>
              <a:gd name="connsiteY9" fmla="*/ 2258004 h 2373250"/>
              <a:gd name="connsiteX10" fmla="*/ 1135564 w 1804943"/>
              <a:gd name="connsiteY10" fmla="*/ 372027 h 2373250"/>
              <a:gd name="connsiteX11" fmla="*/ 1135564 w 1804943"/>
              <a:gd name="connsiteY11" fmla="*/ 121436 h 2373250"/>
              <a:gd name="connsiteX12" fmla="*/ 824551 w 1804943"/>
              <a:gd name="connsiteY12" fmla="*/ 0 h 2373250"/>
              <a:gd name="connsiteX13" fmla="*/ 824551 w 1804943"/>
              <a:gd name="connsiteY13" fmla="*/ 106498 h 2373250"/>
              <a:gd name="connsiteX14" fmla="*/ 793382 w 1804943"/>
              <a:gd name="connsiteY14" fmla="*/ 106920 h 2373250"/>
              <a:gd name="connsiteX15" fmla="*/ 763107 w 1804943"/>
              <a:gd name="connsiteY15" fmla="*/ 108189 h 2373250"/>
              <a:gd name="connsiteX16" fmla="*/ 733699 w 1804943"/>
              <a:gd name="connsiteY16" fmla="*/ 110296 h 2373250"/>
              <a:gd name="connsiteX17" fmla="*/ 705152 w 1804943"/>
              <a:gd name="connsiteY17" fmla="*/ 113240 h 2373250"/>
              <a:gd name="connsiteX18" fmla="*/ 677451 w 1804943"/>
              <a:gd name="connsiteY18" fmla="*/ 117008 h 2373250"/>
              <a:gd name="connsiteX19" fmla="*/ 650596 w 1804943"/>
              <a:gd name="connsiteY19" fmla="*/ 121598 h 2373250"/>
              <a:gd name="connsiteX20" fmla="*/ 624564 w 1804943"/>
              <a:gd name="connsiteY20" fmla="*/ 126995 h 2373250"/>
              <a:gd name="connsiteX21" fmla="*/ 599346 w 1804943"/>
              <a:gd name="connsiteY21" fmla="*/ 133207 h 2373250"/>
              <a:gd name="connsiteX22" fmla="*/ 574929 w 1804943"/>
              <a:gd name="connsiteY22" fmla="*/ 140218 h 2373250"/>
              <a:gd name="connsiteX23" fmla="*/ 551302 w 1804943"/>
              <a:gd name="connsiteY23" fmla="*/ 148022 h 2373250"/>
              <a:gd name="connsiteX24" fmla="*/ 528461 w 1804943"/>
              <a:gd name="connsiteY24" fmla="*/ 156617 h 2373250"/>
              <a:gd name="connsiteX25" fmla="*/ 506387 w 1804943"/>
              <a:gd name="connsiteY25" fmla="*/ 165997 h 2373250"/>
              <a:gd name="connsiteX26" fmla="*/ 485076 w 1804943"/>
              <a:gd name="connsiteY26" fmla="*/ 176146 h 2373250"/>
              <a:gd name="connsiteX27" fmla="*/ 464502 w 1804943"/>
              <a:gd name="connsiteY27" fmla="*/ 187071 h 2373250"/>
              <a:gd name="connsiteX28" fmla="*/ 425554 w 1804943"/>
              <a:gd name="connsiteY28" fmla="*/ 211204 h 2373250"/>
              <a:gd name="connsiteX29" fmla="*/ 389457 w 1804943"/>
              <a:gd name="connsiteY29" fmla="*/ 238344 h 2373250"/>
              <a:gd name="connsiteX30" fmla="*/ 356105 w 1804943"/>
              <a:gd name="connsiteY30" fmla="*/ 268436 h 2373250"/>
              <a:gd name="connsiteX31" fmla="*/ 325421 w 1804943"/>
              <a:gd name="connsiteY31" fmla="*/ 301433 h 2373250"/>
              <a:gd name="connsiteX32" fmla="*/ 297313 w 1804943"/>
              <a:gd name="connsiteY32" fmla="*/ 337284 h 2373250"/>
              <a:gd name="connsiteX33" fmla="*/ 284189 w 1804943"/>
              <a:gd name="connsiteY33" fmla="*/ 356266 h 2373250"/>
              <a:gd name="connsiteX34" fmla="*/ 274169 w 1804943"/>
              <a:gd name="connsiteY34" fmla="*/ 372027 h 2373250"/>
              <a:gd name="connsiteX35" fmla="*/ 271680 w 1804943"/>
              <a:gd name="connsiteY35" fmla="*/ 375940 h 2373250"/>
              <a:gd name="connsiteX36" fmla="*/ 259763 w 1804943"/>
              <a:gd name="connsiteY36" fmla="*/ 396306 h 2373250"/>
              <a:gd name="connsiteX37" fmla="*/ 248431 w 1804943"/>
              <a:gd name="connsiteY37" fmla="*/ 417348 h 2373250"/>
              <a:gd name="connsiteX38" fmla="*/ 237675 w 1804943"/>
              <a:gd name="connsiteY38" fmla="*/ 439077 h 2373250"/>
              <a:gd name="connsiteX39" fmla="*/ 227480 w 1804943"/>
              <a:gd name="connsiteY39" fmla="*/ 461465 h 2373250"/>
              <a:gd name="connsiteX40" fmla="*/ 217839 w 1804943"/>
              <a:gd name="connsiteY40" fmla="*/ 484522 h 2373250"/>
              <a:gd name="connsiteX41" fmla="*/ 208737 w 1804943"/>
              <a:gd name="connsiteY41" fmla="*/ 508239 h 2373250"/>
              <a:gd name="connsiteX42" fmla="*/ 200156 w 1804943"/>
              <a:gd name="connsiteY42" fmla="*/ 532604 h 2373250"/>
              <a:gd name="connsiteX43" fmla="*/ 192100 w 1804943"/>
              <a:gd name="connsiteY43" fmla="*/ 557614 h 2373250"/>
              <a:gd name="connsiteX44" fmla="*/ 184542 w 1804943"/>
              <a:gd name="connsiteY44" fmla="*/ 583262 h 2373250"/>
              <a:gd name="connsiteX45" fmla="*/ 177484 w 1804943"/>
              <a:gd name="connsiteY45" fmla="*/ 609541 h 2373250"/>
              <a:gd name="connsiteX46" fmla="*/ 170903 w 1804943"/>
              <a:gd name="connsiteY46" fmla="*/ 636450 h 2373250"/>
              <a:gd name="connsiteX47" fmla="*/ 164799 w 1804943"/>
              <a:gd name="connsiteY47" fmla="*/ 663974 h 2373250"/>
              <a:gd name="connsiteX48" fmla="*/ 159148 w 1804943"/>
              <a:gd name="connsiteY48" fmla="*/ 692121 h 2373250"/>
              <a:gd name="connsiteX49" fmla="*/ 153950 w 1804943"/>
              <a:gd name="connsiteY49" fmla="*/ 720867 h 2373250"/>
              <a:gd name="connsiteX50" fmla="*/ 149183 w 1804943"/>
              <a:gd name="connsiteY50" fmla="*/ 750212 h 2373250"/>
              <a:gd name="connsiteX51" fmla="*/ 144839 w 1804943"/>
              <a:gd name="connsiteY51" fmla="*/ 780158 h 2373250"/>
              <a:gd name="connsiteX52" fmla="*/ 140910 w 1804943"/>
              <a:gd name="connsiteY52" fmla="*/ 810689 h 2373250"/>
              <a:gd name="connsiteX53" fmla="*/ 137390 w 1804943"/>
              <a:gd name="connsiteY53" fmla="*/ 841803 h 2373250"/>
              <a:gd name="connsiteX54" fmla="*/ 134253 w 1804943"/>
              <a:gd name="connsiteY54" fmla="*/ 873494 h 2373250"/>
              <a:gd name="connsiteX55" fmla="*/ 131501 w 1804943"/>
              <a:gd name="connsiteY55" fmla="*/ 905754 h 2373250"/>
              <a:gd name="connsiteX56" fmla="*/ 129109 w 1804943"/>
              <a:gd name="connsiteY56" fmla="*/ 938575 h 2373250"/>
              <a:gd name="connsiteX57" fmla="*/ 127073 w 1804943"/>
              <a:gd name="connsiteY57" fmla="*/ 971958 h 2373250"/>
              <a:gd name="connsiteX58" fmla="*/ 125389 w 1804943"/>
              <a:gd name="connsiteY58" fmla="*/ 1005886 h 2373250"/>
              <a:gd name="connsiteX59" fmla="*/ 124027 w 1804943"/>
              <a:gd name="connsiteY59" fmla="*/ 1040360 h 2373250"/>
              <a:gd name="connsiteX60" fmla="*/ 122997 w 1804943"/>
              <a:gd name="connsiteY60" fmla="*/ 1075373 h 2373250"/>
              <a:gd name="connsiteX61" fmla="*/ 122267 w 1804943"/>
              <a:gd name="connsiteY61" fmla="*/ 1110923 h 2373250"/>
              <a:gd name="connsiteX62" fmla="*/ 121844 w 1804943"/>
              <a:gd name="connsiteY62" fmla="*/ 1146996 h 2373250"/>
              <a:gd name="connsiteX63" fmla="*/ 121706 w 1804943"/>
              <a:gd name="connsiteY63" fmla="*/ 1183585 h 2373250"/>
              <a:gd name="connsiteX64" fmla="*/ 121829 w 1804943"/>
              <a:gd name="connsiteY64" fmla="*/ 1220003 h 2373250"/>
              <a:gd name="connsiteX65" fmla="*/ 122229 w 1804943"/>
              <a:gd name="connsiteY65" fmla="*/ 1255892 h 2373250"/>
              <a:gd name="connsiteX66" fmla="*/ 122897 w 1804943"/>
              <a:gd name="connsiteY66" fmla="*/ 1291258 h 2373250"/>
              <a:gd name="connsiteX67" fmla="*/ 123850 w 1804943"/>
              <a:gd name="connsiteY67" fmla="*/ 1326087 h 2373250"/>
              <a:gd name="connsiteX68" fmla="*/ 125111 w 1804943"/>
              <a:gd name="connsiteY68" fmla="*/ 1360376 h 2373250"/>
              <a:gd name="connsiteX69" fmla="*/ 126679 w 1804943"/>
              <a:gd name="connsiteY69" fmla="*/ 1394113 h 2373250"/>
              <a:gd name="connsiteX70" fmla="*/ 128571 w 1804943"/>
              <a:gd name="connsiteY70" fmla="*/ 1427303 h 2373250"/>
              <a:gd name="connsiteX71" fmla="*/ 130802 w 1804943"/>
              <a:gd name="connsiteY71" fmla="*/ 1459939 h 2373250"/>
              <a:gd name="connsiteX72" fmla="*/ 133368 w 1804943"/>
              <a:gd name="connsiteY72" fmla="*/ 1492006 h 2373250"/>
              <a:gd name="connsiteX73" fmla="*/ 136298 w 1804943"/>
              <a:gd name="connsiteY73" fmla="*/ 1523513 h 2373250"/>
              <a:gd name="connsiteX74" fmla="*/ 139596 w 1804943"/>
              <a:gd name="connsiteY74" fmla="*/ 1554442 h 2373250"/>
              <a:gd name="connsiteX75" fmla="*/ 143271 w 1804943"/>
              <a:gd name="connsiteY75" fmla="*/ 1584796 h 2373250"/>
              <a:gd name="connsiteX76" fmla="*/ 147338 w 1804943"/>
              <a:gd name="connsiteY76" fmla="*/ 1614566 h 2373250"/>
              <a:gd name="connsiteX77" fmla="*/ 151813 w 1804943"/>
              <a:gd name="connsiteY77" fmla="*/ 1643750 h 2373250"/>
              <a:gd name="connsiteX78" fmla="*/ 156702 w 1804943"/>
              <a:gd name="connsiteY78" fmla="*/ 1672334 h 2373250"/>
              <a:gd name="connsiteX79" fmla="*/ 162015 w 1804943"/>
              <a:gd name="connsiteY79" fmla="*/ 1700320 h 2373250"/>
              <a:gd name="connsiteX80" fmla="*/ 167766 w 1804943"/>
              <a:gd name="connsiteY80" fmla="*/ 1727705 h 2373250"/>
              <a:gd name="connsiteX81" fmla="*/ 173962 w 1804943"/>
              <a:gd name="connsiteY81" fmla="*/ 1754476 h 2373250"/>
              <a:gd name="connsiteX82" fmla="*/ 180629 w 1804943"/>
              <a:gd name="connsiteY82" fmla="*/ 1780631 h 2373250"/>
              <a:gd name="connsiteX83" fmla="*/ 187755 w 1804943"/>
              <a:gd name="connsiteY83" fmla="*/ 1806164 h 2373250"/>
              <a:gd name="connsiteX84" fmla="*/ 195374 w 1804943"/>
              <a:gd name="connsiteY84" fmla="*/ 1831074 h 2373250"/>
              <a:gd name="connsiteX85" fmla="*/ 203485 w 1804943"/>
              <a:gd name="connsiteY85" fmla="*/ 1855346 h 2373250"/>
              <a:gd name="connsiteX86" fmla="*/ 212112 w 1804943"/>
              <a:gd name="connsiteY86" fmla="*/ 1878988 h 2373250"/>
              <a:gd name="connsiteX87" fmla="*/ 221245 w 1804943"/>
              <a:gd name="connsiteY87" fmla="*/ 1901983 h 2373250"/>
              <a:gd name="connsiteX88" fmla="*/ 230917 w 1804943"/>
              <a:gd name="connsiteY88" fmla="*/ 1924332 h 2373250"/>
              <a:gd name="connsiteX89" fmla="*/ 241128 w 1804943"/>
              <a:gd name="connsiteY89" fmla="*/ 1946029 h 2373250"/>
              <a:gd name="connsiteX90" fmla="*/ 251891 w 1804943"/>
              <a:gd name="connsiteY90" fmla="*/ 1967064 h 2373250"/>
              <a:gd name="connsiteX91" fmla="*/ 263216 w 1804943"/>
              <a:gd name="connsiteY91" fmla="*/ 1987430 h 2373250"/>
              <a:gd name="connsiteX92" fmla="*/ 287611 w 1804943"/>
              <a:gd name="connsiteY92" fmla="*/ 2026164 h 2373250"/>
              <a:gd name="connsiteX93" fmla="*/ 314404 w 1804943"/>
              <a:gd name="connsiteY93" fmla="*/ 2062168 h 2373250"/>
              <a:gd name="connsiteX94" fmla="*/ 343681 w 1804943"/>
              <a:gd name="connsiteY94" fmla="*/ 2095412 h 2373250"/>
              <a:gd name="connsiteX95" fmla="*/ 375541 w 1804943"/>
              <a:gd name="connsiteY95" fmla="*/ 2125849 h 2373250"/>
              <a:gd name="connsiteX96" fmla="*/ 410077 w 1804943"/>
              <a:gd name="connsiteY96" fmla="*/ 2153435 h 2373250"/>
              <a:gd name="connsiteX97" fmla="*/ 447372 w 1804943"/>
              <a:gd name="connsiteY97" fmla="*/ 2178130 h 2373250"/>
              <a:gd name="connsiteX98" fmla="*/ 487529 w 1804943"/>
              <a:gd name="connsiteY98" fmla="*/ 2199888 h 2373250"/>
              <a:gd name="connsiteX99" fmla="*/ 508702 w 1804943"/>
              <a:gd name="connsiteY99" fmla="*/ 2209652 h 2373250"/>
              <a:gd name="connsiteX100" fmla="*/ 530629 w 1804943"/>
              <a:gd name="connsiteY100" fmla="*/ 2218662 h 2373250"/>
              <a:gd name="connsiteX101" fmla="*/ 553317 w 1804943"/>
              <a:gd name="connsiteY101" fmla="*/ 2226920 h 2373250"/>
              <a:gd name="connsiteX102" fmla="*/ 576782 w 1804943"/>
              <a:gd name="connsiteY102" fmla="*/ 2234416 h 2373250"/>
              <a:gd name="connsiteX103" fmla="*/ 601022 w 1804943"/>
              <a:gd name="connsiteY103" fmla="*/ 2241150 h 2373250"/>
              <a:gd name="connsiteX104" fmla="*/ 626056 w 1804943"/>
              <a:gd name="connsiteY104" fmla="*/ 2247109 h 2373250"/>
              <a:gd name="connsiteX105" fmla="*/ 651904 w 1804943"/>
              <a:gd name="connsiteY105" fmla="*/ 2252291 h 2373250"/>
              <a:gd name="connsiteX106" fmla="*/ 678567 w 1804943"/>
              <a:gd name="connsiteY106" fmla="*/ 2256688 h 2373250"/>
              <a:gd name="connsiteX107" fmla="*/ 706061 w 1804943"/>
              <a:gd name="connsiteY107" fmla="*/ 2260301 h 2373250"/>
              <a:gd name="connsiteX108" fmla="*/ 734390 w 1804943"/>
              <a:gd name="connsiteY108" fmla="*/ 2263116 h 2373250"/>
              <a:gd name="connsiteX109" fmla="*/ 763575 w 1804943"/>
              <a:gd name="connsiteY109" fmla="*/ 2265138 h 2373250"/>
              <a:gd name="connsiteX110" fmla="*/ 793630 w 1804943"/>
              <a:gd name="connsiteY110" fmla="*/ 2266352 h 2373250"/>
              <a:gd name="connsiteX111" fmla="*/ 824551 w 1804943"/>
              <a:gd name="connsiteY111" fmla="*/ 2266760 h 2373250"/>
              <a:gd name="connsiteX112" fmla="*/ 824551 w 1804943"/>
              <a:gd name="connsiteY112" fmla="*/ 2373250 h 2373250"/>
              <a:gd name="connsiteX113" fmla="*/ 792476 w 1804943"/>
              <a:gd name="connsiteY113" fmla="*/ 2372881 h 2373250"/>
              <a:gd name="connsiteX114" fmla="*/ 761193 w 1804943"/>
              <a:gd name="connsiteY114" fmla="*/ 2371759 h 2373250"/>
              <a:gd name="connsiteX115" fmla="*/ 730694 w 1804943"/>
              <a:gd name="connsiteY115" fmla="*/ 2369898 h 2373250"/>
              <a:gd name="connsiteX116" fmla="*/ 700970 w 1804943"/>
              <a:gd name="connsiteY116" fmla="*/ 2367307 h 2373250"/>
              <a:gd name="connsiteX117" fmla="*/ 672008 w 1804943"/>
              <a:gd name="connsiteY117" fmla="*/ 2363986 h 2373250"/>
              <a:gd name="connsiteX118" fmla="*/ 643800 w 1804943"/>
              <a:gd name="connsiteY118" fmla="*/ 2359941 h 2373250"/>
              <a:gd name="connsiteX119" fmla="*/ 616345 w 1804943"/>
              <a:gd name="connsiteY119" fmla="*/ 2355175 h 2373250"/>
              <a:gd name="connsiteX120" fmla="*/ 589621 w 1804943"/>
              <a:gd name="connsiteY120" fmla="*/ 2349701 h 2373250"/>
              <a:gd name="connsiteX121" fmla="*/ 563635 w 1804943"/>
              <a:gd name="connsiteY121" fmla="*/ 2343519 h 2373250"/>
              <a:gd name="connsiteX122" fmla="*/ 538363 w 1804943"/>
              <a:gd name="connsiteY122" fmla="*/ 2336631 h 2373250"/>
              <a:gd name="connsiteX123" fmla="*/ 513800 w 1804943"/>
              <a:gd name="connsiteY123" fmla="*/ 2329050 h 2373250"/>
              <a:gd name="connsiteX124" fmla="*/ 489950 w 1804943"/>
              <a:gd name="connsiteY124" fmla="*/ 2320785 h 2373250"/>
              <a:gd name="connsiteX125" fmla="*/ 466785 w 1804943"/>
              <a:gd name="connsiteY125" fmla="*/ 2311829 h 2373250"/>
              <a:gd name="connsiteX126" fmla="*/ 444312 w 1804943"/>
              <a:gd name="connsiteY126" fmla="*/ 2302195 h 2373250"/>
              <a:gd name="connsiteX127" fmla="*/ 422516 w 1804943"/>
              <a:gd name="connsiteY127" fmla="*/ 2291885 h 2373250"/>
              <a:gd name="connsiteX128" fmla="*/ 401389 w 1804943"/>
              <a:gd name="connsiteY128" fmla="*/ 2280906 h 2373250"/>
              <a:gd name="connsiteX129" fmla="*/ 380915 w 1804943"/>
              <a:gd name="connsiteY129" fmla="*/ 2269266 h 2373250"/>
              <a:gd name="connsiteX130" fmla="*/ 361094 w 1804943"/>
              <a:gd name="connsiteY130" fmla="*/ 2256965 h 2373250"/>
              <a:gd name="connsiteX131" fmla="*/ 341921 w 1804943"/>
              <a:gd name="connsiteY131" fmla="*/ 2244018 h 2373250"/>
              <a:gd name="connsiteX132" fmla="*/ 305456 w 1804943"/>
              <a:gd name="connsiteY132" fmla="*/ 2216179 h 2373250"/>
              <a:gd name="connsiteX133" fmla="*/ 271450 w 1804943"/>
              <a:gd name="connsiteY133" fmla="*/ 2185803 h 2373250"/>
              <a:gd name="connsiteX134" fmla="*/ 239844 w 1804943"/>
              <a:gd name="connsiteY134" fmla="*/ 2152920 h 2373250"/>
              <a:gd name="connsiteX135" fmla="*/ 210559 w 1804943"/>
              <a:gd name="connsiteY135" fmla="*/ 2117584 h 2373250"/>
              <a:gd name="connsiteX136" fmla="*/ 196759 w 1804943"/>
              <a:gd name="connsiteY136" fmla="*/ 2099010 h 2373250"/>
              <a:gd name="connsiteX137" fmla="*/ 183519 w 1804943"/>
              <a:gd name="connsiteY137" fmla="*/ 2079843 h 2373250"/>
              <a:gd name="connsiteX138" fmla="*/ 170826 w 1804943"/>
              <a:gd name="connsiteY138" fmla="*/ 2060076 h 2373250"/>
              <a:gd name="connsiteX139" fmla="*/ 158670 w 1804943"/>
              <a:gd name="connsiteY139" fmla="*/ 2039725 h 2373250"/>
              <a:gd name="connsiteX140" fmla="*/ 147039 w 1804943"/>
              <a:gd name="connsiteY140" fmla="*/ 2018790 h 2373250"/>
              <a:gd name="connsiteX141" fmla="*/ 135929 w 1804943"/>
              <a:gd name="connsiteY141" fmla="*/ 1997286 h 2373250"/>
              <a:gd name="connsiteX142" fmla="*/ 125326 w 1804943"/>
              <a:gd name="connsiteY142" fmla="*/ 1975206 h 2373250"/>
              <a:gd name="connsiteX143" fmla="*/ 115224 w 1804943"/>
              <a:gd name="connsiteY143" fmla="*/ 1952564 h 2373250"/>
              <a:gd name="connsiteX144" fmla="*/ 105621 w 1804943"/>
              <a:gd name="connsiteY144" fmla="*/ 1929369 h 2373250"/>
              <a:gd name="connsiteX145" fmla="*/ 96495 w 1804943"/>
              <a:gd name="connsiteY145" fmla="*/ 1905612 h 2373250"/>
              <a:gd name="connsiteX146" fmla="*/ 87846 w 1804943"/>
              <a:gd name="connsiteY146" fmla="*/ 1881309 h 2373250"/>
              <a:gd name="connsiteX147" fmla="*/ 79666 w 1804943"/>
              <a:gd name="connsiteY147" fmla="*/ 1856461 h 2373250"/>
              <a:gd name="connsiteX148" fmla="*/ 71947 w 1804943"/>
              <a:gd name="connsiteY148" fmla="*/ 1831082 h 2373250"/>
              <a:gd name="connsiteX149" fmla="*/ 64675 w 1804943"/>
              <a:gd name="connsiteY149" fmla="*/ 1805165 h 2373250"/>
              <a:gd name="connsiteX150" fmla="*/ 57839 w 1804943"/>
              <a:gd name="connsiteY150" fmla="*/ 1778725 h 2373250"/>
              <a:gd name="connsiteX151" fmla="*/ 51435 w 1804943"/>
              <a:gd name="connsiteY151" fmla="*/ 1751762 h 2373250"/>
              <a:gd name="connsiteX152" fmla="*/ 45461 w 1804943"/>
              <a:gd name="connsiteY152" fmla="*/ 1724284 h 2373250"/>
              <a:gd name="connsiteX153" fmla="*/ 39895 w 1804943"/>
              <a:gd name="connsiteY153" fmla="*/ 1696292 h 2373250"/>
              <a:gd name="connsiteX154" fmla="*/ 34736 w 1804943"/>
              <a:gd name="connsiteY154" fmla="*/ 1667799 h 2373250"/>
              <a:gd name="connsiteX155" fmla="*/ 29969 w 1804943"/>
              <a:gd name="connsiteY155" fmla="*/ 1638806 h 2373250"/>
              <a:gd name="connsiteX156" fmla="*/ 25595 w 1804943"/>
              <a:gd name="connsiteY156" fmla="*/ 1609322 h 2373250"/>
              <a:gd name="connsiteX157" fmla="*/ 21597 w 1804943"/>
              <a:gd name="connsiteY157" fmla="*/ 1579352 h 2373250"/>
              <a:gd name="connsiteX158" fmla="*/ 17967 w 1804943"/>
              <a:gd name="connsiteY158" fmla="*/ 1548893 h 2373250"/>
              <a:gd name="connsiteX159" fmla="*/ 14708 w 1804943"/>
              <a:gd name="connsiteY159" fmla="*/ 1517963 h 2373250"/>
              <a:gd name="connsiteX160" fmla="*/ 11794 w 1804943"/>
              <a:gd name="connsiteY160" fmla="*/ 1486556 h 2373250"/>
              <a:gd name="connsiteX161" fmla="*/ 9226 w 1804943"/>
              <a:gd name="connsiteY161" fmla="*/ 1454681 h 2373250"/>
              <a:gd name="connsiteX162" fmla="*/ 6989 w 1804943"/>
              <a:gd name="connsiteY162" fmla="*/ 1422351 h 2373250"/>
              <a:gd name="connsiteX163" fmla="*/ 5082 w 1804943"/>
              <a:gd name="connsiteY163" fmla="*/ 1389569 h 2373250"/>
              <a:gd name="connsiteX164" fmla="*/ 3490 w 1804943"/>
              <a:gd name="connsiteY164" fmla="*/ 1356325 h 2373250"/>
              <a:gd name="connsiteX165" fmla="*/ 2206 w 1804943"/>
              <a:gd name="connsiteY165" fmla="*/ 1322649 h 2373250"/>
              <a:gd name="connsiteX166" fmla="*/ 1230 w 1804943"/>
              <a:gd name="connsiteY166" fmla="*/ 1288530 h 2373250"/>
              <a:gd name="connsiteX167" fmla="*/ 540 w 1804943"/>
              <a:gd name="connsiteY167" fmla="*/ 1253971 h 2373250"/>
              <a:gd name="connsiteX168" fmla="*/ 132 w 1804943"/>
              <a:gd name="connsiteY168" fmla="*/ 1218989 h 2373250"/>
              <a:gd name="connsiteX169" fmla="*/ 0 w 1804943"/>
              <a:gd name="connsiteY169" fmla="*/ 1183585 h 2373250"/>
              <a:gd name="connsiteX170" fmla="*/ 132 w 1804943"/>
              <a:gd name="connsiteY170" fmla="*/ 1148334 h 2373250"/>
              <a:gd name="connsiteX171" fmla="*/ 546 w 1804943"/>
              <a:gd name="connsiteY171" fmla="*/ 1113498 h 2373250"/>
              <a:gd name="connsiteX172" fmla="*/ 1254 w 1804943"/>
              <a:gd name="connsiteY172" fmla="*/ 1079094 h 2373250"/>
              <a:gd name="connsiteX173" fmla="*/ 2246 w 1804943"/>
              <a:gd name="connsiteY173" fmla="*/ 1045127 h 2373250"/>
              <a:gd name="connsiteX174" fmla="*/ 3544 w 1804943"/>
              <a:gd name="connsiteY174" fmla="*/ 1011590 h 2373250"/>
              <a:gd name="connsiteX175" fmla="*/ 5159 w 1804943"/>
              <a:gd name="connsiteY175" fmla="*/ 978500 h 2373250"/>
              <a:gd name="connsiteX176" fmla="*/ 7096 w 1804943"/>
              <a:gd name="connsiteY176" fmla="*/ 945863 h 2373250"/>
              <a:gd name="connsiteX177" fmla="*/ 9356 w 1804943"/>
              <a:gd name="connsiteY177" fmla="*/ 913681 h 2373250"/>
              <a:gd name="connsiteX178" fmla="*/ 11964 w 1804943"/>
              <a:gd name="connsiteY178" fmla="*/ 881951 h 2373250"/>
              <a:gd name="connsiteX179" fmla="*/ 14909 w 1804943"/>
              <a:gd name="connsiteY179" fmla="*/ 850691 h 2373250"/>
              <a:gd name="connsiteX180" fmla="*/ 18214 w 1804943"/>
              <a:gd name="connsiteY180" fmla="*/ 819907 h 2373250"/>
              <a:gd name="connsiteX181" fmla="*/ 21881 w 1804943"/>
              <a:gd name="connsiteY181" fmla="*/ 789592 h 2373250"/>
              <a:gd name="connsiteX182" fmla="*/ 25917 w 1804943"/>
              <a:gd name="connsiteY182" fmla="*/ 759762 h 2373250"/>
              <a:gd name="connsiteX183" fmla="*/ 30338 w 1804943"/>
              <a:gd name="connsiteY183" fmla="*/ 730423 h 2373250"/>
              <a:gd name="connsiteX184" fmla="*/ 35152 w 1804943"/>
              <a:gd name="connsiteY184" fmla="*/ 701569 h 2373250"/>
              <a:gd name="connsiteX185" fmla="*/ 40356 w 1804943"/>
              <a:gd name="connsiteY185" fmla="*/ 673215 h 2373250"/>
              <a:gd name="connsiteX186" fmla="*/ 45968 w 1804943"/>
              <a:gd name="connsiteY186" fmla="*/ 645368 h 2373250"/>
              <a:gd name="connsiteX187" fmla="*/ 51996 w 1804943"/>
              <a:gd name="connsiteY187" fmla="*/ 618029 h 2373250"/>
              <a:gd name="connsiteX188" fmla="*/ 58446 w 1804943"/>
              <a:gd name="connsiteY188" fmla="*/ 591204 h 2373250"/>
              <a:gd name="connsiteX189" fmla="*/ 65335 w 1804943"/>
              <a:gd name="connsiteY189" fmla="*/ 564895 h 2373250"/>
              <a:gd name="connsiteX190" fmla="*/ 72655 w 1804943"/>
              <a:gd name="connsiteY190" fmla="*/ 539109 h 2373250"/>
              <a:gd name="connsiteX191" fmla="*/ 80428 w 1804943"/>
              <a:gd name="connsiteY191" fmla="*/ 513860 h 2373250"/>
              <a:gd name="connsiteX192" fmla="*/ 88661 w 1804943"/>
              <a:gd name="connsiteY192" fmla="*/ 489142 h 2373250"/>
              <a:gd name="connsiteX193" fmla="*/ 97358 w 1804943"/>
              <a:gd name="connsiteY193" fmla="*/ 464962 h 2373250"/>
              <a:gd name="connsiteX194" fmla="*/ 106521 w 1804943"/>
              <a:gd name="connsiteY194" fmla="*/ 441336 h 2373250"/>
              <a:gd name="connsiteX195" fmla="*/ 116178 w 1804943"/>
              <a:gd name="connsiteY195" fmla="*/ 418257 h 2373250"/>
              <a:gd name="connsiteX196" fmla="*/ 126320 w 1804943"/>
              <a:gd name="connsiteY196" fmla="*/ 395738 h 2373250"/>
              <a:gd name="connsiteX197" fmla="*/ 136966 w 1804943"/>
              <a:gd name="connsiteY197" fmla="*/ 373780 h 2373250"/>
              <a:gd name="connsiteX198" fmla="*/ 137880 w 1804943"/>
              <a:gd name="connsiteY198" fmla="*/ 372027 h 2373250"/>
              <a:gd name="connsiteX199" fmla="*/ 137881 w 1804943"/>
              <a:gd name="connsiteY199" fmla="*/ 372027 h 2373250"/>
              <a:gd name="connsiteX200" fmla="*/ 148122 w 1804943"/>
              <a:gd name="connsiteY200" fmla="*/ 352391 h 2373250"/>
              <a:gd name="connsiteX201" fmla="*/ 159787 w 1804943"/>
              <a:gd name="connsiteY201" fmla="*/ 331571 h 2373250"/>
              <a:gd name="connsiteX202" fmla="*/ 171988 w 1804943"/>
              <a:gd name="connsiteY202" fmla="*/ 311336 h 2373250"/>
              <a:gd name="connsiteX203" fmla="*/ 184719 w 1804943"/>
              <a:gd name="connsiteY203" fmla="*/ 291677 h 2373250"/>
              <a:gd name="connsiteX204" fmla="*/ 197988 w 1804943"/>
              <a:gd name="connsiteY204" fmla="*/ 272618 h 2373250"/>
              <a:gd name="connsiteX205" fmla="*/ 211812 w 1804943"/>
              <a:gd name="connsiteY205" fmla="*/ 254143 h 2373250"/>
              <a:gd name="connsiteX206" fmla="*/ 241142 w 1804943"/>
              <a:gd name="connsiteY206" fmla="*/ 219015 h 2373250"/>
              <a:gd name="connsiteX207" fmla="*/ 272787 w 1804943"/>
              <a:gd name="connsiteY207" fmla="*/ 186325 h 2373250"/>
              <a:gd name="connsiteX208" fmla="*/ 306808 w 1804943"/>
              <a:gd name="connsiteY208" fmla="*/ 156118 h 2373250"/>
              <a:gd name="connsiteX209" fmla="*/ 343266 w 1804943"/>
              <a:gd name="connsiteY209" fmla="*/ 128447 h 2373250"/>
              <a:gd name="connsiteX210" fmla="*/ 362432 w 1804943"/>
              <a:gd name="connsiteY210" fmla="*/ 115578 h 2373250"/>
              <a:gd name="connsiteX211" fmla="*/ 382237 w 1804943"/>
              <a:gd name="connsiteY211" fmla="*/ 103346 h 2373250"/>
              <a:gd name="connsiteX212" fmla="*/ 402689 w 1804943"/>
              <a:gd name="connsiteY212" fmla="*/ 91775 h 2373250"/>
              <a:gd name="connsiteX213" fmla="*/ 423793 w 1804943"/>
              <a:gd name="connsiteY213" fmla="*/ 80865 h 2373250"/>
              <a:gd name="connsiteX214" fmla="*/ 445558 w 1804943"/>
              <a:gd name="connsiteY214" fmla="*/ 70617 h 2373250"/>
              <a:gd name="connsiteX215" fmla="*/ 467992 w 1804943"/>
              <a:gd name="connsiteY215" fmla="*/ 61045 h 2373250"/>
              <a:gd name="connsiteX216" fmla="*/ 491103 w 1804943"/>
              <a:gd name="connsiteY216" fmla="*/ 52142 h 2373250"/>
              <a:gd name="connsiteX217" fmla="*/ 514906 w 1804943"/>
              <a:gd name="connsiteY217" fmla="*/ 43923 h 2373250"/>
              <a:gd name="connsiteX218" fmla="*/ 539409 w 1804943"/>
              <a:gd name="connsiteY218" fmla="*/ 36389 h 2373250"/>
              <a:gd name="connsiteX219" fmla="*/ 564612 w 1804943"/>
              <a:gd name="connsiteY219" fmla="*/ 29553 h 2373250"/>
              <a:gd name="connsiteX220" fmla="*/ 590528 w 1804943"/>
              <a:gd name="connsiteY220" fmla="*/ 23403 h 2373250"/>
              <a:gd name="connsiteX221" fmla="*/ 617160 w 1804943"/>
              <a:gd name="connsiteY221" fmla="*/ 17967 h 2373250"/>
              <a:gd name="connsiteX222" fmla="*/ 644530 w 1804943"/>
              <a:gd name="connsiteY222" fmla="*/ 13231 h 2373250"/>
              <a:gd name="connsiteX223" fmla="*/ 672639 w 1804943"/>
              <a:gd name="connsiteY223" fmla="*/ 9210 h 2373250"/>
              <a:gd name="connsiteX224" fmla="*/ 701494 w 1804943"/>
              <a:gd name="connsiteY224" fmla="*/ 5912 h 2373250"/>
              <a:gd name="connsiteX225" fmla="*/ 731100 w 1804943"/>
              <a:gd name="connsiteY225" fmla="*/ 3336 h 2373250"/>
              <a:gd name="connsiteX226" fmla="*/ 761477 w 1804943"/>
              <a:gd name="connsiteY226" fmla="*/ 1484 h 2373250"/>
              <a:gd name="connsiteX227" fmla="*/ 792621 w 1804943"/>
              <a:gd name="connsiteY227" fmla="*/ 377 h 23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804943" h="2373250">
                <a:moveTo>
                  <a:pt x="1135564" y="15338"/>
                </a:moveTo>
                <a:lnTo>
                  <a:pt x="1804943" y="15338"/>
                </a:lnTo>
                <a:lnTo>
                  <a:pt x="1804943" y="121436"/>
                </a:lnTo>
                <a:lnTo>
                  <a:pt x="1260314" y="121436"/>
                </a:lnTo>
                <a:lnTo>
                  <a:pt x="1260314" y="372027"/>
                </a:lnTo>
                <a:lnTo>
                  <a:pt x="1260314" y="2258004"/>
                </a:lnTo>
                <a:lnTo>
                  <a:pt x="1804943" y="2258004"/>
                </a:lnTo>
                <a:lnTo>
                  <a:pt x="1804943" y="2364102"/>
                </a:lnTo>
                <a:lnTo>
                  <a:pt x="1135564" y="2364102"/>
                </a:lnTo>
                <a:lnTo>
                  <a:pt x="1135564" y="2258004"/>
                </a:lnTo>
                <a:lnTo>
                  <a:pt x="1135564" y="372027"/>
                </a:lnTo>
                <a:lnTo>
                  <a:pt x="1135564" y="121436"/>
                </a:lnTo>
                <a:close/>
                <a:moveTo>
                  <a:pt x="824551" y="0"/>
                </a:moveTo>
                <a:lnTo>
                  <a:pt x="824551" y="106498"/>
                </a:lnTo>
                <a:lnTo>
                  <a:pt x="793382" y="106920"/>
                </a:lnTo>
                <a:lnTo>
                  <a:pt x="763107" y="108189"/>
                </a:lnTo>
                <a:lnTo>
                  <a:pt x="733699" y="110296"/>
                </a:lnTo>
                <a:lnTo>
                  <a:pt x="705152" y="113240"/>
                </a:lnTo>
                <a:lnTo>
                  <a:pt x="677451" y="117008"/>
                </a:lnTo>
                <a:lnTo>
                  <a:pt x="650596" y="121598"/>
                </a:lnTo>
                <a:lnTo>
                  <a:pt x="624564" y="126995"/>
                </a:lnTo>
                <a:lnTo>
                  <a:pt x="599346" y="133207"/>
                </a:lnTo>
                <a:lnTo>
                  <a:pt x="574929" y="140218"/>
                </a:lnTo>
                <a:lnTo>
                  <a:pt x="551302" y="148022"/>
                </a:lnTo>
                <a:lnTo>
                  <a:pt x="528461" y="156617"/>
                </a:lnTo>
                <a:lnTo>
                  <a:pt x="506387" y="165997"/>
                </a:lnTo>
                <a:lnTo>
                  <a:pt x="485076" y="176146"/>
                </a:lnTo>
                <a:lnTo>
                  <a:pt x="464502" y="187071"/>
                </a:lnTo>
                <a:lnTo>
                  <a:pt x="425554" y="211204"/>
                </a:lnTo>
                <a:lnTo>
                  <a:pt x="389457" y="238344"/>
                </a:lnTo>
                <a:lnTo>
                  <a:pt x="356105" y="268436"/>
                </a:lnTo>
                <a:lnTo>
                  <a:pt x="325421" y="301433"/>
                </a:lnTo>
                <a:lnTo>
                  <a:pt x="297313" y="337284"/>
                </a:lnTo>
                <a:lnTo>
                  <a:pt x="284189" y="356266"/>
                </a:lnTo>
                <a:lnTo>
                  <a:pt x="274169" y="372027"/>
                </a:lnTo>
                <a:lnTo>
                  <a:pt x="271680" y="375940"/>
                </a:lnTo>
                <a:lnTo>
                  <a:pt x="259763" y="396306"/>
                </a:lnTo>
                <a:lnTo>
                  <a:pt x="248431" y="417348"/>
                </a:lnTo>
                <a:lnTo>
                  <a:pt x="237675" y="439077"/>
                </a:lnTo>
                <a:lnTo>
                  <a:pt x="227480" y="461465"/>
                </a:lnTo>
                <a:lnTo>
                  <a:pt x="217839" y="484522"/>
                </a:lnTo>
                <a:lnTo>
                  <a:pt x="208737" y="508239"/>
                </a:lnTo>
                <a:lnTo>
                  <a:pt x="200156" y="532604"/>
                </a:lnTo>
                <a:lnTo>
                  <a:pt x="192100" y="557614"/>
                </a:lnTo>
                <a:lnTo>
                  <a:pt x="184542" y="583262"/>
                </a:lnTo>
                <a:lnTo>
                  <a:pt x="177484" y="609541"/>
                </a:lnTo>
                <a:lnTo>
                  <a:pt x="170903" y="636450"/>
                </a:lnTo>
                <a:lnTo>
                  <a:pt x="164799" y="663974"/>
                </a:lnTo>
                <a:lnTo>
                  <a:pt x="159148" y="692121"/>
                </a:lnTo>
                <a:lnTo>
                  <a:pt x="153950" y="720867"/>
                </a:lnTo>
                <a:lnTo>
                  <a:pt x="149183" y="750212"/>
                </a:lnTo>
                <a:lnTo>
                  <a:pt x="144839" y="780158"/>
                </a:lnTo>
                <a:lnTo>
                  <a:pt x="140910" y="810689"/>
                </a:lnTo>
                <a:lnTo>
                  <a:pt x="137390" y="841803"/>
                </a:lnTo>
                <a:lnTo>
                  <a:pt x="134253" y="873494"/>
                </a:lnTo>
                <a:lnTo>
                  <a:pt x="131501" y="905754"/>
                </a:lnTo>
                <a:lnTo>
                  <a:pt x="129109" y="938575"/>
                </a:lnTo>
                <a:lnTo>
                  <a:pt x="127073" y="971958"/>
                </a:lnTo>
                <a:lnTo>
                  <a:pt x="125389" y="1005886"/>
                </a:lnTo>
                <a:lnTo>
                  <a:pt x="124027" y="1040360"/>
                </a:lnTo>
                <a:lnTo>
                  <a:pt x="122997" y="1075373"/>
                </a:lnTo>
                <a:lnTo>
                  <a:pt x="122267" y="1110923"/>
                </a:lnTo>
                <a:lnTo>
                  <a:pt x="121844" y="1146996"/>
                </a:lnTo>
                <a:lnTo>
                  <a:pt x="121706" y="1183585"/>
                </a:lnTo>
                <a:lnTo>
                  <a:pt x="121829" y="1220003"/>
                </a:lnTo>
                <a:lnTo>
                  <a:pt x="122229" y="1255892"/>
                </a:lnTo>
                <a:lnTo>
                  <a:pt x="122897" y="1291258"/>
                </a:lnTo>
                <a:lnTo>
                  <a:pt x="123850" y="1326087"/>
                </a:lnTo>
                <a:lnTo>
                  <a:pt x="125111" y="1360376"/>
                </a:lnTo>
                <a:lnTo>
                  <a:pt x="126679" y="1394113"/>
                </a:lnTo>
                <a:lnTo>
                  <a:pt x="128571" y="1427303"/>
                </a:lnTo>
                <a:lnTo>
                  <a:pt x="130802" y="1459939"/>
                </a:lnTo>
                <a:lnTo>
                  <a:pt x="133368" y="1492006"/>
                </a:lnTo>
                <a:lnTo>
                  <a:pt x="136298" y="1523513"/>
                </a:lnTo>
                <a:lnTo>
                  <a:pt x="139596" y="1554442"/>
                </a:lnTo>
                <a:lnTo>
                  <a:pt x="143271" y="1584796"/>
                </a:lnTo>
                <a:lnTo>
                  <a:pt x="147338" y="1614566"/>
                </a:lnTo>
                <a:lnTo>
                  <a:pt x="151813" y="1643750"/>
                </a:lnTo>
                <a:lnTo>
                  <a:pt x="156702" y="1672334"/>
                </a:lnTo>
                <a:lnTo>
                  <a:pt x="162015" y="1700320"/>
                </a:lnTo>
                <a:lnTo>
                  <a:pt x="167766" y="1727705"/>
                </a:lnTo>
                <a:lnTo>
                  <a:pt x="173962" y="1754476"/>
                </a:lnTo>
                <a:lnTo>
                  <a:pt x="180629" y="1780631"/>
                </a:lnTo>
                <a:lnTo>
                  <a:pt x="187755" y="1806164"/>
                </a:lnTo>
                <a:lnTo>
                  <a:pt x="195374" y="1831074"/>
                </a:lnTo>
                <a:lnTo>
                  <a:pt x="203485" y="1855346"/>
                </a:lnTo>
                <a:lnTo>
                  <a:pt x="212112" y="1878988"/>
                </a:lnTo>
                <a:lnTo>
                  <a:pt x="221245" y="1901983"/>
                </a:lnTo>
                <a:lnTo>
                  <a:pt x="230917" y="1924332"/>
                </a:lnTo>
                <a:lnTo>
                  <a:pt x="241128" y="1946029"/>
                </a:lnTo>
                <a:lnTo>
                  <a:pt x="251891" y="1967064"/>
                </a:lnTo>
                <a:lnTo>
                  <a:pt x="263216" y="1987430"/>
                </a:lnTo>
                <a:lnTo>
                  <a:pt x="287611" y="2026164"/>
                </a:lnTo>
                <a:lnTo>
                  <a:pt x="314404" y="2062168"/>
                </a:lnTo>
                <a:lnTo>
                  <a:pt x="343681" y="2095412"/>
                </a:lnTo>
                <a:lnTo>
                  <a:pt x="375541" y="2125849"/>
                </a:lnTo>
                <a:lnTo>
                  <a:pt x="410077" y="2153435"/>
                </a:lnTo>
                <a:lnTo>
                  <a:pt x="447372" y="2178130"/>
                </a:lnTo>
                <a:lnTo>
                  <a:pt x="487529" y="2199888"/>
                </a:lnTo>
                <a:lnTo>
                  <a:pt x="508702" y="2209652"/>
                </a:lnTo>
                <a:lnTo>
                  <a:pt x="530629" y="2218662"/>
                </a:lnTo>
                <a:lnTo>
                  <a:pt x="553317" y="2226920"/>
                </a:lnTo>
                <a:lnTo>
                  <a:pt x="576782" y="2234416"/>
                </a:lnTo>
                <a:lnTo>
                  <a:pt x="601022" y="2241150"/>
                </a:lnTo>
                <a:lnTo>
                  <a:pt x="626056" y="2247109"/>
                </a:lnTo>
                <a:lnTo>
                  <a:pt x="651904" y="2252291"/>
                </a:lnTo>
                <a:lnTo>
                  <a:pt x="678567" y="2256688"/>
                </a:lnTo>
                <a:lnTo>
                  <a:pt x="706061" y="2260301"/>
                </a:lnTo>
                <a:lnTo>
                  <a:pt x="734390" y="2263116"/>
                </a:lnTo>
                <a:lnTo>
                  <a:pt x="763575" y="2265138"/>
                </a:lnTo>
                <a:lnTo>
                  <a:pt x="793630" y="2266352"/>
                </a:lnTo>
                <a:lnTo>
                  <a:pt x="824551" y="2266760"/>
                </a:lnTo>
                <a:lnTo>
                  <a:pt x="824551" y="2373250"/>
                </a:lnTo>
                <a:lnTo>
                  <a:pt x="792476" y="2372881"/>
                </a:lnTo>
                <a:lnTo>
                  <a:pt x="761193" y="2371759"/>
                </a:lnTo>
                <a:lnTo>
                  <a:pt x="730694" y="2369898"/>
                </a:lnTo>
                <a:lnTo>
                  <a:pt x="700970" y="2367307"/>
                </a:lnTo>
                <a:lnTo>
                  <a:pt x="672008" y="2363986"/>
                </a:lnTo>
                <a:lnTo>
                  <a:pt x="643800" y="2359941"/>
                </a:lnTo>
                <a:lnTo>
                  <a:pt x="616345" y="2355175"/>
                </a:lnTo>
                <a:lnTo>
                  <a:pt x="589621" y="2349701"/>
                </a:lnTo>
                <a:lnTo>
                  <a:pt x="563635" y="2343519"/>
                </a:lnTo>
                <a:lnTo>
                  <a:pt x="538363" y="2336631"/>
                </a:lnTo>
                <a:lnTo>
                  <a:pt x="513800" y="2329050"/>
                </a:lnTo>
                <a:lnTo>
                  <a:pt x="489950" y="2320785"/>
                </a:lnTo>
                <a:lnTo>
                  <a:pt x="466785" y="2311829"/>
                </a:lnTo>
                <a:lnTo>
                  <a:pt x="444312" y="2302195"/>
                </a:lnTo>
                <a:lnTo>
                  <a:pt x="422516" y="2291885"/>
                </a:lnTo>
                <a:lnTo>
                  <a:pt x="401389" y="2280906"/>
                </a:lnTo>
                <a:lnTo>
                  <a:pt x="380915" y="2269266"/>
                </a:lnTo>
                <a:lnTo>
                  <a:pt x="361094" y="2256965"/>
                </a:lnTo>
                <a:lnTo>
                  <a:pt x="341921" y="2244018"/>
                </a:lnTo>
                <a:lnTo>
                  <a:pt x="305456" y="2216179"/>
                </a:lnTo>
                <a:lnTo>
                  <a:pt x="271450" y="2185803"/>
                </a:lnTo>
                <a:lnTo>
                  <a:pt x="239844" y="2152920"/>
                </a:lnTo>
                <a:lnTo>
                  <a:pt x="210559" y="2117584"/>
                </a:lnTo>
                <a:lnTo>
                  <a:pt x="196759" y="2099010"/>
                </a:lnTo>
                <a:lnTo>
                  <a:pt x="183519" y="2079843"/>
                </a:lnTo>
                <a:lnTo>
                  <a:pt x="170826" y="2060076"/>
                </a:lnTo>
                <a:lnTo>
                  <a:pt x="158670" y="2039725"/>
                </a:lnTo>
                <a:lnTo>
                  <a:pt x="147039" y="2018790"/>
                </a:lnTo>
                <a:lnTo>
                  <a:pt x="135929" y="1997286"/>
                </a:lnTo>
                <a:lnTo>
                  <a:pt x="125326" y="1975206"/>
                </a:lnTo>
                <a:lnTo>
                  <a:pt x="115224" y="1952564"/>
                </a:lnTo>
                <a:lnTo>
                  <a:pt x="105621" y="1929369"/>
                </a:lnTo>
                <a:lnTo>
                  <a:pt x="96495" y="1905612"/>
                </a:lnTo>
                <a:lnTo>
                  <a:pt x="87846" y="1881309"/>
                </a:lnTo>
                <a:lnTo>
                  <a:pt x="79666" y="1856461"/>
                </a:lnTo>
                <a:lnTo>
                  <a:pt x="71947" y="1831082"/>
                </a:lnTo>
                <a:lnTo>
                  <a:pt x="64675" y="1805165"/>
                </a:lnTo>
                <a:lnTo>
                  <a:pt x="57839" y="1778725"/>
                </a:lnTo>
                <a:lnTo>
                  <a:pt x="51435" y="1751762"/>
                </a:lnTo>
                <a:lnTo>
                  <a:pt x="45461" y="1724284"/>
                </a:lnTo>
                <a:lnTo>
                  <a:pt x="39895" y="1696292"/>
                </a:lnTo>
                <a:lnTo>
                  <a:pt x="34736" y="1667799"/>
                </a:lnTo>
                <a:lnTo>
                  <a:pt x="29969" y="1638806"/>
                </a:lnTo>
                <a:lnTo>
                  <a:pt x="25595" y="1609322"/>
                </a:lnTo>
                <a:lnTo>
                  <a:pt x="21597" y="1579352"/>
                </a:lnTo>
                <a:lnTo>
                  <a:pt x="17967" y="1548893"/>
                </a:lnTo>
                <a:lnTo>
                  <a:pt x="14708" y="1517963"/>
                </a:lnTo>
                <a:lnTo>
                  <a:pt x="11794" y="1486556"/>
                </a:lnTo>
                <a:lnTo>
                  <a:pt x="9226" y="1454681"/>
                </a:lnTo>
                <a:lnTo>
                  <a:pt x="6989" y="1422351"/>
                </a:lnTo>
                <a:lnTo>
                  <a:pt x="5082" y="1389569"/>
                </a:lnTo>
                <a:lnTo>
                  <a:pt x="3490" y="1356325"/>
                </a:lnTo>
                <a:lnTo>
                  <a:pt x="2206" y="1322649"/>
                </a:lnTo>
                <a:lnTo>
                  <a:pt x="1230" y="1288530"/>
                </a:lnTo>
                <a:lnTo>
                  <a:pt x="540" y="1253971"/>
                </a:lnTo>
                <a:lnTo>
                  <a:pt x="132" y="1218989"/>
                </a:lnTo>
                <a:lnTo>
                  <a:pt x="0" y="1183585"/>
                </a:lnTo>
                <a:lnTo>
                  <a:pt x="132" y="1148334"/>
                </a:lnTo>
                <a:lnTo>
                  <a:pt x="546" y="1113498"/>
                </a:lnTo>
                <a:lnTo>
                  <a:pt x="1254" y="1079094"/>
                </a:lnTo>
                <a:lnTo>
                  <a:pt x="2246" y="1045127"/>
                </a:lnTo>
                <a:lnTo>
                  <a:pt x="3544" y="1011590"/>
                </a:lnTo>
                <a:lnTo>
                  <a:pt x="5159" y="978500"/>
                </a:lnTo>
                <a:lnTo>
                  <a:pt x="7096" y="945863"/>
                </a:lnTo>
                <a:lnTo>
                  <a:pt x="9356" y="913681"/>
                </a:lnTo>
                <a:lnTo>
                  <a:pt x="11964" y="881951"/>
                </a:lnTo>
                <a:lnTo>
                  <a:pt x="14909" y="850691"/>
                </a:lnTo>
                <a:lnTo>
                  <a:pt x="18214" y="819907"/>
                </a:lnTo>
                <a:lnTo>
                  <a:pt x="21881" y="789592"/>
                </a:lnTo>
                <a:lnTo>
                  <a:pt x="25917" y="759762"/>
                </a:lnTo>
                <a:lnTo>
                  <a:pt x="30338" y="730423"/>
                </a:lnTo>
                <a:lnTo>
                  <a:pt x="35152" y="701569"/>
                </a:lnTo>
                <a:lnTo>
                  <a:pt x="40356" y="673215"/>
                </a:lnTo>
                <a:lnTo>
                  <a:pt x="45968" y="645368"/>
                </a:lnTo>
                <a:lnTo>
                  <a:pt x="51996" y="618029"/>
                </a:lnTo>
                <a:lnTo>
                  <a:pt x="58446" y="591204"/>
                </a:lnTo>
                <a:lnTo>
                  <a:pt x="65335" y="564895"/>
                </a:lnTo>
                <a:lnTo>
                  <a:pt x="72655" y="539109"/>
                </a:lnTo>
                <a:lnTo>
                  <a:pt x="80428" y="513860"/>
                </a:lnTo>
                <a:lnTo>
                  <a:pt x="88661" y="489142"/>
                </a:lnTo>
                <a:lnTo>
                  <a:pt x="97358" y="464962"/>
                </a:lnTo>
                <a:lnTo>
                  <a:pt x="106521" y="441336"/>
                </a:lnTo>
                <a:lnTo>
                  <a:pt x="116178" y="418257"/>
                </a:lnTo>
                <a:lnTo>
                  <a:pt x="126320" y="395738"/>
                </a:lnTo>
                <a:lnTo>
                  <a:pt x="136966" y="373780"/>
                </a:lnTo>
                <a:lnTo>
                  <a:pt x="137880" y="372027"/>
                </a:lnTo>
                <a:lnTo>
                  <a:pt x="137881" y="372027"/>
                </a:lnTo>
                <a:lnTo>
                  <a:pt x="148122" y="352391"/>
                </a:lnTo>
                <a:lnTo>
                  <a:pt x="159787" y="331571"/>
                </a:lnTo>
                <a:lnTo>
                  <a:pt x="171988" y="311336"/>
                </a:lnTo>
                <a:lnTo>
                  <a:pt x="184719" y="291677"/>
                </a:lnTo>
                <a:lnTo>
                  <a:pt x="197988" y="272618"/>
                </a:lnTo>
                <a:lnTo>
                  <a:pt x="211812" y="254143"/>
                </a:lnTo>
                <a:lnTo>
                  <a:pt x="241142" y="219015"/>
                </a:lnTo>
                <a:lnTo>
                  <a:pt x="272787" y="186325"/>
                </a:lnTo>
                <a:lnTo>
                  <a:pt x="306808" y="156118"/>
                </a:lnTo>
                <a:lnTo>
                  <a:pt x="343266" y="128447"/>
                </a:lnTo>
                <a:lnTo>
                  <a:pt x="362432" y="115578"/>
                </a:lnTo>
                <a:lnTo>
                  <a:pt x="382237" y="103346"/>
                </a:lnTo>
                <a:lnTo>
                  <a:pt x="402689" y="91775"/>
                </a:lnTo>
                <a:lnTo>
                  <a:pt x="423793" y="80865"/>
                </a:lnTo>
                <a:lnTo>
                  <a:pt x="445558" y="70617"/>
                </a:lnTo>
                <a:lnTo>
                  <a:pt x="467992" y="61045"/>
                </a:lnTo>
                <a:lnTo>
                  <a:pt x="491103" y="52142"/>
                </a:lnTo>
                <a:lnTo>
                  <a:pt x="514906" y="43923"/>
                </a:lnTo>
                <a:lnTo>
                  <a:pt x="539409" y="36389"/>
                </a:lnTo>
                <a:lnTo>
                  <a:pt x="564612" y="29553"/>
                </a:lnTo>
                <a:lnTo>
                  <a:pt x="590528" y="23403"/>
                </a:lnTo>
                <a:lnTo>
                  <a:pt x="617160" y="17967"/>
                </a:lnTo>
                <a:lnTo>
                  <a:pt x="644530" y="13231"/>
                </a:lnTo>
                <a:lnTo>
                  <a:pt x="672639" y="9210"/>
                </a:lnTo>
                <a:lnTo>
                  <a:pt x="701494" y="5912"/>
                </a:lnTo>
                <a:lnTo>
                  <a:pt x="731100" y="3336"/>
                </a:lnTo>
                <a:lnTo>
                  <a:pt x="761477" y="1484"/>
                </a:lnTo>
                <a:lnTo>
                  <a:pt x="792621" y="377"/>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3" name="Makro grafik 2">
            <a:extLst>
              <a:ext uri="{FF2B5EF4-FFF2-40B4-BE49-F238E27FC236}">
                <a16:creationId xmlns:a16="http://schemas.microsoft.com/office/drawing/2014/main" id="{3C47DF57-6C35-2F95-62C7-5AF5F1E443EA}"/>
              </a:ext>
            </a:extLst>
          </p:cNvPr>
          <p:cNvSpPr>
            <a:spLocks noGrp="1" noChangeAspect="1"/>
          </p:cNvSpPr>
          <p:nvPr>
            <p:ph type="body" sz="quarter" idx="20" hasCustomPrompt="1"/>
          </p:nvPr>
        </p:nvSpPr>
        <p:spPr>
          <a:xfrm>
            <a:off x="7625339" y="3523023"/>
            <a:ext cx="1123209" cy="1460462"/>
          </a:xfrm>
          <a:custGeom>
            <a:avLst/>
            <a:gdLst>
              <a:gd name="connsiteX0" fmla="*/ 0 w 1497612"/>
              <a:gd name="connsiteY0" fmla="*/ 1 h 1947283"/>
              <a:gd name="connsiteX1" fmla="*/ 133876 w 1497612"/>
              <a:gd name="connsiteY1" fmla="*/ 1 h 1947283"/>
              <a:gd name="connsiteX2" fmla="*/ 542054 w 1497612"/>
              <a:gd name="connsiteY2" fmla="*/ 1262003 h 1947283"/>
              <a:gd name="connsiteX3" fmla="*/ 763698 w 1497612"/>
              <a:gd name="connsiteY3" fmla="*/ 1947283 h 1947283"/>
              <a:gd name="connsiteX4" fmla="*/ 626777 w 1497612"/>
              <a:gd name="connsiteY4" fmla="*/ 1947283 h 1947283"/>
              <a:gd name="connsiteX5" fmla="*/ 406204 w 1497612"/>
              <a:gd name="connsiteY5" fmla="*/ 1262004 h 1947283"/>
              <a:gd name="connsiteX6" fmla="*/ 733914 w 1497612"/>
              <a:gd name="connsiteY6" fmla="*/ 0 h 1947283"/>
              <a:gd name="connsiteX7" fmla="*/ 867789 w 1497612"/>
              <a:gd name="connsiteY7" fmla="*/ 0 h 1947283"/>
              <a:gd name="connsiteX8" fmla="*/ 988168 w 1497612"/>
              <a:gd name="connsiteY8" fmla="*/ 372187 h 1947283"/>
              <a:gd name="connsiteX9" fmla="*/ 1497612 w 1497612"/>
              <a:gd name="connsiteY9" fmla="*/ 1947283 h 1947283"/>
              <a:gd name="connsiteX10" fmla="*/ 1360692 w 1497612"/>
              <a:gd name="connsiteY10" fmla="*/ 1947283 h 1947283"/>
              <a:gd name="connsiteX11" fmla="*/ 988168 w 1497612"/>
              <a:gd name="connsiteY11" fmla="*/ 789920 h 19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7612" h="1947283">
                <a:moveTo>
                  <a:pt x="0" y="1"/>
                </a:moveTo>
                <a:lnTo>
                  <a:pt x="133876" y="1"/>
                </a:lnTo>
                <a:lnTo>
                  <a:pt x="542054" y="1262003"/>
                </a:lnTo>
                <a:lnTo>
                  <a:pt x="763698" y="1947283"/>
                </a:lnTo>
                <a:lnTo>
                  <a:pt x="626777" y="1947283"/>
                </a:lnTo>
                <a:lnTo>
                  <a:pt x="406204" y="1262004"/>
                </a:lnTo>
                <a:close/>
                <a:moveTo>
                  <a:pt x="733914" y="0"/>
                </a:moveTo>
                <a:lnTo>
                  <a:pt x="867789" y="0"/>
                </a:lnTo>
                <a:lnTo>
                  <a:pt x="988168" y="372187"/>
                </a:lnTo>
                <a:lnTo>
                  <a:pt x="1497612" y="1947283"/>
                </a:lnTo>
                <a:lnTo>
                  <a:pt x="1360692" y="1947283"/>
                </a:lnTo>
                <a:lnTo>
                  <a:pt x="988168" y="78992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4" name="TextBox 1">
            <a:extLst>
              <a:ext uri="{FF2B5EF4-FFF2-40B4-BE49-F238E27FC236}">
                <a16:creationId xmlns:a16="http://schemas.microsoft.com/office/drawing/2014/main" id="{38C4D288-BF41-D871-ACA4-A53FE219D09D}"/>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pic>
        <p:nvPicPr>
          <p:cNvPr id="7" name="Picture 6" descr="A logo with a crown on it&#10;&#10;Description automatically generated">
            <a:extLst>
              <a:ext uri="{FF2B5EF4-FFF2-40B4-BE49-F238E27FC236}">
                <a16:creationId xmlns:a16="http://schemas.microsoft.com/office/drawing/2014/main" id="{EE31C8C3-1951-6132-6C05-3D6EFCFAC2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5001" y="207900"/>
            <a:ext cx="2150000" cy="307143"/>
          </a:xfrm>
          <a:prstGeom prst="rect">
            <a:avLst/>
          </a:prstGeom>
        </p:spPr>
      </p:pic>
    </p:spTree>
    <p:extLst>
      <p:ext uri="{BB962C8B-B14F-4D97-AF65-F5344CB8AC3E}">
        <p14:creationId xmlns:p14="http://schemas.microsoft.com/office/powerpoint/2010/main" val="2923802119"/>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MitID Erhverv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dirty="0"/>
          </a:p>
        </p:txBody>
      </p:sp>
      <p:sp>
        <p:nvSpPr>
          <p:cNvPr id="25" name="Makro grafik 1">
            <a:extLst>
              <a:ext uri="{FF2B5EF4-FFF2-40B4-BE49-F238E27FC236}">
                <a16:creationId xmlns:a16="http://schemas.microsoft.com/office/drawing/2014/main" id="{F2E0EEBD-7C39-E8CB-108F-09AF0CD4D448}"/>
              </a:ext>
            </a:extLst>
          </p:cNvPr>
          <p:cNvSpPr>
            <a:spLocks noGrp="1" noChangeAspect="1"/>
          </p:cNvSpPr>
          <p:nvPr>
            <p:ph type="body" sz="quarter" idx="19" hasCustomPrompt="1"/>
          </p:nvPr>
        </p:nvSpPr>
        <p:spPr>
          <a:xfrm>
            <a:off x="2827574" y="391015"/>
            <a:ext cx="1353707" cy="1779938"/>
          </a:xfrm>
          <a:custGeom>
            <a:avLst/>
            <a:gdLst>
              <a:gd name="connsiteX0" fmla="*/ 1135564 w 1804943"/>
              <a:gd name="connsiteY0" fmla="*/ 15338 h 2373250"/>
              <a:gd name="connsiteX1" fmla="*/ 1804943 w 1804943"/>
              <a:gd name="connsiteY1" fmla="*/ 15338 h 2373250"/>
              <a:gd name="connsiteX2" fmla="*/ 1804943 w 1804943"/>
              <a:gd name="connsiteY2" fmla="*/ 121436 h 2373250"/>
              <a:gd name="connsiteX3" fmla="*/ 1260314 w 1804943"/>
              <a:gd name="connsiteY3" fmla="*/ 121436 h 2373250"/>
              <a:gd name="connsiteX4" fmla="*/ 1260314 w 1804943"/>
              <a:gd name="connsiteY4" fmla="*/ 372027 h 2373250"/>
              <a:gd name="connsiteX5" fmla="*/ 1260314 w 1804943"/>
              <a:gd name="connsiteY5" fmla="*/ 2258004 h 2373250"/>
              <a:gd name="connsiteX6" fmla="*/ 1804943 w 1804943"/>
              <a:gd name="connsiteY6" fmla="*/ 2258004 h 2373250"/>
              <a:gd name="connsiteX7" fmla="*/ 1804943 w 1804943"/>
              <a:gd name="connsiteY7" fmla="*/ 2364102 h 2373250"/>
              <a:gd name="connsiteX8" fmla="*/ 1135564 w 1804943"/>
              <a:gd name="connsiteY8" fmla="*/ 2364102 h 2373250"/>
              <a:gd name="connsiteX9" fmla="*/ 1135564 w 1804943"/>
              <a:gd name="connsiteY9" fmla="*/ 2258004 h 2373250"/>
              <a:gd name="connsiteX10" fmla="*/ 1135564 w 1804943"/>
              <a:gd name="connsiteY10" fmla="*/ 372027 h 2373250"/>
              <a:gd name="connsiteX11" fmla="*/ 1135564 w 1804943"/>
              <a:gd name="connsiteY11" fmla="*/ 121436 h 2373250"/>
              <a:gd name="connsiteX12" fmla="*/ 824551 w 1804943"/>
              <a:gd name="connsiteY12" fmla="*/ 0 h 2373250"/>
              <a:gd name="connsiteX13" fmla="*/ 824551 w 1804943"/>
              <a:gd name="connsiteY13" fmla="*/ 106498 h 2373250"/>
              <a:gd name="connsiteX14" fmla="*/ 793382 w 1804943"/>
              <a:gd name="connsiteY14" fmla="*/ 106920 h 2373250"/>
              <a:gd name="connsiteX15" fmla="*/ 763107 w 1804943"/>
              <a:gd name="connsiteY15" fmla="*/ 108189 h 2373250"/>
              <a:gd name="connsiteX16" fmla="*/ 733699 w 1804943"/>
              <a:gd name="connsiteY16" fmla="*/ 110296 h 2373250"/>
              <a:gd name="connsiteX17" fmla="*/ 705152 w 1804943"/>
              <a:gd name="connsiteY17" fmla="*/ 113240 h 2373250"/>
              <a:gd name="connsiteX18" fmla="*/ 677451 w 1804943"/>
              <a:gd name="connsiteY18" fmla="*/ 117008 h 2373250"/>
              <a:gd name="connsiteX19" fmla="*/ 650596 w 1804943"/>
              <a:gd name="connsiteY19" fmla="*/ 121598 h 2373250"/>
              <a:gd name="connsiteX20" fmla="*/ 624564 w 1804943"/>
              <a:gd name="connsiteY20" fmla="*/ 126995 h 2373250"/>
              <a:gd name="connsiteX21" fmla="*/ 599346 w 1804943"/>
              <a:gd name="connsiteY21" fmla="*/ 133207 h 2373250"/>
              <a:gd name="connsiteX22" fmla="*/ 574929 w 1804943"/>
              <a:gd name="connsiteY22" fmla="*/ 140218 h 2373250"/>
              <a:gd name="connsiteX23" fmla="*/ 551302 w 1804943"/>
              <a:gd name="connsiteY23" fmla="*/ 148022 h 2373250"/>
              <a:gd name="connsiteX24" fmla="*/ 528461 w 1804943"/>
              <a:gd name="connsiteY24" fmla="*/ 156617 h 2373250"/>
              <a:gd name="connsiteX25" fmla="*/ 506387 w 1804943"/>
              <a:gd name="connsiteY25" fmla="*/ 165997 h 2373250"/>
              <a:gd name="connsiteX26" fmla="*/ 485076 w 1804943"/>
              <a:gd name="connsiteY26" fmla="*/ 176146 h 2373250"/>
              <a:gd name="connsiteX27" fmla="*/ 464502 w 1804943"/>
              <a:gd name="connsiteY27" fmla="*/ 187071 h 2373250"/>
              <a:gd name="connsiteX28" fmla="*/ 425554 w 1804943"/>
              <a:gd name="connsiteY28" fmla="*/ 211204 h 2373250"/>
              <a:gd name="connsiteX29" fmla="*/ 389457 w 1804943"/>
              <a:gd name="connsiteY29" fmla="*/ 238344 h 2373250"/>
              <a:gd name="connsiteX30" fmla="*/ 356105 w 1804943"/>
              <a:gd name="connsiteY30" fmla="*/ 268436 h 2373250"/>
              <a:gd name="connsiteX31" fmla="*/ 325421 w 1804943"/>
              <a:gd name="connsiteY31" fmla="*/ 301433 h 2373250"/>
              <a:gd name="connsiteX32" fmla="*/ 297313 w 1804943"/>
              <a:gd name="connsiteY32" fmla="*/ 337284 h 2373250"/>
              <a:gd name="connsiteX33" fmla="*/ 284189 w 1804943"/>
              <a:gd name="connsiteY33" fmla="*/ 356266 h 2373250"/>
              <a:gd name="connsiteX34" fmla="*/ 274169 w 1804943"/>
              <a:gd name="connsiteY34" fmla="*/ 372027 h 2373250"/>
              <a:gd name="connsiteX35" fmla="*/ 271680 w 1804943"/>
              <a:gd name="connsiteY35" fmla="*/ 375940 h 2373250"/>
              <a:gd name="connsiteX36" fmla="*/ 259763 w 1804943"/>
              <a:gd name="connsiteY36" fmla="*/ 396306 h 2373250"/>
              <a:gd name="connsiteX37" fmla="*/ 248431 w 1804943"/>
              <a:gd name="connsiteY37" fmla="*/ 417348 h 2373250"/>
              <a:gd name="connsiteX38" fmla="*/ 237675 w 1804943"/>
              <a:gd name="connsiteY38" fmla="*/ 439077 h 2373250"/>
              <a:gd name="connsiteX39" fmla="*/ 227480 w 1804943"/>
              <a:gd name="connsiteY39" fmla="*/ 461465 h 2373250"/>
              <a:gd name="connsiteX40" fmla="*/ 217839 w 1804943"/>
              <a:gd name="connsiteY40" fmla="*/ 484522 h 2373250"/>
              <a:gd name="connsiteX41" fmla="*/ 208737 w 1804943"/>
              <a:gd name="connsiteY41" fmla="*/ 508239 h 2373250"/>
              <a:gd name="connsiteX42" fmla="*/ 200156 w 1804943"/>
              <a:gd name="connsiteY42" fmla="*/ 532604 h 2373250"/>
              <a:gd name="connsiteX43" fmla="*/ 192100 w 1804943"/>
              <a:gd name="connsiteY43" fmla="*/ 557614 h 2373250"/>
              <a:gd name="connsiteX44" fmla="*/ 184542 w 1804943"/>
              <a:gd name="connsiteY44" fmla="*/ 583262 h 2373250"/>
              <a:gd name="connsiteX45" fmla="*/ 177484 w 1804943"/>
              <a:gd name="connsiteY45" fmla="*/ 609541 h 2373250"/>
              <a:gd name="connsiteX46" fmla="*/ 170903 w 1804943"/>
              <a:gd name="connsiteY46" fmla="*/ 636450 h 2373250"/>
              <a:gd name="connsiteX47" fmla="*/ 164799 w 1804943"/>
              <a:gd name="connsiteY47" fmla="*/ 663974 h 2373250"/>
              <a:gd name="connsiteX48" fmla="*/ 159148 w 1804943"/>
              <a:gd name="connsiteY48" fmla="*/ 692121 h 2373250"/>
              <a:gd name="connsiteX49" fmla="*/ 153950 w 1804943"/>
              <a:gd name="connsiteY49" fmla="*/ 720867 h 2373250"/>
              <a:gd name="connsiteX50" fmla="*/ 149183 w 1804943"/>
              <a:gd name="connsiteY50" fmla="*/ 750212 h 2373250"/>
              <a:gd name="connsiteX51" fmla="*/ 144839 w 1804943"/>
              <a:gd name="connsiteY51" fmla="*/ 780158 h 2373250"/>
              <a:gd name="connsiteX52" fmla="*/ 140910 w 1804943"/>
              <a:gd name="connsiteY52" fmla="*/ 810689 h 2373250"/>
              <a:gd name="connsiteX53" fmla="*/ 137390 w 1804943"/>
              <a:gd name="connsiteY53" fmla="*/ 841803 h 2373250"/>
              <a:gd name="connsiteX54" fmla="*/ 134253 w 1804943"/>
              <a:gd name="connsiteY54" fmla="*/ 873494 h 2373250"/>
              <a:gd name="connsiteX55" fmla="*/ 131501 w 1804943"/>
              <a:gd name="connsiteY55" fmla="*/ 905754 h 2373250"/>
              <a:gd name="connsiteX56" fmla="*/ 129109 w 1804943"/>
              <a:gd name="connsiteY56" fmla="*/ 938575 h 2373250"/>
              <a:gd name="connsiteX57" fmla="*/ 127073 w 1804943"/>
              <a:gd name="connsiteY57" fmla="*/ 971958 h 2373250"/>
              <a:gd name="connsiteX58" fmla="*/ 125389 w 1804943"/>
              <a:gd name="connsiteY58" fmla="*/ 1005886 h 2373250"/>
              <a:gd name="connsiteX59" fmla="*/ 124027 w 1804943"/>
              <a:gd name="connsiteY59" fmla="*/ 1040360 h 2373250"/>
              <a:gd name="connsiteX60" fmla="*/ 122997 w 1804943"/>
              <a:gd name="connsiteY60" fmla="*/ 1075373 h 2373250"/>
              <a:gd name="connsiteX61" fmla="*/ 122267 w 1804943"/>
              <a:gd name="connsiteY61" fmla="*/ 1110923 h 2373250"/>
              <a:gd name="connsiteX62" fmla="*/ 121844 w 1804943"/>
              <a:gd name="connsiteY62" fmla="*/ 1146996 h 2373250"/>
              <a:gd name="connsiteX63" fmla="*/ 121706 w 1804943"/>
              <a:gd name="connsiteY63" fmla="*/ 1183585 h 2373250"/>
              <a:gd name="connsiteX64" fmla="*/ 121829 w 1804943"/>
              <a:gd name="connsiteY64" fmla="*/ 1220003 h 2373250"/>
              <a:gd name="connsiteX65" fmla="*/ 122229 w 1804943"/>
              <a:gd name="connsiteY65" fmla="*/ 1255892 h 2373250"/>
              <a:gd name="connsiteX66" fmla="*/ 122897 w 1804943"/>
              <a:gd name="connsiteY66" fmla="*/ 1291258 h 2373250"/>
              <a:gd name="connsiteX67" fmla="*/ 123850 w 1804943"/>
              <a:gd name="connsiteY67" fmla="*/ 1326087 h 2373250"/>
              <a:gd name="connsiteX68" fmla="*/ 125111 w 1804943"/>
              <a:gd name="connsiteY68" fmla="*/ 1360376 h 2373250"/>
              <a:gd name="connsiteX69" fmla="*/ 126679 w 1804943"/>
              <a:gd name="connsiteY69" fmla="*/ 1394113 h 2373250"/>
              <a:gd name="connsiteX70" fmla="*/ 128571 w 1804943"/>
              <a:gd name="connsiteY70" fmla="*/ 1427303 h 2373250"/>
              <a:gd name="connsiteX71" fmla="*/ 130802 w 1804943"/>
              <a:gd name="connsiteY71" fmla="*/ 1459939 h 2373250"/>
              <a:gd name="connsiteX72" fmla="*/ 133368 w 1804943"/>
              <a:gd name="connsiteY72" fmla="*/ 1492006 h 2373250"/>
              <a:gd name="connsiteX73" fmla="*/ 136298 w 1804943"/>
              <a:gd name="connsiteY73" fmla="*/ 1523513 h 2373250"/>
              <a:gd name="connsiteX74" fmla="*/ 139596 w 1804943"/>
              <a:gd name="connsiteY74" fmla="*/ 1554442 h 2373250"/>
              <a:gd name="connsiteX75" fmla="*/ 143271 w 1804943"/>
              <a:gd name="connsiteY75" fmla="*/ 1584796 h 2373250"/>
              <a:gd name="connsiteX76" fmla="*/ 147338 w 1804943"/>
              <a:gd name="connsiteY76" fmla="*/ 1614566 h 2373250"/>
              <a:gd name="connsiteX77" fmla="*/ 151813 w 1804943"/>
              <a:gd name="connsiteY77" fmla="*/ 1643750 h 2373250"/>
              <a:gd name="connsiteX78" fmla="*/ 156702 w 1804943"/>
              <a:gd name="connsiteY78" fmla="*/ 1672334 h 2373250"/>
              <a:gd name="connsiteX79" fmla="*/ 162015 w 1804943"/>
              <a:gd name="connsiteY79" fmla="*/ 1700320 h 2373250"/>
              <a:gd name="connsiteX80" fmla="*/ 167766 w 1804943"/>
              <a:gd name="connsiteY80" fmla="*/ 1727705 h 2373250"/>
              <a:gd name="connsiteX81" fmla="*/ 173962 w 1804943"/>
              <a:gd name="connsiteY81" fmla="*/ 1754476 h 2373250"/>
              <a:gd name="connsiteX82" fmla="*/ 180629 w 1804943"/>
              <a:gd name="connsiteY82" fmla="*/ 1780631 h 2373250"/>
              <a:gd name="connsiteX83" fmla="*/ 187755 w 1804943"/>
              <a:gd name="connsiteY83" fmla="*/ 1806164 h 2373250"/>
              <a:gd name="connsiteX84" fmla="*/ 195374 w 1804943"/>
              <a:gd name="connsiteY84" fmla="*/ 1831074 h 2373250"/>
              <a:gd name="connsiteX85" fmla="*/ 203485 w 1804943"/>
              <a:gd name="connsiteY85" fmla="*/ 1855346 h 2373250"/>
              <a:gd name="connsiteX86" fmla="*/ 212112 w 1804943"/>
              <a:gd name="connsiteY86" fmla="*/ 1878988 h 2373250"/>
              <a:gd name="connsiteX87" fmla="*/ 221245 w 1804943"/>
              <a:gd name="connsiteY87" fmla="*/ 1901983 h 2373250"/>
              <a:gd name="connsiteX88" fmla="*/ 230917 w 1804943"/>
              <a:gd name="connsiteY88" fmla="*/ 1924332 h 2373250"/>
              <a:gd name="connsiteX89" fmla="*/ 241128 w 1804943"/>
              <a:gd name="connsiteY89" fmla="*/ 1946029 h 2373250"/>
              <a:gd name="connsiteX90" fmla="*/ 251891 w 1804943"/>
              <a:gd name="connsiteY90" fmla="*/ 1967064 h 2373250"/>
              <a:gd name="connsiteX91" fmla="*/ 263216 w 1804943"/>
              <a:gd name="connsiteY91" fmla="*/ 1987430 h 2373250"/>
              <a:gd name="connsiteX92" fmla="*/ 287611 w 1804943"/>
              <a:gd name="connsiteY92" fmla="*/ 2026164 h 2373250"/>
              <a:gd name="connsiteX93" fmla="*/ 314404 w 1804943"/>
              <a:gd name="connsiteY93" fmla="*/ 2062168 h 2373250"/>
              <a:gd name="connsiteX94" fmla="*/ 343681 w 1804943"/>
              <a:gd name="connsiteY94" fmla="*/ 2095412 h 2373250"/>
              <a:gd name="connsiteX95" fmla="*/ 375541 w 1804943"/>
              <a:gd name="connsiteY95" fmla="*/ 2125849 h 2373250"/>
              <a:gd name="connsiteX96" fmla="*/ 410077 w 1804943"/>
              <a:gd name="connsiteY96" fmla="*/ 2153435 h 2373250"/>
              <a:gd name="connsiteX97" fmla="*/ 447372 w 1804943"/>
              <a:gd name="connsiteY97" fmla="*/ 2178130 h 2373250"/>
              <a:gd name="connsiteX98" fmla="*/ 487529 w 1804943"/>
              <a:gd name="connsiteY98" fmla="*/ 2199888 h 2373250"/>
              <a:gd name="connsiteX99" fmla="*/ 508702 w 1804943"/>
              <a:gd name="connsiteY99" fmla="*/ 2209652 h 2373250"/>
              <a:gd name="connsiteX100" fmla="*/ 530629 w 1804943"/>
              <a:gd name="connsiteY100" fmla="*/ 2218662 h 2373250"/>
              <a:gd name="connsiteX101" fmla="*/ 553317 w 1804943"/>
              <a:gd name="connsiteY101" fmla="*/ 2226920 h 2373250"/>
              <a:gd name="connsiteX102" fmla="*/ 576782 w 1804943"/>
              <a:gd name="connsiteY102" fmla="*/ 2234416 h 2373250"/>
              <a:gd name="connsiteX103" fmla="*/ 601022 w 1804943"/>
              <a:gd name="connsiteY103" fmla="*/ 2241150 h 2373250"/>
              <a:gd name="connsiteX104" fmla="*/ 626056 w 1804943"/>
              <a:gd name="connsiteY104" fmla="*/ 2247109 h 2373250"/>
              <a:gd name="connsiteX105" fmla="*/ 651904 w 1804943"/>
              <a:gd name="connsiteY105" fmla="*/ 2252291 h 2373250"/>
              <a:gd name="connsiteX106" fmla="*/ 678567 w 1804943"/>
              <a:gd name="connsiteY106" fmla="*/ 2256688 h 2373250"/>
              <a:gd name="connsiteX107" fmla="*/ 706061 w 1804943"/>
              <a:gd name="connsiteY107" fmla="*/ 2260301 h 2373250"/>
              <a:gd name="connsiteX108" fmla="*/ 734390 w 1804943"/>
              <a:gd name="connsiteY108" fmla="*/ 2263116 h 2373250"/>
              <a:gd name="connsiteX109" fmla="*/ 763575 w 1804943"/>
              <a:gd name="connsiteY109" fmla="*/ 2265138 h 2373250"/>
              <a:gd name="connsiteX110" fmla="*/ 793630 w 1804943"/>
              <a:gd name="connsiteY110" fmla="*/ 2266352 h 2373250"/>
              <a:gd name="connsiteX111" fmla="*/ 824551 w 1804943"/>
              <a:gd name="connsiteY111" fmla="*/ 2266760 h 2373250"/>
              <a:gd name="connsiteX112" fmla="*/ 824551 w 1804943"/>
              <a:gd name="connsiteY112" fmla="*/ 2373250 h 2373250"/>
              <a:gd name="connsiteX113" fmla="*/ 792476 w 1804943"/>
              <a:gd name="connsiteY113" fmla="*/ 2372881 h 2373250"/>
              <a:gd name="connsiteX114" fmla="*/ 761193 w 1804943"/>
              <a:gd name="connsiteY114" fmla="*/ 2371759 h 2373250"/>
              <a:gd name="connsiteX115" fmla="*/ 730694 w 1804943"/>
              <a:gd name="connsiteY115" fmla="*/ 2369898 h 2373250"/>
              <a:gd name="connsiteX116" fmla="*/ 700970 w 1804943"/>
              <a:gd name="connsiteY116" fmla="*/ 2367307 h 2373250"/>
              <a:gd name="connsiteX117" fmla="*/ 672008 w 1804943"/>
              <a:gd name="connsiteY117" fmla="*/ 2363986 h 2373250"/>
              <a:gd name="connsiteX118" fmla="*/ 643800 w 1804943"/>
              <a:gd name="connsiteY118" fmla="*/ 2359941 h 2373250"/>
              <a:gd name="connsiteX119" fmla="*/ 616345 w 1804943"/>
              <a:gd name="connsiteY119" fmla="*/ 2355175 h 2373250"/>
              <a:gd name="connsiteX120" fmla="*/ 589621 w 1804943"/>
              <a:gd name="connsiteY120" fmla="*/ 2349701 h 2373250"/>
              <a:gd name="connsiteX121" fmla="*/ 563635 w 1804943"/>
              <a:gd name="connsiteY121" fmla="*/ 2343519 h 2373250"/>
              <a:gd name="connsiteX122" fmla="*/ 538363 w 1804943"/>
              <a:gd name="connsiteY122" fmla="*/ 2336631 h 2373250"/>
              <a:gd name="connsiteX123" fmla="*/ 513800 w 1804943"/>
              <a:gd name="connsiteY123" fmla="*/ 2329050 h 2373250"/>
              <a:gd name="connsiteX124" fmla="*/ 489950 w 1804943"/>
              <a:gd name="connsiteY124" fmla="*/ 2320785 h 2373250"/>
              <a:gd name="connsiteX125" fmla="*/ 466785 w 1804943"/>
              <a:gd name="connsiteY125" fmla="*/ 2311829 h 2373250"/>
              <a:gd name="connsiteX126" fmla="*/ 444312 w 1804943"/>
              <a:gd name="connsiteY126" fmla="*/ 2302195 h 2373250"/>
              <a:gd name="connsiteX127" fmla="*/ 422516 w 1804943"/>
              <a:gd name="connsiteY127" fmla="*/ 2291885 h 2373250"/>
              <a:gd name="connsiteX128" fmla="*/ 401389 w 1804943"/>
              <a:gd name="connsiteY128" fmla="*/ 2280906 h 2373250"/>
              <a:gd name="connsiteX129" fmla="*/ 380915 w 1804943"/>
              <a:gd name="connsiteY129" fmla="*/ 2269266 h 2373250"/>
              <a:gd name="connsiteX130" fmla="*/ 361094 w 1804943"/>
              <a:gd name="connsiteY130" fmla="*/ 2256965 h 2373250"/>
              <a:gd name="connsiteX131" fmla="*/ 341921 w 1804943"/>
              <a:gd name="connsiteY131" fmla="*/ 2244018 h 2373250"/>
              <a:gd name="connsiteX132" fmla="*/ 305456 w 1804943"/>
              <a:gd name="connsiteY132" fmla="*/ 2216179 h 2373250"/>
              <a:gd name="connsiteX133" fmla="*/ 271450 w 1804943"/>
              <a:gd name="connsiteY133" fmla="*/ 2185803 h 2373250"/>
              <a:gd name="connsiteX134" fmla="*/ 239844 w 1804943"/>
              <a:gd name="connsiteY134" fmla="*/ 2152920 h 2373250"/>
              <a:gd name="connsiteX135" fmla="*/ 210559 w 1804943"/>
              <a:gd name="connsiteY135" fmla="*/ 2117584 h 2373250"/>
              <a:gd name="connsiteX136" fmla="*/ 196759 w 1804943"/>
              <a:gd name="connsiteY136" fmla="*/ 2099010 h 2373250"/>
              <a:gd name="connsiteX137" fmla="*/ 183519 w 1804943"/>
              <a:gd name="connsiteY137" fmla="*/ 2079843 h 2373250"/>
              <a:gd name="connsiteX138" fmla="*/ 170826 w 1804943"/>
              <a:gd name="connsiteY138" fmla="*/ 2060076 h 2373250"/>
              <a:gd name="connsiteX139" fmla="*/ 158670 w 1804943"/>
              <a:gd name="connsiteY139" fmla="*/ 2039725 h 2373250"/>
              <a:gd name="connsiteX140" fmla="*/ 147039 w 1804943"/>
              <a:gd name="connsiteY140" fmla="*/ 2018790 h 2373250"/>
              <a:gd name="connsiteX141" fmla="*/ 135929 w 1804943"/>
              <a:gd name="connsiteY141" fmla="*/ 1997286 h 2373250"/>
              <a:gd name="connsiteX142" fmla="*/ 125326 w 1804943"/>
              <a:gd name="connsiteY142" fmla="*/ 1975206 h 2373250"/>
              <a:gd name="connsiteX143" fmla="*/ 115224 w 1804943"/>
              <a:gd name="connsiteY143" fmla="*/ 1952564 h 2373250"/>
              <a:gd name="connsiteX144" fmla="*/ 105621 w 1804943"/>
              <a:gd name="connsiteY144" fmla="*/ 1929369 h 2373250"/>
              <a:gd name="connsiteX145" fmla="*/ 96495 w 1804943"/>
              <a:gd name="connsiteY145" fmla="*/ 1905612 h 2373250"/>
              <a:gd name="connsiteX146" fmla="*/ 87846 w 1804943"/>
              <a:gd name="connsiteY146" fmla="*/ 1881309 h 2373250"/>
              <a:gd name="connsiteX147" fmla="*/ 79666 w 1804943"/>
              <a:gd name="connsiteY147" fmla="*/ 1856461 h 2373250"/>
              <a:gd name="connsiteX148" fmla="*/ 71947 w 1804943"/>
              <a:gd name="connsiteY148" fmla="*/ 1831082 h 2373250"/>
              <a:gd name="connsiteX149" fmla="*/ 64675 w 1804943"/>
              <a:gd name="connsiteY149" fmla="*/ 1805165 h 2373250"/>
              <a:gd name="connsiteX150" fmla="*/ 57839 w 1804943"/>
              <a:gd name="connsiteY150" fmla="*/ 1778725 h 2373250"/>
              <a:gd name="connsiteX151" fmla="*/ 51435 w 1804943"/>
              <a:gd name="connsiteY151" fmla="*/ 1751762 h 2373250"/>
              <a:gd name="connsiteX152" fmla="*/ 45461 w 1804943"/>
              <a:gd name="connsiteY152" fmla="*/ 1724284 h 2373250"/>
              <a:gd name="connsiteX153" fmla="*/ 39895 w 1804943"/>
              <a:gd name="connsiteY153" fmla="*/ 1696292 h 2373250"/>
              <a:gd name="connsiteX154" fmla="*/ 34736 w 1804943"/>
              <a:gd name="connsiteY154" fmla="*/ 1667799 h 2373250"/>
              <a:gd name="connsiteX155" fmla="*/ 29969 w 1804943"/>
              <a:gd name="connsiteY155" fmla="*/ 1638806 h 2373250"/>
              <a:gd name="connsiteX156" fmla="*/ 25595 w 1804943"/>
              <a:gd name="connsiteY156" fmla="*/ 1609322 h 2373250"/>
              <a:gd name="connsiteX157" fmla="*/ 21597 w 1804943"/>
              <a:gd name="connsiteY157" fmla="*/ 1579352 h 2373250"/>
              <a:gd name="connsiteX158" fmla="*/ 17967 w 1804943"/>
              <a:gd name="connsiteY158" fmla="*/ 1548893 h 2373250"/>
              <a:gd name="connsiteX159" fmla="*/ 14708 w 1804943"/>
              <a:gd name="connsiteY159" fmla="*/ 1517963 h 2373250"/>
              <a:gd name="connsiteX160" fmla="*/ 11794 w 1804943"/>
              <a:gd name="connsiteY160" fmla="*/ 1486556 h 2373250"/>
              <a:gd name="connsiteX161" fmla="*/ 9226 w 1804943"/>
              <a:gd name="connsiteY161" fmla="*/ 1454681 h 2373250"/>
              <a:gd name="connsiteX162" fmla="*/ 6989 w 1804943"/>
              <a:gd name="connsiteY162" fmla="*/ 1422351 h 2373250"/>
              <a:gd name="connsiteX163" fmla="*/ 5082 w 1804943"/>
              <a:gd name="connsiteY163" fmla="*/ 1389569 h 2373250"/>
              <a:gd name="connsiteX164" fmla="*/ 3490 w 1804943"/>
              <a:gd name="connsiteY164" fmla="*/ 1356325 h 2373250"/>
              <a:gd name="connsiteX165" fmla="*/ 2206 w 1804943"/>
              <a:gd name="connsiteY165" fmla="*/ 1322649 h 2373250"/>
              <a:gd name="connsiteX166" fmla="*/ 1230 w 1804943"/>
              <a:gd name="connsiteY166" fmla="*/ 1288530 h 2373250"/>
              <a:gd name="connsiteX167" fmla="*/ 540 w 1804943"/>
              <a:gd name="connsiteY167" fmla="*/ 1253971 h 2373250"/>
              <a:gd name="connsiteX168" fmla="*/ 132 w 1804943"/>
              <a:gd name="connsiteY168" fmla="*/ 1218989 h 2373250"/>
              <a:gd name="connsiteX169" fmla="*/ 0 w 1804943"/>
              <a:gd name="connsiteY169" fmla="*/ 1183585 h 2373250"/>
              <a:gd name="connsiteX170" fmla="*/ 132 w 1804943"/>
              <a:gd name="connsiteY170" fmla="*/ 1148334 h 2373250"/>
              <a:gd name="connsiteX171" fmla="*/ 546 w 1804943"/>
              <a:gd name="connsiteY171" fmla="*/ 1113498 h 2373250"/>
              <a:gd name="connsiteX172" fmla="*/ 1254 w 1804943"/>
              <a:gd name="connsiteY172" fmla="*/ 1079094 h 2373250"/>
              <a:gd name="connsiteX173" fmla="*/ 2246 w 1804943"/>
              <a:gd name="connsiteY173" fmla="*/ 1045127 h 2373250"/>
              <a:gd name="connsiteX174" fmla="*/ 3544 w 1804943"/>
              <a:gd name="connsiteY174" fmla="*/ 1011590 h 2373250"/>
              <a:gd name="connsiteX175" fmla="*/ 5159 w 1804943"/>
              <a:gd name="connsiteY175" fmla="*/ 978500 h 2373250"/>
              <a:gd name="connsiteX176" fmla="*/ 7096 w 1804943"/>
              <a:gd name="connsiteY176" fmla="*/ 945863 h 2373250"/>
              <a:gd name="connsiteX177" fmla="*/ 9356 w 1804943"/>
              <a:gd name="connsiteY177" fmla="*/ 913681 h 2373250"/>
              <a:gd name="connsiteX178" fmla="*/ 11964 w 1804943"/>
              <a:gd name="connsiteY178" fmla="*/ 881951 h 2373250"/>
              <a:gd name="connsiteX179" fmla="*/ 14909 w 1804943"/>
              <a:gd name="connsiteY179" fmla="*/ 850691 h 2373250"/>
              <a:gd name="connsiteX180" fmla="*/ 18214 w 1804943"/>
              <a:gd name="connsiteY180" fmla="*/ 819907 h 2373250"/>
              <a:gd name="connsiteX181" fmla="*/ 21881 w 1804943"/>
              <a:gd name="connsiteY181" fmla="*/ 789592 h 2373250"/>
              <a:gd name="connsiteX182" fmla="*/ 25917 w 1804943"/>
              <a:gd name="connsiteY182" fmla="*/ 759762 h 2373250"/>
              <a:gd name="connsiteX183" fmla="*/ 30338 w 1804943"/>
              <a:gd name="connsiteY183" fmla="*/ 730423 h 2373250"/>
              <a:gd name="connsiteX184" fmla="*/ 35152 w 1804943"/>
              <a:gd name="connsiteY184" fmla="*/ 701569 h 2373250"/>
              <a:gd name="connsiteX185" fmla="*/ 40356 w 1804943"/>
              <a:gd name="connsiteY185" fmla="*/ 673215 h 2373250"/>
              <a:gd name="connsiteX186" fmla="*/ 45968 w 1804943"/>
              <a:gd name="connsiteY186" fmla="*/ 645368 h 2373250"/>
              <a:gd name="connsiteX187" fmla="*/ 51996 w 1804943"/>
              <a:gd name="connsiteY187" fmla="*/ 618029 h 2373250"/>
              <a:gd name="connsiteX188" fmla="*/ 58446 w 1804943"/>
              <a:gd name="connsiteY188" fmla="*/ 591204 h 2373250"/>
              <a:gd name="connsiteX189" fmla="*/ 65335 w 1804943"/>
              <a:gd name="connsiteY189" fmla="*/ 564895 h 2373250"/>
              <a:gd name="connsiteX190" fmla="*/ 72655 w 1804943"/>
              <a:gd name="connsiteY190" fmla="*/ 539109 h 2373250"/>
              <a:gd name="connsiteX191" fmla="*/ 80428 w 1804943"/>
              <a:gd name="connsiteY191" fmla="*/ 513860 h 2373250"/>
              <a:gd name="connsiteX192" fmla="*/ 88661 w 1804943"/>
              <a:gd name="connsiteY192" fmla="*/ 489142 h 2373250"/>
              <a:gd name="connsiteX193" fmla="*/ 97358 w 1804943"/>
              <a:gd name="connsiteY193" fmla="*/ 464962 h 2373250"/>
              <a:gd name="connsiteX194" fmla="*/ 106521 w 1804943"/>
              <a:gd name="connsiteY194" fmla="*/ 441336 h 2373250"/>
              <a:gd name="connsiteX195" fmla="*/ 116178 w 1804943"/>
              <a:gd name="connsiteY195" fmla="*/ 418257 h 2373250"/>
              <a:gd name="connsiteX196" fmla="*/ 126320 w 1804943"/>
              <a:gd name="connsiteY196" fmla="*/ 395738 h 2373250"/>
              <a:gd name="connsiteX197" fmla="*/ 136966 w 1804943"/>
              <a:gd name="connsiteY197" fmla="*/ 373780 h 2373250"/>
              <a:gd name="connsiteX198" fmla="*/ 137880 w 1804943"/>
              <a:gd name="connsiteY198" fmla="*/ 372027 h 2373250"/>
              <a:gd name="connsiteX199" fmla="*/ 137881 w 1804943"/>
              <a:gd name="connsiteY199" fmla="*/ 372027 h 2373250"/>
              <a:gd name="connsiteX200" fmla="*/ 148122 w 1804943"/>
              <a:gd name="connsiteY200" fmla="*/ 352391 h 2373250"/>
              <a:gd name="connsiteX201" fmla="*/ 159787 w 1804943"/>
              <a:gd name="connsiteY201" fmla="*/ 331571 h 2373250"/>
              <a:gd name="connsiteX202" fmla="*/ 171988 w 1804943"/>
              <a:gd name="connsiteY202" fmla="*/ 311336 h 2373250"/>
              <a:gd name="connsiteX203" fmla="*/ 184719 w 1804943"/>
              <a:gd name="connsiteY203" fmla="*/ 291677 h 2373250"/>
              <a:gd name="connsiteX204" fmla="*/ 197988 w 1804943"/>
              <a:gd name="connsiteY204" fmla="*/ 272618 h 2373250"/>
              <a:gd name="connsiteX205" fmla="*/ 211812 w 1804943"/>
              <a:gd name="connsiteY205" fmla="*/ 254143 h 2373250"/>
              <a:gd name="connsiteX206" fmla="*/ 241142 w 1804943"/>
              <a:gd name="connsiteY206" fmla="*/ 219015 h 2373250"/>
              <a:gd name="connsiteX207" fmla="*/ 272787 w 1804943"/>
              <a:gd name="connsiteY207" fmla="*/ 186325 h 2373250"/>
              <a:gd name="connsiteX208" fmla="*/ 306808 w 1804943"/>
              <a:gd name="connsiteY208" fmla="*/ 156118 h 2373250"/>
              <a:gd name="connsiteX209" fmla="*/ 343266 w 1804943"/>
              <a:gd name="connsiteY209" fmla="*/ 128447 h 2373250"/>
              <a:gd name="connsiteX210" fmla="*/ 362432 w 1804943"/>
              <a:gd name="connsiteY210" fmla="*/ 115578 h 2373250"/>
              <a:gd name="connsiteX211" fmla="*/ 382237 w 1804943"/>
              <a:gd name="connsiteY211" fmla="*/ 103346 h 2373250"/>
              <a:gd name="connsiteX212" fmla="*/ 402689 w 1804943"/>
              <a:gd name="connsiteY212" fmla="*/ 91775 h 2373250"/>
              <a:gd name="connsiteX213" fmla="*/ 423793 w 1804943"/>
              <a:gd name="connsiteY213" fmla="*/ 80865 h 2373250"/>
              <a:gd name="connsiteX214" fmla="*/ 445558 w 1804943"/>
              <a:gd name="connsiteY214" fmla="*/ 70617 h 2373250"/>
              <a:gd name="connsiteX215" fmla="*/ 467992 w 1804943"/>
              <a:gd name="connsiteY215" fmla="*/ 61045 h 2373250"/>
              <a:gd name="connsiteX216" fmla="*/ 491103 w 1804943"/>
              <a:gd name="connsiteY216" fmla="*/ 52142 h 2373250"/>
              <a:gd name="connsiteX217" fmla="*/ 514906 w 1804943"/>
              <a:gd name="connsiteY217" fmla="*/ 43923 h 2373250"/>
              <a:gd name="connsiteX218" fmla="*/ 539409 w 1804943"/>
              <a:gd name="connsiteY218" fmla="*/ 36389 h 2373250"/>
              <a:gd name="connsiteX219" fmla="*/ 564612 w 1804943"/>
              <a:gd name="connsiteY219" fmla="*/ 29553 h 2373250"/>
              <a:gd name="connsiteX220" fmla="*/ 590528 w 1804943"/>
              <a:gd name="connsiteY220" fmla="*/ 23403 h 2373250"/>
              <a:gd name="connsiteX221" fmla="*/ 617160 w 1804943"/>
              <a:gd name="connsiteY221" fmla="*/ 17967 h 2373250"/>
              <a:gd name="connsiteX222" fmla="*/ 644530 w 1804943"/>
              <a:gd name="connsiteY222" fmla="*/ 13231 h 2373250"/>
              <a:gd name="connsiteX223" fmla="*/ 672639 w 1804943"/>
              <a:gd name="connsiteY223" fmla="*/ 9210 h 2373250"/>
              <a:gd name="connsiteX224" fmla="*/ 701494 w 1804943"/>
              <a:gd name="connsiteY224" fmla="*/ 5912 h 2373250"/>
              <a:gd name="connsiteX225" fmla="*/ 731100 w 1804943"/>
              <a:gd name="connsiteY225" fmla="*/ 3336 h 2373250"/>
              <a:gd name="connsiteX226" fmla="*/ 761477 w 1804943"/>
              <a:gd name="connsiteY226" fmla="*/ 1484 h 2373250"/>
              <a:gd name="connsiteX227" fmla="*/ 792621 w 1804943"/>
              <a:gd name="connsiteY227" fmla="*/ 377 h 23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804943" h="2373250">
                <a:moveTo>
                  <a:pt x="1135564" y="15338"/>
                </a:moveTo>
                <a:lnTo>
                  <a:pt x="1804943" y="15338"/>
                </a:lnTo>
                <a:lnTo>
                  <a:pt x="1804943" y="121436"/>
                </a:lnTo>
                <a:lnTo>
                  <a:pt x="1260314" y="121436"/>
                </a:lnTo>
                <a:lnTo>
                  <a:pt x="1260314" y="372027"/>
                </a:lnTo>
                <a:lnTo>
                  <a:pt x="1260314" y="2258004"/>
                </a:lnTo>
                <a:lnTo>
                  <a:pt x="1804943" y="2258004"/>
                </a:lnTo>
                <a:lnTo>
                  <a:pt x="1804943" y="2364102"/>
                </a:lnTo>
                <a:lnTo>
                  <a:pt x="1135564" y="2364102"/>
                </a:lnTo>
                <a:lnTo>
                  <a:pt x="1135564" y="2258004"/>
                </a:lnTo>
                <a:lnTo>
                  <a:pt x="1135564" y="372027"/>
                </a:lnTo>
                <a:lnTo>
                  <a:pt x="1135564" y="121436"/>
                </a:lnTo>
                <a:close/>
                <a:moveTo>
                  <a:pt x="824551" y="0"/>
                </a:moveTo>
                <a:lnTo>
                  <a:pt x="824551" y="106498"/>
                </a:lnTo>
                <a:lnTo>
                  <a:pt x="793382" y="106920"/>
                </a:lnTo>
                <a:lnTo>
                  <a:pt x="763107" y="108189"/>
                </a:lnTo>
                <a:lnTo>
                  <a:pt x="733699" y="110296"/>
                </a:lnTo>
                <a:lnTo>
                  <a:pt x="705152" y="113240"/>
                </a:lnTo>
                <a:lnTo>
                  <a:pt x="677451" y="117008"/>
                </a:lnTo>
                <a:lnTo>
                  <a:pt x="650596" y="121598"/>
                </a:lnTo>
                <a:lnTo>
                  <a:pt x="624564" y="126995"/>
                </a:lnTo>
                <a:lnTo>
                  <a:pt x="599346" y="133207"/>
                </a:lnTo>
                <a:lnTo>
                  <a:pt x="574929" y="140218"/>
                </a:lnTo>
                <a:lnTo>
                  <a:pt x="551302" y="148022"/>
                </a:lnTo>
                <a:lnTo>
                  <a:pt x="528461" y="156617"/>
                </a:lnTo>
                <a:lnTo>
                  <a:pt x="506387" y="165997"/>
                </a:lnTo>
                <a:lnTo>
                  <a:pt x="485076" y="176146"/>
                </a:lnTo>
                <a:lnTo>
                  <a:pt x="464502" y="187071"/>
                </a:lnTo>
                <a:lnTo>
                  <a:pt x="425554" y="211204"/>
                </a:lnTo>
                <a:lnTo>
                  <a:pt x="389457" y="238344"/>
                </a:lnTo>
                <a:lnTo>
                  <a:pt x="356105" y="268436"/>
                </a:lnTo>
                <a:lnTo>
                  <a:pt x="325421" y="301433"/>
                </a:lnTo>
                <a:lnTo>
                  <a:pt x="297313" y="337284"/>
                </a:lnTo>
                <a:lnTo>
                  <a:pt x="284189" y="356266"/>
                </a:lnTo>
                <a:lnTo>
                  <a:pt x="274169" y="372027"/>
                </a:lnTo>
                <a:lnTo>
                  <a:pt x="271680" y="375940"/>
                </a:lnTo>
                <a:lnTo>
                  <a:pt x="259763" y="396306"/>
                </a:lnTo>
                <a:lnTo>
                  <a:pt x="248431" y="417348"/>
                </a:lnTo>
                <a:lnTo>
                  <a:pt x="237675" y="439077"/>
                </a:lnTo>
                <a:lnTo>
                  <a:pt x="227480" y="461465"/>
                </a:lnTo>
                <a:lnTo>
                  <a:pt x="217839" y="484522"/>
                </a:lnTo>
                <a:lnTo>
                  <a:pt x="208737" y="508239"/>
                </a:lnTo>
                <a:lnTo>
                  <a:pt x="200156" y="532604"/>
                </a:lnTo>
                <a:lnTo>
                  <a:pt x="192100" y="557614"/>
                </a:lnTo>
                <a:lnTo>
                  <a:pt x="184542" y="583262"/>
                </a:lnTo>
                <a:lnTo>
                  <a:pt x="177484" y="609541"/>
                </a:lnTo>
                <a:lnTo>
                  <a:pt x="170903" y="636450"/>
                </a:lnTo>
                <a:lnTo>
                  <a:pt x="164799" y="663974"/>
                </a:lnTo>
                <a:lnTo>
                  <a:pt x="159148" y="692121"/>
                </a:lnTo>
                <a:lnTo>
                  <a:pt x="153950" y="720867"/>
                </a:lnTo>
                <a:lnTo>
                  <a:pt x="149183" y="750212"/>
                </a:lnTo>
                <a:lnTo>
                  <a:pt x="144839" y="780158"/>
                </a:lnTo>
                <a:lnTo>
                  <a:pt x="140910" y="810689"/>
                </a:lnTo>
                <a:lnTo>
                  <a:pt x="137390" y="841803"/>
                </a:lnTo>
                <a:lnTo>
                  <a:pt x="134253" y="873494"/>
                </a:lnTo>
                <a:lnTo>
                  <a:pt x="131501" y="905754"/>
                </a:lnTo>
                <a:lnTo>
                  <a:pt x="129109" y="938575"/>
                </a:lnTo>
                <a:lnTo>
                  <a:pt x="127073" y="971958"/>
                </a:lnTo>
                <a:lnTo>
                  <a:pt x="125389" y="1005886"/>
                </a:lnTo>
                <a:lnTo>
                  <a:pt x="124027" y="1040360"/>
                </a:lnTo>
                <a:lnTo>
                  <a:pt x="122997" y="1075373"/>
                </a:lnTo>
                <a:lnTo>
                  <a:pt x="122267" y="1110923"/>
                </a:lnTo>
                <a:lnTo>
                  <a:pt x="121844" y="1146996"/>
                </a:lnTo>
                <a:lnTo>
                  <a:pt x="121706" y="1183585"/>
                </a:lnTo>
                <a:lnTo>
                  <a:pt x="121829" y="1220003"/>
                </a:lnTo>
                <a:lnTo>
                  <a:pt x="122229" y="1255892"/>
                </a:lnTo>
                <a:lnTo>
                  <a:pt x="122897" y="1291258"/>
                </a:lnTo>
                <a:lnTo>
                  <a:pt x="123850" y="1326087"/>
                </a:lnTo>
                <a:lnTo>
                  <a:pt x="125111" y="1360376"/>
                </a:lnTo>
                <a:lnTo>
                  <a:pt x="126679" y="1394113"/>
                </a:lnTo>
                <a:lnTo>
                  <a:pt x="128571" y="1427303"/>
                </a:lnTo>
                <a:lnTo>
                  <a:pt x="130802" y="1459939"/>
                </a:lnTo>
                <a:lnTo>
                  <a:pt x="133368" y="1492006"/>
                </a:lnTo>
                <a:lnTo>
                  <a:pt x="136298" y="1523513"/>
                </a:lnTo>
                <a:lnTo>
                  <a:pt x="139596" y="1554442"/>
                </a:lnTo>
                <a:lnTo>
                  <a:pt x="143271" y="1584796"/>
                </a:lnTo>
                <a:lnTo>
                  <a:pt x="147338" y="1614566"/>
                </a:lnTo>
                <a:lnTo>
                  <a:pt x="151813" y="1643750"/>
                </a:lnTo>
                <a:lnTo>
                  <a:pt x="156702" y="1672334"/>
                </a:lnTo>
                <a:lnTo>
                  <a:pt x="162015" y="1700320"/>
                </a:lnTo>
                <a:lnTo>
                  <a:pt x="167766" y="1727705"/>
                </a:lnTo>
                <a:lnTo>
                  <a:pt x="173962" y="1754476"/>
                </a:lnTo>
                <a:lnTo>
                  <a:pt x="180629" y="1780631"/>
                </a:lnTo>
                <a:lnTo>
                  <a:pt x="187755" y="1806164"/>
                </a:lnTo>
                <a:lnTo>
                  <a:pt x="195374" y="1831074"/>
                </a:lnTo>
                <a:lnTo>
                  <a:pt x="203485" y="1855346"/>
                </a:lnTo>
                <a:lnTo>
                  <a:pt x="212112" y="1878988"/>
                </a:lnTo>
                <a:lnTo>
                  <a:pt x="221245" y="1901983"/>
                </a:lnTo>
                <a:lnTo>
                  <a:pt x="230917" y="1924332"/>
                </a:lnTo>
                <a:lnTo>
                  <a:pt x="241128" y="1946029"/>
                </a:lnTo>
                <a:lnTo>
                  <a:pt x="251891" y="1967064"/>
                </a:lnTo>
                <a:lnTo>
                  <a:pt x="263216" y="1987430"/>
                </a:lnTo>
                <a:lnTo>
                  <a:pt x="287611" y="2026164"/>
                </a:lnTo>
                <a:lnTo>
                  <a:pt x="314404" y="2062168"/>
                </a:lnTo>
                <a:lnTo>
                  <a:pt x="343681" y="2095412"/>
                </a:lnTo>
                <a:lnTo>
                  <a:pt x="375541" y="2125849"/>
                </a:lnTo>
                <a:lnTo>
                  <a:pt x="410077" y="2153435"/>
                </a:lnTo>
                <a:lnTo>
                  <a:pt x="447372" y="2178130"/>
                </a:lnTo>
                <a:lnTo>
                  <a:pt x="487529" y="2199888"/>
                </a:lnTo>
                <a:lnTo>
                  <a:pt x="508702" y="2209652"/>
                </a:lnTo>
                <a:lnTo>
                  <a:pt x="530629" y="2218662"/>
                </a:lnTo>
                <a:lnTo>
                  <a:pt x="553317" y="2226920"/>
                </a:lnTo>
                <a:lnTo>
                  <a:pt x="576782" y="2234416"/>
                </a:lnTo>
                <a:lnTo>
                  <a:pt x="601022" y="2241150"/>
                </a:lnTo>
                <a:lnTo>
                  <a:pt x="626056" y="2247109"/>
                </a:lnTo>
                <a:lnTo>
                  <a:pt x="651904" y="2252291"/>
                </a:lnTo>
                <a:lnTo>
                  <a:pt x="678567" y="2256688"/>
                </a:lnTo>
                <a:lnTo>
                  <a:pt x="706061" y="2260301"/>
                </a:lnTo>
                <a:lnTo>
                  <a:pt x="734390" y="2263116"/>
                </a:lnTo>
                <a:lnTo>
                  <a:pt x="763575" y="2265138"/>
                </a:lnTo>
                <a:lnTo>
                  <a:pt x="793630" y="2266352"/>
                </a:lnTo>
                <a:lnTo>
                  <a:pt x="824551" y="2266760"/>
                </a:lnTo>
                <a:lnTo>
                  <a:pt x="824551" y="2373250"/>
                </a:lnTo>
                <a:lnTo>
                  <a:pt x="792476" y="2372881"/>
                </a:lnTo>
                <a:lnTo>
                  <a:pt x="761193" y="2371759"/>
                </a:lnTo>
                <a:lnTo>
                  <a:pt x="730694" y="2369898"/>
                </a:lnTo>
                <a:lnTo>
                  <a:pt x="700970" y="2367307"/>
                </a:lnTo>
                <a:lnTo>
                  <a:pt x="672008" y="2363986"/>
                </a:lnTo>
                <a:lnTo>
                  <a:pt x="643800" y="2359941"/>
                </a:lnTo>
                <a:lnTo>
                  <a:pt x="616345" y="2355175"/>
                </a:lnTo>
                <a:lnTo>
                  <a:pt x="589621" y="2349701"/>
                </a:lnTo>
                <a:lnTo>
                  <a:pt x="563635" y="2343519"/>
                </a:lnTo>
                <a:lnTo>
                  <a:pt x="538363" y="2336631"/>
                </a:lnTo>
                <a:lnTo>
                  <a:pt x="513800" y="2329050"/>
                </a:lnTo>
                <a:lnTo>
                  <a:pt x="489950" y="2320785"/>
                </a:lnTo>
                <a:lnTo>
                  <a:pt x="466785" y="2311829"/>
                </a:lnTo>
                <a:lnTo>
                  <a:pt x="444312" y="2302195"/>
                </a:lnTo>
                <a:lnTo>
                  <a:pt x="422516" y="2291885"/>
                </a:lnTo>
                <a:lnTo>
                  <a:pt x="401389" y="2280906"/>
                </a:lnTo>
                <a:lnTo>
                  <a:pt x="380915" y="2269266"/>
                </a:lnTo>
                <a:lnTo>
                  <a:pt x="361094" y="2256965"/>
                </a:lnTo>
                <a:lnTo>
                  <a:pt x="341921" y="2244018"/>
                </a:lnTo>
                <a:lnTo>
                  <a:pt x="305456" y="2216179"/>
                </a:lnTo>
                <a:lnTo>
                  <a:pt x="271450" y="2185803"/>
                </a:lnTo>
                <a:lnTo>
                  <a:pt x="239844" y="2152920"/>
                </a:lnTo>
                <a:lnTo>
                  <a:pt x="210559" y="2117584"/>
                </a:lnTo>
                <a:lnTo>
                  <a:pt x="196759" y="2099010"/>
                </a:lnTo>
                <a:lnTo>
                  <a:pt x="183519" y="2079843"/>
                </a:lnTo>
                <a:lnTo>
                  <a:pt x="170826" y="2060076"/>
                </a:lnTo>
                <a:lnTo>
                  <a:pt x="158670" y="2039725"/>
                </a:lnTo>
                <a:lnTo>
                  <a:pt x="147039" y="2018790"/>
                </a:lnTo>
                <a:lnTo>
                  <a:pt x="135929" y="1997286"/>
                </a:lnTo>
                <a:lnTo>
                  <a:pt x="125326" y="1975206"/>
                </a:lnTo>
                <a:lnTo>
                  <a:pt x="115224" y="1952564"/>
                </a:lnTo>
                <a:lnTo>
                  <a:pt x="105621" y="1929369"/>
                </a:lnTo>
                <a:lnTo>
                  <a:pt x="96495" y="1905612"/>
                </a:lnTo>
                <a:lnTo>
                  <a:pt x="87846" y="1881309"/>
                </a:lnTo>
                <a:lnTo>
                  <a:pt x="79666" y="1856461"/>
                </a:lnTo>
                <a:lnTo>
                  <a:pt x="71947" y="1831082"/>
                </a:lnTo>
                <a:lnTo>
                  <a:pt x="64675" y="1805165"/>
                </a:lnTo>
                <a:lnTo>
                  <a:pt x="57839" y="1778725"/>
                </a:lnTo>
                <a:lnTo>
                  <a:pt x="51435" y="1751762"/>
                </a:lnTo>
                <a:lnTo>
                  <a:pt x="45461" y="1724284"/>
                </a:lnTo>
                <a:lnTo>
                  <a:pt x="39895" y="1696292"/>
                </a:lnTo>
                <a:lnTo>
                  <a:pt x="34736" y="1667799"/>
                </a:lnTo>
                <a:lnTo>
                  <a:pt x="29969" y="1638806"/>
                </a:lnTo>
                <a:lnTo>
                  <a:pt x="25595" y="1609322"/>
                </a:lnTo>
                <a:lnTo>
                  <a:pt x="21597" y="1579352"/>
                </a:lnTo>
                <a:lnTo>
                  <a:pt x="17967" y="1548893"/>
                </a:lnTo>
                <a:lnTo>
                  <a:pt x="14708" y="1517963"/>
                </a:lnTo>
                <a:lnTo>
                  <a:pt x="11794" y="1486556"/>
                </a:lnTo>
                <a:lnTo>
                  <a:pt x="9226" y="1454681"/>
                </a:lnTo>
                <a:lnTo>
                  <a:pt x="6989" y="1422351"/>
                </a:lnTo>
                <a:lnTo>
                  <a:pt x="5082" y="1389569"/>
                </a:lnTo>
                <a:lnTo>
                  <a:pt x="3490" y="1356325"/>
                </a:lnTo>
                <a:lnTo>
                  <a:pt x="2206" y="1322649"/>
                </a:lnTo>
                <a:lnTo>
                  <a:pt x="1230" y="1288530"/>
                </a:lnTo>
                <a:lnTo>
                  <a:pt x="540" y="1253971"/>
                </a:lnTo>
                <a:lnTo>
                  <a:pt x="132" y="1218989"/>
                </a:lnTo>
                <a:lnTo>
                  <a:pt x="0" y="1183585"/>
                </a:lnTo>
                <a:lnTo>
                  <a:pt x="132" y="1148334"/>
                </a:lnTo>
                <a:lnTo>
                  <a:pt x="546" y="1113498"/>
                </a:lnTo>
                <a:lnTo>
                  <a:pt x="1254" y="1079094"/>
                </a:lnTo>
                <a:lnTo>
                  <a:pt x="2246" y="1045127"/>
                </a:lnTo>
                <a:lnTo>
                  <a:pt x="3544" y="1011590"/>
                </a:lnTo>
                <a:lnTo>
                  <a:pt x="5159" y="978500"/>
                </a:lnTo>
                <a:lnTo>
                  <a:pt x="7096" y="945863"/>
                </a:lnTo>
                <a:lnTo>
                  <a:pt x="9356" y="913681"/>
                </a:lnTo>
                <a:lnTo>
                  <a:pt x="11964" y="881951"/>
                </a:lnTo>
                <a:lnTo>
                  <a:pt x="14909" y="850691"/>
                </a:lnTo>
                <a:lnTo>
                  <a:pt x="18214" y="819907"/>
                </a:lnTo>
                <a:lnTo>
                  <a:pt x="21881" y="789592"/>
                </a:lnTo>
                <a:lnTo>
                  <a:pt x="25917" y="759762"/>
                </a:lnTo>
                <a:lnTo>
                  <a:pt x="30338" y="730423"/>
                </a:lnTo>
                <a:lnTo>
                  <a:pt x="35152" y="701569"/>
                </a:lnTo>
                <a:lnTo>
                  <a:pt x="40356" y="673215"/>
                </a:lnTo>
                <a:lnTo>
                  <a:pt x="45968" y="645368"/>
                </a:lnTo>
                <a:lnTo>
                  <a:pt x="51996" y="618029"/>
                </a:lnTo>
                <a:lnTo>
                  <a:pt x="58446" y="591204"/>
                </a:lnTo>
                <a:lnTo>
                  <a:pt x="65335" y="564895"/>
                </a:lnTo>
                <a:lnTo>
                  <a:pt x="72655" y="539109"/>
                </a:lnTo>
                <a:lnTo>
                  <a:pt x="80428" y="513860"/>
                </a:lnTo>
                <a:lnTo>
                  <a:pt x="88661" y="489142"/>
                </a:lnTo>
                <a:lnTo>
                  <a:pt x="97358" y="464962"/>
                </a:lnTo>
                <a:lnTo>
                  <a:pt x="106521" y="441336"/>
                </a:lnTo>
                <a:lnTo>
                  <a:pt x="116178" y="418257"/>
                </a:lnTo>
                <a:lnTo>
                  <a:pt x="126320" y="395738"/>
                </a:lnTo>
                <a:lnTo>
                  <a:pt x="136966" y="373780"/>
                </a:lnTo>
                <a:lnTo>
                  <a:pt x="137880" y="372027"/>
                </a:lnTo>
                <a:lnTo>
                  <a:pt x="137881" y="372027"/>
                </a:lnTo>
                <a:lnTo>
                  <a:pt x="148122" y="352391"/>
                </a:lnTo>
                <a:lnTo>
                  <a:pt x="159787" y="331571"/>
                </a:lnTo>
                <a:lnTo>
                  <a:pt x="171988" y="311336"/>
                </a:lnTo>
                <a:lnTo>
                  <a:pt x="184719" y="291677"/>
                </a:lnTo>
                <a:lnTo>
                  <a:pt x="197988" y="272618"/>
                </a:lnTo>
                <a:lnTo>
                  <a:pt x="211812" y="254143"/>
                </a:lnTo>
                <a:lnTo>
                  <a:pt x="241142" y="219015"/>
                </a:lnTo>
                <a:lnTo>
                  <a:pt x="272787" y="186325"/>
                </a:lnTo>
                <a:lnTo>
                  <a:pt x="306808" y="156118"/>
                </a:lnTo>
                <a:lnTo>
                  <a:pt x="343266" y="128447"/>
                </a:lnTo>
                <a:lnTo>
                  <a:pt x="362432" y="115578"/>
                </a:lnTo>
                <a:lnTo>
                  <a:pt x="382237" y="103346"/>
                </a:lnTo>
                <a:lnTo>
                  <a:pt x="402689" y="91775"/>
                </a:lnTo>
                <a:lnTo>
                  <a:pt x="423793" y="80865"/>
                </a:lnTo>
                <a:lnTo>
                  <a:pt x="445558" y="70617"/>
                </a:lnTo>
                <a:lnTo>
                  <a:pt x="467992" y="61045"/>
                </a:lnTo>
                <a:lnTo>
                  <a:pt x="491103" y="52142"/>
                </a:lnTo>
                <a:lnTo>
                  <a:pt x="514906" y="43923"/>
                </a:lnTo>
                <a:lnTo>
                  <a:pt x="539409" y="36389"/>
                </a:lnTo>
                <a:lnTo>
                  <a:pt x="564612" y="29553"/>
                </a:lnTo>
                <a:lnTo>
                  <a:pt x="590528" y="23403"/>
                </a:lnTo>
                <a:lnTo>
                  <a:pt x="617160" y="17967"/>
                </a:lnTo>
                <a:lnTo>
                  <a:pt x="644530" y="13231"/>
                </a:lnTo>
                <a:lnTo>
                  <a:pt x="672639" y="9210"/>
                </a:lnTo>
                <a:lnTo>
                  <a:pt x="701494" y="5912"/>
                </a:lnTo>
                <a:lnTo>
                  <a:pt x="731100" y="3336"/>
                </a:lnTo>
                <a:lnTo>
                  <a:pt x="761477" y="1484"/>
                </a:lnTo>
                <a:lnTo>
                  <a:pt x="792621" y="377"/>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3" name="Makro grafik 2">
            <a:extLst>
              <a:ext uri="{FF2B5EF4-FFF2-40B4-BE49-F238E27FC236}">
                <a16:creationId xmlns:a16="http://schemas.microsoft.com/office/drawing/2014/main" id="{3C47DF57-6C35-2F95-62C7-5AF5F1E443EA}"/>
              </a:ext>
            </a:extLst>
          </p:cNvPr>
          <p:cNvSpPr>
            <a:spLocks noGrp="1" noChangeAspect="1"/>
          </p:cNvSpPr>
          <p:nvPr>
            <p:ph type="body" sz="quarter" idx="20" hasCustomPrompt="1"/>
          </p:nvPr>
        </p:nvSpPr>
        <p:spPr>
          <a:xfrm>
            <a:off x="7625339" y="3523023"/>
            <a:ext cx="1123209" cy="1460462"/>
          </a:xfrm>
          <a:custGeom>
            <a:avLst/>
            <a:gdLst>
              <a:gd name="connsiteX0" fmla="*/ 0 w 1497612"/>
              <a:gd name="connsiteY0" fmla="*/ 1 h 1947283"/>
              <a:gd name="connsiteX1" fmla="*/ 133876 w 1497612"/>
              <a:gd name="connsiteY1" fmla="*/ 1 h 1947283"/>
              <a:gd name="connsiteX2" fmla="*/ 542054 w 1497612"/>
              <a:gd name="connsiteY2" fmla="*/ 1262003 h 1947283"/>
              <a:gd name="connsiteX3" fmla="*/ 763698 w 1497612"/>
              <a:gd name="connsiteY3" fmla="*/ 1947283 h 1947283"/>
              <a:gd name="connsiteX4" fmla="*/ 626777 w 1497612"/>
              <a:gd name="connsiteY4" fmla="*/ 1947283 h 1947283"/>
              <a:gd name="connsiteX5" fmla="*/ 406204 w 1497612"/>
              <a:gd name="connsiteY5" fmla="*/ 1262004 h 1947283"/>
              <a:gd name="connsiteX6" fmla="*/ 733914 w 1497612"/>
              <a:gd name="connsiteY6" fmla="*/ 0 h 1947283"/>
              <a:gd name="connsiteX7" fmla="*/ 867789 w 1497612"/>
              <a:gd name="connsiteY7" fmla="*/ 0 h 1947283"/>
              <a:gd name="connsiteX8" fmla="*/ 988168 w 1497612"/>
              <a:gd name="connsiteY8" fmla="*/ 372187 h 1947283"/>
              <a:gd name="connsiteX9" fmla="*/ 1497612 w 1497612"/>
              <a:gd name="connsiteY9" fmla="*/ 1947283 h 1947283"/>
              <a:gd name="connsiteX10" fmla="*/ 1360692 w 1497612"/>
              <a:gd name="connsiteY10" fmla="*/ 1947283 h 1947283"/>
              <a:gd name="connsiteX11" fmla="*/ 988168 w 1497612"/>
              <a:gd name="connsiteY11" fmla="*/ 789920 h 19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7612" h="1947283">
                <a:moveTo>
                  <a:pt x="0" y="1"/>
                </a:moveTo>
                <a:lnTo>
                  <a:pt x="133876" y="1"/>
                </a:lnTo>
                <a:lnTo>
                  <a:pt x="542054" y="1262003"/>
                </a:lnTo>
                <a:lnTo>
                  <a:pt x="763698" y="1947283"/>
                </a:lnTo>
                <a:lnTo>
                  <a:pt x="626777" y="1947283"/>
                </a:lnTo>
                <a:lnTo>
                  <a:pt x="406204" y="1262004"/>
                </a:lnTo>
                <a:close/>
                <a:moveTo>
                  <a:pt x="733914" y="0"/>
                </a:moveTo>
                <a:lnTo>
                  <a:pt x="867789" y="0"/>
                </a:lnTo>
                <a:lnTo>
                  <a:pt x="988168" y="372187"/>
                </a:lnTo>
                <a:lnTo>
                  <a:pt x="1497612" y="1947283"/>
                </a:lnTo>
                <a:lnTo>
                  <a:pt x="1360692" y="1947283"/>
                </a:lnTo>
                <a:lnTo>
                  <a:pt x="988168" y="78992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6" name="TextBox 1">
            <a:extLst>
              <a:ext uri="{FF2B5EF4-FFF2-40B4-BE49-F238E27FC236}">
                <a16:creationId xmlns:a16="http://schemas.microsoft.com/office/drawing/2014/main" id="{65A8188C-11F0-CD4C-0611-D4AE140468F8}"/>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pic>
        <p:nvPicPr>
          <p:cNvPr id="4" name="Picture 3">
            <a:extLst>
              <a:ext uri="{FF2B5EF4-FFF2-40B4-BE49-F238E27FC236}">
                <a16:creationId xmlns:a16="http://schemas.microsoft.com/office/drawing/2014/main" id="{F59C0FE2-C77D-F582-2D59-9DC1D8EBEC0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05001" y="207901"/>
            <a:ext cx="2150000" cy="307142"/>
          </a:xfrm>
          <a:prstGeom prst="rect">
            <a:avLst/>
          </a:prstGeom>
        </p:spPr>
      </p:pic>
    </p:spTree>
    <p:extLst>
      <p:ext uri="{BB962C8B-B14F-4D97-AF65-F5344CB8AC3E}">
        <p14:creationId xmlns:p14="http://schemas.microsoft.com/office/powerpoint/2010/main" val="571347358"/>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Nemkonto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chemeClr val="accent1"/>
                </a:solidFill>
              </a:defRPr>
            </a:lvl1pPr>
          </a:lstStyle>
          <a:p>
            <a:fld id="{3BA7D959-9C7C-4506-A4A8-52313FF7B34F}" type="datetime2">
              <a:rPr lang="da-DK" smtClean="0"/>
              <a:t>11. december 2025</a:t>
            </a:fld>
            <a:endParaRPr lang="da-DK" dirty="0"/>
          </a:p>
        </p:txBody>
      </p:sp>
      <p:sp>
        <p:nvSpPr>
          <p:cNvPr id="25" name="Makro grafik 1">
            <a:extLst>
              <a:ext uri="{FF2B5EF4-FFF2-40B4-BE49-F238E27FC236}">
                <a16:creationId xmlns:a16="http://schemas.microsoft.com/office/drawing/2014/main" id="{F2E0EEBD-7C39-E8CB-108F-09AF0CD4D448}"/>
              </a:ext>
            </a:extLst>
          </p:cNvPr>
          <p:cNvSpPr>
            <a:spLocks noGrp="1" noChangeAspect="1"/>
          </p:cNvSpPr>
          <p:nvPr>
            <p:ph type="body" sz="quarter" idx="19" hasCustomPrompt="1"/>
          </p:nvPr>
        </p:nvSpPr>
        <p:spPr>
          <a:xfrm>
            <a:off x="2827574" y="391015"/>
            <a:ext cx="1353707" cy="1779938"/>
          </a:xfrm>
          <a:custGeom>
            <a:avLst/>
            <a:gdLst>
              <a:gd name="connsiteX0" fmla="*/ 1135564 w 1804943"/>
              <a:gd name="connsiteY0" fmla="*/ 15338 h 2373250"/>
              <a:gd name="connsiteX1" fmla="*/ 1804943 w 1804943"/>
              <a:gd name="connsiteY1" fmla="*/ 15338 h 2373250"/>
              <a:gd name="connsiteX2" fmla="*/ 1804943 w 1804943"/>
              <a:gd name="connsiteY2" fmla="*/ 121436 h 2373250"/>
              <a:gd name="connsiteX3" fmla="*/ 1260314 w 1804943"/>
              <a:gd name="connsiteY3" fmla="*/ 121436 h 2373250"/>
              <a:gd name="connsiteX4" fmla="*/ 1260314 w 1804943"/>
              <a:gd name="connsiteY4" fmla="*/ 372027 h 2373250"/>
              <a:gd name="connsiteX5" fmla="*/ 1260314 w 1804943"/>
              <a:gd name="connsiteY5" fmla="*/ 2258004 h 2373250"/>
              <a:gd name="connsiteX6" fmla="*/ 1804943 w 1804943"/>
              <a:gd name="connsiteY6" fmla="*/ 2258004 h 2373250"/>
              <a:gd name="connsiteX7" fmla="*/ 1804943 w 1804943"/>
              <a:gd name="connsiteY7" fmla="*/ 2364102 h 2373250"/>
              <a:gd name="connsiteX8" fmla="*/ 1135564 w 1804943"/>
              <a:gd name="connsiteY8" fmla="*/ 2364102 h 2373250"/>
              <a:gd name="connsiteX9" fmla="*/ 1135564 w 1804943"/>
              <a:gd name="connsiteY9" fmla="*/ 2258004 h 2373250"/>
              <a:gd name="connsiteX10" fmla="*/ 1135564 w 1804943"/>
              <a:gd name="connsiteY10" fmla="*/ 372027 h 2373250"/>
              <a:gd name="connsiteX11" fmla="*/ 1135564 w 1804943"/>
              <a:gd name="connsiteY11" fmla="*/ 121436 h 2373250"/>
              <a:gd name="connsiteX12" fmla="*/ 824551 w 1804943"/>
              <a:gd name="connsiteY12" fmla="*/ 0 h 2373250"/>
              <a:gd name="connsiteX13" fmla="*/ 824551 w 1804943"/>
              <a:gd name="connsiteY13" fmla="*/ 106498 h 2373250"/>
              <a:gd name="connsiteX14" fmla="*/ 793382 w 1804943"/>
              <a:gd name="connsiteY14" fmla="*/ 106920 h 2373250"/>
              <a:gd name="connsiteX15" fmla="*/ 763107 w 1804943"/>
              <a:gd name="connsiteY15" fmla="*/ 108189 h 2373250"/>
              <a:gd name="connsiteX16" fmla="*/ 733699 w 1804943"/>
              <a:gd name="connsiteY16" fmla="*/ 110296 h 2373250"/>
              <a:gd name="connsiteX17" fmla="*/ 705152 w 1804943"/>
              <a:gd name="connsiteY17" fmla="*/ 113240 h 2373250"/>
              <a:gd name="connsiteX18" fmla="*/ 677451 w 1804943"/>
              <a:gd name="connsiteY18" fmla="*/ 117008 h 2373250"/>
              <a:gd name="connsiteX19" fmla="*/ 650596 w 1804943"/>
              <a:gd name="connsiteY19" fmla="*/ 121598 h 2373250"/>
              <a:gd name="connsiteX20" fmla="*/ 624564 w 1804943"/>
              <a:gd name="connsiteY20" fmla="*/ 126995 h 2373250"/>
              <a:gd name="connsiteX21" fmla="*/ 599346 w 1804943"/>
              <a:gd name="connsiteY21" fmla="*/ 133207 h 2373250"/>
              <a:gd name="connsiteX22" fmla="*/ 574929 w 1804943"/>
              <a:gd name="connsiteY22" fmla="*/ 140218 h 2373250"/>
              <a:gd name="connsiteX23" fmla="*/ 551302 w 1804943"/>
              <a:gd name="connsiteY23" fmla="*/ 148022 h 2373250"/>
              <a:gd name="connsiteX24" fmla="*/ 528461 w 1804943"/>
              <a:gd name="connsiteY24" fmla="*/ 156617 h 2373250"/>
              <a:gd name="connsiteX25" fmla="*/ 506387 w 1804943"/>
              <a:gd name="connsiteY25" fmla="*/ 165997 h 2373250"/>
              <a:gd name="connsiteX26" fmla="*/ 485076 w 1804943"/>
              <a:gd name="connsiteY26" fmla="*/ 176146 h 2373250"/>
              <a:gd name="connsiteX27" fmla="*/ 464502 w 1804943"/>
              <a:gd name="connsiteY27" fmla="*/ 187071 h 2373250"/>
              <a:gd name="connsiteX28" fmla="*/ 425554 w 1804943"/>
              <a:gd name="connsiteY28" fmla="*/ 211204 h 2373250"/>
              <a:gd name="connsiteX29" fmla="*/ 389457 w 1804943"/>
              <a:gd name="connsiteY29" fmla="*/ 238344 h 2373250"/>
              <a:gd name="connsiteX30" fmla="*/ 356105 w 1804943"/>
              <a:gd name="connsiteY30" fmla="*/ 268436 h 2373250"/>
              <a:gd name="connsiteX31" fmla="*/ 325421 w 1804943"/>
              <a:gd name="connsiteY31" fmla="*/ 301433 h 2373250"/>
              <a:gd name="connsiteX32" fmla="*/ 297313 w 1804943"/>
              <a:gd name="connsiteY32" fmla="*/ 337284 h 2373250"/>
              <a:gd name="connsiteX33" fmla="*/ 284189 w 1804943"/>
              <a:gd name="connsiteY33" fmla="*/ 356266 h 2373250"/>
              <a:gd name="connsiteX34" fmla="*/ 274169 w 1804943"/>
              <a:gd name="connsiteY34" fmla="*/ 372027 h 2373250"/>
              <a:gd name="connsiteX35" fmla="*/ 271680 w 1804943"/>
              <a:gd name="connsiteY35" fmla="*/ 375940 h 2373250"/>
              <a:gd name="connsiteX36" fmla="*/ 259763 w 1804943"/>
              <a:gd name="connsiteY36" fmla="*/ 396306 h 2373250"/>
              <a:gd name="connsiteX37" fmla="*/ 248431 w 1804943"/>
              <a:gd name="connsiteY37" fmla="*/ 417348 h 2373250"/>
              <a:gd name="connsiteX38" fmla="*/ 237675 w 1804943"/>
              <a:gd name="connsiteY38" fmla="*/ 439077 h 2373250"/>
              <a:gd name="connsiteX39" fmla="*/ 227480 w 1804943"/>
              <a:gd name="connsiteY39" fmla="*/ 461465 h 2373250"/>
              <a:gd name="connsiteX40" fmla="*/ 217839 w 1804943"/>
              <a:gd name="connsiteY40" fmla="*/ 484522 h 2373250"/>
              <a:gd name="connsiteX41" fmla="*/ 208737 w 1804943"/>
              <a:gd name="connsiteY41" fmla="*/ 508239 h 2373250"/>
              <a:gd name="connsiteX42" fmla="*/ 200156 w 1804943"/>
              <a:gd name="connsiteY42" fmla="*/ 532604 h 2373250"/>
              <a:gd name="connsiteX43" fmla="*/ 192100 w 1804943"/>
              <a:gd name="connsiteY43" fmla="*/ 557614 h 2373250"/>
              <a:gd name="connsiteX44" fmla="*/ 184542 w 1804943"/>
              <a:gd name="connsiteY44" fmla="*/ 583262 h 2373250"/>
              <a:gd name="connsiteX45" fmla="*/ 177484 w 1804943"/>
              <a:gd name="connsiteY45" fmla="*/ 609541 h 2373250"/>
              <a:gd name="connsiteX46" fmla="*/ 170903 w 1804943"/>
              <a:gd name="connsiteY46" fmla="*/ 636450 h 2373250"/>
              <a:gd name="connsiteX47" fmla="*/ 164799 w 1804943"/>
              <a:gd name="connsiteY47" fmla="*/ 663974 h 2373250"/>
              <a:gd name="connsiteX48" fmla="*/ 159148 w 1804943"/>
              <a:gd name="connsiteY48" fmla="*/ 692121 h 2373250"/>
              <a:gd name="connsiteX49" fmla="*/ 153950 w 1804943"/>
              <a:gd name="connsiteY49" fmla="*/ 720867 h 2373250"/>
              <a:gd name="connsiteX50" fmla="*/ 149183 w 1804943"/>
              <a:gd name="connsiteY50" fmla="*/ 750212 h 2373250"/>
              <a:gd name="connsiteX51" fmla="*/ 144839 w 1804943"/>
              <a:gd name="connsiteY51" fmla="*/ 780158 h 2373250"/>
              <a:gd name="connsiteX52" fmla="*/ 140910 w 1804943"/>
              <a:gd name="connsiteY52" fmla="*/ 810689 h 2373250"/>
              <a:gd name="connsiteX53" fmla="*/ 137390 w 1804943"/>
              <a:gd name="connsiteY53" fmla="*/ 841803 h 2373250"/>
              <a:gd name="connsiteX54" fmla="*/ 134253 w 1804943"/>
              <a:gd name="connsiteY54" fmla="*/ 873494 h 2373250"/>
              <a:gd name="connsiteX55" fmla="*/ 131501 w 1804943"/>
              <a:gd name="connsiteY55" fmla="*/ 905754 h 2373250"/>
              <a:gd name="connsiteX56" fmla="*/ 129109 w 1804943"/>
              <a:gd name="connsiteY56" fmla="*/ 938575 h 2373250"/>
              <a:gd name="connsiteX57" fmla="*/ 127073 w 1804943"/>
              <a:gd name="connsiteY57" fmla="*/ 971958 h 2373250"/>
              <a:gd name="connsiteX58" fmla="*/ 125389 w 1804943"/>
              <a:gd name="connsiteY58" fmla="*/ 1005886 h 2373250"/>
              <a:gd name="connsiteX59" fmla="*/ 124027 w 1804943"/>
              <a:gd name="connsiteY59" fmla="*/ 1040360 h 2373250"/>
              <a:gd name="connsiteX60" fmla="*/ 122997 w 1804943"/>
              <a:gd name="connsiteY60" fmla="*/ 1075373 h 2373250"/>
              <a:gd name="connsiteX61" fmla="*/ 122267 w 1804943"/>
              <a:gd name="connsiteY61" fmla="*/ 1110923 h 2373250"/>
              <a:gd name="connsiteX62" fmla="*/ 121844 w 1804943"/>
              <a:gd name="connsiteY62" fmla="*/ 1146996 h 2373250"/>
              <a:gd name="connsiteX63" fmla="*/ 121706 w 1804943"/>
              <a:gd name="connsiteY63" fmla="*/ 1183585 h 2373250"/>
              <a:gd name="connsiteX64" fmla="*/ 121829 w 1804943"/>
              <a:gd name="connsiteY64" fmla="*/ 1220003 h 2373250"/>
              <a:gd name="connsiteX65" fmla="*/ 122229 w 1804943"/>
              <a:gd name="connsiteY65" fmla="*/ 1255892 h 2373250"/>
              <a:gd name="connsiteX66" fmla="*/ 122897 w 1804943"/>
              <a:gd name="connsiteY66" fmla="*/ 1291258 h 2373250"/>
              <a:gd name="connsiteX67" fmla="*/ 123850 w 1804943"/>
              <a:gd name="connsiteY67" fmla="*/ 1326087 h 2373250"/>
              <a:gd name="connsiteX68" fmla="*/ 125111 w 1804943"/>
              <a:gd name="connsiteY68" fmla="*/ 1360376 h 2373250"/>
              <a:gd name="connsiteX69" fmla="*/ 126679 w 1804943"/>
              <a:gd name="connsiteY69" fmla="*/ 1394113 h 2373250"/>
              <a:gd name="connsiteX70" fmla="*/ 128571 w 1804943"/>
              <a:gd name="connsiteY70" fmla="*/ 1427303 h 2373250"/>
              <a:gd name="connsiteX71" fmla="*/ 130802 w 1804943"/>
              <a:gd name="connsiteY71" fmla="*/ 1459939 h 2373250"/>
              <a:gd name="connsiteX72" fmla="*/ 133368 w 1804943"/>
              <a:gd name="connsiteY72" fmla="*/ 1492006 h 2373250"/>
              <a:gd name="connsiteX73" fmla="*/ 136298 w 1804943"/>
              <a:gd name="connsiteY73" fmla="*/ 1523513 h 2373250"/>
              <a:gd name="connsiteX74" fmla="*/ 139596 w 1804943"/>
              <a:gd name="connsiteY74" fmla="*/ 1554442 h 2373250"/>
              <a:gd name="connsiteX75" fmla="*/ 143271 w 1804943"/>
              <a:gd name="connsiteY75" fmla="*/ 1584796 h 2373250"/>
              <a:gd name="connsiteX76" fmla="*/ 147338 w 1804943"/>
              <a:gd name="connsiteY76" fmla="*/ 1614566 h 2373250"/>
              <a:gd name="connsiteX77" fmla="*/ 151813 w 1804943"/>
              <a:gd name="connsiteY77" fmla="*/ 1643750 h 2373250"/>
              <a:gd name="connsiteX78" fmla="*/ 156702 w 1804943"/>
              <a:gd name="connsiteY78" fmla="*/ 1672334 h 2373250"/>
              <a:gd name="connsiteX79" fmla="*/ 162015 w 1804943"/>
              <a:gd name="connsiteY79" fmla="*/ 1700320 h 2373250"/>
              <a:gd name="connsiteX80" fmla="*/ 167766 w 1804943"/>
              <a:gd name="connsiteY80" fmla="*/ 1727705 h 2373250"/>
              <a:gd name="connsiteX81" fmla="*/ 173962 w 1804943"/>
              <a:gd name="connsiteY81" fmla="*/ 1754476 h 2373250"/>
              <a:gd name="connsiteX82" fmla="*/ 180629 w 1804943"/>
              <a:gd name="connsiteY82" fmla="*/ 1780631 h 2373250"/>
              <a:gd name="connsiteX83" fmla="*/ 187755 w 1804943"/>
              <a:gd name="connsiteY83" fmla="*/ 1806164 h 2373250"/>
              <a:gd name="connsiteX84" fmla="*/ 195374 w 1804943"/>
              <a:gd name="connsiteY84" fmla="*/ 1831074 h 2373250"/>
              <a:gd name="connsiteX85" fmla="*/ 203485 w 1804943"/>
              <a:gd name="connsiteY85" fmla="*/ 1855346 h 2373250"/>
              <a:gd name="connsiteX86" fmla="*/ 212112 w 1804943"/>
              <a:gd name="connsiteY86" fmla="*/ 1878988 h 2373250"/>
              <a:gd name="connsiteX87" fmla="*/ 221245 w 1804943"/>
              <a:gd name="connsiteY87" fmla="*/ 1901983 h 2373250"/>
              <a:gd name="connsiteX88" fmla="*/ 230917 w 1804943"/>
              <a:gd name="connsiteY88" fmla="*/ 1924332 h 2373250"/>
              <a:gd name="connsiteX89" fmla="*/ 241128 w 1804943"/>
              <a:gd name="connsiteY89" fmla="*/ 1946029 h 2373250"/>
              <a:gd name="connsiteX90" fmla="*/ 251891 w 1804943"/>
              <a:gd name="connsiteY90" fmla="*/ 1967064 h 2373250"/>
              <a:gd name="connsiteX91" fmla="*/ 263216 w 1804943"/>
              <a:gd name="connsiteY91" fmla="*/ 1987430 h 2373250"/>
              <a:gd name="connsiteX92" fmla="*/ 287611 w 1804943"/>
              <a:gd name="connsiteY92" fmla="*/ 2026164 h 2373250"/>
              <a:gd name="connsiteX93" fmla="*/ 314404 w 1804943"/>
              <a:gd name="connsiteY93" fmla="*/ 2062168 h 2373250"/>
              <a:gd name="connsiteX94" fmla="*/ 343681 w 1804943"/>
              <a:gd name="connsiteY94" fmla="*/ 2095412 h 2373250"/>
              <a:gd name="connsiteX95" fmla="*/ 375541 w 1804943"/>
              <a:gd name="connsiteY95" fmla="*/ 2125849 h 2373250"/>
              <a:gd name="connsiteX96" fmla="*/ 410077 w 1804943"/>
              <a:gd name="connsiteY96" fmla="*/ 2153435 h 2373250"/>
              <a:gd name="connsiteX97" fmla="*/ 447372 w 1804943"/>
              <a:gd name="connsiteY97" fmla="*/ 2178130 h 2373250"/>
              <a:gd name="connsiteX98" fmla="*/ 487529 w 1804943"/>
              <a:gd name="connsiteY98" fmla="*/ 2199888 h 2373250"/>
              <a:gd name="connsiteX99" fmla="*/ 508702 w 1804943"/>
              <a:gd name="connsiteY99" fmla="*/ 2209652 h 2373250"/>
              <a:gd name="connsiteX100" fmla="*/ 530629 w 1804943"/>
              <a:gd name="connsiteY100" fmla="*/ 2218662 h 2373250"/>
              <a:gd name="connsiteX101" fmla="*/ 553317 w 1804943"/>
              <a:gd name="connsiteY101" fmla="*/ 2226920 h 2373250"/>
              <a:gd name="connsiteX102" fmla="*/ 576782 w 1804943"/>
              <a:gd name="connsiteY102" fmla="*/ 2234416 h 2373250"/>
              <a:gd name="connsiteX103" fmla="*/ 601022 w 1804943"/>
              <a:gd name="connsiteY103" fmla="*/ 2241150 h 2373250"/>
              <a:gd name="connsiteX104" fmla="*/ 626056 w 1804943"/>
              <a:gd name="connsiteY104" fmla="*/ 2247109 h 2373250"/>
              <a:gd name="connsiteX105" fmla="*/ 651904 w 1804943"/>
              <a:gd name="connsiteY105" fmla="*/ 2252291 h 2373250"/>
              <a:gd name="connsiteX106" fmla="*/ 678567 w 1804943"/>
              <a:gd name="connsiteY106" fmla="*/ 2256688 h 2373250"/>
              <a:gd name="connsiteX107" fmla="*/ 706061 w 1804943"/>
              <a:gd name="connsiteY107" fmla="*/ 2260301 h 2373250"/>
              <a:gd name="connsiteX108" fmla="*/ 734390 w 1804943"/>
              <a:gd name="connsiteY108" fmla="*/ 2263116 h 2373250"/>
              <a:gd name="connsiteX109" fmla="*/ 763575 w 1804943"/>
              <a:gd name="connsiteY109" fmla="*/ 2265138 h 2373250"/>
              <a:gd name="connsiteX110" fmla="*/ 793630 w 1804943"/>
              <a:gd name="connsiteY110" fmla="*/ 2266352 h 2373250"/>
              <a:gd name="connsiteX111" fmla="*/ 824551 w 1804943"/>
              <a:gd name="connsiteY111" fmla="*/ 2266760 h 2373250"/>
              <a:gd name="connsiteX112" fmla="*/ 824551 w 1804943"/>
              <a:gd name="connsiteY112" fmla="*/ 2373250 h 2373250"/>
              <a:gd name="connsiteX113" fmla="*/ 792476 w 1804943"/>
              <a:gd name="connsiteY113" fmla="*/ 2372881 h 2373250"/>
              <a:gd name="connsiteX114" fmla="*/ 761193 w 1804943"/>
              <a:gd name="connsiteY114" fmla="*/ 2371759 h 2373250"/>
              <a:gd name="connsiteX115" fmla="*/ 730694 w 1804943"/>
              <a:gd name="connsiteY115" fmla="*/ 2369898 h 2373250"/>
              <a:gd name="connsiteX116" fmla="*/ 700970 w 1804943"/>
              <a:gd name="connsiteY116" fmla="*/ 2367307 h 2373250"/>
              <a:gd name="connsiteX117" fmla="*/ 672008 w 1804943"/>
              <a:gd name="connsiteY117" fmla="*/ 2363986 h 2373250"/>
              <a:gd name="connsiteX118" fmla="*/ 643800 w 1804943"/>
              <a:gd name="connsiteY118" fmla="*/ 2359941 h 2373250"/>
              <a:gd name="connsiteX119" fmla="*/ 616345 w 1804943"/>
              <a:gd name="connsiteY119" fmla="*/ 2355175 h 2373250"/>
              <a:gd name="connsiteX120" fmla="*/ 589621 w 1804943"/>
              <a:gd name="connsiteY120" fmla="*/ 2349701 h 2373250"/>
              <a:gd name="connsiteX121" fmla="*/ 563635 w 1804943"/>
              <a:gd name="connsiteY121" fmla="*/ 2343519 h 2373250"/>
              <a:gd name="connsiteX122" fmla="*/ 538363 w 1804943"/>
              <a:gd name="connsiteY122" fmla="*/ 2336631 h 2373250"/>
              <a:gd name="connsiteX123" fmla="*/ 513800 w 1804943"/>
              <a:gd name="connsiteY123" fmla="*/ 2329050 h 2373250"/>
              <a:gd name="connsiteX124" fmla="*/ 489950 w 1804943"/>
              <a:gd name="connsiteY124" fmla="*/ 2320785 h 2373250"/>
              <a:gd name="connsiteX125" fmla="*/ 466785 w 1804943"/>
              <a:gd name="connsiteY125" fmla="*/ 2311829 h 2373250"/>
              <a:gd name="connsiteX126" fmla="*/ 444312 w 1804943"/>
              <a:gd name="connsiteY126" fmla="*/ 2302195 h 2373250"/>
              <a:gd name="connsiteX127" fmla="*/ 422516 w 1804943"/>
              <a:gd name="connsiteY127" fmla="*/ 2291885 h 2373250"/>
              <a:gd name="connsiteX128" fmla="*/ 401389 w 1804943"/>
              <a:gd name="connsiteY128" fmla="*/ 2280906 h 2373250"/>
              <a:gd name="connsiteX129" fmla="*/ 380915 w 1804943"/>
              <a:gd name="connsiteY129" fmla="*/ 2269266 h 2373250"/>
              <a:gd name="connsiteX130" fmla="*/ 361094 w 1804943"/>
              <a:gd name="connsiteY130" fmla="*/ 2256965 h 2373250"/>
              <a:gd name="connsiteX131" fmla="*/ 341921 w 1804943"/>
              <a:gd name="connsiteY131" fmla="*/ 2244018 h 2373250"/>
              <a:gd name="connsiteX132" fmla="*/ 305456 w 1804943"/>
              <a:gd name="connsiteY132" fmla="*/ 2216179 h 2373250"/>
              <a:gd name="connsiteX133" fmla="*/ 271450 w 1804943"/>
              <a:gd name="connsiteY133" fmla="*/ 2185803 h 2373250"/>
              <a:gd name="connsiteX134" fmla="*/ 239844 w 1804943"/>
              <a:gd name="connsiteY134" fmla="*/ 2152920 h 2373250"/>
              <a:gd name="connsiteX135" fmla="*/ 210559 w 1804943"/>
              <a:gd name="connsiteY135" fmla="*/ 2117584 h 2373250"/>
              <a:gd name="connsiteX136" fmla="*/ 196759 w 1804943"/>
              <a:gd name="connsiteY136" fmla="*/ 2099010 h 2373250"/>
              <a:gd name="connsiteX137" fmla="*/ 183519 w 1804943"/>
              <a:gd name="connsiteY137" fmla="*/ 2079843 h 2373250"/>
              <a:gd name="connsiteX138" fmla="*/ 170826 w 1804943"/>
              <a:gd name="connsiteY138" fmla="*/ 2060076 h 2373250"/>
              <a:gd name="connsiteX139" fmla="*/ 158670 w 1804943"/>
              <a:gd name="connsiteY139" fmla="*/ 2039725 h 2373250"/>
              <a:gd name="connsiteX140" fmla="*/ 147039 w 1804943"/>
              <a:gd name="connsiteY140" fmla="*/ 2018790 h 2373250"/>
              <a:gd name="connsiteX141" fmla="*/ 135929 w 1804943"/>
              <a:gd name="connsiteY141" fmla="*/ 1997286 h 2373250"/>
              <a:gd name="connsiteX142" fmla="*/ 125326 w 1804943"/>
              <a:gd name="connsiteY142" fmla="*/ 1975206 h 2373250"/>
              <a:gd name="connsiteX143" fmla="*/ 115224 w 1804943"/>
              <a:gd name="connsiteY143" fmla="*/ 1952564 h 2373250"/>
              <a:gd name="connsiteX144" fmla="*/ 105621 w 1804943"/>
              <a:gd name="connsiteY144" fmla="*/ 1929369 h 2373250"/>
              <a:gd name="connsiteX145" fmla="*/ 96495 w 1804943"/>
              <a:gd name="connsiteY145" fmla="*/ 1905612 h 2373250"/>
              <a:gd name="connsiteX146" fmla="*/ 87846 w 1804943"/>
              <a:gd name="connsiteY146" fmla="*/ 1881309 h 2373250"/>
              <a:gd name="connsiteX147" fmla="*/ 79666 w 1804943"/>
              <a:gd name="connsiteY147" fmla="*/ 1856461 h 2373250"/>
              <a:gd name="connsiteX148" fmla="*/ 71947 w 1804943"/>
              <a:gd name="connsiteY148" fmla="*/ 1831082 h 2373250"/>
              <a:gd name="connsiteX149" fmla="*/ 64675 w 1804943"/>
              <a:gd name="connsiteY149" fmla="*/ 1805165 h 2373250"/>
              <a:gd name="connsiteX150" fmla="*/ 57839 w 1804943"/>
              <a:gd name="connsiteY150" fmla="*/ 1778725 h 2373250"/>
              <a:gd name="connsiteX151" fmla="*/ 51435 w 1804943"/>
              <a:gd name="connsiteY151" fmla="*/ 1751762 h 2373250"/>
              <a:gd name="connsiteX152" fmla="*/ 45461 w 1804943"/>
              <a:gd name="connsiteY152" fmla="*/ 1724284 h 2373250"/>
              <a:gd name="connsiteX153" fmla="*/ 39895 w 1804943"/>
              <a:gd name="connsiteY153" fmla="*/ 1696292 h 2373250"/>
              <a:gd name="connsiteX154" fmla="*/ 34736 w 1804943"/>
              <a:gd name="connsiteY154" fmla="*/ 1667799 h 2373250"/>
              <a:gd name="connsiteX155" fmla="*/ 29969 w 1804943"/>
              <a:gd name="connsiteY155" fmla="*/ 1638806 h 2373250"/>
              <a:gd name="connsiteX156" fmla="*/ 25595 w 1804943"/>
              <a:gd name="connsiteY156" fmla="*/ 1609322 h 2373250"/>
              <a:gd name="connsiteX157" fmla="*/ 21597 w 1804943"/>
              <a:gd name="connsiteY157" fmla="*/ 1579352 h 2373250"/>
              <a:gd name="connsiteX158" fmla="*/ 17967 w 1804943"/>
              <a:gd name="connsiteY158" fmla="*/ 1548893 h 2373250"/>
              <a:gd name="connsiteX159" fmla="*/ 14708 w 1804943"/>
              <a:gd name="connsiteY159" fmla="*/ 1517963 h 2373250"/>
              <a:gd name="connsiteX160" fmla="*/ 11794 w 1804943"/>
              <a:gd name="connsiteY160" fmla="*/ 1486556 h 2373250"/>
              <a:gd name="connsiteX161" fmla="*/ 9226 w 1804943"/>
              <a:gd name="connsiteY161" fmla="*/ 1454681 h 2373250"/>
              <a:gd name="connsiteX162" fmla="*/ 6989 w 1804943"/>
              <a:gd name="connsiteY162" fmla="*/ 1422351 h 2373250"/>
              <a:gd name="connsiteX163" fmla="*/ 5082 w 1804943"/>
              <a:gd name="connsiteY163" fmla="*/ 1389569 h 2373250"/>
              <a:gd name="connsiteX164" fmla="*/ 3490 w 1804943"/>
              <a:gd name="connsiteY164" fmla="*/ 1356325 h 2373250"/>
              <a:gd name="connsiteX165" fmla="*/ 2206 w 1804943"/>
              <a:gd name="connsiteY165" fmla="*/ 1322649 h 2373250"/>
              <a:gd name="connsiteX166" fmla="*/ 1230 w 1804943"/>
              <a:gd name="connsiteY166" fmla="*/ 1288530 h 2373250"/>
              <a:gd name="connsiteX167" fmla="*/ 540 w 1804943"/>
              <a:gd name="connsiteY167" fmla="*/ 1253971 h 2373250"/>
              <a:gd name="connsiteX168" fmla="*/ 132 w 1804943"/>
              <a:gd name="connsiteY168" fmla="*/ 1218989 h 2373250"/>
              <a:gd name="connsiteX169" fmla="*/ 0 w 1804943"/>
              <a:gd name="connsiteY169" fmla="*/ 1183585 h 2373250"/>
              <a:gd name="connsiteX170" fmla="*/ 132 w 1804943"/>
              <a:gd name="connsiteY170" fmla="*/ 1148334 h 2373250"/>
              <a:gd name="connsiteX171" fmla="*/ 546 w 1804943"/>
              <a:gd name="connsiteY171" fmla="*/ 1113498 h 2373250"/>
              <a:gd name="connsiteX172" fmla="*/ 1254 w 1804943"/>
              <a:gd name="connsiteY172" fmla="*/ 1079094 h 2373250"/>
              <a:gd name="connsiteX173" fmla="*/ 2246 w 1804943"/>
              <a:gd name="connsiteY173" fmla="*/ 1045127 h 2373250"/>
              <a:gd name="connsiteX174" fmla="*/ 3544 w 1804943"/>
              <a:gd name="connsiteY174" fmla="*/ 1011590 h 2373250"/>
              <a:gd name="connsiteX175" fmla="*/ 5159 w 1804943"/>
              <a:gd name="connsiteY175" fmla="*/ 978500 h 2373250"/>
              <a:gd name="connsiteX176" fmla="*/ 7096 w 1804943"/>
              <a:gd name="connsiteY176" fmla="*/ 945863 h 2373250"/>
              <a:gd name="connsiteX177" fmla="*/ 9356 w 1804943"/>
              <a:gd name="connsiteY177" fmla="*/ 913681 h 2373250"/>
              <a:gd name="connsiteX178" fmla="*/ 11964 w 1804943"/>
              <a:gd name="connsiteY178" fmla="*/ 881951 h 2373250"/>
              <a:gd name="connsiteX179" fmla="*/ 14909 w 1804943"/>
              <a:gd name="connsiteY179" fmla="*/ 850691 h 2373250"/>
              <a:gd name="connsiteX180" fmla="*/ 18214 w 1804943"/>
              <a:gd name="connsiteY180" fmla="*/ 819907 h 2373250"/>
              <a:gd name="connsiteX181" fmla="*/ 21881 w 1804943"/>
              <a:gd name="connsiteY181" fmla="*/ 789592 h 2373250"/>
              <a:gd name="connsiteX182" fmla="*/ 25917 w 1804943"/>
              <a:gd name="connsiteY182" fmla="*/ 759762 h 2373250"/>
              <a:gd name="connsiteX183" fmla="*/ 30338 w 1804943"/>
              <a:gd name="connsiteY183" fmla="*/ 730423 h 2373250"/>
              <a:gd name="connsiteX184" fmla="*/ 35152 w 1804943"/>
              <a:gd name="connsiteY184" fmla="*/ 701569 h 2373250"/>
              <a:gd name="connsiteX185" fmla="*/ 40356 w 1804943"/>
              <a:gd name="connsiteY185" fmla="*/ 673215 h 2373250"/>
              <a:gd name="connsiteX186" fmla="*/ 45968 w 1804943"/>
              <a:gd name="connsiteY186" fmla="*/ 645368 h 2373250"/>
              <a:gd name="connsiteX187" fmla="*/ 51996 w 1804943"/>
              <a:gd name="connsiteY187" fmla="*/ 618029 h 2373250"/>
              <a:gd name="connsiteX188" fmla="*/ 58446 w 1804943"/>
              <a:gd name="connsiteY188" fmla="*/ 591204 h 2373250"/>
              <a:gd name="connsiteX189" fmla="*/ 65335 w 1804943"/>
              <a:gd name="connsiteY189" fmla="*/ 564895 h 2373250"/>
              <a:gd name="connsiteX190" fmla="*/ 72655 w 1804943"/>
              <a:gd name="connsiteY190" fmla="*/ 539109 h 2373250"/>
              <a:gd name="connsiteX191" fmla="*/ 80428 w 1804943"/>
              <a:gd name="connsiteY191" fmla="*/ 513860 h 2373250"/>
              <a:gd name="connsiteX192" fmla="*/ 88661 w 1804943"/>
              <a:gd name="connsiteY192" fmla="*/ 489142 h 2373250"/>
              <a:gd name="connsiteX193" fmla="*/ 97358 w 1804943"/>
              <a:gd name="connsiteY193" fmla="*/ 464962 h 2373250"/>
              <a:gd name="connsiteX194" fmla="*/ 106521 w 1804943"/>
              <a:gd name="connsiteY194" fmla="*/ 441336 h 2373250"/>
              <a:gd name="connsiteX195" fmla="*/ 116178 w 1804943"/>
              <a:gd name="connsiteY195" fmla="*/ 418257 h 2373250"/>
              <a:gd name="connsiteX196" fmla="*/ 126320 w 1804943"/>
              <a:gd name="connsiteY196" fmla="*/ 395738 h 2373250"/>
              <a:gd name="connsiteX197" fmla="*/ 136966 w 1804943"/>
              <a:gd name="connsiteY197" fmla="*/ 373780 h 2373250"/>
              <a:gd name="connsiteX198" fmla="*/ 137880 w 1804943"/>
              <a:gd name="connsiteY198" fmla="*/ 372027 h 2373250"/>
              <a:gd name="connsiteX199" fmla="*/ 137881 w 1804943"/>
              <a:gd name="connsiteY199" fmla="*/ 372027 h 2373250"/>
              <a:gd name="connsiteX200" fmla="*/ 148122 w 1804943"/>
              <a:gd name="connsiteY200" fmla="*/ 352391 h 2373250"/>
              <a:gd name="connsiteX201" fmla="*/ 159787 w 1804943"/>
              <a:gd name="connsiteY201" fmla="*/ 331571 h 2373250"/>
              <a:gd name="connsiteX202" fmla="*/ 171988 w 1804943"/>
              <a:gd name="connsiteY202" fmla="*/ 311336 h 2373250"/>
              <a:gd name="connsiteX203" fmla="*/ 184719 w 1804943"/>
              <a:gd name="connsiteY203" fmla="*/ 291677 h 2373250"/>
              <a:gd name="connsiteX204" fmla="*/ 197988 w 1804943"/>
              <a:gd name="connsiteY204" fmla="*/ 272618 h 2373250"/>
              <a:gd name="connsiteX205" fmla="*/ 211812 w 1804943"/>
              <a:gd name="connsiteY205" fmla="*/ 254143 h 2373250"/>
              <a:gd name="connsiteX206" fmla="*/ 241142 w 1804943"/>
              <a:gd name="connsiteY206" fmla="*/ 219015 h 2373250"/>
              <a:gd name="connsiteX207" fmla="*/ 272787 w 1804943"/>
              <a:gd name="connsiteY207" fmla="*/ 186325 h 2373250"/>
              <a:gd name="connsiteX208" fmla="*/ 306808 w 1804943"/>
              <a:gd name="connsiteY208" fmla="*/ 156118 h 2373250"/>
              <a:gd name="connsiteX209" fmla="*/ 343266 w 1804943"/>
              <a:gd name="connsiteY209" fmla="*/ 128447 h 2373250"/>
              <a:gd name="connsiteX210" fmla="*/ 362432 w 1804943"/>
              <a:gd name="connsiteY210" fmla="*/ 115578 h 2373250"/>
              <a:gd name="connsiteX211" fmla="*/ 382237 w 1804943"/>
              <a:gd name="connsiteY211" fmla="*/ 103346 h 2373250"/>
              <a:gd name="connsiteX212" fmla="*/ 402689 w 1804943"/>
              <a:gd name="connsiteY212" fmla="*/ 91775 h 2373250"/>
              <a:gd name="connsiteX213" fmla="*/ 423793 w 1804943"/>
              <a:gd name="connsiteY213" fmla="*/ 80865 h 2373250"/>
              <a:gd name="connsiteX214" fmla="*/ 445558 w 1804943"/>
              <a:gd name="connsiteY214" fmla="*/ 70617 h 2373250"/>
              <a:gd name="connsiteX215" fmla="*/ 467992 w 1804943"/>
              <a:gd name="connsiteY215" fmla="*/ 61045 h 2373250"/>
              <a:gd name="connsiteX216" fmla="*/ 491103 w 1804943"/>
              <a:gd name="connsiteY216" fmla="*/ 52142 h 2373250"/>
              <a:gd name="connsiteX217" fmla="*/ 514906 w 1804943"/>
              <a:gd name="connsiteY217" fmla="*/ 43923 h 2373250"/>
              <a:gd name="connsiteX218" fmla="*/ 539409 w 1804943"/>
              <a:gd name="connsiteY218" fmla="*/ 36389 h 2373250"/>
              <a:gd name="connsiteX219" fmla="*/ 564612 w 1804943"/>
              <a:gd name="connsiteY219" fmla="*/ 29553 h 2373250"/>
              <a:gd name="connsiteX220" fmla="*/ 590528 w 1804943"/>
              <a:gd name="connsiteY220" fmla="*/ 23403 h 2373250"/>
              <a:gd name="connsiteX221" fmla="*/ 617160 w 1804943"/>
              <a:gd name="connsiteY221" fmla="*/ 17967 h 2373250"/>
              <a:gd name="connsiteX222" fmla="*/ 644530 w 1804943"/>
              <a:gd name="connsiteY222" fmla="*/ 13231 h 2373250"/>
              <a:gd name="connsiteX223" fmla="*/ 672639 w 1804943"/>
              <a:gd name="connsiteY223" fmla="*/ 9210 h 2373250"/>
              <a:gd name="connsiteX224" fmla="*/ 701494 w 1804943"/>
              <a:gd name="connsiteY224" fmla="*/ 5912 h 2373250"/>
              <a:gd name="connsiteX225" fmla="*/ 731100 w 1804943"/>
              <a:gd name="connsiteY225" fmla="*/ 3336 h 2373250"/>
              <a:gd name="connsiteX226" fmla="*/ 761477 w 1804943"/>
              <a:gd name="connsiteY226" fmla="*/ 1484 h 2373250"/>
              <a:gd name="connsiteX227" fmla="*/ 792621 w 1804943"/>
              <a:gd name="connsiteY227" fmla="*/ 377 h 23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804943" h="2373250">
                <a:moveTo>
                  <a:pt x="1135564" y="15338"/>
                </a:moveTo>
                <a:lnTo>
                  <a:pt x="1804943" y="15338"/>
                </a:lnTo>
                <a:lnTo>
                  <a:pt x="1804943" y="121436"/>
                </a:lnTo>
                <a:lnTo>
                  <a:pt x="1260314" y="121436"/>
                </a:lnTo>
                <a:lnTo>
                  <a:pt x="1260314" y="372027"/>
                </a:lnTo>
                <a:lnTo>
                  <a:pt x="1260314" y="2258004"/>
                </a:lnTo>
                <a:lnTo>
                  <a:pt x="1804943" y="2258004"/>
                </a:lnTo>
                <a:lnTo>
                  <a:pt x="1804943" y="2364102"/>
                </a:lnTo>
                <a:lnTo>
                  <a:pt x="1135564" y="2364102"/>
                </a:lnTo>
                <a:lnTo>
                  <a:pt x="1135564" y="2258004"/>
                </a:lnTo>
                <a:lnTo>
                  <a:pt x="1135564" y="372027"/>
                </a:lnTo>
                <a:lnTo>
                  <a:pt x="1135564" y="121436"/>
                </a:lnTo>
                <a:close/>
                <a:moveTo>
                  <a:pt x="824551" y="0"/>
                </a:moveTo>
                <a:lnTo>
                  <a:pt x="824551" y="106498"/>
                </a:lnTo>
                <a:lnTo>
                  <a:pt x="793382" y="106920"/>
                </a:lnTo>
                <a:lnTo>
                  <a:pt x="763107" y="108189"/>
                </a:lnTo>
                <a:lnTo>
                  <a:pt x="733699" y="110296"/>
                </a:lnTo>
                <a:lnTo>
                  <a:pt x="705152" y="113240"/>
                </a:lnTo>
                <a:lnTo>
                  <a:pt x="677451" y="117008"/>
                </a:lnTo>
                <a:lnTo>
                  <a:pt x="650596" y="121598"/>
                </a:lnTo>
                <a:lnTo>
                  <a:pt x="624564" y="126995"/>
                </a:lnTo>
                <a:lnTo>
                  <a:pt x="599346" y="133207"/>
                </a:lnTo>
                <a:lnTo>
                  <a:pt x="574929" y="140218"/>
                </a:lnTo>
                <a:lnTo>
                  <a:pt x="551302" y="148022"/>
                </a:lnTo>
                <a:lnTo>
                  <a:pt x="528461" y="156617"/>
                </a:lnTo>
                <a:lnTo>
                  <a:pt x="506387" y="165997"/>
                </a:lnTo>
                <a:lnTo>
                  <a:pt x="485076" y="176146"/>
                </a:lnTo>
                <a:lnTo>
                  <a:pt x="464502" y="187071"/>
                </a:lnTo>
                <a:lnTo>
                  <a:pt x="425554" y="211204"/>
                </a:lnTo>
                <a:lnTo>
                  <a:pt x="389457" y="238344"/>
                </a:lnTo>
                <a:lnTo>
                  <a:pt x="356105" y="268436"/>
                </a:lnTo>
                <a:lnTo>
                  <a:pt x="325421" y="301433"/>
                </a:lnTo>
                <a:lnTo>
                  <a:pt x="297313" y="337284"/>
                </a:lnTo>
                <a:lnTo>
                  <a:pt x="284189" y="356266"/>
                </a:lnTo>
                <a:lnTo>
                  <a:pt x="274169" y="372027"/>
                </a:lnTo>
                <a:lnTo>
                  <a:pt x="271680" y="375940"/>
                </a:lnTo>
                <a:lnTo>
                  <a:pt x="259763" y="396306"/>
                </a:lnTo>
                <a:lnTo>
                  <a:pt x="248431" y="417348"/>
                </a:lnTo>
                <a:lnTo>
                  <a:pt x="237675" y="439077"/>
                </a:lnTo>
                <a:lnTo>
                  <a:pt x="227480" y="461465"/>
                </a:lnTo>
                <a:lnTo>
                  <a:pt x="217839" y="484522"/>
                </a:lnTo>
                <a:lnTo>
                  <a:pt x="208737" y="508239"/>
                </a:lnTo>
                <a:lnTo>
                  <a:pt x="200156" y="532604"/>
                </a:lnTo>
                <a:lnTo>
                  <a:pt x="192100" y="557614"/>
                </a:lnTo>
                <a:lnTo>
                  <a:pt x="184542" y="583262"/>
                </a:lnTo>
                <a:lnTo>
                  <a:pt x="177484" y="609541"/>
                </a:lnTo>
                <a:lnTo>
                  <a:pt x="170903" y="636450"/>
                </a:lnTo>
                <a:lnTo>
                  <a:pt x="164799" y="663974"/>
                </a:lnTo>
                <a:lnTo>
                  <a:pt x="159148" y="692121"/>
                </a:lnTo>
                <a:lnTo>
                  <a:pt x="153950" y="720867"/>
                </a:lnTo>
                <a:lnTo>
                  <a:pt x="149183" y="750212"/>
                </a:lnTo>
                <a:lnTo>
                  <a:pt x="144839" y="780158"/>
                </a:lnTo>
                <a:lnTo>
                  <a:pt x="140910" y="810689"/>
                </a:lnTo>
                <a:lnTo>
                  <a:pt x="137390" y="841803"/>
                </a:lnTo>
                <a:lnTo>
                  <a:pt x="134253" y="873494"/>
                </a:lnTo>
                <a:lnTo>
                  <a:pt x="131501" y="905754"/>
                </a:lnTo>
                <a:lnTo>
                  <a:pt x="129109" y="938575"/>
                </a:lnTo>
                <a:lnTo>
                  <a:pt x="127073" y="971958"/>
                </a:lnTo>
                <a:lnTo>
                  <a:pt x="125389" y="1005886"/>
                </a:lnTo>
                <a:lnTo>
                  <a:pt x="124027" y="1040360"/>
                </a:lnTo>
                <a:lnTo>
                  <a:pt x="122997" y="1075373"/>
                </a:lnTo>
                <a:lnTo>
                  <a:pt x="122267" y="1110923"/>
                </a:lnTo>
                <a:lnTo>
                  <a:pt x="121844" y="1146996"/>
                </a:lnTo>
                <a:lnTo>
                  <a:pt x="121706" y="1183585"/>
                </a:lnTo>
                <a:lnTo>
                  <a:pt x="121829" y="1220003"/>
                </a:lnTo>
                <a:lnTo>
                  <a:pt x="122229" y="1255892"/>
                </a:lnTo>
                <a:lnTo>
                  <a:pt x="122897" y="1291258"/>
                </a:lnTo>
                <a:lnTo>
                  <a:pt x="123850" y="1326087"/>
                </a:lnTo>
                <a:lnTo>
                  <a:pt x="125111" y="1360376"/>
                </a:lnTo>
                <a:lnTo>
                  <a:pt x="126679" y="1394113"/>
                </a:lnTo>
                <a:lnTo>
                  <a:pt x="128571" y="1427303"/>
                </a:lnTo>
                <a:lnTo>
                  <a:pt x="130802" y="1459939"/>
                </a:lnTo>
                <a:lnTo>
                  <a:pt x="133368" y="1492006"/>
                </a:lnTo>
                <a:lnTo>
                  <a:pt x="136298" y="1523513"/>
                </a:lnTo>
                <a:lnTo>
                  <a:pt x="139596" y="1554442"/>
                </a:lnTo>
                <a:lnTo>
                  <a:pt x="143271" y="1584796"/>
                </a:lnTo>
                <a:lnTo>
                  <a:pt x="147338" y="1614566"/>
                </a:lnTo>
                <a:lnTo>
                  <a:pt x="151813" y="1643750"/>
                </a:lnTo>
                <a:lnTo>
                  <a:pt x="156702" y="1672334"/>
                </a:lnTo>
                <a:lnTo>
                  <a:pt x="162015" y="1700320"/>
                </a:lnTo>
                <a:lnTo>
                  <a:pt x="167766" y="1727705"/>
                </a:lnTo>
                <a:lnTo>
                  <a:pt x="173962" y="1754476"/>
                </a:lnTo>
                <a:lnTo>
                  <a:pt x="180629" y="1780631"/>
                </a:lnTo>
                <a:lnTo>
                  <a:pt x="187755" y="1806164"/>
                </a:lnTo>
                <a:lnTo>
                  <a:pt x="195374" y="1831074"/>
                </a:lnTo>
                <a:lnTo>
                  <a:pt x="203485" y="1855346"/>
                </a:lnTo>
                <a:lnTo>
                  <a:pt x="212112" y="1878988"/>
                </a:lnTo>
                <a:lnTo>
                  <a:pt x="221245" y="1901983"/>
                </a:lnTo>
                <a:lnTo>
                  <a:pt x="230917" y="1924332"/>
                </a:lnTo>
                <a:lnTo>
                  <a:pt x="241128" y="1946029"/>
                </a:lnTo>
                <a:lnTo>
                  <a:pt x="251891" y="1967064"/>
                </a:lnTo>
                <a:lnTo>
                  <a:pt x="263216" y="1987430"/>
                </a:lnTo>
                <a:lnTo>
                  <a:pt x="287611" y="2026164"/>
                </a:lnTo>
                <a:lnTo>
                  <a:pt x="314404" y="2062168"/>
                </a:lnTo>
                <a:lnTo>
                  <a:pt x="343681" y="2095412"/>
                </a:lnTo>
                <a:lnTo>
                  <a:pt x="375541" y="2125849"/>
                </a:lnTo>
                <a:lnTo>
                  <a:pt x="410077" y="2153435"/>
                </a:lnTo>
                <a:lnTo>
                  <a:pt x="447372" y="2178130"/>
                </a:lnTo>
                <a:lnTo>
                  <a:pt x="487529" y="2199888"/>
                </a:lnTo>
                <a:lnTo>
                  <a:pt x="508702" y="2209652"/>
                </a:lnTo>
                <a:lnTo>
                  <a:pt x="530629" y="2218662"/>
                </a:lnTo>
                <a:lnTo>
                  <a:pt x="553317" y="2226920"/>
                </a:lnTo>
                <a:lnTo>
                  <a:pt x="576782" y="2234416"/>
                </a:lnTo>
                <a:lnTo>
                  <a:pt x="601022" y="2241150"/>
                </a:lnTo>
                <a:lnTo>
                  <a:pt x="626056" y="2247109"/>
                </a:lnTo>
                <a:lnTo>
                  <a:pt x="651904" y="2252291"/>
                </a:lnTo>
                <a:lnTo>
                  <a:pt x="678567" y="2256688"/>
                </a:lnTo>
                <a:lnTo>
                  <a:pt x="706061" y="2260301"/>
                </a:lnTo>
                <a:lnTo>
                  <a:pt x="734390" y="2263116"/>
                </a:lnTo>
                <a:lnTo>
                  <a:pt x="763575" y="2265138"/>
                </a:lnTo>
                <a:lnTo>
                  <a:pt x="793630" y="2266352"/>
                </a:lnTo>
                <a:lnTo>
                  <a:pt x="824551" y="2266760"/>
                </a:lnTo>
                <a:lnTo>
                  <a:pt x="824551" y="2373250"/>
                </a:lnTo>
                <a:lnTo>
                  <a:pt x="792476" y="2372881"/>
                </a:lnTo>
                <a:lnTo>
                  <a:pt x="761193" y="2371759"/>
                </a:lnTo>
                <a:lnTo>
                  <a:pt x="730694" y="2369898"/>
                </a:lnTo>
                <a:lnTo>
                  <a:pt x="700970" y="2367307"/>
                </a:lnTo>
                <a:lnTo>
                  <a:pt x="672008" y="2363986"/>
                </a:lnTo>
                <a:lnTo>
                  <a:pt x="643800" y="2359941"/>
                </a:lnTo>
                <a:lnTo>
                  <a:pt x="616345" y="2355175"/>
                </a:lnTo>
                <a:lnTo>
                  <a:pt x="589621" y="2349701"/>
                </a:lnTo>
                <a:lnTo>
                  <a:pt x="563635" y="2343519"/>
                </a:lnTo>
                <a:lnTo>
                  <a:pt x="538363" y="2336631"/>
                </a:lnTo>
                <a:lnTo>
                  <a:pt x="513800" y="2329050"/>
                </a:lnTo>
                <a:lnTo>
                  <a:pt x="489950" y="2320785"/>
                </a:lnTo>
                <a:lnTo>
                  <a:pt x="466785" y="2311829"/>
                </a:lnTo>
                <a:lnTo>
                  <a:pt x="444312" y="2302195"/>
                </a:lnTo>
                <a:lnTo>
                  <a:pt x="422516" y="2291885"/>
                </a:lnTo>
                <a:lnTo>
                  <a:pt x="401389" y="2280906"/>
                </a:lnTo>
                <a:lnTo>
                  <a:pt x="380915" y="2269266"/>
                </a:lnTo>
                <a:lnTo>
                  <a:pt x="361094" y="2256965"/>
                </a:lnTo>
                <a:lnTo>
                  <a:pt x="341921" y="2244018"/>
                </a:lnTo>
                <a:lnTo>
                  <a:pt x="305456" y="2216179"/>
                </a:lnTo>
                <a:lnTo>
                  <a:pt x="271450" y="2185803"/>
                </a:lnTo>
                <a:lnTo>
                  <a:pt x="239844" y="2152920"/>
                </a:lnTo>
                <a:lnTo>
                  <a:pt x="210559" y="2117584"/>
                </a:lnTo>
                <a:lnTo>
                  <a:pt x="196759" y="2099010"/>
                </a:lnTo>
                <a:lnTo>
                  <a:pt x="183519" y="2079843"/>
                </a:lnTo>
                <a:lnTo>
                  <a:pt x="170826" y="2060076"/>
                </a:lnTo>
                <a:lnTo>
                  <a:pt x="158670" y="2039725"/>
                </a:lnTo>
                <a:lnTo>
                  <a:pt x="147039" y="2018790"/>
                </a:lnTo>
                <a:lnTo>
                  <a:pt x="135929" y="1997286"/>
                </a:lnTo>
                <a:lnTo>
                  <a:pt x="125326" y="1975206"/>
                </a:lnTo>
                <a:lnTo>
                  <a:pt x="115224" y="1952564"/>
                </a:lnTo>
                <a:lnTo>
                  <a:pt x="105621" y="1929369"/>
                </a:lnTo>
                <a:lnTo>
                  <a:pt x="96495" y="1905612"/>
                </a:lnTo>
                <a:lnTo>
                  <a:pt x="87846" y="1881309"/>
                </a:lnTo>
                <a:lnTo>
                  <a:pt x="79666" y="1856461"/>
                </a:lnTo>
                <a:lnTo>
                  <a:pt x="71947" y="1831082"/>
                </a:lnTo>
                <a:lnTo>
                  <a:pt x="64675" y="1805165"/>
                </a:lnTo>
                <a:lnTo>
                  <a:pt x="57839" y="1778725"/>
                </a:lnTo>
                <a:lnTo>
                  <a:pt x="51435" y="1751762"/>
                </a:lnTo>
                <a:lnTo>
                  <a:pt x="45461" y="1724284"/>
                </a:lnTo>
                <a:lnTo>
                  <a:pt x="39895" y="1696292"/>
                </a:lnTo>
                <a:lnTo>
                  <a:pt x="34736" y="1667799"/>
                </a:lnTo>
                <a:lnTo>
                  <a:pt x="29969" y="1638806"/>
                </a:lnTo>
                <a:lnTo>
                  <a:pt x="25595" y="1609322"/>
                </a:lnTo>
                <a:lnTo>
                  <a:pt x="21597" y="1579352"/>
                </a:lnTo>
                <a:lnTo>
                  <a:pt x="17967" y="1548893"/>
                </a:lnTo>
                <a:lnTo>
                  <a:pt x="14708" y="1517963"/>
                </a:lnTo>
                <a:lnTo>
                  <a:pt x="11794" y="1486556"/>
                </a:lnTo>
                <a:lnTo>
                  <a:pt x="9226" y="1454681"/>
                </a:lnTo>
                <a:lnTo>
                  <a:pt x="6989" y="1422351"/>
                </a:lnTo>
                <a:lnTo>
                  <a:pt x="5082" y="1389569"/>
                </a:lnTo>
                <a:lnTo>
                  <a:pt x="3490" y="1356325"/>
                </a:lnTo>
                <a:lnTo>
                  <a:pt x="2206" y="1322649"/>
                </a:lnTo>
                <a:lnTo>
                  <a:pt x="1230" y="1288530"/>
                </a:lnTo>
                <a:lnTo>
                  <a:pt x="540" y="1253971"/>
                </a:lnTo>
                <a:lnTo>
                  <a:pt x="132" y="1218989"/>
                </a:lnTo>
                <a:lnTo>
                  <a:pt x="0" y="1183585"/>
                </a:lnTo>
                <a:lnTo>
                  <a:pt x="132" y="1148334"/>
                </a:lnTo>
                <a:lnTo>
                  <a:pt x="546" y="1113498"/>
                </a:lnTo>
                <a:lnTo>
                  <a:pt x="1254" y="1079094"/>
                </a:lnTo>
                <a:lnTo>
                  <a:pt x="2246" y="1045127"/>
                </a:lnTo>
                <a:lnTo>
                  <a:pt x="3544" y="1011590"/>
                </a:lnTo>
                <a:lnTo>
                  <a:pt x="5159" y="978500"/>
                </a:lnTo>
                <a:lnTo>
                  <a:pt x="7096" y="945863"/>
                </a:lnTo>
                <a:lnTo>
                  <a:pt x="9356" y="913681"/>
                </a:lnTo>
                <a:lnTo>
                  <a:pt x="11964" y="881951"/>
                </a:lnTo>
                <a:lnTo>
                  <a:pt x="14909" y="850691"/>
                </a:lnTo>
                <a:lnTo>
                  <a:pt x="18214" y="819907"/>
                </a:lnTo>
                <a:lnTo>
                  <a:pt x="21881" y="789592"/>
                </a:lnTo>
                <a:lnTo>
                  <a:pt x="25917" y="759762"/>
                </a:lnTo>
                <a:lnTo>
                  <a:pt x="30338" y="730423"/>
                </a:lnTo>
                <a:lnTo>
                  <a:pt x="35152" y="701569"/>
                </a:lnTo>
                <a:lnTo>
                  <a:pt x="40356" y="673215"/>
                </a:lnTo>
                <a:lnTo>
                  <a:pt x="45968" y="645368"/>
                </a:lnTo>
                <a:lnTo>
                  <a:pt x="51996" y="618029"/>
                </a:lnTo>
                <a:lnTo>
                  <a:pt x="58446" y="591204"/>
                </a:lnTo>
                <a:lnTo>
                  <a:pt x="65335" y="564895"/>
                </a:lnTo>
                <a:lnTo>
                  <a:pt x="72655" y="539109"/>
                </a:lnTo>
                <a:lnTo>
                  <a:pt x="80428" y="513860"/>
                </a:lnTo>
                <a:lnTo>
                  <a:pt x="88661" y="489142"/>
                </a:lnTo>
                <a:lnTo>
                  <a:pt x="97358" y="464962"/>
                </a:lnTo>
                <a:lnTo>
                  <a:pt x="106521" y="441336"/>
                </a:lnTo>
                <a:lnTo>
                  <a:pt x="116178" y="418257"/>
                </a:lnTo>
                <a:lnTo>
                  <a:pt x="126320" y="395738"/>
                </a:lnTo>
                <a:lnTo>
                  <a:pt x="136966" y="373780"/>
                </a:lnTo>
                <a:lnTo>
                  <a:pt x="137880" y="372027"/>
                </a:lnTo>
                <a:lnTo>
                  <a:pt x="137881" y="372027"/>
                </a:lnTo>
                <a:lnTo>
                  <a:pt x="148122" y="352391"/>
                </a:lnTo>
                <a:lnTo>
                  <a:pt x="159787" y="331571"/>
                </a:lnTo>
                <a:lnTo>
                  <a:pt x="171988" y="311336"/>
                </a:lnTo>
                <a:lnTo>
                  <a:pt x="184719" y="291677"/>
                </a:lnTo>
                <a:lnTo>
                  <a:pt x="197988" y="272618"/>
                </a:lnTo>
                <a:lnTo>
                  <a:pt x="211812" y="254143"/>
                </a:lnTo>
                <a:lnTo>
                  <a:pt x="241142" y="219015"/>
                </a:lnTo>
                <a:lnTo>
                  <a:pt x="272787" y="186325"/>
                </a:lnTo>
                <a:lnTo>
                  <a:pt x="306808" y="156118"/>
                </a:lnTo>
                <a:lnTo>
                  <a:pt x="343266" y="128447"/>
                </a:lnTo>
                <a:lnTo>
                  <a:pt x="362432" y="115578"/>
                </a:lnTo>
                <a:lnTo>
                  <a:pt x="382237" y="103346"/>
                </a:lnTo>
                <a:lnTo>
                  <a:pt x="402689" y="91775"/>
                </a:lnTo>
                <a:lnTo>
                  <a:pt x="423793" y="80865"/>
                </a:lnTo>
                <a:lnTo>
                  <a:pt x="445558" y="70617"/>
                </a:lnTo>
                <a:lnTo>
                  <a:pt x="467992" y="61045"/>
                </a:lnTo>
                <a:lnTo>
                  <a:pt x="491103" y="52142"/>
                </a:lnTo>
                <a:lnTo>
                  <a:pt x="514906" y="43923"/>
                </a:lnTo>
                <a:lnTo>
                  <a:pt x="539409" y="36389"/>
                </a:lnTo>
                <a:lnTo>
                  <a:pt x="564612" y="29553"/>
                </a:lnTo>
                <a:lnTo>
                  <a:pt x="590528" y="23403"/>
                </a:lnTo>
                <a:lnTo>
                  <a:pt x="617160" y="17967"/>
                </a:lnTo>
                <a:lnTo>
                  <a:pt x="644530" y="13231"/>
                </a:lnTo>
                <a:lnTo>
                  <a:pt x="672639" y="9210"/>
                </a:lnTo>
                <a:lnTo>
                  <a:pt x="701494" y="5912"/>
                </a:lnTo>
                <a:lnTo>
                  <a:pt x="731100" y="3336"/>
                </a:lnTo>
                <a:lnTo>
                  <a:pt x="761477" y="1484"/>
                </a:lnTo>
                <a:lnTo>
                  <a:pt x="792621" y="377"/>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3" name="Makro grafik 2">
            <a:extLst>
              <a:ext uri="{FF2B5EF4-FFF2-40B4-BE49-F238E27FC236}">
                <a16:creationId xmlns:a16="http://schemas.microsoft.com/office/drawing/2014/main" id="{3C47DF57-6C35-2F95-62C7-5AF5F1E443EA}"/>
              </a:ext>
            </a:extLst>
          </p:cNvPr>
          <p:cNvSpPr>
            <a:spLocks noGrp="1" noChangeAspect="1"/>
          </p:cNvSpPr>
          <p:nvPr>
            <p:ph type="body" sz="quarter" idx="20" hasCustomPrompt="1"/>
          </p:nvPr>
        </p:nvSpPr>
        <p:spPr>
          <a:xfrm>
            <a:off x="7625339" y="3523023"/>
            <a:ext cx="1123209" cy="1460462"/>
          </a:xfrm>
          <a:custGeom>
            <a:avLst/>
            <a:gdLst>
              <a:gd name="connsiteX0" fmla="*/ 0 w 1497612"/>
              <a:gd name="connsiteY0" fmla="*/ 1 h 1947283"/>
              <a:gd name="connsiteX1" fmla="*/ 133876 w 1497612"/>
              <a:gd name="connsiteY1" fmla="*/ 1 h 1947283"/>
              <a:gd name="connsiteX2" fmla="*/ 542054 w 1497612"/>
              <a:gd name="connsiteY2" fmla="*/ 1262003 h 1947283"/>
              <a:gd name="connsiteX3" fmla="*/ 763698 w 1497612"/>
              <a:gd name="connsiteY3" fmla="*/ 1947283 h 1947283"/>
              <a:gd name="connsiteX4" fmla="*/ 626777 w 1497612"/>
              <a:gd name="connsiteY4" fmla="*/ 1947283 h 1947283"/>
              <a:gd name="connsiteX5" fmla="*/ 406204 w 1497612"/>
              <a:gd name="connsiteY5" fmla="*/ 1262004 h 1947283"/>
              <a:gd name="connsiteX6" fmla="*/ 733914 w 1497612"/>
              <a:gd name="connsiteY6" fmla="*/ 0 h 1947283"/>
              <a:gd name="connsiteX7" fmla="*/ 867789 w 1497612"/>
              <a:gd name="connsiteY7" fmla="*/ 0 h 1947283"/>
              <a:gd name="connsiteX8" fmla="*/ 988168 w 1497612"/>
              <a:gd name="connsiteY8" fmla="*/ 372187 h 1947283"/>
              <a:gd name="connsiteX9" fmla="*/ 1497612 w 1497612"/>
              <a:gd name="connsiteY9" fmla="*/ 1947283 h 1947283"/>
              <a:gd name="connsiteX10" fmla="*/ 1360692 w 1497612"/>
              <a:gd name="connsiteY10" fmla="*/ 1947283 h 1947283"/>
              <a:gd name="connsiteX11" fmla="*/ 988168 w 1497612"/>
              <a:gd name="connsiteY11" fmla="*/ 789920 h 19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7612" h="1947283">
                <a:moveTo>
                  <a:pt x="0" y="1"/>
                </a:moveTo>
                <a:lnTo>
                  <a:pt x="133876" y="1"/>
                </a:lnTo>
                <a:lnTo>
                  <a:pt x="542054" y="1262003"/>
                </a:lnTo>
                <a:lnTo>
                  <a:pt x="763698" y="1947283"/>
                </a:lnTo>
                <a:lnTo>
                  <a:pt x="626777" y="1947283"/>
                </a:lnTo>
                <a:lnTo>
                  <a:pt x="406204" y="1262004"/>
                </a:lnTo>
                <a:close/>
                <a:moveTo>
                  <a:pt x="733914" y="0"/>
                </a:moveTo>
                <a:lnTo>
                  <a:pt x="867789" y="0"/>
                </a:lnTo>
                <a:lnTo>
                  <a:pt x="988168" y="372187"/>
                </a:lnTo>
                <a:lnTo>
                  <a:pt x="1497612" y="1947283"/>
                </a:lnTo>
                <a:lnTo>
                  <a:pt x="1360692" y="1947283"/>
                </a:lnTo>
                <a:lnTo>
                  <a:pt x="988168" y="78992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4" name="TextBox 1">
            <a:extLst>
              <a:ext uri="{FF2B5EF4-FFF2-40B4-BE49-F238E27FC236}">
                <a16:creationId xmlns:a16="http://schemas.microsoft.com/office/drawing/2014/main" id="{38C4D288-BF41-D871-ACA4-A53FE219D09D}"/>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pic>
        <p:nvPicPr>
          <p:cNvPr id="6" name="Picture 5" descr="A logo with a crown on it&#10;&#10;Description automatically generated">
            <a:extLst>
              <a:ext uri="{FF2B5EF4-FFF2-40B4-BE49-F238E27FC236}">
                <a16:creationId xmlns:a16="http://schemas.microsoft.com/office/drawing/2014/main" id="{07F3592A-DCDA-753F-F09D-906646F45A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5000" y="207900"/>
            <a:ext cx="2150000" cy="307143"/>
          </a:xfrm>
          <a:prstGeom prst="rect">
            <a:avLst/>
          </a:prstGeom>
        </p:spPr>
      </p:pic>
    </p:spTree>
    <p:extLst>
      <p:ext uri="{BB962C8B-B14F-4D97-AF65-F5344CB8AC3E}">
        <p14:creationId xmlns:p14="http://schemas.microsoft.com/office/powerpoint/2010/main" val="957756168"/>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emkonto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dirty="0"/>
          </a:p>
        </p:txBody>
      </p:sp>
      <p:sp>
        <p:nvSpPr>
          <p:cNvPr id="25" name="Makro grafik 1">
            <a:extLst>
              <a:ext uri="{FF2B5EF4-FFF2-40B4-BE49-F238E27FC236}">
                <a16:creationId xmlns:a16="http://schemas.microsoft.com/office/drawing/2014/main" id="{F2E0EEBD-7C39-E8CB-108F-09AF0CD4D448}"/>
              </a:ext>
            </a:extLst>
          </p:cNvPr>
          <p:cNvSpPr>
            <a:spLocks noGrp="1" noChangeAspect="1"/>
          </p:cNvSpPr>
          <p:nvPr>
            <p:ph type="body" sz="quarter" idx="19" hasCustomPrompt="1"/>
          </p:nvPr>
        </p:nvSpPr>
        <p:spPr>
          <a:xfrm>
            <a:off x="2827574" y="391015"/>
            <a:ext cx="1353707" cy="1779938"/>
          </a:xfrm>
          <a:custGeom>
            <a:avLst/>
            <a:gdLst>
              <a:gd name="connsiteX0" fmla="*/ 1135564 w 1804943"/>
              <a:gd name="connsiteY0" fmla="*/ 15338 h 2373250"/>
              <a:gd name="connsiteX1" fmla="*/ 1804943 w 1804943"/>
              <a:gd name="connsiteY1" fmla="*/ 15338 h 2373250"/>
              <a:gd name="connsiteX2" fmla="*/ 1804943 w 1804943"/>
              <a:gd name="connsiteY2" fmla="*/ 121436 h 2373250"/>
              <a:gd name="connsiteX3" fmla="*/ 1260314 w 1804943"/>
              <a:gd name="connsiteY3" fmla="*/ 121436 h 2373250"/>
              <a:gd name="connsiteX4" fmla="*/ 1260314 w 1804943"/>
              <a:gd name="connsiteY4" fmla="*/ 372027 h 2373250"/>
              <a:gd name="connsiteX5" fmla="*/ 1260314 w 1804943"/>
              <a:gd name="connsiteY5" fmla="*/ 2258004 h 2373250"/>
              <a:gd name="connsiteX6" fmla="*/ 1804943 w 1804943"/>
              <a:gd name="connsiteY6" fmla="*/ 2258004 h 2373250"/>
              <a:gd name="connsiteX7" fmla="*/ 1804943 w 1804943"/>
              <a:gd name="connsiteY7" fmla="*/ 2364102 h 2373250"/>
              <a:gd name="connsiteX8" fmla="*/ 1135564 w 1804943"/>
              <a:gd name="connsiteY8" fmla="*/ 2364102 h 2373250"/>
              <a:gd name="connsiteX9" fmla="*/ 1135564 w 1804943"/>
              <a:gd name="connsiteY9" fmla="*/ 2258004 h 2373250"/>
              <a:gd name="connsiteX10" fmla="*/ 1135564 w 1804943"/>
              <a:gd name="connsiteY10" fmla="*/ 372027 h 2373250"/>
              <a:gd name="connsiteX11" fmla="*/ 1135564 w 1804943"/>
              <a:gd name="connsiteY11" fmla="*/ 121436 h 2373250"/>
              <a:gd name="connsiteX12" fmla="*/ 824551 w 1804943"/>
              <a:gd name="connsiteY12" fmla="*/ 0 h 2373250"/>
              <a:gd name="connsiteX13" fmla="*/ 824551 w 1804943"/>
              <a:gd name="connsiteY13" fmla="*/ 106498 h 2373250"/>
              <a:gd name="connsiteX14" fmla="*/ 793382 w 1804943"/>
              <a:gd name="connsiteY14" fmla="*/ 106920 h 2373250"/>
              <a:gd name="connsiteX15" fmla="*/ 763107 w 1804943"/>
              <a:gd name="connsiteY15" fmla="*/ 108189 h 2373250"/>
              <a:gd name="connsiteX16" fmla="*/ 733699 w 1804943"/>
              <a:gd name="connsiteY16" fmla="*/ 110296 h 2373250"/>
              <a:gd name="connsiteX17" fmla="*/ 705152 w 1804943"/>
              <a:gd name="connsiteY17" fmla="*/ 113240 h 2373250"/>
              <a:gd name="connsiteX18" fmla="*/ 677451 w 1804943"/>
              <a:gd name="connsiteY18" fmla="*/ 117008 h 2373250"/>
              <a:gd name="connsiteX19" fmla="*/ 650596 w 1804943"/>
              <a:gd name="connsiteY19" fmla="*/ 121598 h 2373250"/>
              <a:gd name="connsiteX20" fmla="*/ 624564 w 1804943"/>
              <a:gd name="connsiteY20" fmla="*/ 126995 h 2373250"/>
              <a:gd name="connsiteX21" fmla="*/ 599346 w 1804943"/>
              <a:gd name="connsiteY21" fmla="*/ 133207 h 2373250"/>
              <a:gd name="connsiteX22" fmla="*/ 574929 w 1804943"/>
              <a:gd name="connsiteY22" fmla="*/ 140218 h 2373250"/>
              <a:gd name="connsiteX23" fmla="*/ 551302 w 1804943"/>
              <a:gd name="connsiteY23" fmla="*/ 148022 h 2373250"/>
              <a:gd name="connsiteX24" fmla="*/ 528461 w 1804943"/>
              <a:gd name="connsiteY24" fmla="*/ 156617 h 2373250"/>
              <a:gd name="connsiteX25" fmla="*/ 506387 w 1804943"/>
              <a:gd name="connsiteY25" fmla="*/ 165997 h 2373250"/>
              <a:gd name="connsiteX26" fmla="*/ 485076 w 1804943"/>
              <a:gd name="connsiteY26" fmla="*/ 176146 h 2373250"/>
              <a:gd name="connsiteX27" fmla="*/ 464502 w 1804943"/>
              <a:gd name="connsiteY27" fmla="*/ 187071 h 2373250"/>
              <a:gd name="connsiteX28" fmla="*/ 425554 w 1804943"/>
              <a:gd name="connsiteY28" fmla="*/ 211204 h 2373250"/>
              <a:gd name="connsiteX29" fmla="*/ 389457 w 1804943"/>
              <a:gd name="connsiteY29" fmla="*/ 238344 h 2373250"/>
              <a:gd name="connsiteX30" fmla="*/ 356105 w 1804943"/>
              <a:gd name="connsiteY30" fmla="*/ 268436 h 2373250"/>
              <a:gd name="connsiteX31" fmla="*/ 325421 w 1804943"/>
              <a:gd name="connsiteY31" fmla="*/ 301433 h 2373250"/>
              <a:gd name="connsiteX32" fmla="*/ 297313 w 1804943"/>
              <a:gd name="connsiteY32" fmla="*/ 337284 h 2373250"/>
              <a:gd name="connsiteX33" fmla="*/ 284189 w 1804943"/>
              <a:gd name="connsiteY33" fmla="*/ 356266 h 2373250"/>
              <a:gd name="connsiteX34" fmla="*/ 274169 w 1804943"/>
              <a:gd name="connsiteY34" fmla="*/ 372027 h 2373250"/>
              <a:gd name="connsiteX35" fmla="*/ 271680 w 1804943"/>
              <a:gd name="connsiteY35" fmla="*/ 375940 h 2373250"/>
              <a:gd name="connsiteX36" fmla="*/ 259763 w 1804943"/>
              <a:gd name="connsiteY36" fmla="*/ 396306 h 2373250"/>
              <a:gd name="connsiteX37" fmla="*/ 248431 w 1804943"/>
              <a:gd name="connsiteY37" fmla="*/ 417348 h 2373250"/>
              <a:gd name="connsiteX38" fmla="*/ 237675 w 1804943"/>
              <a:gd name="connsiteY38" fmla="*/ 439077 h 2373250"/>
              <a:gd name="connsiteX39" fmla="*/ 227480 w 1804943"/>
              <a:gd name="connsiteY39" fmla="*/ 461465 h 2373250"/>
              <a:gd name="connsiteX40" fmla="*/ 217839 w 1804943"/>
              <a:gd name="connsiteY40" fmla="*/ 484522 h 2373250"/>
              <a:gd name="connsiteX41" fmla="*/ 208737 w 1804943"/>
              <a:gd name="connsiteY41" fmla="*/ 508239 h 2373250"/>
              <a:gd name="connsiteX42" fmla="*/ 200156 w 1804943"/>
              <a:gd name="connsiteY42" fmla="*/ 532604 h 2373250"/>
              <a:gd name="connsiteX43" fmla="*/ 192100 w 1804943"/>
              <a:gd name="connsiteY43" fmla="*/ 557614 h 2373250"/>
              <a:gd name="connsiteX44" fmla="*/ 184542 w 1804943"/>
              <a:gd name="connsiteY44" fmla="*/ 583262 h 2373250"/>
              <a:gd name="connsiteX45" fmla="*/ 177484 w 1804943"/>
              <a:gd name="connsiteY45" fmla="*/ 609541 h 2373250"/>
              <a:gd name="connsiteX46" fmla="*/ 170903 w 1804943"/>
              <a:gd name="connsiteY46" fmla="*/ 636450 h 2373250"/>
              <a:gd name="connsiteX47" fmla="*/ 164799 w 1804943"/>
              <a:gd name="connsiteY47" fmla="*/ 663974 h 2373250"/>
              <a:gd name="connsiteX48" fmla="*/ 159148 w 1804943"/>
              <a:gd name="connsiteY48" fmla="*/ 692121 h 2373250"/>
              <a:gd name="connsiteX49" fmla="*/ 153950 w 1804943"/>
              <a:gd name="connsiteY49" fmla="*/ 720867 h 2373250"/>
              <a:gd name="connsiteX50" fmla="*/ 149183 w 1804943"/>
              <a:gd name="connsiteY50" fmla="*/ 750212 h 2373250"/>
              <a:gd name="connsiteX51" fmla="*/ 144839 w 1804943"/>
              <a:gd name="connsiteY51" fmla="*/ 780158 h 2373250"/>
              <a:gd name="connsiteX52" fmla="*/ 140910 w 1804943"/>
              <a:gd name="connsiteY52" fmla="*/ 810689 h 2373250"/>
              <a:gd name="connsiteX53" fmla="*/ 137390 w 1804943"/>
              <a:gd name="connsiteY53" fmla="*/ 841803 h 2373250"/>
              <a:gd name="connsiteX54" fmla="*/ 134253 w 1804943"/>
              <a:gd name="connsiteY54" fmla="*/ 873494 h 2373250"/>
              <a:gd name="connsiteX55" fmla="*/ 131501 w 1804943"/>
              <a:gd name="connsiteY55" fmla="*/ 905754 h 2373250"/>
              <a:gd name="connsiteX56" fmla="*/ 129109 w 1804943"/>
              <a:gd name="connsiteY56" fmla="*/ 938575 h 2373250"/>
              <a:gd name="connsiteX57" fmla="*/ 127073 w 1804943"/>
              <a:gd name="connsiteY57" fmla="*/ 971958 h 2373250"/>
              <a:gd name="connsiteX58" fmla="*/ 125389 w 1804943"/>
              <a:gd name="connsiteY58" fmla="*/ 1005886 h 2373250"/>
              <a:gd name="connsiteX59" fmla="*/ 124027 w 1804943"/>
              <a:gd name="connsiteY59" fmla="*/ 1040360 h 2373250"/>
              <a:gd name="connsiteX60" fmla="*/ 122997 w 1804943"/>
              <a:gd name="connsiteY60" fmla="*/ 1075373 h 2373250"/>
              <a:gd name="connsiteX61" fmla="*/ 122267 w 1804943"/>
              <a:gd name="connsiteY61" fmla="*/ 1110923 h 2373250"/>
              <a:gd name="connsiteX62" fmla="*/ 121844 w 1804943"/>
              <a:gd name="connsiteY62" fmla="*/ 1146996 h 2373250"/>
              <a:gd name="connsiteX63" fmla="*/ 121706 w 1804943"/>
              <a:gd name="connsiteY63" fmla="*/ 1183585 h 2373250"/>
              <a:gd name="connsiteX64" fmla="*/ 121829 w 1804943"/>
              <a:gd name="connsiteY64" fmla="*/ 1220003 h 2373250"/>
              <a:gd name="connsiteX65" fmla="*/ 122229 w 1804943"/>
              <a:gd name="connsiteY65" fmla="*/ 1255892 h 2373250"/>
              <a:gd name="connsiteX66" fmla="*/ 122897 w 1804943"/>
              <a:gd name="connsiteY66" fmla="*/ 1291258 h 2373250"/>
              <a:gd name="connsiteX67" fmla="*/ 123850 w 1804943"/>
              <a:gd name="connsiteY67" fmla="*/ 1326087 h 2373250"/>
              <a:gd name="connsiteX68" fmla="*/ 125111 w 1804943"/>
              <a:gd name="connsiteY68" fmla="*/ 1360376 h 2373250"/>
              <a:gd name="connsiteX69" fmla="*/ 126679 w 1804943"/>
              <a:gd name="connsiteY69" fmla="*/ 1394113 h 2373250"/>
              <a:gd name="connsiteX70" fmla="*/ 128571 w 1804943"/>
              <a:gd name="connsiteY70" fmla="*/ 1427303 h 2373250"/>
              <a:gd name="connsiteX71" fmla="*/ 130802 w 1804943"/>
              <a:gd name="connsiteY71" fmla="*/ 1459939 h 2373250"/>
              <a:gd name="connsiteX72" fmla="*/ 133368 w 1804943"/>
              <a:gd name="connsiteY72" fmla="*/ 1492006 h 2373250"/>
              <a:gd name="connsiteX73" fmla="*/ 136298 w 1804943"/>
              <a:gd name="connsiteY73" fmla="*/ 1523513 h 2373250"/>
              <a:gd name="connsiteX74" fmla="*/ 139596 w 1804943"/>
              <a:gd name="connsiteY74" fmla="*/ 1554442 h 2373250"/>
              <a:gd name="connsiteX75" fmla="*/ 143271 w 1804943"/>
              <a:gd name="connsiteY75" fmla="*/ 1584796 h 2373250"/>
              <a:gd name="connsiteX76" fmla="*/ 147338 w 1804943"/>
              <a:gd name="connsiteY76" fmla="*/ 1614566 h 2373250"/>
              <a:gd name="connsiteX77" fmla="*/ 151813 w 1804943"/>
              <a:gd name="connsiteY77" fmla="*/ 1643750 h 2373250"/>
              <a:gd name="connsiteX78" fmla="*/ 156702 w 1804943"/>
              <a:gd name="connsiteY78" fmla="*/ 1672334 h 2373250"/>
              <a:gd name="connsiteX79" fmla="*/ 162015 w 1804943"/>
              <a:gd name="connsiteY79" fmla="*/ 1700320 h 2373250"/>
              <a:gd name="connsiteX80" fmla="*/ 167766 w 1804943"/>
              <a:gd name="connsiteY80" fmla="*/ 1727705 h 2373250"/>
              <a:gd name="connsiteX81" fmla="*/ 173962 w 1804943"/>
              <a:gd name="connsiteY81" fmla="*/ 1754476 h 2373250"/>
              <a:gd name="connsiteX82" fmla="*/ 180629 w 1804943"/>
              <a:gd name="connsiteY82" fmla="*/ 1780631 h 2373250"/>
              <a:gd name="connsiteX83" fmla="*/ 187755 w 1804943"/>
              <a:gd name="connsiteY83" fmla="*/ 1806164 h 2373250"/>
              <a:gd name="connsiteX84" fmla="*/ 195374 w 1804943"/>
              <a:gd name="connsiteY84" fmla="*/ 1831074 h 2373250"/>
              <a:gd name="connsiteX85" fmla="*/ 203485 w 1804943"/>
              <a:gd name="connsiteY85" fmla="*/ 1855346 h 2373250"/>
              <a:gd name="connsiteX86" fmla="*/ 212112 w 1804943"/>
              <a:gd name="connsiteY86" fmla="*/ 1878988 h 2373250"/>
              <a:gd name="connsiteX87" fmla="*/ 221245 w 1804943"/>
              <a:gd name="connsiteY87" fmla="*/ 1901983 h 2373250"/>
              <a:gd name="connsiteX88" fmla="*/ 230917 w 1804943"/>
              <a:gd name="connsiteY88" fmla="*/ 1924332 h 2373250"/>
              <a:gd name="connsiteX89" fmla="*/ 241128 w 1804943"/>
              <a:gd name="connsiteY89" fmla="*/ 1946029 h 2373250"/>
              <a:gd name="connsiteX90" fmla="*/ 251891 w 1804943"/>
              <a:gd name="connsiteY90" fmla="*/ 1967064 h 2373250"/>
              <a:gd name="connsiteX91" fmla="*/ 263216 w 1804943"/>
              <a:gd name="connsiteY91" fmla="*/ 1987430 h 2373250"/>
              <a:gd name="connsiteX92" fmla="*/ 287611 w 1804943"/>
              <a:gd name="connsiteY92" fmla="*/ 2026164 h 2373250"/>
              <a:gd name="connsiteX93" fmla="*/ 314404 w 1804943"/>
              <a:gd name="connsiteY93" fmla="*/ 2062168 h 2373250"/>
              <a:gd name="connsiteX94" fmla="*/ 343681 w 1804943"/>
              <a:gd name="connsiteY94" fmla="*/ 2095412 h 2373250"/>
              <a:gd name="connsiteX95" fmla="*/ 375541 w 1804943"/>
              <a:gd name="connsiteY95" fmla="*/ 2125849 h 2373250"/>
              <a:gd name="connsiteX96" fmla="*/ 410077 w 1804943"/>
              <a:gd name="connsiteY96" fmla="*/ 2153435 h 2373250"/>
              <a:gd name="connsiteX97" fmla="*/ 447372 w 1804943"/>
              <a:gd name="connsiteY97" fmla="*/ 2178130 h 2373250"/>
              <a:gd name="connsiteX98" fmla="*/ 487529 w 1804943"/>
              <a:gd name="connsiteY98" fmla="*/ 2199888 h 2373250"/>
              <a:gd name="connsiteX99" fmla="*/ 508702 w 1804943"/>
              <a:gd name="connsiteY99" fmla="*/ 2209652 h 2373250"/>
              <a:gd name="connsiteX100" fmla="*/ 530629 w 1804943"/>
              <a:gd name="connsiteY100" fmla="*/ 2218662 h 2373250"/>
              <a:gd name="connsiteX101" fmla="*/ 553317 w 1804943"/>
              <a:gd name="connsiteY101" fmla="*/ 2226920 h 2373250"/>
              <a:gd name="connsiteX102" fmla="*/ 576782 w 1804943"/>
              <a:gd name="connsiteY102" fmla="*/ 2234416 h 2373250"/>
              <a:gd name="connsiteX103" fmla="*/ 601022 w 1804943"/>
              <a:gd name="connsiteY103" fmla="*/ 2241150 h 2373250"/>
              <a:gd name="connsiteX104" fmla="*/ 626056 w 1804943"/>
              <a:gd name="connsiteY104" fmla="*/ 2247109 h 2373250"/>
              <a:gd name="connsiteX105" fmla="*/ 651904 w 1804943"/>
              <a:gd name="connsiteY105" fmla="*/ 2252291 h 2373250"/>
              <a:gd name="connsiteX106" fmla="*/ 678567 w 1804943"/>
              <a:gd name="connsiteY106" fmla="*/ 2256688 h 2373250"/>
              <a:gd name="connsiteX107" fmla="*/ 706061 w 1804943"/>
              <a:gd name="connsiteY107" fmla="*/ 2260301 h 2373250"/>
              <a:gd name="connsiteX108" fmla="*/ 734390 w 1804943"/>
              <a:gd name="connsiteY108" fmla="*/ 2263116 h 2373250"/>
              <a:gd name="connsiteX109" fmla="*/ 763575 w 1804943"/>
              <a:gd name="connsiteY109" fmla="*/ 2265138 h 2373250"/>
              <a:gd name="connsiteX110" fmla="*/ 793630 w 1804943"/>
              <a:gd name="connsiteY110" fmla="*/ 2266352 h 2373250"/>
              <a:gd name="connsiteX111" fmla="*/ 824551 w 1804943"/>
              <a:gd name="connsiteY111" fmla="*/ 2266760 h 2373250"/>
              <a:gd name="connsiteX112" fmla="*/ 824551 w 1804943"/>
              <a:gd name="connsiteY112" fmla="*/ 2373250 h 2373250"/>
              <a:gd name="connsiteX113" fmla="*/ 792476 w 1804943"/>
              <a:gd name="connsiteY113" fmla="*/ 2372881 h 2373250"/>
              <a:gd name="connsiteX114" fmla="*/ 761193 w 1804943"/>
              <a:gd name="connsiteY114" fmla="*/ 2371759 h 2373250"/>
              <a:gd name="connsiteX115" fmla="*/ 730694 w 1804943"/>
              <a:gd name="connsiteY115" fmla="*/ 2369898 h 2373250"/>
              <a:gd name="connsiteX116" fmla="*/ 700970 w 1804943"/>
              <a:gd name="connsiteY116" fmla="*/ 2367307 h 2373250"/>
              <a:gd name="connsiteX117" fmla="*/ 672008 w 1804943"/>
              <a:gd name="connsiteY117" fmla="*/ 2363986 h 2373250"/>
              <a:gd name="connsiteX118" fmla="*/ 643800 w 1804943"/>
              <a:gd name="connsiteY118" fmla="*/ 2359941 h 2373250"/>
              <a:gd name="connsiteX119" fmla="*/ 616345 w 1804943"/>
              <a:gd name="connsiteY119" fmla="*/ 2355175 h 2373250"/>
              <a:gd name="connsiteX120" fmla="*/ 589621 w 1804943"/>
              <a:gd name="connsiteY120" fmla="*/ 2349701 h 2373250"/>
              <a:gd name="connsiteX121" fmla="*/ 563635 w 1804943"/>
              <a:gd name="connsiteY121" fmla="*/ 2343519 h 2373250"/>
              <a:gd name="connsiteX122" fmla="*/ 538363 w 1804943"/>
              <a:gd name="connsiteY122" fmla="*/ 2336631 h 2373250"/>
              <a:gd name="connsiteX123" fmla="*/ 513800 w 1804943"/>
              <a:gd name="connsiteY123" fmla="*/ 2329050 h 2373250"/>
              <a:gd name="connsiteX124" fmla="*/ 489950 w 1804943"/>
              <a:gd name="connsiteY124" fmla="*/ 2320785 h 2373250"/>
              <a:gd name="connsiteX125" fmla="*/ 466785 w 1804943"/>
              <a:gd name="connsiteY125" fmla="*/ 2311829 h 2373250"/>
              <a:gd name="connsiteX126" fmla="*/ 444312 w 1804943"/>
              <a:gd name="connsiteY126" fmla="*/ 2302195 h 2373250"/>
              <a:gd name="connsiteX127" fmla="*/ 422516 w 1804943"/>
              <a:gd name="connsiteY127" fmla="*/ 2291885 h 2373250"/>
              <a:gd name="connsiteX128" fmla="*/ 401389 w 1804943"/>
              <a:gd name="connsiteY128" fmla="*/ 2280906 h 2373250"/>
              <a:gd name="connsiteX129" fmla="*/ 380915 w 1804943"/>
              <a:gd name="connsiteY129" fmla="*/ 2269266 h 2373250"/>
              <a:gd name="connsiteX130" fmla="*/ 361094 w 1804943"/>
              <a:gd name="connsiteY130" fmla="*/ 2256965 h 2373250"/>
              <a:gd name="connsiteX131" fmla="*/ 341921 w 1804943"/>
              <a:gd name="connsiteY131" fmla="*/ 2244018 h 2373250"/>
              <a:gd name="connsiteX132" fmla="*/ 305456 w 1804943"/>
              <a:gd name="connsiteY132" fmla="*/ 2216179 h 2373250"/>
              <a:gd name="connsiteX133" fmla="*/ 271450 w 1804943"/>
              <a:gd name="connsiteY133" fmla="*/ 2185803 h 2373250"/>
              <a:gd name="connsiteX134" fmla="*/ 239844 w 1804943"/>
              <a:gd name="connsiteY134" fmla="*/ 2152920 h 2373250"/>
              <a:gd name="connsiteX135" fmla="*/ 210559 w 1804943"/>
              <a:gd name="connsiteY135" fmla="*/ 2117584 h 2373250"/>
              <a:gd name="connsiteX136" fmla="*/ 196759 w 1804943"/>
              <a:gd name="connsiteY136" fmla="*/ 2099010 h 2373250"/>
              <a:gd name="connsiteX137" fmla="*/ 183519 w 1804943"/>
              <a:gd name="connsiteY137" fmla="*/ 2079843 h 2373250"/>
              <a:gd name="connsiteX138" fmla="*/ 170826 w 1804943"/>
              <a:gd name="connsiteY138" fmla="*/ 2060076 h 2373250"/>
              <a:gd name="connsiteX139" fmla="*/ 158670 w 1804943"/>
              <a:gd name="connsiteY139" fmla="*/ 2039725 h 2373250"/>
              <a:gd name="connsiteX140" fmla="*/ 147039 w 1804943"/>
              <a:gd name="connsiteY140" fmla="*/ 2018790 h 2373250"/>
              <a:gd name="connsiteX141" fmla="*/ 135929 w 1804943"/>
              <a:gd name="connsiteY141" fmla="*/ 1997286 h 2373250"/>
              <a:gd name="connsiteX142" fmla="*/ 125326 w 1804943"/>
              <a:gd name="connsiteY142" fmla="*/ 1975206 h 2373250"/>
              <a:gd name="connsiteX143" fmla="*/ 115224 w 1804943"/>
              <a:gd name="connsiteY143" fmla="*/ 1952564 h 2373250"/>
              <a:gd name="connsiteX144" fmla="*/ 105621 w 1804943"/>
              <a:gd name="connsiteY144" fmla="*/ 1929369 h 2373250"/>
              <a:gd name="connsiteX145" fmla="*/ 96495 w 1804943"/>
              <a:gd name="connsiteY145" fmla="*/ 1905612 h 2373250"/>
              <a:gd name="connsiteX146" fmla="*/ 87846 w 1804943"/>
              <a:gd name="connsiteY146" fmla="*/ 1881309 h 2373250"/>
              <a:gd name="connsiteX147" fmla="*/ 79666 w 1804943"/>
              <a:gd name="connsiteY147" fmla="*/ 1856461 h 2373250"/>
              <a:gd name="connsiteX148" fmla="*/ 71947 w 1804943"/>
              <a:gd name="connsiteY148" fmla="*/ 1831082 h 2373250"/>
              <a:gd name="connsiteX149" fmla="*/ 64675 w 1804943"/>
              <a:gd name="connsiteY149" fmla="*/ 1805165 h 2373250"/>
              <a:gd name="connsiteX150" fmla="*/ 57839 w 1804943"/>
              <a:gd name="connsiteY150" fmla="*/ 1778725 h 2373250"/>
              <a:gd name="connsiteX151" fmla="*/ 51435 w 1804943"/>
              <a:gd name="connsiteY151" fmla="*/ 1751762 h 2373250"/>
              <a:gd name="connsiteX152" fmla="*/ 45461 w 1804943"/>
              <a:gd name="connsiteY152" fmla="*/ 1724284 h 2373250"/>
              <a:gd name="connsiteX153" fmla="*/ 39895 w 1804943"/>
              <a:gd name="connsiteY153" fmla="*/ 1696292 h 2373250"/>
              <a:gd name="connsiteX154" fmla="*/ 34736 w 1804943"/>
              <a:gd name="connsiteY154" fmla="*/ 1667799 h 2373250"/>
              <a:gd name="connsiteX155" fmla="*/ 29969 w 1804943"/>
              <a:gd name="connsiteY155" fmla="*/ 1638806 h 2373250"/>
              <a:gd name="connsiteX156" fmla="*/ 25595 w 1804943"/>
              <a:gd name="connsiteY156" fmla="*/ 1609322 h 2373250"/>
              <a:gd name="connsiteX157" fmla="*/ 21597 w 1804943"/>
              <a:gd name="connsiteY157" fmla="*/ 1579352 h 2373250"/>
              <a:gd name="connsiteX158" fmla="*/ 17967 w 1804943"/>
              <a:gd name="connsiteY158" fmla="*/ 1548893 h 2373250"/>
              <a:gd name="connsiteX159" fmla="*/ 14708 w 1804943"/>
              <a:gd name="connsiteY159" fmla="*/ 1517963 h 2373250"/>
              <a:gd name="connsiteX160" fmla="*/ 11794 w 1804943"/>
              <a:gd name="connsiteY160" fmla="*/ 1486556 h 2373250"/>
              <a:gd name="connsiteX161" fmla="*/ 9226 w 1804943"/>
              <a:gd name="connsiteY161" fmla="*/ 1454681 h 2373250"/>
              <a:gd name="connsiteX162" fmla="*/ 6989 w 1804943"/>
              <a:gd name="connsiteY162" fmla="*/ 1422351 h 2373250"/>
              <a:gd name="connsiteX163" fmla="*/ 5082 w 1804943"/>
              <a:gd name="connsiteY163" fmla="*/ 1389569 h 2373250"/>
              <a:gd name="connsiteX164" fmla="*/ 3490 w 1804943"/>
              <a:gd name="connsiteY164" fmla="*/ 1356325 h 2373250"/>
              <a:gd name="connsiteX165" fmla="*/ 2206 w 1804943"/>
              <a:gd name="connsiteY165" fmla="*/ 1322649 h 2373250"/>
              <a:gd name="connsiteX166" fmla="*/ 1230 w 1804943"/>
              <a:gd name="connsiteY166" fmla="*/ 1288530 h 2373250"/>
              <a:gd name="connsiteX167" fmla="*/ 540 w 1804943"/>
              <a:gd name="connsiteY167" fmla="*/ 1253971 h 2373250"/>
              <a:gd name="connsiteX168" fmla="*/ 132 w 1804943"/>
              <a:gd name="connsiteY168" fmla="*/ 1218989 h 2373250"/>
              <a:gd name="connsiteX169" fmla="*/ 0 w 1804943"/>
              <a:gd name="connsiteY169" fmla="*/ 1183585 h 2373250"/>
              <a:gd name="connsiteX170" fmla="*/ 132 w 1804943"/>
              <a:gd name="connsiteY170" fmla="*/ 1148334 h 2373250"/>
              <a:gd name="connsiteX171" fmla="*/ 546 w 1804943"/>
              <a:gd name="connsiteY171" fmla="*/ 1113498 h 2373250"/>
              <a:gd name="connsiteX172" fmla="*/ 1254 w 1804943"/>
              <a:gd name="connsiteY172" fmla="*/ 1079094 h 2373250"/>
              <a:gd name="connsiteX173" fmla="*/ 2246 w 1804943"/>
              <a:gd name="connsiteY173" fmla="*/ 1045127 h 2373250"/>
              <a:gd name="connsiteX174" fmla="*/ 3544 w 1804943"/>
              <a:gd name="connsiteY174" fmla="*/ 1011590 h 2373250"/>
              <a:gd name="connsiteX175" fmla="*/ 5159 w 1804943"/>
              <a:gd name="connsiteY175" fmla="*/ 978500 h 2373250"/>
              <a:gd name="connsiteX176" fmla="*/ 7096 w 1804943"/>
              <a:gd name="connsiteY176" fmla="*/ 945863 h 2373250"/>
              <a:gd name="connsiteX177" fmla="*/ 9356 w 1804943"/>
              <a:gd name="connsiteY177" fmla="*/ 913681 h 2373250"/>
              <a:gd name="connsiteX178" fmla="*/ 11964 w 1804943"/>
              <a:gd name="connsiteY178" fmla="*/ 881951 h 2373250"/>
              <a:gd name="connsiteX179" fmla="*/ 14909 w 1804943"/>
              <a:gd name="connsiteY179" fmla="*/ 850691 h 2373250"/>
              <a:gd name="connsiteX180" fmla="*/ 18214 w 1804943"/>
              <a:gd name="connsiteY180" fmla="*/ 819907 h 2373250"/>
              <a:gd name="connsiteX181" fmla="*/ 21881 w 1804943"/>
              <a:gd name="connsiteY181" fmla="*/ 789592 h 2373250"/>
              <a:gd name="connsiteX182" fmla="*/ 25917 w 1804943"/>
              <a:gd name="connsiteY182" fmla="*/ 759762 h 2373250"/>
              <a:gd name="connsiteX183" fmla="*/ 30338 w 1804943"/>
              <a:gd name="connsiteY183" fmla="*/ 730423 h 2373250"/>
              <a:gd name="connsiteX184" fmla="*/ 35152 w 1804943"/>
              <a:gd name="connsiteY184" fmla="*/ 701569 h 2373250"/>
              <a:gd name="connsiteX185" fmla="*/ 40356 w 1804943"/>
              <a:gd name="connsiteY185" fmla="*/ 673215 h 2373250"/>
              <a:gd name="connsiteX186" fmla="*/ 45968 w 1804943"/>
              <a:gd name="connsiteY186" fmla="*/ 645368 h 2373250"/>
              <a:gd name="connsiteX187" fmla="*/ 51996 w 1804943"/>
              <a:gd name="connsiteY187" fmla="*/ 618029 h 2373250"/>
              <a:gd name="connsiteX188" fmla="*/ 58446 w 1804943"/>
              <a:gd name="connsiteY188" fmla="*/ 591204 h 2373250"/>
              <a:gd name="connsiteX189" fmla="*/ 65335 w 1804943"/>
              <a:gd name="connsiteY189" fmla="*/ 564895 h 2373250"/>
              <a:gd name="connsiteX190" fmla="*/ 72655 w 1804943"/>
              <a:gd name="connsiteY190" fmla="*/ 539109 h 2373250"/>
              <a:gd name="connsiteX191" fmla="*/ 80428 w 1804943"/>
              <a:gd name="connsiteY191" fmla="*/ 513860 h 2373250"/>
              <a:gd name="connsiteX192" fmla="*/ 88661 w 1804943"/>
              <a:gd name="connsiteY192" fmla="*/ 489142 h 2373250"/>
              <a:gd name="connsiteX193" fmla="*/ 97358 w 1804943"/>
              <a:gd name="connsiteY193" fmla="*/ 464962 h 2373250"/>
              <a:gd name="connsiteX194" fmla="*/ 106521 w 1804943"/>
              <a:gd name="connsiteY194" fmla="*/ 441336 h 2373250"/>
              <a:gd name="connsiteX195" fmla="*/ 116178 w 1804943"/>
              <a:gd name="connsiteY195" fmla="*/ 418257 h 2373250"/>
              <a:gd name="connsiteX196" fmla="*/ 126320 w 1804943"/>
              <a:gd name="connsiteY196" fmla="*/ 395738 h 2373250"/>
              <a:gd name="connsiteX197" fmla="*/ 136966 w 1804943"/>
              <a:gd name="connsiteY197" fmla="*/ 373780 h 2373250"/>
              <a:gd name="connsiteX198" fmla="*/ 137880 w 1804943"/>
              <a:gd name="connsiteY198" fmla="*/ 372027 h 2373250"/>
              <a:gd name="connsiteX199" fmla="*/ 137881 w 1804943"/>
              <a:gd name="connsiteY199" fmla="*/ 372027 h 2373250"/>
              <a:gd name="connsiteX200" fmla="*/ 148122 w 1804943"/>
              <a:gd name="connsiteY200" fmla="*/ 352391 h 2373250"/>
              <a:gd name="connsiteX201" fmla="*/ 159787 w 1804943"/>
              <a:gd name="connsiteY201" fmla="*/ 331571 h 2373250"/>
              <a:gd name="connsiteX202" fmla="*/ 171988 w 1804943"/>
              <a:gd name="connsiteY202" fmla="*/ 311336 h 2373250"/>
              <a:gd name="connsiteX203" fmla="*/ 184719 w 1804943"/>
              <a:gd name="connsiteY203" fmla="*/ 291677 h 2373250"/>
              <a:gd name="connsiteX204" fmla="*/ 197988 w 1804943"/>
              <a:gd name="connsiteY204" fmla="*/ 272618 h 2373250"/>
              <a:gd name="connsiteX205" fmla="*/ 211812 w 1804943"/>
              <a:gd name="connsiteY205" fmla="*/ 254143 h 2373250"/>
              <a:gd name="connsiteX206" fmla="*/ 241142 w 1804943"/>
              <a:gd name="connsiteY206" fmla="*/ 219015 h 2373250"/>
              <a:gd name="connsiteX207" fmla="*/ 272787 w 1804943"/>
              <a:gd name="connsiteY207" fmla="*/ 186325 h 2373250"/>
              <a:gd name="connsiteX208" fmla="*/ 306808 w 1804943"/>
              <a:gd name="connsiteY208" fmla="*/ 156118 h 2373250"/>
              <a:gd name="connsiteX209" fmla="*/ 343266 w 1804943"/>
              <a:gd name="connsiteY209" fmla="*/ 128447 h 2373250"/>
              <a:gd name="connsiteX210" fmla="*/ 362432 w 1804943"/>
              <a:gd name="connsiteY210" fmla="*/ 115578 h 2373250"/>
              <a:gd name="connsiteX211" fmla="*/ 382237 w 1804943"/>
              <a:gd name="connsiteY211" fmla="*/ 103346 h 2373250"/>
              <a:gd name="connsiteX212" fmla="*/ 402689 w 1804943"/>
              <a:gd name="connsiteY212" fmla="*/ 91775 h 2373250"/>
              <a:gd name="connsiteX213" fmla="*/ 423793 w 1804943"/>
              <a:gd name="connsiteY213" fmla="*/ 80865 h 2373250"/>
              <a:gd name="connsiteX214" fmla="*/ 445558 w 1804943"/>
              <a:gd name="connsiteY214" fmla="*/ 70617 h 2373250"/>
              <a:gd name="connsiteX215" fmla="*/ 467992 w 1804943"/>
              <a:gd name="connsiteY215" fmla="*/ 61045 h 2373250"/>
              <a:gd name="connsiteX216" fmla="*/ 491103 w 1804943"/>
              <a:gd name="connsiteY216" fmla="*/ 52142 h 2373250"/>
              <a:gd name="connsiteX217" fmla="*/ 514906 w 1804943"/>
              <a:gd name="connsiteY217" fmla="*/ 43923 h 2373250"/>
              <a:gd name="connsiteX218" fmla="*/ 539409 w 1804943"/>
              <a:gd name="connsiteY218" fmla="*/ 36389 h 2373250"/>
              <a:gd name="connsiteX219" fmla="*/ 564612 w 1804943"/>
              <a:gd name="connsiteY219" fmla="*/ 29553 h 2373250"/>
              <a:gd name="connsiteX220" fmla="*/ 590528 w 1804943"/>
              <a:gd name="connsiteY220" fmla="*/ 23403 h 2373250"/>
              <a:gd name="connsiteX221" fmla="*/ 617160 w 1804943"/>
              <a:gd name="connsiteY221" fmla="*/ 17967 h 2373250"/>
              <a:gd name="connsiteX222" fmla="*/ 644530 w 1804943"/>
              <a:gd name="connsiteY222" fmla="*/ 13231 h 2373250"/>
              <a:gd name="connsiteX223" fmla="*/ 672639 w 1804943"/>
              <a:gd name="connsiteY223" fmla="*/ 9210 h 2373250"/>
              <a:gd name="connsiteX224" fmla="*/ 701494 w 1804943"/>
              <a:gd name="connsiteY224" fmla="*/ 5912 h 2373250"/>
              <a:gd name="connsiteX225" fmla="*/ 731100 w 1804943"/>
              <a:gd name="connsiteY225" fmla="*/ 3336 h 2373250"/>
              <a:gd name="connsiteX226" fmla="*/ 761477 w 1804943"/>
              <a:gd name="connsiteY226" fmla="*/ 1484 h 2373250"/>
              <a:gd name="connsiteX227" fmla="*/ 792621 w 1804943"/>
              <a:gd name="connsiteY227" fmla="*/ 377 h 23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804943" h="2373250">
                <a:moveTo>
                  <a:pt x="1135564" y="15338"/>
                </a:moveTo>
                <a:lnTo>
                  <a:pt x="1804943" y="15338"/>
                </a:lnTo>
                <a:lnTo>
                  <a:pt x="1804943" y="121436"/>
                </a:lnTo>
                <a:lnTo>
                  <a:pt x="1260314" y="121436"/>
                </a:lnTo>
                <a:lnTo>
                  <a:pt x="1260314" y="372027"/>
                </a:lnTo>
                <a:lnTo>
                  <a:pt x="1260314" y="2258004"/>
                </a:lnTo>
                <a:lnTo>
                  <a:pt x="1804943" y="2258004"/>
                </a:lnTo>
                <a:lnTo>
                  <a:pt x="1804943" y="2364102"/>
                </a:lnTo>
                <a:lnTo>
                  <a:pt x="1135564" y="2364102"/>
                </a:lnTo>
                <a:lnTo>
                  <a:pt x="1135564" y="2258004"/>
                </a:lnTo>
                <a:lnTo>
                  <a:pt x="1135564" y="372027"/>
                </a:lnTo>
                <a:lnTo>
                  <a:pt x="1135564" y="121436"/>
                </a:lnTo>
                <a:close/>
                <a:moveTo>
                  <a:pt x="824551" y="0"/>
                </a:moveTo>
                <a:lnTo>
                  <a:pt x="824551" y="106498"/>
                </a:lnTo>
                <a:lnTo>
                  <a:pt x="793382" y="106920"/>
                </a:lnTo>
                <a:lnTo>
                  <a:pt x="763107" y="108189"/>
                </a:lnTo>
                <a:lnTo>
                  <a:pt x="733699" y="110296"/>
                </a:lnTo>
                <a:lnTo>
                  <a:pt x="705152" y="113240"/>
                </a:lnTo>
                <a:lnTo>
                  <a:pt x="677451" y="117008"/>
                </a:lnTo>
                <a:lnTo>
                  <a:pt x="650596" y="121598"/>
                </a:lnTo>
                <a:lnTo>
                  <a:pt x="624564" y="126995"/>
                </a:lnTo>
                <a:lnTo>
                  <a:pt x="599346" y="133207"/>
                </a:lnTo>
                <a:lnTo>
                  <a:pt x="574929" y="140218"/>
                </a:lnTo>
                <a:lnTo>
                  <a:pt x="551302" y="148022"/>
                </a:lnTo>
                <a:lnTo>
                  <a:pt x="528461" y="156617"/>
                </a:lnTo>
                <a:lnTo>
                  <a:pt x="506387" y="165997"/>
                </a:lnTo>
                <a:lnTo>
                  <a:pt x="485076" y="176146"/>
                </a:lnTo>
                <a:lnTo>
                  <a:pt x="464502" y="187071"/>
                </a:lnTo>
                <a:lnTo>
                  <a:pt x="425554" y="211204"/>
                </a:lnTo>
                <a:lnTo>
                  <a:pt x="389457" y="238344"/>
                </a:lnTo>
                <a:lnTo>
                  <a:pt x="356105" y="268436"/>
                </a:lnTo>
                <a:lnTo>
                  <a:pt x="325421" y="301433"/>
                </a:lnTo>
                <a:lnTo>
                  <a:pt x="297313" y="337284"/>
                </a:lnTo>
                <a:lnTo>
                  <a:pt x="284189" y="356266"/>
                </a:lnTo>
                <a:lnTo>
                  <a:pt x="274169" y="372027"/>
                </a:lnTo>
                <a:lnTo>
                  <a:pt x="271680" y="375940"/>
                </a:lnTo>
                <a:lnTo>
                  <a:pt x="259763" y="396306"/>
                </a:lnTo>
                <a:lnTo>
                  <a:pt x="248431" y="417348"/>
                </a:lnTo>
                <a:lnTo>
                  <a:pt x="237675" y="439077"/>
                </a:lnTo>
                <a:lnTo>
                  <a:pt x="227480" y="461465"/>
                </a:lnTo>
                <a:lnTo>
                  <a:pt x="217839" y="484522"/>
                </a:lnTo>
                <a:lnTo>
                  <a:pt x="208737" y="508239"/>
                </a:lnTo>
                <a:lnTo>
                  <a:pt x="200156" y="532604"/>
                </a:lnTo>
                <a:lnTo>
                  <a:pt x="192100" y="557614"/>
                </a:lnTo>
                <a:lnTo>
                  <a:pt x="184542" y="583262"/>
                </a:lnTo>
                <a:lnTo>
                  <a:pt x="177484" y="609541"/>
                </a:lnTo>
                <a:lnTo>
                  <a:pt x="170903" y="636450"/>
                </a:lnTo>
                <a:lnTo>
                  <a:pt x="164799" y="663974"/>
                </a:lnTo>
                <a:lnTo>
                  <a:pt x="159148" y="692121"/>
                </a:lnTo>
                <a:lnTo>
                  <a:pt x="153950" y="720867"/>
                </a:lnTo>
                <a:lnTo>
                  <a:pt x="149183" y="750212"/>
                </a:lnTo>
                <a:lnTo>
                  <a:pt x="144839" y="780158"/>
                </a:lnTo>
                <a:lnTo>
                  <a:pt x="140910" y="810689"/>
                </a:lnTo>
                <a:lnTo>
                  <a:pt x="137390" y="841803"/>
                </a:lnTo>
                <a:lnTo>
                  <a:pt x="134253" y="873494"/>
                </a:lnTo>
                <a:lnTo>
                  <a:pt x="131501" y="905754"/>
                </a:lnTo>
                <a:lnTo>
                  <a:pt x="129109" y="938575"/>
                </a:lnTo>
                <a:lnTo>
                  <a:pt x="127073" y="971958"/>
                </a:lnTo>
                <a:lnTo>
                  <a:pt x="125389" y="1005886"/>
                </a:lnTo>
                <a:lnTo>
                  <a:pt x="124027" y="1040360"/>
                </a:lnTo>
                <a:lnTo>
                  <a:pt x="122997" y="1075373"/>
                </a:lnTo>
                <a:lnTo>
                  <a:pt x="122267" y="1110923"/>
                </a:lnTo>
                <a:lnTo>
                  <a:pt x="121844" y="1146996"/>
                </a:lnTo>
                <a:lnTo>
                  <a:pt x="121706" y="1183585"/>
                </a:lnTo>
                <a:lnTo>
                  <a:pt x="121829" y="1220003"/>
                </a:lnTo>
                <a:lnTo>
                  <a:pt x="122229" y="1255892"/>
                </a:lnTo>
                <a:lnTo>
                  <a:pt x="122897" y="1291258"/>
                </a:lnTo>
                <a:lnTo>
                  <a:pt x="123850" y="1326087"/>
                </a:lnTo>
                <a:lnTo>
                  <a:pt x="125111" y="1360376"/>
                </a:lnTo>
                <a:lnTo>
                  <a:pt x="126679" y="1394113"/>
                </a:lnTo>
                <a:lnTo>
                  <a:pt x="128571" y="1427303"/>
                </a:lnTo>
                <a:lnTo>
                  <a:pt x="130802" y="1459939"/>
                </a:lnTo>
                <a:lnTo>
                  <a:pt x="133368" y="1492006"/>
                </a:lnTo>
                <a:lnTo>
                  <a:pt x="136298" y="1523513"/>
                </a:lnTo>
                <a:lnTo>
                  <a:pt x="139596" y="1554442"/>
                </a:lnTo>
                <a:lnTo>
                  <a:pt x="143271" y="1584796"/>
                </a:lnTo>
                <a:lnTo>
                  <a:pt x="147338" y="1614566"/>
                </a:lnTo>
                <a:lnTo>
                  <a:pt x="151813" y="1643750"/>
                </a:lnTo>
                <a:lnTo>
                  <a:pt x="156702" y="1672334"/>
                </a:lnTo>
                <a:lnTo>
                  <a:pt x="162015" y="1700320"/>
                </a:lnTo>
                <a:lnTo>
                  <a:pt x="167766" y="1727705"/>
                </a:lnTo>
                <a:lnTo>
                  <a:pt x="173962" y="1754476"/>
                </a:lnTo>
                <a:lnTo>
                  <a:pt x="180629" y="1780631"/>
                </a:lnTo>
                <a:lnTo>
                  <a:pt x="187755" y="1806164"/>
                </a:lnTo>
                <a:lnTo>
                  <a:pt x="195374" y="1831074"/>
                </a:lnTo>
                <a:lnTo>
                  <a:pt x="203485" y="1855346"/>
                </a:lnTo>
                <a:lnTo>
                  <a:pt x="212112" y="1878988"/>
                </a:lnTo>
                <a:lnTo>
                  <a:pt x="221245" y="1901983"/>
                </a:lnTo>
                <a:lnTo>
                  <a:pt x="230917" y="1924332"/>
                </a:lnTo>
                <a:lnTo>
                  <a:pt x="241128" y="1946029"/>
                </a:lnTo>
                <a:lnTo>
                  <a:pt x="251891" y="1967064"/>
                </a:lnTo>
                <a:lnTo>
                  <a:pt x="263216" y="1987430"/>
                </a:lnTo>
                <a:lnTo>
                  <a:pt x="287611" y="2026164"/>
                </a:lnTo>
                <a:lnTo>
                  <a:pt x="314404" y="2062168"/>
                </a:lnTo>
                <a:lnTo>
                  <a:pt x="343681" y="2095412"/>
                </a:lnTo>
                <a:lnTo>
                  <a:pt x="375541" y="2125849"/>
                </a:lnTo>
                <a:lnTo>
                  <a:pt x="410077" y="2153435"/>
                </a:lnTo>
                <a:lnTo>
                  <a:pt x="447372" y="2178130"/>
                </a:lnTo>
                <a:lnTo>
                  <a:pt x="487529" y="2199888"/>
                </a:lnTo>
                <a:lnTo>
                  <a:pt x="508702" y="2209652"/>
                </a:lnTo>
                <a:lnTo>
                  <a:pt x="530629" y="2218662"/>
                </a:lnTo>
                <a:lnTo>
                  <a:pt x="553317" y="2226920"/>
                </a:lnTo>
                <a:lnTo>
                  <a:pt x="576782" y="2234416"/>
                </a:lnTo>
                <a:lnTo>
                  <a:pt x="601022" y="2241150"/>
                </a:lnTo>
                <a:lnTo>
                  <a:pt x="626056" y="2247109"/>
                </a:lnTo>
                <a:lnTo>
                  <a:pt x="651904" y="2252291"/>
                </a:lnTo>
                <a:lnTo>
                  <a:pt x="678567" y="2256688"/>
                </a:lnTo>
                <a:lnTo>
                  <a:pt x="706061" y="2260301"/>
                </a:lnTo>
                <a:lnTo>
                  <a:pt x="734390" y="2263116"/>
                </a:lnTo>
                <a:lnTo>
                  <a:pt x="763575" y="2265138"/>
                </a:lnTo>
                <a:lnTo>
                  <a:pt x="793630" y="2266352"/>
                </a:lnTo>
                <a:lnTo>
                  <a:pt x="824551" y="2266760"/>
                </a:lnTo>
                <a:lnTo>
                  <a:pt x="824551" y="2373250"/>
                </a:lnTo>
                <a:lnTo>
                  <a:pt x="792476" y="2372881"/>
                </a:lnTo>
                <a:lnTo>
                  <a:pt x="761193" y="2371759"/>
                </a:lnTo>
                <a:lnTo>
                  <a:pt x="730694" y="2369898"/>
                </a:lnTo>
                <a:lnTo>
                  <a:pt x="700970" y="2367307"/>
                </a:lnTo>
                <a:lnTo>
                  <a:pt x="672008" y="2363986"/>
                </a:lnTo>
                <a:lnTo>
                  <a:pt x="643800" y="2359941"/>
                </a:lnTo>
                <a:lnTo>
                  <a:pt x="616345" y="2355175"/>
                </a:lnTo>
                <a:lnTo>
                  <a:pt x="589621" y="2349701"/>
                </a:lnTo>
                <a:lnTo>
                  <a:pt x="563635" y="2343519"/>
                </a:lnTo>
                <a:lnTo>
                  <a:pt x="538363" y="2336631"/>
                </a:lnTo>
                <a:lnTo>
                  <a:pt x="513800" y="2329050"/>
                </a:lnTo>
                <a:lnTo>
                  <a:pt x="489950" y="2320785"/>
                </a:lnTo>
                <a:lnTo>
                  <a:pt x="466785" y="2311829"/>
                </a:lnTo>
                <a:lnTo>
                  <a:pt x="444312" y="2302195"/>
                </a:lnTo>
                <a:lnTo>
                  <a:pt x="422516" y="2291885"/>
                </a:lnTo>
                <a:lnTo>
                  <a:pt x="401389" y="2280906"/>
                </a:lnTo>
                <a:lnTo>
                  <a:pt x="380915" y="2269266"/>
                </a:lnTo>
                <a:lnTo>
                  <a:pt x="361094" y="2256965"/>
                </a:lnTo>
                <a:lnTo>
                  <a:pt x="341921" y="2244018"/>
                </a:lnTo>
                <a:lnTo>
                  <a:pt x="305456" y="2216179"/>
                </a:lnTo>
                <a:lnTo>
                  <a:pt x="271450" y="2185803"/>
                </a:lnTo>
                <a:lnTo>
                  <a:pt x="239844" y="2152920"/>
                </a:lnTo>
                <a:lnTo>
                  <a:pt x="210559" y="2117584"/>
                </a:lnTo>
                <a:lnTo>
                  <a:pt x="196759" y="2099010"/>
                </a:lnTo>
                <a:lnTo>
                  <a:pt x="183519" y="2079843"/>
                </a:lnTo>
                <a:lnTo>
                  <a:pt x="170826" y="2060076"/>
                </a:lnTo>
                <a:lnTo>
                  <a:pt x="158670" y="2039725"/>
                </a:lnTo>
                <a:lnTo>
                  <a:pt x="147039" y="2018790"/>
                </a:lnTo>
                <a:lnTo>
                  <a:pt x="135929" y="1997286"/>
                </a:lnTo>
                <a:lnTo>
                  <a:pt x="125326" y="1975206"/>
                </a:lnTo>
                <a:lnTo>
                  <a:pt x="115224" y="1952564"/>
                </a:lnTo>
                <a:lnTo>
                  <a:pt x="105621" y="1929369"/>
                </a:lnTo>
                <a:lnTo>
                  <a:pt x="96495" y="1905612"/>
                </a:lnTo>
                <a:lnTo>
                  <a:pt x="87846" y="1881309"/>
                </a:lnTo>
                <a:lnTo>
                  <a:pt x="79666" y="1856461"/>
                </a:lnTo>
                <a:lnTo>
                  <a:pt x="71947" y="1831082"/>
                </a:lnTo>
                <a:lnTo>
                  <a:pt x="64675" y="1805165"/>
                </a:lnTo>
                <a:lnTo>
                  <a:pt x="57839" y="1778725"/>
                </a:lnTo>
                <a:lnTo>
                  <a:pt x="51435" y="1751762"/>
                </a:lnTo>
                <a:lnTo>
                  <a:pt x="45461" y="1724284"/>
                </a:lnTo>
                <a:lnTo>
                  <a:pt x="39895" y="1696292"/>
                </a:lnTo>
                <a:lnTo>
                  <a:pt x="34736" y="1667799"/>
                </a:lnTo>
                <a:lnTo>
                  <a:pt x="29969" y="1638806"/>
                </a:lnTo>
                <a:lnTo>
                  <a:pt x="25595" y="1609322"/>
                </a:lnTo>
                <a:lnTo>
                  <a:pt x="21597" y="1579352"/>
                </a:lnTo>
                <a:lnTo>
                  <a:pt x="17967" y="1548893"/>
                </a:lnTo>
                <a:lnTo>
                  <a:pt x="14708" y="1517963"/>
                </a:lnTo>
                <a:lnTo>
                  <a:pt x="11794" y="1486556"/>
                </a:lnTo>
                <a:lnTo>
                  <a:pt x="9226" y="1454681"/>
                </a:lnTo>
                <a:lnTo>
                  <a:pt x="6989" y="1422351"/>
                </a:lnTo>
                <a:lnTo>
                  <a:pt x="5082" y="1389569"/>
                </a:lnTo>
                <a:lnTo>
                  <a:pt x="3490" y="1356325"/>
                </a:lnTo>
                <a:lnTo>
                  <a:pt x="2206" y="1322649"/>
                </a:lnTo>
                <a:lnTo>
                  <a:pt x="1230" y="1288530"/>
                </a:lnTo>
                <a:lnTo>
                  <a:pt x="540" y="1253971"/>
                </a:lnTo>
                <a:lnTo>
                  <a:pt x="132" y="1218989"/>
                </a:lnTo>
                <a:lnTo>
                  <a:pt x="0" y="1183585"/>
                </a:lnTo>
                <a:lnTo>
                  <a:pt x="132" y="1148334"/>
                </a:lnTo>
                <a:lnTo>
                  <a:pt x="546" y="1113498"/>
                </a:lnTo>
                <a:lnTo>
                  <a:pt x="1254" y="1079094"/>
                </a:lnTo>
                <a:lnTo>
                  <a:pt x="2246" y="1045127"/>
                </a:lnTo>
                <a:lnTo>
                  <a:pt x="3544" y="1011590"/>
                </a:lnTo>
                <a:lnTo>
                  <a:pt x="5159" y="978500"/>
                </a:lnTo>
                <a:lnTo>
                  <a:pt x="7096" y="945863"/>
                </a:lnTo>
                <a:lnTo>
                  <a:pt x="9356" y="913681"/>
                </a:lnTo>
                <a:lnTo>
                  <a:pt x="11964" y="881951"/>
                </a:lnTo>
                <a:lnTo>
                  <a:pt x="14909" y="850691"/>
                </a:lnTo>
                <a:lnTo>
                  <a:pt x="18214" y="819907"/>
                </a:lnTo>
                <a:lnTo>
                  <a:pt x="21881" y="789592"/>
                </a:lnTo>
                <a:lnTo>
                  <a:pt x="25917" y="759762"/>
                </a:lnTo>
                <a:lnTo>
                  <a:pt x="30338" y="730423"/>
                </a:lnTo>
                <a:lnTo>
                  <a:pt x="35152" y="701569"/>
                </a:lnTo>
                <a:lnTo>
                  <a:pt x="40356" y="673215"/>
                </a:lnTo>
                <a:lnTo>
                  <a:pt x="45968" y="645368"/>
                </a:lnTo>
                <a:lnTo>
                  <a:pt x="51996" y="618029"/>
                </a:lnTo>
                <a:lnTo>
                  <a:pt x="58446" y="591204"/>
                </a:lnTo>
                <a:lnTo>
                  <a:pt x="65335" y="564895"/>
                </a:lnTo>
                <a:lnTo>
                  <a:pt x="72655" y="539109"/>
                </a:lnTo>
                <a:lnTo>
                  <a:pt x="80428" y="513860"/>
                </a:lnTo>
                <a:lnTo>
                  <a:pt x="88661" y="489142"/>
                </a:lnTo>
                <a:lnTo>
                  <a:pt x="97358" y="464962"/>
                </a:lnTo>
                <a:lnTo>
                  <a:pt x="106521" y="441336"/>
                </a:lnTo>
                <a:lnTo>
                  <a:pt x="116178" y="418257"/>
                </a:lnTo>
                <a:lnTo>
                  <a:pt x="126320" y="395738"/>
                </a:lnTo>
                <a:lnTo>
                  <a:pt x="136966" y="373780"/>
                </a:lnTo>
                <a:lnTo>
                  <a:pt x="137880" y="372027"/>
                </a:lnTo>
                <a:lnTo>
                  <a:pt x="137881" y="372027"/>
                </a:lnTo>
                <a:lnTo>
                  <a:pt x="148122" y="352391"/>
                </a:lnTo>
                <a:lnTo>
                  <a:pt x="159787" y="331571"/>
                </a:lnTo>
                <a:lnTo>
                  <a:pt x="171988" y="311336"/>
                </a:lnTo>
                <a:lnTo>
                  <a:pt x="184719" y="291677"/>
                </a:lnTo>
                <a:lnTo>
                  <a:pt x="197988" y="272618"/>
                </a:lnTo>
                <a:lnTo>
                  <a:pt x="211812" y="254143"/>
                </a:lnTo>
                <a:lnTo>
                  <a:pt x="241142" y="219015"/>
                </a:lnTo>
                <a:lnTo>
                  <a:pt x="272787" y="186325"/>
                </a:lnTo>
                <a:lnTo>
                  <a:pt x="306808" y="156118"/>
                </a:lnTo>
                <a:lnTo>
                  <a:pt x="343266" y="128447"/>
                </a:lnTo>
                <a:lnTo>
                  <a:pt x="362432" y="115578"/>
                </a:lnTo>
                <a:lnTo>
                  <a:pt x="382237" y="103346"/>
                </a:lnTo>
                <a:lnTo>
                  <a:pt x="402689" y="91775"/>
                </a:lnTo>
                <a:lnTo>
                  <a:pt x="423793" y="80865"/>
                </a:lnTo>
                <a:lnTo>
                  <a:pt x="445558" y="70617"/>
                </a:lnTo>
                <a:lnTo>
                  <a:pt x="467992" y="61045"/>
                </a:lnTo>
                <a:lnTo>
                  <a:pt x="491103" y="52142"/>
                </a:lnTo>
                <a:lnTo>
                  <a:pt x="514906" y="43923"/>
                </a:lnTo>
                <a:lnTo>
                  <a:pt x="539409" y="36389"/>
                </a:lnTo>
                <a:lnTo>
                  <a:pt x="564612" y="29553"/>
                </a:lnTo>
                <a:lnTo>
                  <a:pt x="590528" y="23403"/>
                </a:lnTo>
                <a:lnTo>
                  <a:pt x="617160" y="17967"/>
                </a:lnTo>
                <a:lnTo>
                  <a:pt x="644530" y="13231"/>
                </a:lnTo>
                <a:lnTo>
                  <a:pt x="672639" y="9210"/>
                </a:lnTo>
                <a:lnTo>
                  <a:pt x="701494" y="5912"/>
                </a:lnTo>
                <a:lnTo>
                  <a:pt x="731100" y="3336"/>
                </a:lnTo>
                <a:lnTo>
                  <a:pt x="761477" y="1484"/>
                </a:lnTo>
                <a:lnTo>
                  <a:pt x="792621" y="377"/>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3" name="Makro grafik 2">
            <a:extLst>
              <a:ext uri="{FF2B5EF4-FFF2-40B4-BE49-F238E27FC236}">
                <a16:creationId xmlns:a16="http://schemas.microsoft.com/office/drawing/2014/main" id="{3C47DF57-6C35-2F95-62C7-5AF5F1E443EA}"/>
              </a:ext>
            </a:extLst>
          </p:cNvPr>
          <p:cNvSpPr>
            <a:spLocks noGrp="1" noChangeAspect="1"/>
          </p:cNvSpPr>
          <p:nvPr>
            <p:ph type="body" sz="quarter" idx="20" hasCustomPrompt="1"/>
          </p:nvPr>
        </p:nvSpPr>
        <p:spPr>
          <a:xfrm>
            <a:off x="7625339" y="3523023"/>
            <a:ext cx="1123209" cy="1460462"/>
          </a:xfrm>
          <a:custGeom>
            <a:avLst/>
            <a:gdLst>
              <a:gd name="connsiteX0" fmla="*/ 0 w 1497612"/>
              <a:gd name="connsiteY0" fmla="*/ 1 h 1947283"/>
              <a:gd name="connsiteX1" fmla="*/ 133876 w 1497612"/>
              <a:gd name="connsiteY1" fmla="*/ 1 h 1947283"/>
              <a:gd name="connsiteX2" fmla="*/ 542054 w 1497612"/>
              <a:gd name="connsiteY2" fmla="*/ 1262003 h 1947283"/>
              <a:gd name="connsiteX3" fmla="*/ 763698 w 1497612"/>
              <a:gd name="connsiteY3" fmla="*/ 1947283 h 1947283"/>
              <a:gd name="connsiteX4" fmla="*/ 626777 w 1497612"/>
              <a:gd name="connsiteY4" fmla="*/ 1947283 h 1947283"/>
              <a:gd name="connsiteX5" fmla="*/ 406204 w 1497612"/>
              <a:gd name="connsiteY5" fmla="*/ 1262004 h 1947283"/>
              <a:gd name="connsiteX6" fmla="*/ 733914 w 1497612"/>
              <a:gd name="connsiteY6" fmla="*/ 0 h 1947283"/>
              <a:gd name="connsiteX7" fmla="*/ 867789 w 1497612"/>
              <a:gd name="connsiteY7" fmla="*/ 0 h 1947283"/>
              <a:gd name="connsiteX8" fmla="*/ 988168 w 1497612"/>
              <a:gd name="connsiteY8" fmla="*/ 372187 h 1947283"/>
              <a:gd name="connsiteX9" fmla="*/ 1497612 w 1497612"/>
              <a:gd name="connsiteY9" fmla="*/ 1947283 h 1947283"/>
              <a:gd name="connsiteX10" fmla="*/ 1360692 w 1497612"/>
              <a:gd name="connsiteY10" fmla="*/ 1947283 h 1947283"/>
              <a:gd name="connsiteX11" fmla="*/ 988168 w 1497612"/>
              <a:gd name="connsiteY11" fmla="*/ 789920 h 19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7612" h="1947283">
                <a:moveTo>
                  <a:pt x="0" y="1"/>
                </a:moveTo>
                <a:lnTo>
                  <a:pt x="133876" y="1"/>
                </a:lnTo>
                <a:lnTo>
                  <a:pt x="542054" y="1262003"/>
                </a:lnTo>
                <a:lnTo>
                  <a:pt x="763698" y="1947283"/>
                </a:lnTo>
                <a:lnTo>
                  <a:pt x="626777" y="1947283"/>
                </a:lnTo>
                <a:lnTo>
                  <a:pt x="406204" y="1262004"/>
                </a:lnTo>
                <a:close/>
                <a:moveTo>
                  <a:pt x="733914" y="0"/>
                </a:moveTo>
                <a:lnTo>
                  <a:pt x="867789" y="0"/>
                </a:lnTo>
                <a:lnTo>
                  <a:pt x="988168" y="372187"/>
                </a:lnTo>
                <a:lnTo>
                  <a:pt x="1497612" y="1947283"/>
                </a:lnTo>
                <a:lnTo>
                  <a:pt x="1360692" y="1947283"/>
                </a:lnTo>
                <a:lnTo>
                  <a:pt x="988168" y="78992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6" name="TextBox 1">
            <a:extLst>
              <a:ext uri="{FF2B5EF4-FFF2-40B4-BE49-F238E27FC236}">
                <a16:creationId xmlns:a16="http://schemas.microsoft.com/office/drawing/2014/main" id="{65A8188C-11F0-CD4C-0611-D4AE140468F8}"/>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pic>
        <p:nvPicPr>
          <p:cNvPr id="11" name="Picture 10">
            <a:extLst>
              <a:ext uri="{FF2B5EF4-FFF2-40B4-BE49-F238E27FC236}">
                <a16:creationId xmlns:a16="http://schemas.microsoft.com/office/drawing/2014/main" id="{0AF6D8C3-B0F2-FEC6-0E5A-31729F76290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05000" y="207901"/>
            <a:ext cx="2150000" cy="307142"/>
          </a:xfrm>
          <a:prstGeom prst="rect">
            <a:avLst/>
          </a:prstGeom>
        </p:spPr>
      </p:pic>
    </p:spTree>
    <p:extLst>
      <p:ext uri="{BB962C8B-B14F-4D97-AF65-F5344CB8AC3E}">
        <p14:creationId xmlns:p14="http://schemas.microsoft.com/office/powerpoint/2010/main" val="4229150387"/>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emLog-in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chemeClr val="accent1"/>
                </a:solidFill>
              </a:defRPr>
            </a:lvl1pPr>
          </a:lstStyle>
          <a:p>
            <a:fld id="{3BA7D959-9C7C-4506-A4A8-52313FF7B34F}" type="datetime2">
              <a:rPr lang="da-DK" smtClean="0"/>
              <a:t>11. december 2025</a:t>
            </a:fld>
            <a:endParaRPr lang="da-DK" dirty="0"/>
          </a:p>
        </p:txBody>
      </p:sp>
      <p:sp>
        <p:nvSpPr>
          <p:cNvPr id="25" name="Makro grafik 1">
            <a:extLst>
              <a:ext uri="{FF2B5EF4-FFF2-40B4-BE49-F238E27FC236}">
                <a16:creationId xmlns:a16="http://schemas.microsoft.com/office/drawing/2014/main" id="{F2E0EEBD-7C39-E8CB-108F-09AF0CD4D448}"/>
              </a:ext>
            </a:extLst>
          </p:cNvPr>
          <p:cNvSpPr>
            <a:spLocks noGrp="1" noChangeAspect="1"/>
          </p:cNvSpPr>
          <p:nvPr>
            <p:ph type="body" sz="quarter" idx="19" hasCustomPrompt="1"/>
          </p:nvPr>
        </p:nvSpPr>
        <p:spPr>
          <a:xfrm>
            <a:off x="2827574" y="391015"/>
            <a:ext cx="1353707" cy="1779938"/>
          </a:xfrm>
          <a:custGeom>
            <a:avLst/>
            <a:gdLst>
              <a:gd name="connsiteX0" fmla="*/ 1135564 w 1804943"/>
              <a:gd name="connsiteY0" fmla="*/ 15338 h 2373250"/>
              <a:gd name="connsiteX1" fmla="*/ 1804943 w 1804943"/>
              <a:gd name="connsiteY1" fmla="*/ 15338 h 2373250"/>
              <a:gd name="connsiteX2" fmla="*/ 1804943 w 1804943"/>
              <a:gd name="connsiteY2" fmla="*/ 121436 h 2373250"/>
              <a:gd name="connsiteX3" fmla="*/ 1260314 w 1804943"/>
              <a:gd name="connsiteY3" fmla="*/ 121436 h 2373250"/>
              <a:gd name="connsiteX4" fmla="*/ 1260314 w 1804943"/>
              <a:gd name="connsiteY4" fmla="*/ 372027 h 2373250"/>
              <a:gd name="connsiteX5" fmla="*/ 1260314 w 1804943"/>
              <a:gd name="connsiteY5" fmla="*/ 2258004 h 2373250"/>
              <a:gd name="connsiteX6" fmla="*/ 1804943 w 1804943"/>
              <a:gd name="connsiteY6" fmla="*/ 2258004 h 2373250"/>
              <a:gd name="connsiteX7" fmla="*/ 1804943 w 1804943"/>
              <a:gd name="connsiteY7" fmla="*/ 2364102 h 2373250"/>
              <a:gd name="connsiteX8" fmla="*/ 1135564 w 1804943"/>
              <a:gd name="connsiteY8" fmla="*/ 2364102 h 2373250"/>
              <a:gd name="connsiteX9" fmla="*/ 1135564 w 1804943"/>
              <a:gd name="connsiteY9" fmla="*/ 2258004 h 2373250"/>
              <a:gd name="connsiteX10" fmla="*/ 1135564 w 1804943"/>
              <a:gd name="connsiteY10" fmla="*/ 372027 h 2373250"/>
              <a:gd name="connsiteX11" fmla="*/ 1135564 w 1804943"/>
              <a:gd name="connsiteY11" fmla="*/ 121436 h 2373250"/>
              <a:gd name="connsiteX12" fmla="*/ 824551 w 1804943"/>
              <a:gd name="connsiteY12" fmla="*/ 0 h 2373250"/>
              <a:gd name="connsiteX13" fmla="*/ 824551 w 1804943"/>
              <a:gd name="connsiteY13" fmla="*/ 106498 h 2373250"/>
              <a:gd name="connsiteX14" fmla="*/ 793382 w 1804943"/>
              <a:gd name="connsiteY14" fmla="*/ 106920 h 2373250"/>
              <a:gd name="connsiteX15" fmla="*/ 763107 w 1804943"/>
              <a:gd name="connsiteY15" fmla="*/ 108189 h 2373250"/>
              <a:gd name="connsiteX16" fmla="*/ 733699 w 1804943"/>
              <a:gd name="connsiteY16" fmla="*/ 110296 h 2373250"/>
              <a:gd name="connsiteX17" fmla="*/ 705152 w 1804943"/>
              <a:gd name="connsiteY17" fmla="*/ 113240 h 2373250"/>
              <a:gd name="connsiteX18" fmla="*/ 677451 w 1804943"/>
              <a:gd name="connsiteY18" fmla="*/ 117008 h 2373250"/>
              <a:gd name="connsiteX19" fmla="*/ 650596 w 1804943"/>
              <a:gd name="connsiteY19" fmla="*/ 121598 h 2373250"/>
              <a:gd name="connsiteX20" fmla="*/ 624564 w 1804943"/>
              <a:gd name="connsiteY20" fmla="*/ 126995 h 2373250"/>
              <a:gd name="connsiteX21" fmla="*/ 599346 w 1804943"/>
              <a:gd name="connsiteY21" fmla="*/ 133207 h 2373250"/>
              <a:gd name="connsiteX22" fmla="*/ 574929 w 1804943"/>
              <a:gd name="connsiteY22" fmla="*/ 140218 h 2373250"/>
              <a:gd name="connsiteX23" fmla="*/ 551302 w 1804943"/>
              <a:gd name="connsiteY23" fmla="*/ 148022 h 2373250"/>
              <a:gd name="connsiteX24" fmla="*/ 528461 w 1804943"/>
              <a:gd name="connsiteY24" fmla="*/ 156617 h 2373250"/>
              <a:gd name="connsiteX25" fmla="*/ 506387 w 1804943"/>
              <a:gd name="connsiteY25" fmla="*/ 165997 h 2373250"/>
              <a:gd name="connsiteX26" fmla="*/ 485076 w 1804943"/>
              <a:gd name="connsiteY26" fmla="*/ 176146 h 2373250"/>
              <a:gd name="connsiteX27" fmla="*/ 464502 w 1804943"/>
              <a:gd name="connsiteY27" fmla="*/ 187071 h 2373250"/>
              <a:gd name="connsiteX28" fmla="*/ 425554 w 1804943"/>
              <a:gd name="connsiteY28" fmla="*/ 211204 h 2373250"/>
              <a:gd name="connsiteX29" fmla="*/ 389457 w 1804943"/>
              <a:gd name="connsiteY29" fmla="*/ 238344 h 2373250"/>
              <a:gd name="connsiteX30" fmla="*/ 356105 w 1804943"/>
              <a:gd name="connsiteY30" fmla="*/ 268436 h 2373250"/>
              <a:gd name="connsiteX31" fmla="*/ 325421 w 1804943"/>
              <a:gd name="connsiteY31" fmla="*/ 301433 h 2373250"/>
              <a:gd name="connsiteX32" fmla="*/ 297313 w 1804943"/>
              <a:gd name="connsiteY32" fmla="*/ 337284 h 2373250"/>
              <a:gd name="connsiteX33" fmla="*/ 284189 w 1804943"/>
              <a:gd name="connsiteY33" fmla="*/ 356266 h 2373250"/>
              <a:gd name="connsiteX34" fmla="*/ 274169 w 1804943"/>
              <a:gd name="connsiteY34" fmla="*/ 372027 h 2373250"/>
              <a:gd name="connsiteX35" fmla="*/ 271680 w 1804943"/>
              <a:gd name="connsiteY35" fmla="*/ 375940 h 2373250"/>
              <a:gd name="connsiteX36" fmla="*/ 259763 w 1804943"/>
              <a:gd name="connsiteY36" fmla="*/ 396306 h 2373250"/>
              <a:gd name="connsiteX37" fmla="*/ 248431 w 1804943"/>
              <a:gd name="connsiteY37" fmla="*/ 417348 h 2373250"/>
              <a:gd name="connsiteX38" fmla="*/ 237675 w 1804943"/>
              <a:gd name="connsiteY38" fmla="*/ 439077 h 2373250"/>
              <a:gd name="connsiteX39" fmla="*/ 227480 w 1804943"/>
              <a:gd name="connsiteY39" fmla="*/ 461465 h 2373250"/>
              <a:gd name="connsiteX40" fmla="*/ 217839 w 1804943"/>
              <a:gd name="connsiteY40" fmla="*/ 484522 h 2373250"/>
              <a:gd name="connsiteX41" fmla="*/ 208737 w 1804943"/>
              <a:gd name="connsiteY41" fmla="*/ 508239 h 2373250"/>
              <a:gd name="connsiteX42" fmla="*/ 200156 w 1804943"/>
              <a:gd name="connsiteY42" fmla="*/ 532604 h 2373250"/>
              <a:gd name="connsiteX43" fmla="*/ 192100 w 1804943"/>
              <a:gd name="connsiteY43" fmla="*/ 557614 h 2373250"/>
              <a:gd name="connsiteX44" fmla="*/ 184542 w 1804943"/>
              <a:gd name="connsiteY44" fmla="*/ 583262 h 2373250"/>
              <a:gd name="connsiteX45" fmla="*/ 177484 w 1804943"/>
              <a:gd name="connsiteY45" fmla="*/ 609541 h 2373250"/>
              <a:gd name="connsiteX46" fmla="*/ 170903 w 1804943"/>
              <a:gd name="connsiteY46" fmla="*/ 636450 h 2373250"/>
              <a:gd name="connsiteX47" fmla="*/ 164799 w 1804943"/>
              <a:gd name="connsiteY47" fmla="*/ 663974 h 2373250"/>
              <a:gd name="connsiteX48" fmla="*/ 159148 w 1804943"/>
              <a:gd name="connsiteY48" fmla="*/ 692121 h 2373250"/>
              <a:gd name="connsiteX49" fmla="*/ 153950 w 1804943"/>
              <a:gd name="connsiteY49" fmla="*/ 720867 h 2373250"/>
              <a:gd name="connsiteX50" fmla="*/ 149183 w 1804943"/>
              <a:gd name="connsiteY50" fmla="*/ 750212 h 2373250"/>
              <a:gd name="connsiteX51" fmla="*/ 144839 w 1804943"/>
              <a:gd name="connsiteY51" fmla="*/ 780158 h 2373250"/>
              <a:gd name="connsiteX52" fmla="*/ 140910 w 1804943"/>
              <a:gd name="connsiteY52" fmla="*/ 810689 h 2373250"/>
              <a:gd name="connsiteX53" fmla="*/ 137390 w 1804943"/>
              <a:gd name="connsiteY53" fmla="*/ 841803 h 2373250"/>
              <a:gd name="connsiteX54" fmla="*/ 134253 w 1804943"/>
              <a:gd name="connsiteY54" fmla="*/ 873494 h 2373250"/>
              <a:gd name="connsiteX55" fmla="*/ 131501 w 1804943"/>
              <a:gd name="connsiteY55" fmla="*/ 905754 h 2373250"/>
              <a:gd name="connsiteX56" fmla="*/ 129109 w 1804943"/>
              <a:gd name="connsiteY56" fmla="*/ 938575 h 2373250"/>
              <a:gd name="connsiteX57" fmla="*/ 127073 w 1804943"/>
              <a:gd name="connsiteY57" fmla="*/ 971958 h 2373250"/>
              <a:gd name="connsiteX58" fmla="*/ 125389 w 1804943"/>
              <a:gd name="connsiteY58" fmla="*/ 1005886 h 2373250"/>
              <a:gd name="connsiteX59" fmla="*/ 124027 w 1804943"/>
              <a:gd name="connsiteY59" fmla="*/ 1040360 h 2373250"/>
              <a:gd name="connsiteX60" fmla="*/ 122997 w 1804943"/>
              <a:gd name="connsiteY60" fmla="*/ 1075373 h 2373250"/>
              <a:gd name="connsiteX61" fmla="*/ 122267 w 1804943"/>
              <a:gd name="connsiteY61" fmla="*/ 1110923 h 2373250"/>
              <a:gd name="connsiteX62" fmla="*/ 121844 w 1804943"/>
              <a:gd name="connsiteY62" fmla="*/ 1146996 h 2373250"/>
              <a:gd name="connsiteX63" fmla="*/ 121706 w 1804943"/>
              <a:gd name="connsiteY63" fmla="*/ 1183585 h 2373250"/>
              <a:gd name="connsiteX64" fmla="*/ 121829 w 1804943"/>
              <a:gd name="connsiteY64" fmla="*/ 1220003 h 2373250"/>
              <a:gd name="connsiteX65" fmla="*/ 122229 w 1804943"/>
              <a:gd name="connsiteY65" fmla="*/ 1255892 h 2373250"/>
              <a:gd name="connsiteX66" fmla="*/ 122897 w 1804943"/>
              <a:gd name="connsiteY66" fmla="*/ 1291258 h 2373250"/>
              <a:gd name="connsiteX67" fmla="*/ 123850 w 1804943"/>
              <a:gd name="connsiteY67" fmla="*/ 1326087 h 2373250"/>
              <a:gd name="connsiteX68" fmla="*/ 125111 w 1804943"/>
              <a:gd name="connsiteY68" fmla="*/ 1360376 h 2373250"/>
              <a:gd name="connsiteX69" fmla="*/ 126679 w 1804943"/>
              <a:gd name="connsiteY69" fmla="*/ 1394113 h 2373250"/>
              <a:gd name="connsiteX70" fmla="*/ 128571 w 1804943"/>
              <a:gd name="connsiteY70" fmla="*/ 1427303 h 2373250"/>
              <a:gd name="connsiteX71" fmla="*/ 130802 w 1804943"/>
              <a:gd name="connsiteY71" fmla="*/ 1459939 h 2373250"/>
              <a:gd name="connsiteX72" fmla="*/ 133368 w 1804943"/>
              <a:gd name="connsiteY72" fmla="*/ 1492006 h 2373250"/>
              <a:gd name="connsiteX73" fmla="*/ 136298 w 1804943"/>
              <a:gd name="connsiteY73" fmla="*/ 1523513 h 2373250"/>
              <a:gd name="connsiteX74" fmla="*/ 139596 w 1804943"/>
              <a:gd name="connsiteY74" fmla="*/ 1554442 h 2373250"/>
              <a:gd name="connsiteX75" fmla="*/ 143271 w 1804943"/>
              <a:gd name="connsiteY75" fmla="*/ 1584796 h 2373250"/>
              <a:gd name="connsiteX76" fmla="*/ 147338 w 1804943"/>
              <a:gd name="connsiteY76" fmla="*/ 1614566 h 2373250"/>
              <a:gd name="connsiteX77" fmla="*/ 151813 w 1804943"/>
              <a:gd name="connsiteY77" fmla="*/ 1643750 h 2373250"/>
              <a:gd name="connsiteX78" fmla="*/ 156702 w 1804943"/>
              <a:gd name="connsiteY78" fmla="*/ 1672334 h 2373250"/>
              <a:gd name="connsiteX79" fmla="*/ 162015 w 1804943"/>
              <a:gd name="connsiteY79" fmla="*/ 1700320 h 2373250"/>
              <a:gd name="connsiteX80" fmla="*/ 167766 w 1804943"/>
              <a:gd name="connsiteY80" fmla="*/ 1727705 h 2373250"/>
              <a:gd name="connsiteX81" fmla="*/ 173962 w 1804943"/>
              <a:gd name="connsiteY81" fmla="*/ 1754476 h 2373250"/>
              <a:gd name="connsiteX82" fmla="*/ 180629 w 1804943"/>
              <a:gd name="connsiteY82" fmla="*/ 1780631 h 2373250"/>
              <a:gd name="connsiteX83" fmla="*/ 187755 w 1804943"/>
              <a:gd name="connsiteY83" fmla="*/ 1806164 h 2373250"/>
              <a:gd name="connsiteX84" fmla="*/ 195374 w 1804943"/>
              <a:gd name="connsiteY84" fmla="*/ 1831074 h 2373250"/>
              <a:gd name="connsiteX85" fmla="*/ 203485 w 1804943"/>
              <a:gd name="connsiteY85" fmla="*/ 1855346 h 2373250"/>
              <a:gd name="connsiteX86" fmla="*/ 212112 w 1804943"/>
              <a:gd name="connsiteY86" fmla="*/ 1878988 h 2373250"/>
              <a:gd name="connsiteX87" fmla="*/ 221245 w 1804943"/>
              <a:gd name="connsiteY87" fmla="*/ 1901983 h 2373250"/>
              <a:gd name="connsiteX88" fmla="*/ 230917 w 1804943"/>
              <a:gd name="connsiteY88" fmla="*/ 1924332 h 2373250"/>
              <a:gd name="connsiteX89" fmla="*/ 241128 w 1804943"/>
              <a:gd name="connsiteY89" fmla="*/ 1946029 h 2373250"/>
              <a:gd name="connsiteX90" fmla="*/ 251891 w 1804943"/>
              <a:gd name="connsiteY90" fmla="*/ 1967064 h 2373250"/>
              <a:gd name="connsiteX91" fmla="*/ 263216 w 1804943"/>
              <a:gd name="connsiteY91" fmla="*/ 1987430 h 2373250"/>
              <a:gd name="connsiteX92" fmla="*/ 287611 w 1804943"/>
              <a:gd name="connsiteY92" fmla="*/ 2026164 h 2373250"/>
              <a:gd name="connsiteX93" fmla="*/ 314404 w 1804943"/>
              <a:gd name="connsiteY93" fmla="*/ 2062168 h 2373250"/>
              <a:gd name="connsiteX94" fmla="*/ 343681 w 1804943"/>
              <a:gd name="connsiteY94" fmla="*/ 2095412 h 2373250"/>
              <a:gd name="connsiteX95" fmla="*/ 375541 w 1804943"/>
              <a:gd name="connsiteY95" fmla="*/ 2125849 h 2373250"/>
              <a:gd name="connsiteX96" fmla="*/ 410077 w 1804943"/>
              <a:gd name="connsiteY96" fmla="*/ 2153435 h 2373250"/>
              <a:gd name="connsiteX97" fmla="*/ 447372 w 1804943"/>
              <a:gd name="connsiteY97" fmla="*/ 2178130 h 2373250"/>
              <a:gd name="connsiteX98" fmla="*/ 487529 w 1804943"/>
              <a:gd name="connsiteY98" fmla="*/ 2199888 h 2373250"/>
              <a:gd name="connsiteX99" fmla="*/ 508702 w 1804943"/>
              <a:gd name="connsiteY99" fmla="*/ 2209652 h 2373250"/>
              <a:gd name="connsiteX100" fmla="*/ 530629 w 1804943"/>
              <a:gd name="connsiteY100" fmla="*/ 2218662 h 2373250"/>
              <a:gd name="connsiteX101" fmla="*/ 553317 w 1804943"/>
              <a:gd name="connsiteY101" fmla="*/ 2226920 h 2373250"/>
              <a:gd name="connsiteX102" fmla="*/ 576782 w 1804943"/>
              <a:gd name="connsiteY102" fmla="*/ 2234416 h 2373250"/>
              <a:gd name="connsiteX103" fmla="*/ 601022 w 1804943"/>
              <a:gd name="connsiteY103" fmla="*/ 2241150 h 2373250"/>
              <a:gd name="connsiteX104" fmla="*/ 626056 w 1804943"/>
              <a:gd name="connsiteY104" fmla="*/ 2247109 h 2373250"/>
              <a:gd name="connsiteX105" fmla="*/ 651904 w 1804943"/>
              <a:gd name="connsiteY105" fmla="*/ 2252291 h 2373250"/>
              <a:gd name="connsiteX106" fmla="*/ 678567 w 1804943"/>
              <a:gd name="connsiteY106" fmla="*/ 2256688 h 2373250"/>
              <a:gd name="connsiteX107" fmla="*/ 706061 w 1804943"/>
              <a:gd name="connsiteY107" fmla="*/ 2260301 h 2373250"/>
              <a:gd name="connsiteX108" fmla="*/ 734390 w 1804943"/>
              <a:gd name="connsiteY108" fmla="*/ 2263116 h 2373250"/>
              <a:gd name="connsiteX109" fmla="*/ 763575 w 1804943"/>
              <a:gd name="connsiteY109" fmla="*/ 2265138 h 2373250"/>
              <a:gd name="connsiteX110" fmla="*/ 793630 w 1804943"/>
              <a:gd name="connsiteY110" fmla="*/ 2266352 h 2373250"/>
              <a:gd name="connsiteX111" fmla="*/ 824551 w 1804943"/>
              <a:gd name="connsiteY111" fmla="*/ 2266760 h 2373250"/>
              <a:gd name="connsiteX112" fmla="*/ 824551 w 1804943"/>
              <a:gd name="connsiteY112" fmla="*/ 2373250 h 2373250"/>
              <a:gd name="connsiteX113" fmla="*/ 792476 w 1804943"/>
              <a:gd name="connsiteY113" fmla="*/ 2372881 h 2373250"/>
              <a:gd name="connsiteX114" fmla="*/ 761193 w 1804943"/>
              <a:gd name="connsiteY114" fmla="*/ 2371759 h 2373250"/>
              <a:gd name="connsiteX115" fmla="*/ 730694 w 1804943"/>
              <a:gd name="connsiteY115" fmla="*/ 2369898 h 2373250"/>
              <a:gd name="connsiteX116" fmla="*/ 700970 w 1804943"/>
              <a:gd name="connsiteY116" fmla="*/ 2367307 h 2373250"/>
              <a:gd name="connsiteX117" fmla="*/ 672008 w 1804943"/>
              <a:gd name="connsiteY117" fmla="*/ 2363986 h 2373250"/>
              <a:gd name="connsiteX118" fmla="*/ 643800 w 1804943"/>
              <a:gd name="connsiteY118" fmla="*/ 2359941 h 2373250"/>
              <a:gd name="connsiteX119" fmla="*/ 616345 w 1804943"/>
              <a:gd name="connsiteY119" fmla="*/ 2355175 h 2373250"/>
              <a:gd name="connsiteX120" fmla="*/ 589621 w 1804943"/>
              <a:gd name="connsiteY120" fmla="*/ 2349701 h 2373250"/>
              <a:gd name="connsiteX121" fmla="*/ 563635 w 1804943"/>
              <a:gd name="connsiteY121" fmla="*/ 2343519 h 2373250"/>
              <a:gd name="connsiteX122" fmla="*/ 538363 w 1804943"/>
              <a:gd name="connsiteY122" fmla="*/ 2336631 h 2373250"/>
              <a:gd name="connsiteX123" fmla="*/ 513800 w 1804943"/>
              <a:gd name="connsiteY123" fmla="*/ 2329050 h 2373250"/>
              <a:gd name="connsiteX124" fmla="*/ 489950 w 1804943"/>
              <a:gd name="connsiteY124" fmla="*/ 2320785 h 2373250"/>
              <a:gd name="connsiteX125" fmla="*/ 466785 w 1804943"/>
              <a:gd name="connsiteY125" fmla="*/ 2311829 h 2373250"/>
              <a:gd name="connsiteX126" fmla="*/ 444312 w 1804943"/>
              <a:gd name="connsiteY126" fmla="*/ 2302195 h 2373250"/>
              <a:gd name="connsiteX127" fmla="*/ 422516 w 1804943"/>
              <a:gd name="connsiteY127" fmla="*/ 2291885 h 2373250"/>
              <a:gd name="connsiteX128" fmla="*/ 401389 w 1804943"/>
              <a:gd name="connsiteY128" fmla="*/ 2280906 h 2373250"/>
              <a:gd name="connsiteX129" fmla="*/ 380915 w 1804943"/>
              <a:gd name="connsiteY129" fmla="*/ 2269266 h 2373250"/>
              <a:gd name="connsiteX130" fmla="*/ 361094 w 1804943"/>
              <a:gd name="connsiteY130" fmla="*/ 2256965 h 2373250"/>
              <a:gd name="connsiteX131" fmla="*/ 341921 w 1804943"/>
              <a:gd name="connsiteY131" fmla="*/ 2244018 h 2373250"/>
              <a:gd name="connsiteX132" fmla="*/ 305456 w 1804943"/>
              <a:gd name="connsiteY132" fmla="*/ 2216179 h 2373250"/>
              <a:gd name="connsiteX133" fmla="*/ 271450 w 1804943"/>
              <a:gd name="connsiteY133" fmla="*/ 2185803 h 2373250"/>
              <a:gd name="connsiteX134" fmla="*/ 239844 w 1804943"/>
              <a:gd name="connsiteY134" fmla="*/ 2152920 h 2373250"/>
              <a:gd name="connsiteX135" fmla="*/ 210559 w 1804943"/>
              <a:gd name="connsiteY135" fmla="*/ 2117584 h 2373250"/>
              <a:gd name="connsiteX136" fmla="*/ 196759 w 1804943"/>
              <a:gd name="connsiteY136" fmla="*/ 2099010 h 2373250"/>
              <a:gd name="connsiteX137" fmla="*/ 183519 w 1804943"/>
              <a:gd name="connsiteY137" fmla="*/ 2079843 h 2373250"/>
              <a:gd name="connsiteX138" fmla="*/ 170826 w 1804943"/>
              <a:gd name="connsiteY138" fmla="*/ 2060076 h 2373250"/>
              <a:gd name="connsiteX139" fmla="*/ 158670 w 1804943"/>
              <a:gd name="connsiteY139" fmla="*/ 2039725 h 2373250"/>
              <a:gd name="connsiteX140" fmla="*/ 147039 w 1804943"/>
              <a:gd name="connsiteY140" fmla="*/ 2018790 h 2373250"/>
              <a:gd name="connsiteX141" fmla="*/ 135929 w 1804943"/>
              <a:gd name="connsiteY141" fmla="*/ 1997286 h 2373250"/>
              <a:gd name="connsiteX142" fmla="*/ 125326 w 1804943"/>
              <a:gd name="connsiteY142" fmla="*/ 1975206 h 2373250"/>
              <a:gd name="connsiteX143" fmla="*/ 115224 w 1804943"/>
              <a:gd name="connsiteY143" fmla="*/ 1952564 h 2373250"/>
              <a:gd name="connsiteX144" fmla="*/ 105621 w 1804943"/>
              <a:gd name="connsiteY144" fmla="*/ 1929369 h 2373250"/>
              <a:gd name="connsiteX145" fmla="*/ 96495 w 1804943"/>
              <a:gd name="connsiteY145" fmla="*/ 1905612 h 2373250"/>
              <a:gd name="connsiteX146" fmla="*/ 87846 w 1804943"/>
              <a:gd name="connsiteY146" fmla="*/ 1881309 h 2373250"/>
              <a:gd name="connsiteX147" fmla="*/ 79666 w 1804943"/>
              <a:gd name="connsiteY147" fmla="*/ 1856461 h 2373250"/>
              <a:gd name="connsiteX148" fmla="*/ 71947 w 1804943"/>
              <a:gd name="connsiteY148" fmla="*/ 1831082 h 2373250"/>
              <a:gd name="connsiteX149" fmla="*/ 64675 w 1804943"/>
              <a:gd name="connsiteY149" fmla="*/ 1805165 h 2373250"/>
              <a:gd name="connsiteX150" fmla="*/ 57839 w 1804943"/>
              <a:gd name="connsiteY150" fmla="*/ 1778725 h 2373250"/>
              <a:gd name="connsiteX151" fmla="*/ 51435 w 1804943"/>
              <a:gd name="connsiteY151" fmla="*/ 1751762 h 2373250"/>
              <a:gd name="connsiteX152" fmla="*/ 45461 w 1804943"/>
              <a:gd name="connsiteY152" fmla="*/ 1724284 h 2373250"/>
              <a:gd name="connsiteX153" fmla="*/ 39895 w 1804943"/>
              <a:gd name="connsiteY153" fmla="*/ 1696292 h 2373250"/>
              <a:gd name="connsiteX154" fmla="*/ 34736 w 1804943"/>
              <a:gd name="connsiteY154" fmla="*/ 1667799 h 2373250"/>
              <a:gd name="connsiteX155" fmla="*/ 29969 w 1804943"/>
              <a:gd name="connsiteY155" fmla="*/ 1638806 h 2373250"/>
              <a:gd name="connsiteX156" fmla="*/ 25595 w 1804943"/>
              <a:gd name="connsiteY156" fmla="*/ 1609322 h 2373250"/>
              <a:gd name="connsiteX157" fmla="*/ 21597 w 1804943"/>
              <a:gd name="connsiteY157" fmla="*/ 1579352 h 2373250"/>
              <a:gd name="connsiteX158" fmla="*/ 17967 w 1804943"/>
              <a:gd name="connsiteY158" fmla="*/ 1548893 h 2373250"/>
              <a:gd name="connsiteX159" fmla="*/ 14708 w 1804943"/>
              <a:gd name="connsiteY159" fmla="*/ 1517963 h 2373250"/>
              <a:gd name="connsiteX160" fmla="*/ 11794 w 1804943"/>
              <a:gd name="connsiteY160" fmla="*/ 1486556 h 2373250"/>
              <a:gd name="connsiteX161" fmla="*/ 9226 w 1804943"/>
              <a:gd name="connsiteY161" fmla="*/ 1454681 h 2373250"/>
              <a:gd name="connsiteX162" fmla="*/ 6989 w 1804943"/>
              <a:gd name="connsiteY162" fmla="*/ 1422351 h 2373250"/>
              <a:gd name="connsiteX163" fmla="*/ 5082 w 1804943"/>
              <a:gd name="connsiteY163" fmla="*/ 1389569 h 2373250"/>
              <a:gd name="connsiteX164" fmla="*/ 3490 w 1804943"/>
              <a:gd name="connsiteY164" fmla="*/ 1356325 h 2373250"/>
              <a:gd name="connsiteX165" fmla="*/ 2206 w 1804943"/>
              <a:gd name="connsiteY165" fmla="*/ 1322649 h 2373250"/>
              <a:gd name="connsiteX166" fmla="*/ 1230 w 1804943"/>
              <a:gd name="connsiteY166" fmla="*/ 1288530 h 2373250"/>
              <a:gd name="connsiteX167" fmla="*/ 540 w 1804943"/>
              <a:gd name="connsiteY167" fmla="*/ 1253971 h 2373250"/>
              <a:gd name="connsiteX168" fmla="*/ 132 w 1804943"/>
              <a:gd name="connsiteY168" fmla="*/ 1218989 h 2373250"/>
              <a:gd name="connsiteX169" fmla="*/ 0 w 1804943"/>
              <a:gd name="connsiteY169" fmla="*/ 1183585 h 2373250"/>
              <a:gd name="connsiteX170" fmla="*/ 132 w 1804943"/>
              <a:gd name="connsiteY170" fmla="*/ 1148334 h 2373250"/>
              <a:gd name="connsiteX171" fmla="*/ 546 w 1804943"/>
              <a:gd name="connsiteY171" fmla="*/ 1113498 h 2373250"/>
              <a:gd name="connsiteX172" fmla="*/ 1254 w 1804943"/>
              <a:gd name="connsiteY172" fmla="*/ 1079094 h 2373250"/>
              <a:gd name="connsiteX173" fmla="*/ 2246 w 1804943"/>
              <a:gd name="connsiteY173" fmla="*/ 1045127 h 2373250"/>
              <a:gd name="connsiteX174" fmla="*/ 3544 w 1804943"/>
              <a:gd name="connsiteY174" fmla="*/ 1011590 h 2373250"/>
              <a:gd name="connsiteX175" fmla="*/ 5159 w 1804943"/>
              <a:gd name="connsiteY175" fmla="*/ 978500 h 2373250"/>
              <a:gd name="connsiteX176" fmla="*/ 7096 w 1804943"/>
              <a:gd name="connsiteY176" fmla="*/ 945863 h 2373250"/>
              <a:gd name="connsiteX177" fmla="*/ 9356 w 1804943"/>
              <a:gd name="connsiteY177" fmla="*/ 913681 h 2373250"/>
              <a:gd name="connsiteX178" fmla="*/ 11964 w 1804943"/>
              <a:gd name="connsiteY178" fmla="*/ 881951 h 2373250"/>
              <a:gd name="connsiteX179" fmla="*/ 14909 w 1804943"/>
              <a:gd name="connsiteY179" fmla="*/ 850691 h 2373250"/>
              <a:gd name="connsiteX180" fmla="*/ 18214 w 1804943"/>
              <a:gd name="connsiteY180" fmla="*/ 819907 h 2373250"/>
              <a:gd name="connsiteX181" fmla="*/ 21881 w 1804943"/>
              <a:gd name="connsiteY181" fmla="*/ 789592 h 2373250"/>
              <a:gd name="connsiteX182" fmla="*/ 25917 w 1804943"/>
              <a:gd name="connsiteY182" fmla="*/ 759762 h 2373250"/>
              <a:gd name="connsiteX183" fmla="*/ 30338 w 1804943"/>
              <a:gd name="connsiteY183" fmla="*/ 730423 h 2373250"/>
              <a:gd name="connsiteX184" fmla="*/ 35152 w 1804943"/>
              <a:gd name="connsiteY184" fmla="*/ 701569 h 2373250"/>
              <a:gd name="connsiteX185" fmla="*/ 40356 w 1804943"/>
              <a:gd name="connsiteY185" fmla="*/ 673215 h 2373250"/>
              <a:gd name="connsiteX186" fmla="*/ 45968 w 1804943"/>
              <a:gd name="connsiteY186" fmla="*/ 645368 h 2373250"/>
              <a:gd name="connsiteX187" fmla="*/ 51996 w 1804943"/>
              <a:gd name="connsiteY187" fmla="*/ 618029 h 2373250"/>
              <a:gd name="connsiteX188" fmla="*/ 58446 w 1804943"/>
              <a:gd name="connsiteY188" fmla="*/ 591204 h 2373250"/>
              <a:gd name="connsiteX189" fmla="*/ 65335 w 1804943"/>
              <a:gd name="connsiteY189" fmla="*/ 564895 h 2373250"/>
              <a:gd name="connsiteX190" fmla="*/ 72655 w 1804943"/>
              <a:gd name="connsiteY190" fmla="*/ 539109 h 2373250"/>
              <a:gd name="connsiteX191" fmla="*/ 80428 w 1804943"/>
              <a:gd name="connsiteY191" fmla="*/ 513860 h 2373250"/>
              <a:gd name="connsiteX192" fmla="*/ 88661 w 1804943"/>
              <a:gd name="connsiteY192" fmla="*/ 489142 h 2373250"/>
              <a:gd name="connsiteX193" fmla="*/ 97358 w 1804943"/>
              <a:gd name="connsiteY193" fmla="*/ 464962 h 2373250"/>
              <a:gd name="connsiteX194" fmla="*/ 106521 w 1804943"/>
              <a:gd name="connsiteY194" fmla="*/ 441336 h 2373250"/>
              <a:gd name="connsiteX195" fmla="*/ 116178 w 1804943"/>
              <a:gd name="connsiteY195" fmla="*/ 418257 h 2373250"/>
              <a:gd name="connsiteX196" fmla="*/ 126320 w 1804943"/>
              <a:gd name="connsiteY196" fmla="*/ 395738 h 2373250"/>
              <a:gd name="connsiteX197" fmla="*/ 136966 w 1804943"/>
              <a:gd name="connsiteY197" fmla="*/ 373780 h 2373250"/>
              <a:gd name="connsiteX198" fmla="*/ 137880 w 1804943"/>
              <a:gd name="connsiteY198" fmla="*/ 372027 h 2373250"/>
              <a:gd name="connsiteX199" fmla="*/ 137881 w 1804943"/>
              <a:gd name="connsiteY199" fmla="*/ 372027 h 2373250"/>
              <a:gd name="connsiteX200" fmla="*/ 148122 w 1804943"/>
              <a:gd name="connsiteY200" fmla="*/ 352391 h 2373250"/>
              <a:gd name="connsiteX201" fmla="*/ 159787 w 1804943"/>
              <a:gd name="connsiteY201" fmla="*/ 331571 h 2373250"/>
              <a:gd name="connsiteX202" fmla="*/ 171988 w 1804943"/>
              <a:gd name="connsiteY202" fmla="*/ 311336 h 2373250"/>
              <a:gd name="connsiteX203" fmla="*/ 184719 w 1804943"/>
              <a:gd name="connsiteY203" fmla="*/ 291677 h 2373250"/>
              <a:gd name="connsiteX204" fmla="*/ 197988 w 1804943"/>
              <a:gd name="connsiteY204" fmla="*/ 272618 h 2373250"/>
              <a:gd name="connsiteX205" fmla="*/ 211812 w 1804943"/>
              <a:gd name="connsiteY205" fmla="*/ 254143 h 2373250"/>
              <a:gd name="connsiteX206" fmla="*/ 241142 w 1804943"/>
              <a:gd name="connsiteY206" fmla="*/ 219015 h 2373250"/>
              <a:gd name="connsiteX207" fmla="*/ 272787 w 1804943"/>
              <a:gd name="connsiteY207" fmla="*/ 186325 h 2373250"/>
              <a:gd name="connsiteX208" fmla="*/ 306808 w 1804943"/>
              <a:gd name="connsiteY208" fmla="*/ 156118 h 2373250"/>
              <a:gd name="connsiteX209" fmla="*/ 343266 w 1804943"/>
              <a:gd name="connsiteY209" fmla="*/ 128447 h 2373250"/>
              <a:gd name="connsiteX210" fmla="*/ 362432 w 1804943"/>
              <a:gd name="connsiteY210" fmla="*/ 115578 h 2373250"/>
              <a:gd name="connsiteX211" fmla="*/ 382237 w 1804943"/>
              <a:gd name="connsiteY211" fmla="*/ 103346 h 2373250"/>
              <a:gd name="connsiteX212" fmla="*/ 402689 w 1804943"/>
              <a:gd name="connsiteY212" fmla="*/ 91775 h 2373250"/>
              <a:gd name="connsiteX213" fmla="*/ 423793 w 1804943"/>
              <a:gd name="connsiteY213" fmla="*/ 80865 h 2373250"/>
              <a:gd name="connsiteX214" fmla="*/ 445558 w 1804943"/>
              <a:gd name="connsiteY214" fmla="*/ 70617 h 2373250"/>
              <a:gd name="connsiteX215" fmla="*/ 467992 w 1804943"/>
              <a:gd name="connsiteY215" fmla="*/ 61045 h 2373250"/>
              <a:gd name="connsiteX216" fmla="*/ 491103 w 1804943"/>
              <a:gd name="connsiteY216" fmla="*/ 52142 h 2373250"/>
              <a:gd name="connsiteX217" fmla="*/ 514906 w 1804943"/>
              <a:gd name="connsiteY217" fmla="*/ 43923 h 2373250"/>
              <a:gd name="connsiteX218" fmla="*/ 539409 w 1804943"/>
              <a:gd name="connsiteY218" fmla="*/ 36389 h 2373250"/>
              <a:gd name="connsiteX219" fmla="*/ 564612 w 1804943"/>
              <a:gd name="connsiteY219" fmla="*/ 29553 h 2373250"/>
              <a:gd name="connsiteX220" fmla="*/ 590528 w 1804943"/>
              <a:gd name="connsiteY220" fmla="*/ 23403 h 2373250"/>
              <a:gd name="connsiteX221" fmla="*/ 617160 w 1804943"/>
              <a:gd name="connsiteY221" fmla="*/ 17967 h 2373250"/>
              <a:gd name="connsiteX222" fmla="*/ 644530 w 1804943"/>
              <a:gd name="connsiteY222" fmla="*/ 13231 h 2373250"/>
              <a:gd name="connsiteX223" fmla="*/ 672639 w 1804943"/>
              <a:gd name="connsiteY223" fmla="*/ 9210 h 2373250"/>
              <a:gd name="connsiteX224" fmla="*/ 701494 w 1804943"/>
              <a:gd name="connsiteY224" fmla="*/ 5912 h 2373250"/>
              <a:gd name="connsiteX225" fmla="*/ 731100 w 1804943"/>
              <a:gd name="connsiteY225" fmla="*/ 3336 h 2373250"/>
              <a:gd name="connsiteX226" fmla="*/ 761477 w 1804943"/>
              <a:gd name="connsiteY226" fmla="*/ 1484 h 2373250"/>
              <a:gd name="connsiteX227" fmla="*/ 792621 w 1804943"/>
              <a:gd name="connsiteY227" fmla="*/ 377 h 23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804943" h="2373250">
                <a:moveTo>
                  <a:pt x="1135564" y="15338"/>
                </a:moveTo>
                <a:lnTo>
                  <a:pt x="1804943" y="15338"/>
                </a:lnTo>
                <a:lnTo>
                  <a:pt x="1804943" y="121436"/>
                </a:lnTo>
                <a:lnTo>
                  <a:pt x="1260314" y="121436"/>
                </a:lnTo>
                <a:lnTo>
                  <a:pt x="1260314" y="372027"/>
                </a:lnTo>
                <a:lnTo>
                  <a:pt x="1260314" y="2258004"/>
                </a:lnTo>
                <a:lnTo>
                  <a:pt x="1804943" y="2258004"/>
                </a:lnTo>
                <a:lnTo>
                  <a:pt x="1804943" y="2364102"/>
                </a:lnTo>
                <a:lnTo>
                  <a:pt x="1135564" y="2364102"/>
                </a:lnTo>
                <a:lnTo>
                  <a:pt x="1135564" y="2258004"/>
                </a:lnTo>
                <a:lnTo>
                  <a:pt x="1135564" y="372027"/>
                </a:lnTo>
                <a:lnTo>
                  <a:pt x="1135564" y="121436"/>
                </a:lnTo>
                <a:close/>
                <a:moveTo>
                  <a:pt x="824551" y="0"/>
                </a:moveTo>
                <a:lnTo>
                  <a:pt x="824551" y="106498"/>
                </a:lnTo>
                <a:lnTo>
                  <a:pt x="793382" y="106920"/>
                </a:lnTo>
                <a:lnTo>
                  <a:pt x="763107" y="108189"/>
                </a:lnTo>
                <a:lnTo>
                  <a:pt x="733699" y="110296"/>
                </a:lnTo>
                <a:lnTo>
                  <a:pt x="705152" y="113240"/>
                </a:lnTo>
                <a:lnTo>
                  <a:pt x="677451" y="117008"/>
                </a:lnTo>
                <a:lnTo>
                  <a:pt x="650596" y="121598"/>
                </a:lnTo>
                <a:lnTo>
                  <a:pt x="624564" y="126995"/>
                </a:lnTo>
                <a:lnTo>
                  <a:pt x="599346" y="133207"/>
                </a:lnTo>
                <a:lnTo>
                  <a:pt x="574929" y="140218"/>
                </a:lnTo>
                <a:lnTo>
                  <a:pt x="551302" y="148022"/>
                </a:lnTo>
                <a:lnTo>
                  <a:pt x="528461" y="156617"/>
                </a:lnTo>
                <a:lnTo>
                  <a:pt x="506387" y="165997"/>
                </a:lnTo>
                <a:lnTo>
                  <a:pt x="485076" y="176146"/>
                </a:lnTo>
                <a:lnTo>
                  <a:pt x="464502" y="187071"/>
                </a:lnTo>
                <a:lnTo>
                  <a:pt x="425554" y="211204"/>
                </a:lnTo>
                <a:lnTo>
                  <a:pt x="389457" y="238344"/>
                </a:lnTo>
                <a:lnTo>
                  <a:pt x="356105" y="268436"/>
                </a:lnTo>
                <a:lnTo>
                  <a:pt x="325421" y="301433"/>
                </a:lnTo>
                <a:lnTo>
                  <a:pt x="297313" y="337284"/>
                </a:lnTo>
                <a:lnTo>
                  <a:pt x="284189" y="356266"/>
                </a:lnTo>
                <a:lnTo>
                  <a:pt x="274169" y="372027"/>
                </a:lnTo>
                <a:lnTo>
                  <a:pt x="271680" y="375940"/>
                </a:lnTo>
                <a:lnTo>
                  <a:pt x="259763" y="396306"/>
                </a:lnTo>
                <a:lnTo>
                  <a:pt x="248431" y="417348"/>
                </a:lnTo>
                <a:lnTo>
                  <a:pt x="237675" y="439077"/>
                </a:lnTo>
                <a:lnTo>
                  <a:pt x="227480" y="461465"/>
                </a:lnTo>
                <a:lnTo>
                  <a:pt x="217839" y="484522"/>
                </a:lnTo>
                <a:lnTo>
                  <a:pt x="208737" y="508239"/>
                </a:lnTo>
                <a:lnTo>
                  <a:pt x="200156" y="532604"/>
                </a:lnTo>
                <a:lnTo>
                  <a:pt x="192100" y="557614"/>
                </a:lnTo>
                <a:lnTo>
                  <a:pt x="184542" y="583262"/>
                </a:lnTo>
                <a:lnTo>
                  <a:pt x="177484" y="609541"/>
                </a:lnTo>
                <a:lnTo>
                  <a:pt x="170903" y="636450"/>
                </a:lnTo>
                <a:lnTo>
                  <a:pt x="164799" y="663974"/>
                </a:lnTo>
                <a:lnTo>
                  <a:pt x="159148" y="692121"/>
                </a:lnTo>
                <a:lnTo>
                  <a:pt x="153950" y="720867"/>
                </a:lnTo>
                <a:lnTo>
                  <a:pt x="149183" y="750212"/>
                </a:lnTo>
                <a:lnTo>
                  <a:pt x="144839" y="780158"/>
                </a:lnTo>
                <a:lnTo>
                  <a:pt x="140910" y="810689"/>
                </a:lnTo>
                <a:lnTo>
                  <a:pt x="137390" y="841803"/>
                </a:lnTo>
                <a:lnTo>
                  <a:pt x="134253" y="873494"/>
                </a:lnTo>
                <a:lnTo>
                  <a:pt x="131501" y="905754"/>
                </a:lnTo>
                <a:lnTo>
                  <a:pt x="129109" y="938575"/>
                </a:lnTo>
                <a:lnTo>
                  <a:pt x="127073" y="971958"/>
                </a:lnTo>
                <a:lnTo>
                  <a:pt x="125389" y="1005886"/>
                </a:lnTo>
                <a:lnTo>
                  <a:pt x="124027" y="1040360"/>
                </a:lnTo>
                <a:lnTo>
                  <a:pt x="122997" y="1075373"/>
                </a:lnTo>
                <a:lnTo>
                  <a:pt x="122267" y="1110923"/>
                </a:lnTo>
                <a:lnTo>
                  <a:pt x="121844" y="1146996"/>
                </a:lnTo>
                <a:lnTo>
                  <a:pt x="121706" y="1183585"/>
                </a:lnTo>
                <a:lnTo>
                  <a:pt x="121829" y="1220003"/>
                </a:lnTo>
                <a:lnTo>
                  <a:pt x="122229" y="1255892"/>
                </a:lnTo>
                <a:lnTo>
                  <a:pt x="122897" y="1291258"/>
                </a:lnTo>
                <a:lnTo>
                  <a:pt x="123850" y="1326087"/>
                </a:lnTo>
                <a:lnTo>
                  <a:pt x="125111" y="1360376"/>
                </a:lnTo>
                <a:lnTo>
                  <a:pt x="126679" y="1394113"/>
                </a:lnTo>
                <a:lnTo>
                  <a:pt x="128571" y="1427303"/>
                </a:lnTo>
                <a:lnTo>
                  <a:pt x="130802" y="1459939"/>
                </a:lnTo>
                <a:lnTo>
                  <a:pt x="133368" y="1492006"/>
                </a:lnTo>
                <a:lnTo>
                  <a:pt x="136298" y="1523513"/>
                </a:lnTo>
                <a:lnTo>
                  <a:pt x="139596" y="1554442"/>
                </a:lnTo>
                <a:lnTo>
                  <a:pt x="143271" y="1584796"/>
                </a:lnTo>
                <a:lnTo>
                  <a:pt x="147338" y="1614566"/>
                </a:lnTo>
                <a:lnTo>
                  <a:pt x="151813" y="1643750"/>
                </a:lnTo>
                <a:lnTo>
                  <a:pt x="156702" y="1672334"/>
                </a:lnTo>
                <a:lnTo>
                  <a:pt x="162015" y="1700320"/>
                </a:lnTo>
                <a:lnTo>
                  <a:pt x="167766" y="1727705"/>
                </a:lnTo>
                <a:lnTo>
                  <a:pt x="173962" y="1754476"/>
                </a:lnTo>
                <a:lnTo>
                  <a:pt x="180629" y="1780631"/>
                </a:lnTo>
                <a:lnTo>
                  <a:pt x="187755" y="1806164"/>
                </a:lnTo>
                <a:lnTo>
                  <a:pt x="195374" y="1831074"/>
                </a:lnTo>
                <a:lnTo>
                  <a:pt x="203485" y="1855346"/>
                </a:lnTo>
                <a:lnTo>
                  <a:pt x="212112" y="1878988"/>
                </a:lnTo>
                <a:lnTo>
                  <a:pt x="221245" y="1901983"/>
                </a:lnTo>
                <a:lnTo>
                  <a:pt x="230917" y="1924332"/>
                </a:lnTo>
                <a:lnTo>
                  <a:pt x="241128" y="1946029"/>
                </a:lnTo>
                <a:lnTo>
                  <a:pt x="251891" y="1967064"/>
                </a:lnTo>
                <a:lnTo>
                  <a:pt x="263216" y="1987430"/>
                </a:lnTo>
                <a:lnTo>
                  <a:pt x="287611" y="2026164"/>
                </a:lnTo>
                <a:lnTo>
                  <a:pt x="314404" y="2062168"/>
                </a:lnTo>
                <a:lnTo>
                  <a:pt x="343681" y="2095412"/>
                </a:lnTo>
                <a:lnTo>
                  <a:pt x="375541" y="2125849"/>
                </a:lnTo>
                <a:lnTo>
                  <a:pt x="410077" y="2153435"/>
                </a:lnTo>
                <a:lnTo>
                  <a:pt x="447372" y="2178130"/>
                </a:lnTo>
                <a:lnTo>
                  <a:pt x="487529" y="2199888"/>
                </a:lnTo>
                <a:lnTo>
                  <a:pt x="508702" y="2209652"/>
                </a:lnTo>
                <a:lnTo>
                  <a:pt x="530629" y="2218662"/>
                </a:lnTo>
                <a:lnTo>
                  <a:pt x="553317" y="2226920"/>
                </a:lnTo>
                <a:lnTo>
                  <a:pt x="576782" y="2234416"/>
                </a:lnTo>
                <a:lnTo>
                  <a:pt x="601022" y="2241150"/>
                </a:lnTo>
                <a:lnTo>
                  <a:pt x="626056" y="2247109"/>
                </a:lnTo>
                <a:lnTo>
                  <a:pt x="651904" y="2252291"/>
                </a:lnTo>
                <a:lnTo>
                  <a:pt x="678567" y="2256688"/>
                </a:lnTo>
                <a:lnTo>
                  <a:pt x="706061" y="2260301"/>
                </a:lnTo>
                <a:lnTo>
                  <a:pt x="734390" y="2263116"/>
                </a:lnTo>
                <a:lnTo>
                  <a:pt x="763575" y="2265138"/>
                </a:lnTo>
                <a:lnTo>
                  <a:pt x="793630" y="2266352"/>
                </a:lnTo>
                <a:lnTo>
                  <a:pt x="824551" y="2266760"/>
                </a:lnTo>
                <a:lnTo>
                  <a:pt x="824551" y="2373250"/>
                </a:lnTo>
                <a:lnTo>
                  <a:pt x="792476" y="2372881"/>
                </a:lnTo>
                <a:lnTo>
                  <a:pt x="761193" y="2371759"/>
                </a:lnTo>
                <a:lnTo>
                  <a:pt x="730694" y="2369898"/>
                </a:lnTo>
                <a:lnTo>
                  <a:pt x="700970" y="2367307"/>
                </a:lnTo>
                <a:lnTo>
                  <a:pt x="672008" y="2363986"/>
                </a:lnTo>
                <a:lnTo>
                  <a:pt x="643800" y="2359941"/>
                </a:lnTo>
                <a:lnTo>
                  <a:pt x="616345" y="2355175"/>
                </a:lnTo>
                <a:lnTo>
                  <a:pt x="589621" y="2349701"/>
                </a:lnTo>
                <a:lnTo>
                  <a:pt x="563635" y="2343519"/>
                </a:lnTo>
                <a:lnTo>
                  <a:pt x="538363" y="2336631"/>
                </a:lnTo>
                <a:lnTo>
                  <a:pt x="513800" y="2329050"/>
                </a:lnTo>
                <a:lnTo>
                  <a:pt x="489950" y="2320785"/>
                </a:lnTo>
                <a:lnTo>
                  <a:pt x="466785" y="2311829"/>
                </a:lnTo>
                <a:lnTo>
                  <a:pt x="444312" y="2302195"/>
                </a:lnTo>
                <a:lnTo>
                  <a:pt x="422516" y="2291885"/>
                </a:lnTo>
                <a:lnTo>
                  <a:pt x="401389" y="2280906"/>
                </a:lnTo>
                <a:lnTo>
                  <a:pt x="380915" y="2269266"/>
                </a:lnTo>
                <a:lnTo>
                  <a:pt x="361094" y="2256965"/>
                </a:lnTo>
                <a:lnTo>
                  <a:pt x="341921" y="2244018"/>
                </a:lnTo>
                <a:lnTo>
                  <a:pt x="305456" y="2216179"/>
                </a:lnTo>
                <a:lnTo>
                  <a:pt x="271450" y="2185803"/>
                </a:lnTo>
                <a:lnTo>
                  <a:pt x="239844" y="2152920"/>
                </a:lnTo>
                <a:lnTo>
                  <a:pt x="210559" y="2117584"/>
                </a:lnTo>
                <a:lnTo>
                  <a:pt x="196759" y="2099010"/>
                </a:lnTo>
                <a:lnTo>
                  <a:pt x="183519" y="2079843"/>
                </a:lnTo>
                <a:lnTo>
                  <a:pt x="170826" y="2060076"/>
                </a:lnTo>
                <a:lnTo>
                  <a:pt x="158670" y="2039725"/>
                </a:lnTo>
                <a:lnTo>
                  <a:pt x="147039" y="2018790"/>
                </a:lnTo>
                <a:lnTo>
                  <a:pt x="135929" y="1997286"/>
                </a:lnTo>
                <a:lnTo>
                  <a:pt x="125326" y="1975206"/>
                </a:lnTo>
                <a:lnTo>
                  <a:pt x="115224" y="1952564"/>
                </a:lnTo>
                <a:lnTo>
                  <a:pt x="105621" y="1929369"/>
                </a:lnTo>
                <a:lnTo>
                  <a:pt x="96495" y="1905612"/>
                </a:lnTo>
                <a:lnTo>
                  <a:pt x="87846" y="1881309"/>
                </a:lnTo>
                <a:lnTo>
                  <a:pt x="79666" y="1856461"/>
                </a:lnTo>
                <a:lnTo>
                  <a:pt x="71947" y="1831082"/>
                </a:lnTo>
                <a:lnTo>
                  <a:pt x="64675" y="1805165"/>
                </a:lnTo>
                <a:lnTo>
                  <a:pt x="57839" y="1778725"/>
                </a:lnTo>
                <a:lnTo>
                  <a:pt x="51435" y="1751762"/>
                </a:lnTo>
                <a:lnTo>
                  <a:pt x="45461" y="1724284"/>
                </a:lnTo>
                <a:lnTo>
                  <a:pt x="39895" y="1696292"/>
                </a:lnTo>
                <a:lnTo>
                  <a:pt x="34736" y="1667799"/>
                </a:lnTo>
                <a:lnTo>
                  <a:pt x="29969" y="1638806"/>
                </a:lnTo>
                <a:lnTo>
                  <a:pt x="25595" y="1609322"/>
                </a:lnTo>
                <a:lnTo>
                  <a:pt x="21597" y="1579352"/>
                </a:lnTo>
                <a:lnTo>
                  <a:pt x="17967" y="1548893"/>
                </a:lnTo>
                <a:lnTo>
                  <a:pt x="14708" y="1517963"/>
                </a:lnTo>
                <a:lnTo>
                  <a:pt x="11794" y="1486556"/>
                </a:lnTo>
                <a:lnTo>
                  <a:pt x="9226" y="1454681"/>
                </a:lnTo>
                <a:lnTo>
                  <a:pt x="6989" y="1422351"/>
                </a:lnTo>
                <a:lnTo>
                  <a:pt x="5082" y="1389569"/>
                </a:lnTo>
                <a:lnTo>
                  <a:pt x="3490" y="1356325"/>
                </a:lnTo>
                <a:lnTo>
                  <a:pt x="2206" y="1322649"/>
                </a:lnTo>
                <a:lnTo>
                  <a:pt x="1230" y="1288530"/>
                </a:lnTo>
                <a:lnTo>
                  <a:pt x="540" y="1253971"/>
                </a:lnTo>
                <a:lnTo>
                  <a:pt x="132" y="1218989"/>
                </a:lnTo>
                <a:lnTo>
                  <a:pt x="0" y="1183585"/>
                </a:lnTo>
                <a:lnTo>
                  <a:pt x="132" y="1148334"/>
                </a:lnTo>
                <a:lnTo>
                  <a:pt x="546" y="1113498"/>
                </a:lnTo>
                <a:lnTo>
                  <a:pt x="1254" y="1079094"/>
                </a:lnTo>
                <a:lnTo>
                  <a:pt x="2246" y="1045127"/>
                </a:lnTo>
                <a:lnTo>
                  <a:pt x="3544" y="1011590"/>
                </a:lnTo>
                <a:lnTo>
                  <a:pt x="5159" y="978500"/>
                </a:lnTo>
                <a:lnTo>
                  <a:pt x="7096" y="945863"/>
                </a:lnTo>
                <a:lnTo>
                  <a:pt x="9356" y="913681"/>
                </a:lnTo>
                <a:lnTo>
                  <a:pt x="11964" y="881951"/>
                </a:lnTo>
                <a:lnTo>
                  <a:pt x="14909" y="850691"/>
                </a:lnTo>
                <a:lnTo>
                  <a:pt x="18214" y="819907"/>
                </a:lnTo>
                <a:lnTo>
                  <a:pt x="21881" y="789592"/>
                </a:lnTo>
                <a:lnTo>
                  <a:pt x="25917" y="759762"/>
                </a:lnTo>
                <a:lnTo>
                  <a:pt x="30338" y="730423"/>
                </a:lnTo>
                <a:lnTo>
                  <a:pt x="35152" y="701569"/>
                </a:lnTo>
                <a:lnTo>
                  <a:pt x="40356" y="673215"/>
                </a:lnTo>
                <a:lnTo>
                  <a:pt x="45968" y="645368"/>
                </a:lnTo>
                <a:lnTo>
                  <a:pt x="51996" y="618029"/>
                </a:lnTo>
                <a:lnTo>
                  <a:pt x="58446" y="591204"/>
                </a:lnTo>
                <a:lnTo>
                  <a:pt x="65335" y="564895"/>
                </a:lnTo>
                <a:lnTo>
                  <a:pt x="72655" y="539109"/>
                </a:lnTo>
                <a:lnTo>
                  <a:pt x="80428" y="513860"/>
                </a:lnTo>
                <a:lnTo>
                  <a:pt x="88661" y="489142"/>
                </a:lnTo>
                <a:lnTo>
                  <a:pt x="97358" y="464962"/>
                </a:lnTo>
                <a:lnTo>
                  <a:pt x="106521" y="441336"/>
                </a:lnTo>
                <a:lnTo>
                  <a:pt x="116178" y="418257"/>
                </a:lnTo>
                <a:lnTo>
                  <a:pt x="126320" y="395738"/>
                </a:lnTo>
                <a:lnTo>
                  <a:pt x="136966" y="373780"/>
                </a:lnTo>
                <a:lnTo>
                  <a:pt x="137880" y="372027"/>
                </a:lnTo>
                <a:lnTo>
                  <a:pt x="137881" y="372027"/>
                </a:lnTo>
                <a:lnTo>
                  <a:pt x="148122" y="352391"/>
                </a:lnTo>
                <a:lnTo>
                  <a:pt x="159787" y="331571"/>
                </a:lnTo>
                <a:lnTo>
                  <a:pt x="171988" y="311336"/>
                </a:lnTo>
                <a:lnTo>
                  <a:pt x="184719" y="291677"/>
                </a:lnTo>
                <a:lnTo>
                  <a:pt x="197988" y="272618"/>
                </a:lnTo>
                <a:lnTo>
                  <a:pt x="211812" y="254143"/>
                </a:lnTo>
                <a:lnTo>
                  <a:pt x="241142" y="219015"/>
                </a:lnTo>
                <a:lnTo>
                  <a:pt x="272787" y="186325"/>
                </a:lnTo>
                <a:lnTo>
                  <a:pt x="306808" y="156118"/>
                </a:lnTo>
                <a:lnTo>
                  <a:pt x="343266" y="128447"/>
                </a:lnTo>
                <a:lnTo>
                  <a:pt x="362432" y="115578"/>
                </a:lnTo>
                <a:lnTo>
                  <a:pt x="382237" y="103346"/>
                </a:lnTo>
                <a:lnTo>
                  <a:pt x="402689" y="91775"/>
                </a:lnTo>
                <a:lnTo>
                  <a:pt x="423793" y="80865"/>
                </a:lnTo>
                <a:lnTo>
                  <a:pt x="445558" y="70617"/>
                </a:lnTo>
                <a:lnTo>
                  <a:pt x="467992" y="61045"/>
                </a:lnTo>
                <a:lnTo>
                  <a:pt x="491103" y="52142"/>
                </a:lnTo>
                <a:lnTo>
                  <a:pt x="514906" y="43923"/>
                </a:lnTo>
                <a:lnTo>
                  <a:pt x="539409" y="36389"/>
                </a:lnTo>
                <a:lnTo>
                  <a:pt x="564612" y="29553"/>
                </a:lnTo>
                <a:lnTo>
                  <a:pt x="590528" y="23403"/>
                </a:lnTo>
                <a:lnTo>
                  <a:pt x="617160" y="17967"/>
                </a:lnTo>
                <a:lnTo>
                  <a:pt x="644530" y="13231"/>
                </a:lnTo>
                <a:lnTo>
                  <a:pt x="672639" y="9210"/>
                </a:lnTo>
                <a:lnTo>
                  <a:pt x="701494" y="5912"/>
                </a:lnTo>
                <a:lnTo>
                  <a:pt x="731100" y="3336"/>
                </a:lnTo>
                <a:lnTo>
                  <a:pt x="761477" y="1484"/>
                </a:lnTo>
                <a:lnTo>
                  <a:pt x="792621" y="377"/>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3" name="Makro grafik 2">
            <a:extLst>
              <a:ext uri="{FF2B5EF4-FFF2-40B4-BE49-F238E27FC236}">
                <a16:creationId xmlns:a16="http://schemas.microsoft.com/office/drawing/2014/main" id="{3C47DF57-6C35-2F95-62C7-5AF5F1E443EA}"/>
              </a:ext>
            </a:extLst>
          </p:cNvPr>
          <p:cNvSpPr>
            <a:spLocks noGrp="1" noChangeAspect="1"/>
          </p:cNvSpPr>
          <p:nvPr>
            <p:ph type="body" sz="quarter" idx="20" hasCustomPrompt="1"/>
          </p:nvPr>
        </p:nvSpPr>
        <p:spPr>
          <a:xfrm>
            <a:off x="7625339" y="3523023"/>
            <a:ext cx="1123209" cy="1460462"/>
          </a:xfrm>
          <a:custGeom>
            <a:avLst/>
            <a:gdLst>
              <a:gd name="connsiteX0" fmla="*/ 0 w 1497612"/>
              <a:gd name="connsiteY0" fmla="*/ 1 h 1947283"/>
              <a:gd name="connsiteX1" fmla="*/ 133876 w 1497612"/>
              <a:gd name="connsiteY1" fmla="*/ 1 h 1947283"/>
              <a:gd name="connsiteX2" fmla="*/ 542054 w 1497612"/>
              <a:gd name="connsiteY2" fmla="*/ 1262003 h 1947283"/>
              <a:gd name="connsiteX3" fmla="*/ 763698 w 1497612"/>
              <a:gd name="connsiteY3" fmla="*/ 1947283 h 1947283"/>
              <a:gd name="connsiteX4" fmla="*/ 626777 w 1497612"/>
              <a:gd name="connsiteY4" fmla="*/ 1947283 h 1947283"/>
              <a:gd name="connsiteX5" fmla="*/ 406204 w 1497612"/>
              <a:gd name="connsiteY5" fmla="*/ 1262004 h 1947283"/>
              <a:gd name="connsiteX6" fmla="*/ 733914 w 1497612"/>
              <a:gd name="connsiteY6" fmla="*/ 0 h 1947283"/>
              <a:gd name="connsiteX7" fmla="*/ 867789 w 1497612"/>
              <a:gd name="connsiteY7" fmla="*/ 0 h 1947283"/>
              <a:gd name="connsiteX8" fmla="*/ 988168 w 1497612"/>
              <a:gd name="connsiteY8" fmla="*/ 372187 h 1947283"/>
              <a:gd name="connsiteX9" fmla="*/ 1497612 w 1497612"/>
              <a:gd name="connsiteY9" fmla="*/ 1947283 h 1947283"/>
              <a:gd name="connsiteX10" fmla="*/ 1360692 w 1497612"/>
              <a:gd name="connsiteY10" fmla="*/ 1947283 h 1947283"/>
              <a:gd name="connsiteX11" fmla="*/ 988168 w 1497612"/>
              <a:gd name="connsiteY11" fmla="*/ 789920 h 19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7612" h="1947283">
                <a:moveTo>
                  <a:pt x="0" y="1"/>
                </a:moveTo>
                <a:lnTo>
                  <a:pt x="133876" y="1"/>
                </a:lnTo>
                <a:lnTo>
                  <a:pt x="542054" y="1262003"/>
                </a:lnTo>
                <a:lnTo>
                  <a:pt x="763698" y="1947283"/>
                </a:lnTo>
                <a:lnTo>
                  <a:pt x="626777" y="1947283"/>
                </a:lnTo>
                <a:lnTo>
                  <a:pt x="406204" y="1262004"/>
                </a:lnTo>
                <a:close/>
                <a:moveTo>
                  <a:pt x="733914" y="0"/>
                </a:moveTo>
                <a:lnTo>
                  <a:pt x="867789" y="0"/>
                </a:lnTo>
                <a:lnTo>
                  <a:pt x="988168" y="372187"/>
                </a:lnTo>
                <a:lnTo>
                  <a:pt x="1497612" y="1947283"/>
                </a:lnTo>
                <a:lnTo>
                  <a:pt x="1360692" y="1947283"/>
                </a:lnTo>
                <a:lnTo>
                  <a:pt x="988168" y="78992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4" name="TextBox 1">
            <a:extLst>
              <a:ext uri="{FF2B5EF4-FFF2-40B4-BE49-F238E27FC236}">
                <a16:creationId xmlns:a16="http://schemas.microsoft.com/office/drawing/2014/main" id="{38C4D288-BF41-D871-ACA4-A53FE219D09D}"/>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pic>
        <p:nvPicPr>
          <p:cNvPr id="7" name="Picture 6" descr="A black background with purple text&#10;&#10;Description automatically generated">
            <a:extLst>
              <a:ext uri="{FF2B5EF4-FFF2-40B4-BE49-F238E27FC236}">
                <a16:creationId xmlns:a16="http://schemas.microsoft.com/office/drawing/2014/main" id="{0A8DE3B7-0CD0-8E5E-6DC8-23A23213434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5300"/>
          <a:stretch/>
        </p:blipFill>
        <p:spPr>
          <a:xfrm>
            <a:off x="405000" y="207900"/>
            <a:ext cx="2150000" cy="290864"/>
          </a:xfrm>
          <a:prstGeom prst="rect">
            <a:avLst/>
          </a:prstGeom>
        </p:spPr>
      </p:pic>
    </p:spTree>
    <p:extLst>
      <p:ext uri="{BB962C8B-B14F-4D97-AF65-F5344CB8AC3E}">
        <p14:creationId xmlns:p14="http://schemas.microsoft.com/office/powerpoint/2010/main" val="4150810944"/>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NemLog-in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dirty="0"/>
          </a:p>
        </p:txBody>
      </p:sp>
      <p:sp>
        <p:nvSpPr>
          <p:cNvPr id="25" name="Makro grafik 1">
            <a:extLst>
              <a:ext uri="{FF2B5EF4-FFF2-40B4-BE49-F238E27FC236}">
                <a16:creationId xmlns:a16="http://schemas.microsoft.com/office/drawing/2014/main" id="{F2E0EEBD-7C39-E8CB-108F-09AF0CD4D448}"/>
              </a:ext>
            </a:extLst>
          </p:cNvPr>
          <p:cNvSpPr>
            <a:spLocks noGrp="1" noChangeAspect="1"/>
          </p:cNvSpPr>
          <p:nvPr>
            <p:ph type="body" sz="quarter" idx="19" hasCustomPrompt="1"/>
          </p:nvPr>
        </p:nvSpPr>
        <p:spPr>
          <a:xfrm>
            <a:off x="2827574" y="391015"/>
            <a:ext cx="1353707" cy="1779938"/>
          </a:xfrm>
          <a:custGeom>
            <a:avLst/>
            <a:gdLst>
              <a:gd name="connsiteX0" fmla="*/ 1135564 w 1804943"/>
              <a:gd name="connsiteY0" fmla="*/ 15338 h 2373250"/>
              <a:gd name="connsiteX1" fmla="*/ 1804943 w 1804943"/>
              <a:gd name="connsiteY1" fmla="*/ 15338 h 2373250"/>
              <a:gd name="connsiteX2" fmla="*/ 1804943 w 1804943"/>
              <a:gd name="connsiteY2" fmla="*/ 121436 h 2373250"/>
              <a:gd name="connsiteX3" fmla="*/ 1260314 w 1804943"/>
              <a:gd name="connsiteY3" fmla="*/ 121436 h 2373250"/>
              <a:gd name="connsiteX4" fmla="*/ 1260314 w 1804943"/>
              <a:gd name="connsiteY4" fmla="*/ 372027 h 2373250"/>
              <a:gd name="connsiteX5" fmla="*/ 1260314 w 1804943"/>
              <a:gd name="connsiteY5" fmla="*/ 2258004 h 2373250"/>
              <a:gd name="connsiteX6" fmla="*/ 1804943 w 1804943"/>
              <a:gd name="connsiteY6" fmla="*/ 2258004 h 2373250"/>
              <a:gd name="connsiteX7" fmla="*/ 1804943 w 1804943"/>
              <a:gd name="connsiteY7" fmla="*/ 2364102 h 2373250"/>
              <a:gd name="connsiteX8" fmla="*/ 1135564 w 1804943"/>
              <a:gd name="connsiteY8" fmla="*/ 2364102 h 2373250"/>
              <a:gd name="connsiteX9" fmla="*/ 1135564 w 1804943"/>
              <a:gd name="connsiteY9" fmla="*/ 2258004 h 2373250"/>
              <a:gd name="connsiteX10" fmla="*/ 1135564 w 1804943"/>
              <a:gd name="connsiteY10" fmla="*/ 372027 h 2373250"/>
              <a:gd name="connsiteX11" fmla="*/ 1135564 w 1804943"/>
              <a:gd name="connsiteY11" fmla="*/ 121436 h 2373250"/>
              <a:gd name="connsiteX12" fmla="*/ 824551 w 1804943"/>
              <a:gd name="connsiteY12" fmla="*/ 0 h 2373250"/>
              <a:gd name="connsiteX13" fmla="*/ 824551 w 1804943"/>
              <a:gd name="connsiteY13" fmla="*/ 106498 h 2373250"/>
              <a:gd name="connsiteX14" fmla="*/ 793382 w 1804943"/>
              <a:gd name="connsiteY14" fmla="*/ 106920 h 2373250"/>
              <a:gd name="connsiteX15" fmla="*/ 763107 w 1804943"/>
              <a:gd name="connsiteY15" fmla="*/ 108189 h 2373250"/>
              <a:gd name="connsiteX16" fmla="*/ 733699 w 1804943"/>
              <a:gd name="connsiteY16" fmla="*/ 110296 h 2373250"/>
              <a:gd name="connsiteX17" fmla="*/ 705152 w 1804943"/>
              <a:gd name="connsiteY17" fmla="*/ 113240 h 2373250"/>
              <a:gd name="connsiteX18" fmla="*/ 677451 w 1804943"/>
              <a:gd name="connsiteY18" fmla="*/ 117008 h 2373250"/>
              <a:gd name="connsiteX19" fmla="*/ 650596 w 1804943"/>
              <a:gd name="connsiteY19" fmla="*/ 121598 h 2373250"/>
              <a:gd name="connsiteX20" fmla="*/ 624564 w 1804943"/>
              <a:gd name="connsiteY20" fmla="*/ 126995 h 2373250"/>
              <a:gd name="connsiteX21" fmla="*/ 599346 w 1804943"/>
              <a:gd name="connsiteY21" fmla="*/ 133207 h 2373250"/>
              <a:gd name="connsiteX22" fmla="*/ 574929 w 1804943"/>
              <a:gd name="connsiteY22" fmla="*/ 140218 h 2373250"/>
              <a:gd name="connsiteX23" fmla="*/ 551302 w 1804943"/>
              <a:gd name="connsiteY23" fmla="*/ 148022 h 2373250"/>
              <a:gd name="connsiteX24" fmla="*/ 528461 w 1804943"/>
              <a:gd name="connsiteY24" fmla="*/ 156617 h 2373250"/>
              <a:gd name="connsiteX25" fmla="*/ 506387 w 1804943"/>
              <a:gd name="connsiteY25" fmla="*/ 165997 h 2373250"/>
              <a:gd name="connsiteX26" fmla="*/ 485076 w 1804943"/>
              <a:gd name="connsiteY26" fmla="*/ 176146 h 2373250"/>
              <a:gd name="connsiteX27" fmla="*/ 464502 w 1804943"/>
              <a:gd name="connsiteY27" fmla="*/ 187071 h 2373250"/>
              <a:gd name="connsiteX28" fmla="*/ 425554 w 1804943"/>
              <a:gd name="connsiteY28" fmla="*/ 211204 h 2373250"/>
              <a:gd name="connsiteX29" fmla="*/ 389457 w 1804943"/>
              <a:gd name="connsiteY29" fmla="*/ 238344 h 2373250"/>
              <a:gd name="connsiteX30" fmla="*/ 356105 w 1804943"/>
              <a:gd name="connsiteY30" fmla="*/ 268436 h 2373250"/>
              <a:gd name="connsiteX31" fmla="*/ 325421 w 1804943"/>
              <a:gd name="connsiteY31" fmla="*/ 301433 h 2373250"/>
              <a:gd name="connsiteX32" fmla="*/ 297313 w 1804943"/>
              <a:gd name="connsiteY32" fmla="*/ 337284 h 2373250"/>
              <a:gd name="connsiteX33" fmla="*/ 284189 w 1804943"/>
              <a:gd name="connsiteY33" fmla="*/ 356266 h 2373250"/>
              <a:gd name="connsiteX34" fmla="*/ 274169 w 1804943"/>
              <a:gd name="connsiteY34" fmla="*/ 372027 h 2373250"/>
              <a:gd name="connsiteX35" fmla="*/ 271680 w 1804943"/>
              <a:gd name="connsiteY35" fmla="*/ 375940 h 2373250"/>
              <a:gd name="connsiteX36" fmla="*/ 259763 w 1804943"/>
              <a:gd name="connsiteY36" fmla="*/ 396306 h 2373250"/>
              <a:gd name="connsiteX37" fmla="*/ 248431 w 1804943"/>
              <a:gd name="connsiteY37" fmla="*/ 417348 h 2373250"/>
              <a:gd name="connsiteX38" fmla="*/ 237675 w 1804943"/>
              <a:gd name="connsiteY38" fmla="*/ 439077 h 2373250"/>
              <a:gd name="connsiteX39" fmla="*/ 227480 w 1804943"/>
              <a:gd name="connsiteY39" fmla="*/ 461465 h 2373250"/>
              <a:gd name="connsiteX40" fmla="*/ 217839 w 1804943"/>
              <a:gd name="connsiteY40" fmla="*/ 484522 h 2373250"/>
              <a:gd name="connsiteX41" fmla="*/ 208737 w 1804943"/>
              <a:gd name="connsiteY41" fmla="*/ 508239 h 2373250"/>
              <a:gd name="connsiteX42" fmla="*/ 200156 w 1804943"/>
              <a:gd name="connsiteY42" fmla="*/ 532604 h 2373250"/>
              <a:gd name="connsiteX43" fmla="*/ 192100 w 1804943"/>
              <a:gd name="connsiteY43" fmla="*/ 557614 h 2373250"/>
              <a:gd name="connsiteX44" fmla="*/ 184542 w 1804943"/>
              <a:gd name="connsiteY44" fmla="*/ 583262 h 2373250"/>
              <a:gd name="connsiteX45" fmla="*/ 177484 w 1804943"/>
              <a:gd name="connsiteY45" fmla="*/ 609541 h 2373250"/>
              <a:gd name="connsiteX46" fmla="*/ 170903 w 1804943"/>
              <a:gd name="connsiteY46" fmla="*/ 636450 h 2373250"/>
              <a:gd name="connsiteX47" fmla="*/ 164799 w 1804943"/>
              <a:gd name="connsiteY47" fmla="*/ 663974 h 2373250"/>
              <a:gd name="connsiteX48" fmla="*/ 159148 w 1804943"/>
              <a:gd name="connsiteY48" fmla="*/ 692121 h 2373250"/>
              <a:gd name="connsiteX49" fmla="*/ 153950 w 1804943"/>
              <a:gd name="connsiteY49" fmla="*/ 720867 h 2373250"/>
              <a:gd name="connsiteX50" fmla="*/ 149183 w 1804943"/>
              <a:gd name="connsiteY50" fmla="*/ 750212 h 2373250"/>
              <a:gd name="connsiteX51" fmla="*/ 144839 w 1804943"/>
              <a:gd name="connsiteY51" fmla="*/ 780158 h 2373250"/>
              <a:gd name="connsiteX52" fmla="*/ 140910 w 1804943"/>
              <a:gd name="connsiteY52" fmla="*/ 810689 h 2373250"/>
              <a:gd name="connsiteX53" fmla="*/ 137390 w 1804943"/>
              <a:gd name="connsiteY53" fmla="*/ 841803 h 2373250"/>
              <a:gd name="connsiteX54" fmla="*/ 134253 w 1804943"/>
              <a:gd name="connsiteY54" fmla="*/ 873494 h 2373250"/>
              <a:gd name="connsiteX55" fmla="*/ 131501 w 1804943"/>
              <a:gd name="connsiteY55" fmla="*/ 905754 h 2373250"/>
              <a:gd name="connsiteX56" fmla="*/ 129109 w 1804943"/>
              <a:gd name="connsiteY56" fmla="*/ 938575 h 2373250"/>
              <a:gd name="connsiteX57" fmla="*/ 127073 w 1804943"/>
              <a:gd name="connsiteY57" fmla="*/ 971958 h 2373250"/>
              <a:gd name="connsiteX58" fmla="*/ 125389 w 1804943"/>
              <a:gd name="connsiteY58" fmla="*/ 1005886 h 2373250"/>
              <a:gd name="connsiteX59" fmla="*/ 124027 w 1804943"/>
              <a:gd name="connsiteY59" fmla="*/ 1040360 h 2373250"/>
              <a:gd name="connsiteX60" fmla="*/ 122997 w 1804943"/>
              <a:gd name="connsiteY60" fmla="*/ 1075373 h 2373250"/>
              <a:gd name="connsiteX61" fmla="*/ 122267 w 1804943"/>
              <a:gd name="connsiteY61" fmla="*/ 1110923 h 2373250"/>
              <a:gd name="connsiteX62" fmla="*/ 121844 w 1804943"/>
              <a:gd name="connsiteY62" fmla="*/ 1146996 h 2373250"/>
              <a:gd name="connsiteX63" fmla="*/ 121706 w 1804943"/>
              <a:gd name="connsiteY63" fmla="*/ 1183585 h 2373250"/>
              <a:gd name="connsiteX64" fmla="*/ 121829 w 1804943"/>
              <a:gd name="connsiteY64" fmla="*/ 1220003 h 2373250"/>
              <a:gd name="connsiteX65" fmla="*/ 122229 w 1804943"/>
              <a:gd name="connsiteY65" fmla="*/ 1255892 h 2373250"/>
              <a:gd name="connsiteX66" fmla="*/ 122897 w 1804943"/>
              <a:gd name="connsiteY66" fmla="*/ 1291258 h 2373250"/>
              <a:gd name="connsiteX67" fmla="*/ 123850 w 1804943"/>
              <a:gd name="connsiteY67" fmla="*/ 1326087 h 2373250"/>
              <a:gd name="connsiteX68" fmla="*/ 125111 w 1804943"/>
              <a:gd name="connsiteY68" fmla="*/ 1360376 h 2373250"/>
              <a:gd name="connsiteX69" fmla="*/ 126679 w 1804943"/>
              <a:gd name="connsiteY69" fmla="*/ 1394113 h 2373250"/>
              <a:gd name="connsiteX70" fmla="*/ 128571 w 1804943"/>
              <a:gd name="connsiteY70" fmla="*/ 1427303 h 2373250"/>
              <a:gd name="connsiteX71" fmla="*/ 130802 w 1804943"/>
              <a:gd name="connsiteY71" fmla="*/ 1459939 h 2373250"/>
              <a:gd name="connsiteX72" fmla="*/ 133368 w 1804943"/>
              <a:gd name="connsiteY72" fmla="*/ 1492006 h 2373250"/>
              <a:gd name="connsiteX73" fmla="*/ 136298 w 1804943"/>
              <a:gd name="connsiteY73" fmla="*/ 1523513 h 2373250"/>
              <a:gd name="connsiteX74" fmla="*/ 139596 w 1804943"/>
              <a:gd name="connsiteY74" fmla="*/ 1554442 h 2373250"/>
              <a:gd name="connsiteX75" fmla="*/ 143271 w 1804943"/>
              <a:gd name="connsiteY75" fmla="*/ 1584796 h 2373250"/>
              <a:gd name="connsiteX76" fmla="*/ 147338 w 1804943"/>
              <a:gd name="connsiteY76" fmla="*/ 1614566 h 2373250"/>
              <a:gd name="connsiteX77" fmla="*/ 151813 w 1804943"/>
              <a:gd name="connsiteY77" fmla="*/ 1643750 h 2373250"/>
              <a:gd name="connsiteX78" fmla="*/ 156702 w 1804943"/>
              <a:gd name="connsiteY78" fmla="*/ 1672334 h 2373250"/>
              <a:gd name="connsiteX79" fmla="*/ 162015 w 1804943"/>
              <a:gd name="connsiteY79" fmla="*/ 1700320 h 2373250"/>
              <a:gd name="connsiteX80" fmla="*/ 167766 w 1804943"/>
              <a:gd name="connsiteY80" fmla="*/ 1727705 h 2373250"/>
              <a:gd name="connsiteX81" fmla="*/ 173962 w 1804943"/>
              <a:gd name="connsiteY81" fmla="*/ 1754476 h 2373250"/>
              <a:gd name="connsiteX82" fmla="*/ 180629 w 1804943"/>
              <a:gd name="connsiteY82" fmla="*/ 1780631 h 2373250"/>
              <a:gd name="connsiteX83" fmla="*/ 187755 w 1804943"/>
              <a:gd name="connsiteY83" fmla="*/ 1806164 h 2373250"/>
              <a:gd name="connsiteX84" fmla="*/ 195374 w 1804943"/>
              <a:gd name="connsiteY84" fmla="*/ 1831074 h 2373250"/>
              <a:gd name="connsiteX85" fmla="*/ 203485 w 1804943"/>
              <a:gd name="connsiteY85" fmla="*/ 1855346 h 2373250"/>
              <a:gd name="connsiteX86" fmla="*/ 212112 w 1804943"/>
              <a:gd name="connsiteY86" fmla="*/ 1878988 h 2373250"/>
              <a:gd name="connsiteX87" fmla="*/ 221245 w 1804943"/>
              <a:gd name="connsiteY87" fmla="*/ 1901983 h 2373250"/>
              <a:gd name="connsiteX88" fmla="*/ 230917 w 1804943"/>
              <a:gd name="connsiteY88" fmla="*/ 1924332 h 2373250"/>
              <a:gd name="connsiteX89" fmla="*/ 241128 w 1804943"/>
              <a:gd name="connsiteY89" fmla="*/ 1946029 h 2373250"/>
              <a:gd name="connsiteX90" fmla="*/ 251891 w 1804943"/>
              <a:gd name="connsiteY90" fmla="*/ 1967064 h 2373250"/>
              <a:gd name="connsiteX91" fmla="*/ 263216 w 1804943"/>
              <a:gd name="connsiteY91" fmla="*/ 1987430 h 2373250"/>
              <a:gd name="connsiteX92" fmla="*/ 287611 w 1804943"/>
              <a:gd name="connsiteY92" fmla="*/ 2026164 h 2373250"/>
              <a:gd name="connsiteX93" fmla="*/ 314404 w 1804943"/>
              <a:gd name="connsiteY93" fmla="*/ 2062168 h 2373250"/>
              <a:gd name="connsiteX94" fmla="*/ 343681 w 1804943"/>
              <a:gd name="connsiteY94" fmla="*/ 2095412 h 2373250"/>
              <a:gd name="connsiteX95" fmla="*/ 375541 w 1804943"/>
              <a:gd name="connsiteY95" fmla="*/ 2125849 h 2373250"/>
              <a:gd name="connsiteX96" fmla="*/ 410077 w 1804943"/>
              <a:gd name="connsiteY96" fmla="*/ 2153435 h 2373250"/>
              <a:gd name="connsiteX97" fmla="*/ 447372 w 1804943"/>
              <a:gd name="connsiteY97" fmla="*/ 2178130 h 2373250"/>
              <a:gd name="connsiteX98" fmla="*/ 487529 w 1804943"/>
              <a:gd name="connsiteY98" fmla="*/ 2199888 h 2373250"/>
              <a:gd name="connsiteX99" fmla="*/ 508702 w 1804943"/>
              <a:gd name="connsiteY99" fmla="*/ 2209652 h 2373250"/>
              <a:gd name="connsiteX100" fmla="*/ 530629 w 1804943"/>
              <a:gd name="connsiteY100" fmla="*/ 2218662 h 2373250"/>
              <a:gd name="connsiteX101" fmla="*/ 553317 w 1804943"/>
              <a:gd name="connsiteY101" fmla="*/ 2226920 h 2373250"/>
              <a:gd name="connsiteX102" fmla="*/ 576782 w 1804943"/>
              <a:gd name="connsiteY102" fmla="*/ 2234416 h 2373250"/>
              <a:gd name="connsiteX103" fmla="*/ 601022 w 1804943"/>
              <a:gd name="connsiteY103" fmla="*/ 2241150 h 2373250"/>
              <a:gd name="connsiteX104" fmla="*/ 626056 w 1804943"/>
              <a:gd name="connsiteY104" fmla="*/ 2247109 h 2373250"/>
              <a:gd name="connsiteX105" fmla="*/ 651904 w 1804943"/>
              <a:gd name="connsiteY105" fmla="*/ 2252291 h 2373250"/>
              <a:gd name="connsiteX106" fmla="*/ 678567 w 1804943"/>
              <a:gd name="connsiteY106" fmla="*/ 2256688 h 2373250"/>
              <a:gd name="connsiteX107" fmla="*/ 706061 w 1804943"/>
              <a:gd name="connsiteY107" fmla="*/ 2260301 h 2373250"/>
              <a:gd name="connsiteX108" fmla="*/ 734390 w 1804943"/>
              <a:gd name="connsiteY108" fmla="*/ 2263116 h 2373250"/>
              <a:gd name="connsiteX109" fmla="*/ 763575 w 1804943"/>
              <a:gd name="connsiteY109" fmla="*/ 2265138 h 2373250"/>
              <a:gd name="connsiteX110" fmla="*/ 793630 w 1804943"/>
              <a:gd name="connsiteY110" fmla="*/ 2266352 h 2373250"/>
              <a:gd name="connsiteX111" fmla="*/ 824551 w 1804943"/>
              <a:gd name="connsiteY111" fmla="*/ 2266760 h 2373250"/>
              <a:gd name="connsiteX112" fmla="*/ 824551 w 1804943"/>
              <a:gd name="connsiteY112" fmla="*/ 2373250 h 2373250"/>
              <a:gd name="connsiteX113" fmla="*/ 792476 w 1804943"/>
              <a:gd name="connsiteY113" fmla="*/ 2372881 h 2373250"/>
              <a:gd name="connsiteX114" fmla="*/ 761193 w 1804943"/>
              <a:gd name="connsiteY114" fmla="*/ 2371759 h 2373250"/>
              <a:gd name="connsiteX115" fmla="*/ 730694 w 1804943"/>
              <a:gd name="connsiteY115" fmla="*/ 2369898 h 2373250"/>
              <a:gd name="connsiteX116" fmla="*/ 700970 w 1804943"/>
              <a:gd name="connsiteY116" fmla="*/ 2367307 h 2373250"/>
              <a:gd name="connsiteX117" fmla="*/ 672008 w 1804943"/>
              <a:gd name="connsiteY117" fmla="*/ 2363986 h 2373250"/>
              <a:gd name="connsiteX118" fmla="*/ 643800 w 1804943"/>
              <a:gd name="connsiteY118" fmla="*/ 2359941 h 2373250"/>
              <a:gd name="connsiteX119" fmla="*/ 616345 w 1804943"/>
              <a:gd name="connsiteY119" fmla="*/ 2355175 h 2373250"/>
              <a:gd name="connsiteX120" fmla="*/ 589621 w 1804943"/>
              <a:gd name="connsiteY120" fmla="*/ 2349701 h 2373250"/>
              <a:gd name="connsiteX121" fmla="*/ 563635 w 1804943"/>
              <a:gd name="connsiteY121" fmla="*/ 2343519 h 2373250"/>
              <a:gd name="connsiteX122" fmla="*/ 538363 w 1804943"/>
              <a:gd name="connsiteY122" fmla="*/ 2336631 h 2373250"/>
              <a:gd name="connsiteX123" fmla="*/ 513800 w 1804943"/>
              <a:gd name="connsiteY123" fmla="*/ 2329050 h 2373250"/>
              <a:gd name="connsiteX124" fmla="*/ 489950 w 1804943"/>
              <a:gd name="connsiteY124" fmla="*/ 2320785 h 2373250"/>
              <a:gd name="connsiteX125" fmla="*/ 466785 w 1804943"/>
              <a:gd name="connsiteY125" fmla="*/ 2311829 h 2373250"/>
              <a:gd name="connsiteX126" fmla="*/ 444312 w 1804943"/>
              <a:gd name="connsiteY126" fmla="*/ 2302195 h 2373250"/>
              <a:gd name="connsiteX127" fmla="*/ 422516 w 1804943"/>
              <a:gd name="connsiteY127" fmla="*/ 2291885 h 2373250"/>
              <a:gd name="connsiteX128" fmla="*/ 401389 w 1804943"/>
              <a:gd name="connsiteY128" fmla="*/ 2280906 h 2373250"/>
              <a:gd name="connsiteX129" fmla="*/ 380915 w 1804943"/>
              <a:gd name="connsiteY129" fmla="*/ 2269266 h 2373250"/>
              <a:gd name="connsiteX130" fmla="*/ 361094 w 1804943"/>
              <a:gd name="connsiteY130" fmla="*/ 2256965 h 2373250"/>
              <a:gd name="connsiteX131" fmla="*/ 341921 w 1804943"/>
              <a:gd name="connsiteY131" fmla="*/ 2244018 h 2373250"/>
              <a:gd name="connsiteX132" fmla="*/ 305456 w 1804943"/>
              <a:gd name="connsiteY132" fmla="*/ 2216179 h 2373250"/>
              <a:gd name="connsiteX133" fmla="*/ 271450 w 1804943"/>
              <a:gd name="connsiteY133" fmla="*/ 2185803 h 2373250"/>
              <a:gd name="connsiteX134" fmla="*/ 239844 w 1804943"/>
              <a:gd name="connsiteY134" fmla="*/ 2152920 h 2373250"/>
              <a:gd name="connsiteX135" fmla="*/ 210559 w 1804943"/>
              <a:gd name="connsiteY135" fmla="*/ 2117584 h 2373250"/>
              <a:gd name="connsiteX136" fmla="*/ 196759 w 1804943"/>
              <a:gd name="connsiteY136" fmla="*/ 2099010 h 2373250"/>
              <a:gd name="connsiteX137" fmla="*/ 183519 w 1804943"/>
              <a:gd name="connsiteY137" fmla="*/ 2079843 h 2373250"/>
              <a:gd name="connsiteX138" fmla="*/ 170826 w 1804943"/>
              <a:gd name="connsiteY138" fmla="*/ 2060076 h 2373250"/>
              <a:gd name="connsiteX139" fmla="*/ 158670 w 1804943"/>
              <a:gd name="connsiteY139" fmla="*/ 2039725 h 2373250"/>
              <a:gd name="connsiteX140" fmla="*/ 147039 w 1804943"/>
              <a:gd name="connsiteY140" fmla="*/ 2018790 h 2373250"/>
              <a:gd name="connsiteX141" fmla="*/ 135929 w 1804943"/>
              <a:gd name="connsiteY141" fmla="*/ 1997286 h 2373250"/>
              <a:gd name="connsiteX142" fmla="*/ 125326 w 1804943"/>
              <a:gd name="connsiteY142" fmla="*/ 1975206 h 2373250"/>
              <a:gd name="connsiteX143" fmla="*/ 115224 w 1804943"/>
              <a:gd name="connsiteY143" fmla="*/ 1952564 h 2373250"/>
              <a:gd name="connsiteX144" fmla="*/ 105621 w 1804943"/>
              <a:gd name="connsiteY144" fmla="*/ 1929369 h 2373250"/>
              <a:gd name="connsiteX145" fmla="*/ 96495 w 1804943"/>
              <a:gd name="connsiteY145" fmla="*/ 1905612 h 2373250"/>
              <a:gd name="connsiteX146" fmla="*/ 87846 w 1804943"/>
              <a:gd name="connsiteY146" fmla="*/ 1881309 h 2373250"/>
              <a:gd name="connsiteX147" fmla="*/ 79666 w 1804943"/>
              <a:gd name="connsiteY147" fmla="*/ 1856461 h 2373250"/>
              <a:gd name="connsiteX148" fmla="*/ 71947 w 1804943"/>
              <a:gd name="connsiteY148" fmla="*/ 1831082 h 2373250"/>
              <a:gd name="connsiteX149" fmla="*/ 64675 w 1804943"/>
              <a:gd name="connsiteY149" fmla="*/ 1805165 h 2373250"/>
              <a:gd name="connsiteX150" fmla="*/ 57839 w 1804943"/>
              <a:gd name="connsiteY150" fmla="*/ 1778725 h 2373250"/>
              <a:gd name="connsiteX151" fmla="*/ 51435 w 1804943"/>
              <a:gd name="connsiteY151" fmla="*/ 1751762 h 2373250"/>
              <a:gd name="connsiteX152" fmla="*/ 45461 w 1804943"/>
              <a:gd name="connsiteY152" fmla="*/ 1724284 h 2373250"/>
              <a:gd name="connsiteX153" fmla="*/ 39895 w 1804943"/>
              <a:gd name="connsiteY153" fmla="*/ 1696292 h 2373250"/>
              <a:gd name="connsiteX154" fmla="*/ 34736 w 1804943"/>
              <a:gd name="connsiteY154" fmla="*/ 1667799 h 2373250"/>
              <a:gd name="connsiteX155" fmla="*/ 29969 w 1804943"/>
              <a:gd name="connsiteY155" fmla="*/ 1638806 h 2373250"/>
              <a:gd name="connsiteX156" fmla="*/ 25595 w 1804943"/>
              <a:gd name="connsiteY156" fmla="*/ 1609322 h 2373250"/>
              <a:gd name="connsiteX157" fmla="*/ 21597 w 1804943"/>
              <a:gd name="connsiteY157" fmla="*/ 1579352 h 2373250"/>
              <a:gd name="connsiteX158" fmla="*/ 17967 w 1804943"/>
              <a:gd name="connsiteY158" fmla="*/ 1548893 h 2373250"/>
              <a:gd name="connsiteX159" fmla="*/ 14708 w 1804943"/>
              <a:gd name="connsiteY159" fmla="*/ 1517963 h 2373250"/>
              <a:gd name="connsiteX160" fmla="*/ 11794 w 1804943"/>
              <a:gd name="connsiteY160" fmla="*/ 1486556 h 2373250"/>
              <a:gd name="connsiteX161" fmla="*/ 9226 w 1804943"/>
              <a:gd name="connsiteY161" fmla="*/ 1454681 h 2373250"/>
              <a:gd name="connsiteX162" fmla="*/ 6989 w 1804943"/>
              <a:gd name="connsiteY162" fmla="*/ 1422351 h 2373250"/>
              <a:gd name="connsiteX163" fmla="*/ 5082 w 1804943"/>
              <a:gd name="connsiteY163" fmla="*/ 1389569 h 2373250"/>
              <a:gd name="connsiteX164" fmla="*/ 3490 w 1804943"/>
              <a:gd name="connsiteY164" fmla="*/ 1356325 h 2373250"/>
              <a:gd name="connsiteX165" fmla="*/ 2206 w 1804943"/>
              <a:gd name="connsiteY165" fmla="*/ 1322649 h 2373250"/>
              <a:gd name="connsiteX166" fmla="*/ 1230 w 1804943"/>
              <a:gd name="connsiteY166" fmla="*/ 1288530 h 2373250"/>
              <a:gd name="connsiteX167" fmla="*/ 540 w 1804943"/>
              <a:gd name="connsiteY167" fmla="*/ 1253971 h 2373250"/>
              <a:gd name="connsiteX168" fmla="*/ 132 w 1804943"/>
              <a:gd name="connsiteY168" fmla="*/ 1218989 h 2373250"/>
              <a:gd name="connsiteX169" fmla="*/ 0 w 1804943"/>
              <a:gd name="connsiteY169" fmla="*/ 1183585 h 2373250"/>
              <a:gd name="connsiteX170" fmla="*/ 132 w 1804943"/>
              <a:gd name="connsiteY170" fmla="*/ 1148334 h 2373250"/>
              <a:gd name="connsiteX171" fmla="*/ 546 w 1804943"/>
              <a:gd name="connsiteY171" fmla="*/ 1113498 h 2373250"/>
              <a:gd name="connsiteX172" fmla="*/ 1254 w 1804943"/>
              <a:gd name="connsiteY172" fmla="*/ 1079094 h 2373250"/>
              <a:gd name="connsiteX173" fmla="*/ 2246 w 1804943"/>
              <a:gd name="connsiteY173" fmla="*/ 1045127 h 2373250"/>
              <a:gd name="connsiteX174" fmla="*/ 3544 w 1804943"/>
              <a:gd name="connsiteY174" fmla="*/ 1011590 h 2373250"/>
              <a:gd name="connsiteX175" fmla="*/ 5159 w 1804943"/>
              <a:gd name="connsiteY175" fmla="*/ 978500 h 2373250"/>
              <a:gd name="connsiteX176" fmla="*/ 7096 w 1804943"/>
              <a:gd name="connsiteY176" fmla="*/ 945863 h 2373250"/>
              <a:gd name="connsiteX177" fmla="*/ 9356 w 1804943"/>
              <a:gd name="connsiteY177" fmla="*/ 913681 h 2373250"/>
              <a:gd name="connsiteX178" fmla="*/ 11964 w 1804943"/>
              <a:gd name="connsiteY178" fmla="*/ 881951 h 2373250"/>
              <a:gd name="connsiteX179" fmla="*/ 14909 w 1804943"/>
              <a:gd name="connsiteY179" fmla="*/ 850691 h 2373250"/>
              <a:gd name="connsiteX180" fmla="*/ 18214 w 1804943"/>
              <a:gd name="connsiteY180" fmla="*/ 819907 h 2373250"/>
              <a:gd name="connsiteX181" fmla="*/ 21881 w 1804943"/>
              <a:gd name="connsiteY181" fmla="*/ 789592 h 2373250"/>
              <a:gd name="connsiteX182" fmla="*/ 25917 w 1804943"/>
              <a:gd name="connsiteY182" fmla="*/ 759762 h 2373250"/>
              <a:gd name="connsiteX183" fmla="*/ 30338 w 1804943"/>
              <a:gd name="connsiteY183" fmla="*/ 730423 h 2373250"/>
              <a:gd name="connsiteX184" fmla="*/ 35152 w 1804943"/>
              <a:gd name="connsiteY184" fmla="*/ 701569 h 2373250"/>
              <a:gd name="connsiteX185" fmla="*/ 40356 w 1804943"/>
              <a:gd name="connsiteY185" fmla="*/ 673215 h 2373250"/>
              <a:gd name="connsiteX186" fmla="*/ 45968 w 1804943"/>
              <a:gd name="connsiteY186" fmla="*/ 645368 h 2373250"/>
              <a:gd name="connsiteX187" fmla="*/ 51996 w 1804943"/>
              <a:gd name="connsiteY187" fmla="*/ 618029 h 2373250"/>
              <a:gd name="connsiteX188" fmla="*/ 58446 w 1804943"/>
              <a:gd name="connsiteY188" fmla="*/ 591204 h 2373250"/>
              <a:gd name="connsiteX189" fmla="*/ 65335 w 1804943"/>
              <a:gd name="connsiteY189" fmla="*/ 564895 h 2373250"/>
              <a:gd name="connsiteX190" fmla="*/ 72655 w 1804943"/>
              <a:gd name="connsiteY190" fmla="*/ 539109 h 2373250"/>
              <a:gd name="connsiteX191" fmla="*/ 80428 w 1804943"/>
              <a:gd name="connsiteY191" fmla="*/ 513860 h 2373250"/>
              <a:gd name="connsiteX192" fmla="*/ 88661 w 1804943"/>
              <a:gd name="connsiteY192" fmla="*/ 489142 h 2373250"/>
              <a:gd name="connsiteX193" fmla="*/ 97358 w 1804943"/>
              <a:gd name="connsiteY193" fmla="*/ 464962 h 2373250"/>
              <a:gd name="connsiteX194" fmla="*/ 106521 w 1804943"/>
              <a:gd name="connsiteY194" fmla="*/ 441336 h 2373250"/>
              <a:gd name="connsiteX195" fmla="*/ 116178 w 1804943"/>
              <a:gd name="connsiteY195" fmla="*/ 418257 h 2373250"/>
              <a:gd name="connsiteX196" fmla="*/ 126320 w 1804943"/>
              <a:gd name="connsiteY196" fmla="*/ 395738 h 2373250"/>
              <a:gd name="connsiteX197" fmla="*/ 136966 w 1804943"/>
              <a:gd name="connsiteY197" fmla="*/ 373780 h 2373250"/>
              <a:gd name="connsiteX198" fmla="*/ 137880 w 1804943"/>
              <a:gd name="connsiteY198" fmla="*/ 372027 h 2373250"/>
              <a:gd name="connsiteX199" fmla="*/ 137881 w 1804943"/>
              <a:gd name="connsiteY199" fmla="*/ 372027 h 2373250"/>
              <a:gd name="connsiteX200" fmla="*/ 148122 w 1804943"/>
              <a:gd name="connsiteY200" fmla="*/ 352391 h 2373250"/>
              <a:gd name="connsiteX201" fmla="*/ 159787 w 1804943"/>
              <a:gd name="connsiteY201" fmla="*/ 331571 h 2373250"/>
              <a:gd name="connsiteX202" fmla="*/ 171988 w 1804943"/>
              <a:gd name="connsiteY202" fmla="*/ 311336 h 2373250"/>
              <a:gd name="connsiteX203" fmla="*/ 184719 w 1804943"/>
              <a:gd name="connsiteY203" fmla="*/ 291677 h 2373250"/>
              <a:gd name="connsiteX204" fmla="*/ 197988 w 1804943"/>
              <a:gd name="connsiteY204" fmla="*/ 272618 h 2373250"/>
              <a:gd name="connsiteX205" fmla="*/ 211812 w 1804943"/>
              <a:gd name="connsiteY205" fmla="*/ 254143 h 2373250"/>
              <a:gd name="connsiteX206" fmla="*/ 241142 w 1804943"/>
              <a:gd name="connsiteY206" fmla="*/ 219015 h 2373250"/>
              <a:gd name="connsiteX207" fmla="*/ 272787 w 1804943"/>
              <a:gd name="connsiteY207" fmla="*/ 186325 h 2373250"/>
              <a:gd name="connsiteX208" fmla="*/ 306808 w 1804943"/>
              <a:gd name="connsiteY208" fmla="*/ 156118 h 2373250"/>
              <a:gd name="connsiteX209" fmla="*/ 343266 w 1804943"/>
              <a:gd name="connsiteY209" fmla="*/ 128447 h 2373250"/>
              <a:gd name="connsiteX210" fmla="*/ 362432 w 1804943"/>
              <a:gd name="connsiteY210" fmla="*/ 115578 h 2373250"/>
              <a:gd name="connsiteX211" fmla="*/ 382237 w 1804943"/>
              <a:gd name="connsiteY211" fmla="*/ 103346 h 2373250"/>
              <a:gd name="connsiteX212" fmla="*/ 402689 w 1804943"/>
              <a:gd name="connsiteY212" fmla="*/ 91775 h 2373250"/>
              <a:gd name="connsiteX213" fmla="*/ 423793 w 1804943"/>
              <a:gd name="connsiteY213" fmla="*/ 80865 h 2373250"/>
              <a:gd name="connsiteX214" fmla="*/ 445558 w 1804943"/>
              <a:gd name="connsiteY214" fmla="*/ 70617 h 2373250"/>
              <a:gd name="connsiteX215" fmla="*/ 467992 w 1804943"/>
              <a:gd name="connsiteY215" fmla="*/ 61045 h 2373250"/>
              <a:gd name="connsiteX216" fmla="*/ 491103 w 1804943"/>
              <a:gd name="connsiteY216" fmla="*/ 52142 h 2373250"/>
              <a:gd name="connsiteX217" fmla="*/ 514906 w 1804943"/>
              <a:gd name="connsiteY217" fmla="*/ 43923 h 2373250"/>
              <a:gd name="connsiteX218" fmla="*/ 539409 w 1804943"/>
              <a:gd name="connsiteY218" fmla="*/ 36389 h 2373250"/>
              <a:gd name="connsiteX219" fmla="*/ 564612 w 1804943"/>
              <a:gd name="connsiteY219" fmla="*/ 29553 h 2373250"/>
              <a:gd name="connsiteX220" fmla="*/ 590528 w 1804943"/>
              <a:gd name="connsiteY220" fmla="*/ 23403 h 2373250"/>
              <a:gd name="connsiteX221" fmla="*/ 617160 w 1804943"/>
              <a:gd name="connsiteY221" fmla="*/ 17967 h 2373250"/>
              <a:gd name="connsiteX222" fmla="*/ 644530 w 1804943"/>
              <a:gd name="connsiteY222" fmla="*/ 13231 h 2373250"/>
              <a:gd name="connsiteX223" fmla="*/ 672639 w 1804943"/>
              <a:gd name="connsiteY223" fmla="*/ 9210 h 2373250"/>
              <a:gd name="connsiteX224" fmla="*/ 701494 w 1804943"/>
              <a:gd name="connsiteY224" fmla="*/ 5912 h 2373250"/>
              <a:gd name="connsiteX225" fmla="*/ 731100 w 1804943"/>
              <a:gd name="connsiteY225" fmla="*/ 3336 h 2373250"/>
              <a:gd name="connsiteX226" fmla="*/ 761477 w 1804943"/>
              <a:gd name="connsiteY226" fmla="*/ 1484 h 2373250"/>
              <a:gd name="connsiteX227" fmla="*/ 792621 w 1804943"/>
              <a:gd name="connsiteY227" fmla="*/ 377 h 23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804943" h="2373250">
                <a:moveTo>
                  <a:pt x="1135564" y="15338"/>
                </a:moveTo>
                <a:lnTo>
                  <a:pt x="1804943" y="15338"/>
                </a:lnTo>
                <a:lnTo>
                  <a:pt x="1804943" y="121436"/>
                </a:lnTo>
                <a:lnTo>
                  <a:pt x="1260314" y="121436"/>
                </a:lnTo>
                <a:lnTo>
                  <a:pt x="1260314" y="372027"/>
                </a:lnTo>
                <a:lnTo>
                  <a:pt x="1260314" y="2258004"/>
                </a:lnTo>
                <a:lnTo>
                  <a:pt x="1804943" y="2258004"/>
                </a:lnTo>
                <a:lnTo>
                  <a:pt x="1804943" y="2364102"/>
                </a:lnTo>
                <a:lnTo>
                  <a:pt x="1135564" y="2364102"/>
                </a:lnTo>
                <a:lnTo>
                  <a:pt x="1135564" y="2258004"/>
                </a:lnTo>
                <a:lnTo>
                  <a:pt x="1135564" y="372027"/>
                </a:lnTo>
                <a:lnTo>
                  <a:pt x="1135564" y="121436"/>
                </a:lnTo>
                <a:close/>
                <a:moveTo>
                  <a:pt x="824551" y="0"/>
                </a:moveTo>
                <a:lnTo>
                  <a:pt x="824551" y="106498"/>
                </a:lnTo>
                <a:lnTo>
                  <a:pt x="793382" y="106920"/>
                </a:lnTo>
                <a:lnTo>
                  <a:pt x="763107" y="108189"/>
                </a:lnTo>
                <a:lnTo>
                  <a:pt x="733699" y="110296"/>
                </a:lnTo>
                <a:lnTo>
                  <a:pt x="705152" y="113240"/>
                </a:lnTo>
                <a:lnTo>
                  <a:pt x="677451" y="117008"/>
                </a:lnTo>
                <a:lnTo>
                  <a:pt x="650596" y="121598"/>
                </a:lnTo>
                <a:lnTo>
                  <a:pt x="624564" y="126995"/>
                </a:lnTo>
                <a:lnTo>
                  <a:pt x="599346" y="133207"/>
                </a:lnTo>
                <a:lnTo>
                  <a:pt x="574929" y="140218"/>
                </a:lnTo>
                <a:lnTo>
                  <a:pt x="551302" y="148022"/>
                </a:lnTo>
                <a:lnTo>
                  <a:pt x="528461" y="156617"/>
                </a:lnTo>
                <a:lnTo>
                  <a:pt x="506387" y="165997"/>
                </a:lnTo>
                <a:lnTo>
                  <a:pt x="485076" y="176146"/>
                </a:lnTo>
                <a:lnTo>
                  <a:pt x="464502" y="187071"/>
                </a:lnTo>
                <a:lnTo>
                  <a:pt x="425554" y="211204"/>
                </a:lnTo>
                <a:lnTo>
                  <a:pt x="389457" y="238344"/>
                </a:lnTo>
                <a:lnTo>
                  <a:pt x="356105" y="268436"/>
                </a:lnTo>
                <a:lnTo>
                  <a:pt x="325421" y="301433"/>
                </a:lnTo>
                <a:lnTo>
                  <a:pt x="297313" y="337284"/>
                </a:lnTo>
                <a:lnTo>
                  <a:pt x="284189" y="356266"/>
                </a:lnTo>
                <a:lnTo>
                  <a:pt x="274169" y="372027"/>
                </a:lnTo>
                <a:lnTo>
                  <a:pt x="271680" y="375940"/>
                </a:lnTo>
                <a:lnTo>
                  <a:pt x="259763" y="396306"/>
                </a:lnTo>
                <a:lnTo>
                  <a:pt x="248431" y="417348"/>
                </a:lnTo>
                <a:lnTo>
                  <a:pt x="237675" y="439077"/>
                </a:lnTo>
                <a:lnTo>
                  <a:pt x="227480" y="461465"/>
                </a:lnTo>
                <a:lnTo>
                  <a:pt x="217839" y="484522"/>
                </a:lnTo>
                <a:lnTo>
                  <a:pt x="208737" y="508239"/>
                </a:lnTo>
                <a:lnTo>
                  <a:pt x="200156" y="532604"/>
                </a:lnTo>
                <a:lnTo>
                  <a:pt x="192100" y="557614"/>
                </a:lnTo>
                <a:lnTo>
                  <a:pt x="184542" y="583262"/>
                </a:lnTo>
                <a:lnTo>
                  <a:pt x="177484" y="609541"/>
                </a:lnTo>
                <a:lnTo>
                  <a:pt x="170903" y="636450"/>
                </a:lnTo>
                <a:lnTo>
                  <a:pt x="164799" y="663974"/>
                </a:lnTo>
                <a:lnTo>
                  <a:pt x="159148" y="692121"/>
                </a:lnTo>
                <a:lnTo>
                  <a:pt x="153950" y="720867"/>
                </a:lnTo>
                <a:lnTo>
                  <a:pt x="149183" y="750212"/>
                </a:lnTo>
                <a:lnTo>
                  <a:pt x="144839" y="780158"/>
                </a:lnTo>
                <a:lnTo>
                  <a:pt x="140910" y="810689"/>
                </a:lnTo>
                <a:lnTo>
                  <a:pt x="137390" y="841803"/>
                </a:lnTo>
                <a:lnTo>
                  <a:pt x="134253" y="873494"/>
                </a:lnTo>
                <a:lnTo>
                  <a:pt x="131501" y="905754"/>
                </a:lnTo>
                <a:lnTo>
                  <a:pt x="129109" y="938575"/>
                </a:lnTo>
                <a:lnTo>
                  <a:pt x="127073" y="971958"/>
                </a:lnTo>
                <a:lnTo>
                  <a:pt x="125389" y="1005886"/>
                </a:lnTo>
                <a:lnTo>
                  <a:pt x="124027" y="1040360"/>
                </a:lnTo>
                <a:lnTo>
                  <a:pt x="122997" y="1075373"/>
                </a:lnTo>
                <a:lnTo>
                  <a:pt x="122267" y="1110923"/>
                </a:lnTo>
                <a:lnTo>
                  <a:pt x="121844" y="1146996"/>
                </a:lnTo>
                <a:lnTo>
                  <a:pt x="121706" y="1183585"/>
                </a:lnTo>
                <a:lnTo>
                  <a:pt x="121829" y="1220003"/>
                </a:lnTo>
                <a:lnTo>
                  <a:pt x="122229" y="1255892"/>
                </a:lnTo>
                <a:lnTo>
                  <a:pt x="122897" y="1291258"/>
                </a:lnTo>
                <a:lnTo>
                  <a:pt x="123850" y="1326087"/>
                </a:lnTo>
                <a:lnTo>
                  <a:pt x="125111" y="1360376"/>
                </a:lnTo>
                <a:lnTo>
                  <a:pt x="126679" y="1394113"/>
                </a:lnTo>
                <a:lnTo>
                  <a:pt x="128571" y="1427303"/>
                </a:lnTo>
                <a:lnTo>
                  <a:pt x="130802" y="1459939"/>
                </a:lnTo>
                <a:lnTo>
                  <a:pt x="133368" y="1492006"/>
                </a:lnTo>
                <a:lnTo>
                  <a:pt x="136298" y="1523513"/>
                </a:lnTo>
                <a:lnTo>
                  <a:pt x="139596" y="1554442"/>
                </a:lnTo>
                <a:lnTo>
                  <a:pt x="143271" y="1584796"/>
                </a:lnTo>
                <a:lnTo>
                  <a:pt x="147338" y="1614566"/>
                </a:lnTo>
                <a:lnTo>
                  <a:pt x="151813" y="1643750"/>
                </a:lnTo>
                <a:lnTo>
                  <a:pt x="156702" y="1672334"/>
                </a:lnTo>
                <a:lnTo>
                  <a:pt x="162015" y="1700320"/>
                </a:lnTo>
                <a:lnTo>
                  <a:pt x="167766" y="1727705"/>
                </a:lnTo>
                <a:lnTo>
                  <a:pt x="173962" y="1754476"/>
                </a:lnTo>
                <a:lnTo>
                  <a:pt x="180629" y="1780631"/>
                </a:lnTo>
                <a:lnTo>
                  <a:pt x="187755" y="1806164"/>
                </a:lnTo>
                <a:lnTo>
                  <a:pt x="195374" y="1831074"/>
                </a:lnTo>
                <a:lnTo>
                  <a:pt x="203485" y="1855346"/>
                </a:lnTo>
                <a:lnTo>
                  <a:pt x="212112" y="1878988"/>
                </a:lnTo>
                <a:lnTo>
                  <a:pt x="221245" y="1901983"/>
                </a:lnTo>
                <a:lnTo>
                  <a:pt x="230917" y="1924332"/>
                </a:lnTo>
                <a:lnTo>
                  <a:pt x="241128" y="1946029"/>
                </a:lnTo>
                <a:lnTo>
                  <a:pt x="251891" y="1967064"/>
                </a:lnTo>
                <a:lnTo>
                  <a:pt x="263216" y="1987430"/>
                </a:lnTo>
                <a:lnTo>
                  <a:pt x="287611" y="2026164"/>
                </a:lnTo>
                <a:lnTo>
                  <a:pt x="314404" y="2062168"/>
                </a:lnTo>
                <a:lnTo>
                  <a:pt x="343681" y="2095412"/>
                </a:lnTo>
                <a:lnTo>
                  <a:pt x="375541" y="2125849"/>
                </a:lnTo>
                <a:lnTo>
                  <a:pt x="410077" y="2153435"/>
                </a:lnTo>
                <a:lnTo>
                  <a:pt x="447372" y="2178130"/>
                </a:lnTo>
                <a:lnTo>
                  <a:pt x="487529" y="2199888"/>
                </a:lnTo>
                <a:lnTo>
                  <a:pt x="508702" y="2209652"/>
                </a:lnTo>
                <a:lnTo>
                  <a:pt x="530629" y="2218662"/>
                </a:lnTo>
                <a:lnTo>
                  <a:pt x="553317" y="2226920"/>
                </a:lnTo>
                <a:lnTo>
                  <a:pt x="576782" y="2234416"/>
                </a:lnTo>
                <a:lnTo>
                  <a:pt x="601022" y="2241150"/>
                </a:lnTo>
                <a:lnTo>
                  <a:pt x="626056" y="2247109"/>
                </a:lnTo>
                <a:lnTo>
                  <a:pt x="651904" y="2252291"/>
                </a:lnTo>
                <a:lnTo>
                  <a:pt x="678567" y="2256688"/>
                </a:lnTo>
                <a:lnTo>
                  <a:pt x="706061" y="2260301"/>
                </a:lnTo>
                <a:lnTo>
                  <a:pt x="734390" y="2263116"/>
                </a:lnTo>
                <a:lnTo>
                  <a:pt x="763575" y="2265138"/>
                </a:lnTo>
                <a:lnTo>
                  <a:pt x="793630" y="2266352"/>
                </a:lnTo>
                <a:lnTo>
                  <a:pt x="824551" y="2266760"/>
                </a:lnTo>
                <a:lnTo>
                  <a:pt x="824551" y="2373250"/>
                </a:lnTo>
                <a:lnTo>
                  <a:pt x="792476" y="2372881"/>
                </a:lnTo>
                <a:lnTo>
                  <a:pt x="761193" y="2371759"/>
                </a:lnTo>
                <a:lnTo>
                  <a:pt x="730694" y="2369898"/>
                </a:lnTo>
                <a:lnTo>
                  <a:pt x="700970" y="2367307"/>
                </a:lnTo>
                <a:lnTo>
                  <a:pt x="672008" y="2363986"/>
                </a:lnTo>
                <a:lnTo>
                  <a:pt x="643800" y="2359941"/>
                </a:lnTo>
                <a:lnTo>
                  <a:pt x="616345" y="2355175"/>
                </a:lnTo>
                <a:lnTo>
                  <a:pt x="589621" y="2349701"/>
                </a:lnTo>
                <a:lnTo>
                  <a:pt x="563635" y="2343519"/>
                </a:lnTo>
                <a:lnTo>
                  <a:pt x="538363" y="2336631"/>
                </a:lnTo>
                <a:lnTo>
                  <a:pt x="513800" y="2329050"/>
                </a:lnTo>
                <a:lnTo>
                  <a:pt x="489950" y="2320785"/>
                </a:lnTo>
                <a:lnTo>
                  <a:pt x="466785" y="2311829"/>
                </a:lnTo>
                <a:lnTo>
                  <a:pt x="444312" y="2302195"/>
                </a:lnTo>
                <a:lnTo>
                  <a:pt x="422516" y="2291885"/>
                </a:lnTo>
                <a:lnTo>
                  <a:pt x="401389" y="2280906"/>
                </a:lnTo>
                <a:lnTo>
                  <a:pt x="380915" y="2269266"/>
                </a:lnTo>
                <a:lnTo>
                  <a:pt x="361094" y="2256965"/>
                </a:lnTo>
                <a:lnTo>
                  <a:pt x="341921" y="2244018"/>
                </a:lnTo>
                <a:lnTo>
                  <a:pt x="305456" y="2216179"/>
                </a:lnTo>
                <a:lnTo>
                  <a:pt x="271450" y="2185803"/>
                </a:lnTo>
                <a:lnTo>
                  <a:pt x="239844" y="2152920"/>
                </a:lnTo>
                <a:lnTo>
                  <a:pt x="210559" y="2117584"/>
                </a:lnTo>
                <a:lnTo>
                  <a:pt x="196759" y="2099010"/>
                </a:lnTo>
                <a:lnTo>
                  <a:pt x="183519" y="2079843"/>
                </a:lnTo>
                <a:lnTo>
                  <a:pt x="170826" y="2060076"/>
                </a:lnTo>
                <a:lnTo>
                  <a:pt x="158670" y="2039725"/>
                </a:lnTo>
                <a:lnTo>
                  <a:pt x="147039" y="2018790"/>
                </a:lnTo>
                <a:lnTo>
                  <a:pt x="135929" y="1997286"/>
                </a:lnTo>
                <a:lnTo>
                  <a:pt x="125326" y="1975206"/>
                </a:lnTo>
                <a:lnTo>
                  <a:pt x="115224" y="1952564"/>
                </a:lnTo>
                <a:lnTo>
                  <a:pt x="105621" y="1929369"/>
                </a:lnTo>
                <a:lnTo>
                  <a:pt x="96495" y="1905612"/>
                </a:lnTo>
                <a:lnTo>
                  <a:pt x="87846" y="1881309"/>
                </a:lnTo>
                <a:lnTo>
                  <a:pt x="79666" y="1856461"/>
                </a:lnTo>
                <a:lnTo>
                  <a:pt x="71947" y="1831082"/>
                </a:lnTo>
                <a:lnTo>
                  <a:pt x="64675" y="1805165"/>
                </a:lnTo>
                <a:lnTo>
                  <a:pt x="57839" y="1778725"/>
                </a:lnTo>
                <a:lnTo>
                  <a:pt x="51435" y="1751762"/>
                </a:lnTo>
                <a:lnTo>
                  <a:pt x="45461" y="1724284"/>
                </a:lnTo>
                <a:lnTo>
                  <a:pt x="39895" y="1696292"/>
                </a:lnTo>
                <a:lnTo>
                  <a:pt x="34736" y="1667799"/>
                </a:lnTo>
                <a:lnTo>
                  <a:pt x="29969" y="1638806"/>
                </a:lnTo>
                <a:lnTo>
                  <a:pt x="25595" y="1609322"/>
                </a:lnTo>
                <a:lnTo>
                  <a:pt x="21597" y="1579352"/>
                </a:lnTo>
                <a:lnTo>
                  <a:pt x="17967" y="1548893"/>
                </a:lnTo>
                <a:lnTo>
                  <a:pt x="14708" y="1517963"/>
                </a:lnTo>
                <a:lnTo>
                  <a:pt x="11794" y="1486556"/>
                </a:lnTo>
                <a:lnTo>
                  <a:pt x="9226" y="1454681"/>
                </a:lnTo>
                <a:lnTo>
                  <a:pt x="6989" y="1422351"/>
                </a:lnTo>
                <a:lnTo>
                  <a:pt x="5082" y="1389569"/>
                </a:lnTo>
                <a:lnTo>
                  <a:pt x="3490" y="1356325"/>
                </a:lnTo>
                <a:lnTo>
                  <a:pt x="2206" y="1322649"/>
                </a:lnTo>
                <a:lnTo>
                  <a:pt x="1230" y="1288530"/>
                </a:lnTo>
                <a:lnTo>
                  <a:pt x="540" y="1253971"/>
                </a:lnTo>
                <a:lnTo>
                  <a:pt x="132" y="1218989"/>
                </a:lnTo>
                <a:lnTo>
                  <a:pt x="0" y="1183585"/>
                </a:lnTo>
                <a:lnTo>
                  <a:pt x="132" y="1148334"/>
                </a:lnTo>
                <a:lnTo>
                  <a:pt x="546" y="1113498"/>
                </a:lnTo>
                <a:lnTo>
                  <a:pt x="1254" y="1079094"/>
                </a:lnTo>
                <a:lnTo>
                  <a:pt x="2246" y="1045127"/>
                </a:lnTo>
                <a:lnTo>
                  <a:pt x="3544" y="1011590"/>
                </a:lnTo>
                <a:lnTo>
                  <a:pt x="5159" y="978500"/>
                </a:lnTo>
                <a:lnTo>
                  <a:pt x="7096" y="945863"/>
                </a:lnTo>
                <a:lnTo>
                  <a:pt x="9356" y="913681"/>
                </a:lnTo>
                <a:lnTo>
                  <a:pt x="11964" y="881951"/>
                </a:lnTo>
                <a:lnTo>
                  <a:pt x="14909" y="850691"/>
                </a:lnTo>
                <a:lnTo>
                  <a:pt x="18214" y="819907"/>
                </a:lnTo>
                <a:lnTo>
                  <a:pt x="21881" y="789592"/>
                </a:lnTo>
                <a:lnTo>
                  <a:pt x="25917" y="759762"/>
                </a:lnTo>
                <a:lnTo>
                  <a:pt x="30338" y="730423"/>
                </a:lnTo>
                <a:lnTo>
                  <a:pt x="35152" y="701569"/>
                </a:lnTo>
                <a:lnTo>
                  <a:pt x="40356" y="673215"/>
                </a:lnTo>
                <a:lnTo>
                  <a:pt x="45968" y="645368"/>
                </a:lnTo>
                <a:lnTo>
                  <a:pt x="51996" y="618029"/>
                </a:lnTo>
                <a:lnTo>
                  <a:pt x="58446" y="591204"/>
                </a:lnTo>
                <a:lnTo>
                  <a:pt x="65335" y="564895"/>
                </a:lnTo>
                <a:lnTo>
                  <a:pt x="72655" y="539109"/>
                </a:lnTo>
                <a:lnTo>
                  <a:pt x="80428" y="513860"/>
                </a:lnTo>
                <a:lnTo>
                  <a:pt x="88661" y="489142"/>
                </a:lnTo>
                <a:lnTo>
                  <a:pt x="97358" y="464962"/>
                </a:lnTo>
                <a:lnTo>
                  <a:pt x="106521" y="441336"/>
                </a:lnTo>
                <a:lnTo>
                  <a:pt x="116178" y="418257"/>
                </a:lnTo>
                <a:lnTo>
                  <a:pt x="126320" y="395738"/>
                </a:lnTo>
                <a:lnTo>
                  <a:pt x="136966" y="373780"/>
                </a:lnTo>
                <a:lnTo>
                  <a:pt x="137880" y="372027"/>
                </a:lnTo>
                <a:lnTo>
                  <a:pt x="137881" y="372027"/>
                </a:lnTo>
                <a:lnTo>
                  <a:pt x="148122" y="352391"/>
                </a:lnTo>
                <a:lnTo>
                  <a:pt x="159787" y="331571"/>
                </a:lnTo>
                <a:lnTo>
                  <a:pt x="171988" y="311336"/>
                </a:lnTo>
                <a:lnTo>
                  <a:pt x="184719" y="291677"/>
                </a:lnTo>
                <a:lnTo>
                  <a:pt x="197988" y="272618"/>
                </a:lnTo>
                <a:lnTo>
                  <a:pt x="211812" y="254143"/>
                </a:lnTo>
                <a:lnTo>
                  <a:pt x="241142" y="219015"/>
                </a:lnTo>
                <a:lnTo>
                  <a:pt x="272787" y="186325"/>
                </a:lnTo>
                <a:lnTo>
                  <a:pt x="306808" y="156118"/>
                </a:lnTo>
                <a:lnTo>
                  <a:pt x="343266" y="128447"/>
                </a:lnTo>
                <a:lnTo>
                  <a:pt x="362432" y="115578"/>
                </a:lnTo>
                <a:lnTo>
                  <a:pt x="382237" y="103346"/>
                </a:lnTo>
                <a:lnTo>
                  <a:pt x="402689" y="91775"/>
                </a:lnTo>
                <a:lnTo>
                  <a:pt x="423793" y="80865"/>
                </a:lnTo>
                <a:lnTo>
                  <a:pt x="445558" y="70617"/>
                </a:lnTo>
                <a:lnTo>
                  <a:pt x="467992" y="61045"/>
                </a:lnTo>
                <a:lnTo>
                  <a:pt x="491103" y="52142"/>
                </a:lnTo>
                <a:lnTo>
                  <a:pt x="514906" y="43923"/>
                </a:lnTo>
                <a:lnTo>
                  <a:pt x="539409" y="36389"/>
                </a:lnTo>
                <a:lnTo>
                  <a:pt x="564612" y="29553"/>
                </a:lnTo>
                <a:lnTo>
                  <a:pt x="590528" y="23403"/>
                </a:lnTo>
                <a:lnTo>
                  <a:pt x="617160" y="17967"/>
                </a:lnTo>
                <a:lnTo>
                  <a:pt x="644530" y="13231"/>
                </a:lnTo>
                <a:lnTo>
                  <a:pt x="672639" y="9210"/>
                </a:lnTo>
                <a:lnTo>
                  <a:pt x="701494" y="5912"/>
                </a:lnTo>
                <a:lnTo>
                  <a:pt x="731100" y="3336"/>
                </a:lnTo>
                <a:lnTo>
                  <a:pt x="761477" y="1484"/>
                </a:lnTo>
                <a:lnTo>
                  <a:pt x="792621" y="377"/>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3" name="Makro grafik 2">
            <a:extLst>
              <a:ext uri="{FF2B5EF4-FFF2-40B4-BE49-F238E27FC236}">
                <a16:creationId xmlns:a16="http://schemas.microsoft.com/office/drawing/2014/main" id="{3C47DF57-6C35-2F95-62C7-5AF5F1E443EA}"/>
              </a:ext>
            </a:extLst>
          </p:cNvPr>
          <p:cNvSpPr>
            <a:spLocks noGrp="1" noChangeAspect="1"/>
          </p:cNvSpPr>
          <p:nvPr>
            <p:ph type="body" sz="quarter" idx="20" hasCustomPrompt="1"/>
          </p:nvPr>
        </p:nvSpPr>
        <p:spPr>
          <a:xfrm>
            <a:off x="7625339" y="3523023"/>
            <a:ext cx="1123209" cy="1460462"/>
          </a:xfrm>
          <a:custGeom>
            <a:avLst/>
            <a:gdLst>
              <a:gd name="connsiteX0" fmla="*/ 0 w 1497612"/>
              <a:gd name="connsiteY0" fmla="*/ 1 h 1947283"/>
              <a:gd name="connsiteX1" fmla="*/ 133876 w 1497612"/>
              <a:gd name="connsiteY1" fmla="*/ 1 h 1947283"/>
              <a:gd name="connsiteX2" fmla="*/ 542054 w 1497612"/>
              <a:gd name="connsiteY2" fmla="*/ 1262003 h 1947283"/>
              <a:gd name="connsiteX3" fmla="*/ 763698 w 1497612"/>
              <a:gd name="connsiteY3" fmla="*/ 1947283 h 1947283"/>
              <a:gd name="connsiteX4" fmla="*/ 626777 w 1497612"/>
              <a:gd name="connsiteY4" fmla="*/ 1947283 h 1947283"/>
              <a:gd name="connsiteX5" fmla="*/ 406204 w 1497612"/>
              <a:gd name="connsiteY5" fmla="*/ 1262004 h 1947283"/>
              <a:gd name="connsiteX6" fmla="*/ 733914 w 1497612"/>
              <a:gd name="connsiteY6" fmla="*/ 0 h 1947283"/>
              <a:gd name="connsiteX7" fmla="*/ 867789 w 1497612"/>
              <a:gd name="connsiteY7" fmla="*/ 0 h 1947283"/>
              <a:gd name="connsiteX8" fmla="*/ 988168 w 1497612"/>
              <a:gd name="connsiteY8" fmla="*/ 372187 h 1947283"/>
              <a:gd name="connsiteX9" fmla="*/ 1497612 w 1497612"/>
              <a:gd name="connsiteY9" fmla="*/ 1947283 h 1947283"/>
              <a:gd name="connsiteX10" fmla="*/ 1360692 w 1497612"/>
              <a:gd name="connsiteY10" fmla="*/ 1947283 h 1947283"/>
              <a:gd name="connsiteX11" fmla="*/ 988168 w 1497612"/>
              <a:gd name="connsiteY11" fmla="*/ 789920 h 19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7612" h="1947283">
                <a:moveTo>
                  <a:pt x="0" y="1"/>
                </a:moveTo>
                <a:lnTo>
                  <a:pt x="133876" y="1"/>
                </a:lnTo>
                <a:lnTo>
                  <a:pt x="542054" y="1262003"/>
                </a:lnTo>
                <a:lnTo>
                  <a:pt x="763698" y="1947283"/>
                </a:lnTo>
                <a:lnTo>
                  <a:pt x="626777" y="1947283"/>
                </a:lnTo>
                <a:lnTo>
                  <a:pt x="406204" y="1262004"/>
                </a:lnTo>
                <a:close/>
                <a:moveTo>
                  <a:pt x="733914" y="0"/>
                </a:moveTo>
                <a:lnTo>
                  <a:pt x="867789" y="0"/>
                </a:lnTo>
                <a:lnTo>
                  <a:pt x="988168" y="372187"/>
                </a:lnTo>
                <a:lnTo>
                  <a:pt x="1497612" y="1947283"/>
                </a:lnTo>
                <a:lnTo>
                  <a:pt x="1360692" y="1947283"/>
                </a:lnTo>
                <a:lnTo>
                  <a:pt x="988168" y="78992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6" name="TextBox 1">
            <a:extLst>
              <a:ext uri="{FF2B5EF4-FFF2-40B4-BE49-F238E27FC236}">
                <a16:creationId xmlns:a16="http://schemas.microsoft.com/office/drawing/2014/main" id="{65A8188C-11F0-CD4C-0611-D4AE140468F8}"/>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pic>
        <p:nvPicPr>
          <p:cNvPr id="4" name="Picture 3">
            <a:extLst>
              <a:ext uri="{FF2B5EF4-FFF2-40B4-BE49-F238E27FC236}">
                <a16:creationId xmlns:a16="http://schemas.microsoft.com/office/drawing/2014/main" id="{C465B008-198D-4F8C-8187-8BB55A2A986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05000" y="207901"/>
            <a:ext cx="2150000" cy="307142"/>
          </a:xfrm>
          <a:prstGeom prst="rect">
            <a:avLst/>
          </a:prstGeom>
        </p:spPr>
      </p:pic>
    </p:spTree>
    <p:extLst>
      <p:ext uri="{BB962C8B-B14F-4D97-AF65-F5344CB8AC3E}">
        <p14:creationId xmlns:p14="http://schemas.microsoft.com/office/powerpoint/2010/main" val="1207127712"/>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verskrift + tekst + billed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002998-56E0-B41C-4611-6E392593EFA3}"/>
              </a:ext>
            </a:extLst>
          </p:cNvPr>
          <p:cNvSpPr>
            <a:spLocks noGrp="1"/>
          </p:cNvSpPr>
          <p:nvPr>
            <p:ph type="title"/>
          </p:nvPr>
        </p:nvSpPr>
        <p:spPr>
          <a:xfrm>
            <a:off x="468313" y="555625"/>
            <a:ext cx="3959671" cy="647973"/>
          </a:xfrm>
        </p:spPr>
        <p:txBody>
          <a:bodyPr/>
          <a:lstStyle/>
          <a:p>
            <a:r>
              <a:rPr lang="da-DK"/>
              <a:t>Klik for at redigere titeltypografien i masteren</a:t>
            </a:r>
            <a:endParaRPr lang="en-GB"/>
          </a:p>
        </p:txBody>
      </p:sp>
      <p:sp>
        <p:nvSpPr>
          <p:cNvPr id="4" name="Pladsholder til tekst 3">
            <a:extLst>
              <a:ext uri="{FF2B5EF4-FFF2-40B4-BE49-F238E27FC236}">
                <a16:creationId xmlns:a16="http://schemas.microsoft.com/office/drawing/2014/main" id="{E4635518-A0E4-AE02-8A01-B963156D663C}"/>
              </a:ext>
            </a:extLst>
          </p:cNvPr>
          <p:cNvSpPr>
            <a:spLocks noGrp="1"/>
          </p:cNvSpPr>
          <p:nvPr>
            <p:ph type="body" sz="quarter" idx="10"/>
          </p:nvPr>
        </p:nvSpPr>
        <p:spPr>
          <a:xfrm>
            <a:off x="468313" y="1419225"/>
            <a:ext cx="3671639" cy="3168650"/>
          </a:xfrm>
        </p:spPr>
        <p:txBody>
          <a:bodyPr/>
          <a:lstStyle>
            <a:lvl1pPr marL="0" indent="0">
              <a:buNone/>
              <a:defRPr sz="1100"/>
            </a:lvl1pPr>
            <a:lvl2pPr marL="72000" indent="0">
              <a:buNone/>
              <a:defRPr/>
            </a:lvl2pPr>
            <a:lvl3pPr marL="252000" indent="0">
              <a:buNone/>
              <a:defRPr/>
            </a:lvl3pPr>
          </a:lstStyle>
          <a:p>
            <a:pPr lvl="0"/>
            <a:r>
              <a:rPr lang="da-DK"/>
              <a:t>Klik for at redigere teksttypografierne i masteren</a:t>
            </a:r>
          </a:p>
        </p:txBody>
      </p:sp>
      <p:sp>
        <p:nvSpPr>
          <p:cNvPr id="6" name="Pladsholder til tekst 5">
            <a:extLst>
              <a:ext uri="{FF2B5EF4-FFF2-40B4-BE49-F238E27FC236}">
                <a16:creationId xmlns:a16="http://schemas.microsoft.com/office/drawing/2014/main" id="{0E6AF5B2-3A69-1F49-DA1A-FED935DE13C4}"/>
              </a:ext>
            </a:extLst>
          </p:cNvPr>
          <p:cNvSpPr>
            <a:spLocks noGrp="1"/>
          </p:cNvSpPr>
          <p:nvPr>
            <p:ph type="body" sz="quarter" idx="11"/>
          </p:nvPr>
        </p:nvSpPr>
        <p:spPr>
          <a:xfrm>
            <a:off x="468313" y="339726"/>
            <a:ext cx="4103687" cy="144462"/>
          </a:xfrm>
        </p:spPr>
        <p:txBody>
          <a:bodyPr vert="horz" lIns="14400" tIns="0" rIns="0" bIns="0" rtlCol="0">
            <a:noAutofit/>
          </a:bodyPr>
          <a:lstStyle>
            <a:lvl1pPr marL="0" indent="0">
              <a:buNone/>
              <a:defRPr lang="en-GB" sz="1000" cap="all" dirty="0">
                <a:solidFill>
                  <a:srgbClr val="878787"/>
                </a:solidFill>
                <a:latin typeface="Neue Haas Grotesk Text Pro" panose="020B0504020202020204" pitchFamily="34" charset="77"/>
              </a:defRPr>
            </a:lvl1pPr>
          </a:lstStyle>
          <a:p>
            <a:pPr marL="171450" lvl="0" indent="-171450"/>
            <a:r>
              <a:rPr lang="da-DK"/>
              <a:t>Klik for at redigere teksttypografierne i masteren</a:t>
            </a:r>
          </a:p>
        </p:txBody>
      </p:sp>
      <p:sp>
        <p:nvSpPr>
          <p:cNvPr id="3" name="Pladsholder til billede 5">
            <a:extLst>
              <a:ext uri="{FF2B5EF4-FFF2-40B4-BE49-F238E27FC236}">
                <a16:creationId xmlns:a16="http://schemas.microsoft.com/office/drawing/2014/main" id="{87DB21CB-4EE7-18D5-FFC4-F2591CC30315}"/>
              </a:ext>
            </a:extLst>
          </p:cNvPr>
          <p:cNvSpPr>
            <a:spLocks noGrp="1"/>
          </p:cNvSpPr>
          <p:nvPr>
            <p:ph type="pic" sz="quarter" idx="12"/>
          </p:nvPr>
        </p:nvSpPr>
        <p:spPr>
          <a:xfrm>
            <a:off x="4572000" y="555625"/>
            <a:ext cx="4103688" cy="4032250"/>
          </a:xfrm>
        </p:spPr>
        <p:txBody>
          <a:bodyPr>
            <a:normAutofit/>
          </a:bodyPr>
          <a:lstStyle>
            <a:lvl1pPr marL="0" indent="0" algn="ctr">
              <a:buNone/>
              <a:defRPr sz="900" b="0" i="0">
                <a:latin typeface="Neue Haas Grotesk Text Pro" panose="020B0504020202020204" pitchFamily="34" charset="77"/>
              </a:defRPr>
            </a:lvl1pPr>
          </a:lstStyle>
          <a:p>
            <a:r>
              <a:rPr lang="da-DK"/>
              <a:t>Klik på ikonet for at tilføje et billede</a:t>
            </a:r>
          </a:p>
        </p:txBody>
      </p:sp>
    </p:spTree>
    <p:extLst>
      <p:ext uri="{BB962C8B-B14F-4D97-AF65-F5344CB8AC3E}">
        <p14:creationId xmlns:p14="http://schemas.microsoft.com/office/powerpoint/2010/main" val="2640018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ikkerdigital cover A">
    <p:bg>
      <p:bgRef idx="1001">
        <a:schemeClr val="bg1"/>
      </p:bgRef>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26" name="Picture Placeholder 7">
            <a:extLst>
              <a:ext uri="{FF2B5EF4-FFF2-40B4-BE49-F238E27FC236}">
                <a16:creationId xmlns:a16="http://schemas.microsoft.com/office/drawing/2014/main" id="{64A15D21-F5D6-3E47-CDB9-0912FEA66097}"/>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80775"/>
            <a:ext cx="3527635" cy="892454"/>
          </a:xfrm>
        </p:spPr>
        <p:txBody>
          <a:bodyPr anchor="t" anchorCtr="0"/>
          <a:lstStyle>
            <a:lvl1pPr algn="l">
              <a:lnSpc>
                <a:spcPct val="95000"/>
              </a:lnSpc>
              <a:defRPr sz="2400"/>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417"/>
            <a:ext cx="3527635" cy="135000"/>
          </a:xfrm>
        </p:spPr>
        <p:txBody>
          <a:bodyPr/>
          <a:lstStyle>
            <a:lvl1pPr>
              <a:defRPr sz="750">
                <a:solidFill>
                  <a:schemeClr val="accent1"/>
                </a:solidFill>
              </a:defRPr>
            </a:lvl1pPr>
          </a:lstStyle>
          <a:p>
            <a:fld id="{3BA7D959-9C7C-4506-A4A8-52313FF7B34F}" type="datetime2">
              <a:rPr lang="da-DK" smtClean="0"/>
              <a:t>11. december 2025</a:t>
            </a:fld>
            <a:endParaRPr lang="da-DK" dirty="0"/>
          </a:p>
        </p:txBody>
      </p:sp>
      <p:sp>
        <p:nvSpPr>
          <p:cNvPr id="25" name="Makro grafik 1">
            <a:extLst>
              <a:ext uri="{FF2B5EF4-FFF2-40B4-BE49-F238E27FC236}">
                <a16:creationId xmlns:a16="http://schemas.microsoft.com/office/drawing/2014/main" id="{F2E0EEBD-7C39-E8CB-108F-09AF0CD4D448}"/>
              </a:ext>
            </a:extLst>
          </p:cNvPr>
          <p:cNvSpPr>
            <a:spLocks noGrp="1" noChangeAspect="1"/>
          </p:cNvSpPr>
          <p:nvPr>
            <p:ph type="body" sz="quarter" idx="19" hasCustomPrompt="1"/>
          </p:nvPr>
        </p:nvSpPr>
        <p:spPr>
          <a:xfrm>
            <a:off x="2827574" y="391015"/>
            <a:ext cx="1353707" cy="1779938"/>
          </a:xfrm>
          <a:custGeom>
            <a:avLst/>
            <a:gdLst>
              <a:gd name="connsiteX0" fmla="*/ 1135564 w 1804943"/>
              <a:gd name="connsiteY0" fmla="*/ 15338 h 2373250"/>
              <a:gd name="connsiteX1" fmla="*/ 1804943 w 1804943"/>
              <a:gd name="connsiteY1" fmla="*/ 15338 h 2373250"/>
              <a:gd name="connsiteX2" fmla="*/ 1804943 w 1804943"/>
              <a:gd name="connsiteY2" fmla="*/ 121436 h 2373250"/>
              <a:gd name="connsiteX3" fmla="*/ 1260314 w 1804943"/>
              <a:gd name="connsiteY3" fmla="*/ 121436 h 2373250"/>
              <a:gd name="connsiteX4" fmla="*/ 1260314 w 1804943"/>
              <a:gd name="connsiteY4" fmla="*/ 372027 h 2373250"/>
              <a:gd name="connsiteX5" fmla="*/ 1260314 w 1804943"/>
              <a:gd name="connsiteY5" fmla="*/ 2258004 h 2373250"/>
              <a:gd name="connsiteX6" fmla="*/ 1804943 w 1804943"/>
              <a:gd name="connsiteY6" fmla="*/ 2258004 h 2373250"/>
              <a:gd name="connsiteX7" fmla="*/ 1804943 w 1804943"/>
              <a:gd name="connsiteY7" fmla="*/ 2364102 h 2373250"/>
              <a:gd name="connsiteX8" fmla="*/ 1135564 w 1804943"/>
              <a:gd name="connsiteY8" fmla="*/ 2364102 h 2373250"/>
              <a:gd name="connsiteX9" fmla="*/ 1135564 w 1804943"/>
              <a:gd name="connsiteY9" fmla="*/ 2258004 h 2373250"/>
              <a:gd name="connsiteX10" fmla="*/ 1135564 w 1804943"/>
              <a:gd name="connsiteY10" fmla="*/ 372027 h 2373250"/>
              <a:gd name="connsiteX11" fmla="*/ 1135564 w 1804943"/>
              <a:gd name="connsiteY11" fmla="*/ 121436 h 2373250"/>
              <a:gd name="connsiteX12" fmla="*/ 824551 w 1804943"/>
              <a:gd name="connsiteY12" fmla="*/ 0 h 2373250"/>
              <a:gd name="connsiteX13" fmla="*/ 824551 w 1804943"/>
              <a:gd name="connsiteY13" fmla="*/ 106498 h 2373250"/>
              <a:gd name="connsiteX14" fmla="*/ 793382 w 1804943"/>
              <a:gd name="connsiteY14" fmla="*/ 106920 h 2373250"/>
              <a:gd name="connsiteX15" fmla="*/ 763107 w 1804943"/>
              <a:gd name="connsiteY15" fmla="*/ 108189 h 2373250"/>
              <a:gd name="connsiteX16" fmla="*/ 733699 w 1804943"/>
              <a:gd name="connsiteY16" fmla="*/ 110296 h 2373250"/>
              <a:gd name="connsiteX17" fmla="*/ 705152 w 1804943"/>
              <a:gd name="connsiteY17" fmla="*/ 113240 h 2373250"/>
              <a:gd name="connsiteX18" fmla="*/ 677451 w 1804943"/>
              <a:gd name="connsiteY18" fmla="*/ 117008 h 2373250"/>
              <a:gd name="connsiteX19" fmla="*/ 650596 w 1804943"/>
              <a:gd name="connsiteY19" fmla="*/ 121598 h 2373250"/>
              <a:gd name="connsiteX20" fmla="*/ 624564 w 1804943"/>
              <a:gd name="connsiteY20" fmla="*/ 126995 h 2373250"/>
              <a:gd name="connsiteX21" fmla="*/ 599346 w 1804943"/>
              <a:gd name="connsiteY21" fmla="*/ 133207 h 2373250"/>
              <a:gd name="connsiteX22" fmla="*/ 574929 w 1804943"/>
              <a:gd name="connsiteY22" fmla="*/ 140218 h 2373250"/>
              <a:gd name="connsiteX23" fmla="*/ 551302 w 1804943"/>
              <a:gd name="connsiteY23" fmla="*/ 148022 h 2373250"/>
              <a:gd name="connsiteX24" fmla="*/ 528461 w 1804943"/>
              <a:gd name="connsiteY24" fmla="*/ 156617 h 2373250"/>
              <a:gd name="connsiteX25" fmla="*/ 506387 w 1804943"/>
              <a:gd name="connsiteY25" fmla="*/ 165997 h 2373250"/>
              <a:gd name="connsiteX26" fmla="*/ 485076 w 1804943"/>
              <a:gd name="connsiteY26" fmla="*/ 176146 h 2373250"/>
              <a:gd name="connsiteX27" fmla="*/ 464502 w 1804943"/>
              <a:gd name="connsiteY27" fmla="*/ 187071 h 2373250"/>
              <a:gd name="connsiteX28" fmla="*/ 425554 w 1804943"/>
              <a:gd name="connsiteY28" fmla="*/ 211204 h 2373250"/>
              <a:gd name="connsiteX29" fmla="*/ 389457 w 1804943"/>
              <a:gd name="connsiteY29" fmla="*/ 238344 h 2373250"/>
              <a:gd name="connsiteX30" fmla="*/ 356105 w 1804943"/>
              <a:gd name="connsiteY30" fmla="*/ 268436 h 2373250"/>
              <a:gd name="connsiteX31" fmla="*/ 325421 w 1804943"/>
              <a:gd name="connsiteY31" fmla="*/ 301433 h 2373250"/>
              <a:gd name="connsiteX32" fmla="*/ 297313 w 1804943"/>
              <a:gd name="connsiteY32" fmla="*/ 337284 h 2373250"/>
              <a:gd name="connsiteX33" fmla="*/ 284189 w 1804943"/>
              <a:gd name="connsiteY33" fmla="*/ 356266 h 2373250"/>
              <a:gd name="connsiteX34" fmla="*/ 274169 w 1804943"/>
              <a:gd name="connsiteY34" fmla="*/ 372027 h 2373250"/>
              <a:gd name="connsiteX35" fmla="*/ 271680 w 1804943"/>
              <a:gd name="connsiteY35" fmla="*/ 375940 h 2373250"/>
              <a:gd name="connsiteX36" fmla="*/ 259763 w 1804943"/>
              <a:gd name="connsiteY36" fmla="*/ 396306 h 2373250"/>
              <a:gd name="connsiteX37" fmla="*/ 248431 w 1804943"/>
              <a:gd name="connsiteY37" fmla="*/ 417348 h 2373250"/>
              <a:gd name="connsiteX38" fmla="*/ 237675 w 1804943"/>
              <a:gd name="connsiteY38" fmla="*/ 439077 h 2373250"/>
              <a:gd name="connsiteX39" fmla="*/ 227480 w 1804943"/>
              <a:gd name="connsiteY39" fmla="*/ 461465 h 2373250"/>
              <a:gd name="connsiteX40" fmla="*/ 217839 w 1804943"/>
              <a:gd name="connsiteY40" fmla="*/ 484522 h 2373250"/>
              <a:gd name="connsiteX41" fmla="*/ 208737 w 1804943"/>
              <a:gd name="connsiteY41" fmla="*/ 508239 h 2373250"/>
              <a:gd name="connsiteX42" fmla="*/ 200156 w 1804943"/>
              <a:gd name="connsiteY42" fmla="*/ 532604 h 2373250"/>
              <a:gd name="connsiteX43" fmla="*/ 192100 w 1804943"/>
              <a:gd name="connsiteY43" fmla="*/ 557614 h 2373250"/>
              <a:gd name="connsiteX44" fmla="*/ 184542 w 1804943"/>
              <a:gd name="connsiteY44" fmla="*/ 583262 h 2373250"/>
              <a:gd name="connsiteX45" fmla="*/ 177484 w 1804943"/>
              <a:gd name="connsiteY45" fmla="*/ 609541 h 2373250"/>
              <a:gd name="connsiteX46" fmla="*/ 170903 w 1804943"/>
              <a:gd name="connsiteY46" fmla="*/ 636450 h 2373250"/>
              <a:gd name="connsiteX47" fmla="*/ 164799 w 1804943"/>
              <a:gd name="connsiteY47" fmla="*/ 663974 h 2373250"/>
              <a:gd name="connsiteX48" fmla="*/ 159148 w 1804943"/>
              <a:gd name="connsiteY48" fmla="*/ 692121 h 2373250"/>
              <a:gd name="connsiteX49" fmla="*/ 153950 w 1804943"/>
              <a:gd name="connsiteY49" fmla="*/ 720867 h 2373250"/>
              <a:gd name="connsiteX50" fmla="*/ 149183 w 1804943"/>
              <a:gd name="connsiteY50" fmla="*/ 750212 h 2373250"/>
              <a:gd name="connsiteX51" fmla="*/ 144839 w 1804943"/>
              <a:gd name="connsiteY51" fmla="*/ 780158 h 2373250"/>
              <a:gd name="connsiteX52" fmla="*/ 140910 w 1804943"/>
              <a:gd name="connsiteY52" fmla="*/ 810689 h 2373250"/>
              <a:gd name="connsiteX53" fmla="*/ 137390 w 1804943"/>
              <a:gd name="connsiteY53" fmla="*/ 841803 h 2373250"/>
              <a:gd name="connsiteX54" fmla="*/ 134253 w 1804943"/>
              <a:gd name="connsiteY54" fmla="*/ 873494 h 2373250"/>
              <a:gd name="connsiteX55" fmla="*/ 131501 w 1804943"/>
              <a:gd name="connsiteY55" fmla="*/ 905754 h 2373250"/>
              <a:gd name="connsiteX56" fmla="*/ 129109 w 1804943"/>
              <a:gd name="connsiteY56" fmla="*/ 938575 h 2373250"/>
              <a:gd name="connsiteX57" fmla="*/ 127073 w 1804943"/>
              <a:gd name="connsiteY57" fmla="*/ 971958 h 2373250"/>
              <a:gd name="connsiteX58" fmla="*/ 125389 w 1804943"/>
              <a:gd name="connsiteY58" fmla="*/ 1005886 h 2373250"/>
              <a:gd name="connsiteX59" fmla="*/ 124027 w 1804943"/>
              <a:gd name="connsiteY59" fmla="*/ 1040360 h 2373250"/>
              <a:gd name="connsiteX60" fmla="*/ 122997 w 1804943"/>
              <a:gd name="connsiteY60" fmla="*/ 1075373 h 2373250"/>
              <a:gd name="connsiteX61" fmla="*/ 122267 w 1804943"/>
              <a:gd name="connsiteY61" fmla="*/ 1110923 h 2373250"/>
              <a:gd name="connsiteX62" fmla="*/ 121844 w 1804943"/>
              <a:gd name="connsiteY62" fmla="*/ 1146996 h 2373250"/>
              <a:gd name="connsiteX63" fmla="*/ 121706 w 1804943"/>
              <a:gd name="connsiteY63" fmla="*/ 1183585 h 2373250"/>
              <a:gd name="connsiteX64" fmla="*/ 121829 w 1804943"/>
              <a:gd name="connsiteY64" fmla="*/ 1220003 h 2373250"/>
              <a:gd name="connsiteX65" fmla="*/ 122229 w 1804943"/>
              <a:gd name="connsiteY65" fmla="*/ 1255892 h 2373250"/>
              <a:gd name="connsiteX66" fmla="*/ 122897 w 1804943"/>
              <a:gd name="connsiteY66" fmla="*/ 1291258 h 2373250"/>
              <a:gd name="connsiteX67" fmla="*/ 123850 w 1804943"/>
              <a:gd name="connsiteY67" fmla="*/ 1326087 h 2373250"/>
              <a:gd name="connsiteX68" fmla="*/ 125111 w 1804943"/>
              <a:gd name="connsiteY68" fmla="*/ 1360376 h 2373250"/>
              <a:gd name="connsiteX69" fmla="*/ 126679 w 1804943"/>
              <a:gd name="connsiteY69" fmla="*/ 1394113 h 2373250"/>
              <a:gd name="connsiteX70" fmla="*/ 128571 w 1804943"/>
              <a:gd name="connsiteY70" fmla="*/ 1427303 h 2373250"/>
              <a:gd name="connsiteX71" fmla="*/ 130802 w 1804943"/>
              <a:gd name="connsiteY71" fmla="*/ 1459939 h 2373250"/>
              <a:gd name="connsiteX72" fmla="*/ 133368 w 1804943"/>
              <a:gd name="connsiteY72" fmla="*/ 1492006 h 2373250"/>
              <a:gd name="connsiteX73" fmla="*/ 136298 w 1804943"/>
              <a:gd name="connsiteY73" fmla="*/ 1523513 h 2373250"/>
              <a:gd name="connsiteX74" fmla="*/ 139596 w 1804943"/>
              <a:gd name="connsiteY74" fmla="*/ 1554442 h 2373250"/>
              <a:gd name="connsiteX75" fmla="*/ 143271 w 1804943"/>
              <a:gd name="connsiteY75" fmla="*/ 1584796 h 2373250"/>
              <a:gd name="connsiteX76" fmla="*/ 147338 w 1804943"/>
              <a:gd name="connsiteY76" fmla="*/ 1614566 h 2373250"/>
              <a:gd name="connsiteX77" fmla="*/ 151813 w 1804943"/>
              <a:gd name="connsiteY77" fmla="*/ 1643750 h 2373250"/>
              <a:gd name="connsiteX78" fmla="*/ 156702 w 1804943"/>
              <a:gd name="connsiteY78" fmla="*/ 1672334 h 2373250"/>
              <a:gd name="connsiteX79" fmla="*/ 162015 w 1804943"/>
              <a:gd name="connsiteY79" fmla="*/ 1700320 h 2373250"/>
              <a:gd name="connsiteX80" fmla="*/ 167766 w 1804943"/>
              <a:gd name="connsiteY80" fmla="*/ 1727705 h 2373250"/>
              <a:gd name="connsiteX81" fmla="*/ 173962 w 1804943"/>
              <a:gd name="connsiteY81" fmla="*/ 1754476 h 2373250"/>
              <a:gd name="connsiteX82" fmla="*/ 180629 w 1804943"/>
              <a:gd name="connsiteY82" fmla="*/ 1780631 h 2373250"/>
              <a:gd name="connsiteX83" fmla="*/ 187755 w 1804943"/>
              <a:gd name="connsiteY83" fmla="*/ 1806164 h 2373250"/>
              <a:gd name="connsiteX84" fmla="*/ 195374 w 1804943"/>
              <a:gd name="connsiteY84" fmla="*/ 1831074 h 2373250"/>
              <a:gd name="connsiteX85" fmla="*/ 203485 w 1804943"/>
              <a:gd name="connsiteY85" fmla="*/ 1855346 h 2373250"/>
              <a:gd name="connsiteX86" fmla="*/ 212112 w 1804943"/>
              <a:gd name="connsiteY86" fmla="*/ 1878988 h 2373250"/>
              <a:gd name="connsiteX87" fmla="*/ 221245 w 1804943"/>
              <a:gd name="connsiteY87" fmla="*/ 1901983 h 2373250"/>
              <a:gd name="connsiteX88" fmla="*/ 230917 w 1804943"/>
              <a:gd name="connsiteY88" fmla="*/ 1924332 h 2373250"/>
              <a:gd name="connsiteX89" fmla="*/ 241128 w 1804943"/>
              <a:gd name="connsiteY89" fmla="*/ 1946029 h 2373250"/>
              <a:gd name="connsiteX90" fmla="*/ 251891 w 1804943"/>
              <a:gd name="connsiteY90" fmla="*/ 1967064 h 2373250"/>
              <a:gd name="connsiteX91" fmla="*/ 263216 w 1804943"/>
              <a:gd name="connsiteY91" fmla="*/ 1987430 h 2373250"/>
              <a:gd name="connsiteX92" fmla="*/ 287611 w 1804943"/>
              <a:gd name="connsiteY92" fmla="*/ 2026164 h 2373250"/>
              <a:gd name="connsiteX93" fmla="*/ 314404 w 1804943"/>
              <a:gd name="connsiteY93" fmla="*/ 2062168 h 2373250"/>
              <a:gd name="connsiteX94" fmla="*/ 343681 w 1804943"/>
              <a:gd name="connsiteY94" fmla="*/ 2095412 h 2373250"/>
              <a:gd name="connsiteX95" fmla="*/ 375541 w 1804943"/>
              <a:gd name="connsiteY95" fmla="*/ 2125849 h 2373250"/>
              <a:gd name="connsiteX96" fmla="*/ 410077 w 1804943"/>
              <a:gd name="connsiteY96" fmla="*/ 2153435 h 2373250"/>
              <a:gd name="connsiteX97" fmla="*/ 447372 w 1804943"/>
              <a:gd name="connsiteY97" fmla="*/ 2178130 h 2373250"/>
              <a:gd name="connsiteX98" fmla="*/ 487529 w 1804943"/>
              <a:gd name="connsiteY98" fmla="*/ 2199888 h 2373250"/>
              <a:gd name="connsiteX99" fmla="*/ 508702 w 1804943"/>
              <a:gd name="connsiteY99" fmla="*/ 2209652 h 2373250"/>
              <a:gd name="connsiteX100" fmla="*/ 530629 w 1804943"/>
              <a:gd name="connsiteY100" fmla="*/ 2218662 h 2373250"/>
              <a:gd name="connsiteX101" fmla="*/ 553317 w 1804943"/>
              <a:gd name="connsiteY101" fmla="*/ 2226920 h 2373250"/>
              <a:gd name="connsiteX102" fmla="*/ 576782 w 1804943"/>
              <a:gd name="connsiteY102" fmla="*/ 2234416 h 2373250"/>
              <a:gd name="connsiteX103" fmla="*/ 601022 w 1804943"/>
              <a:gd name="connsiteY103" fmla="*/ 2241150 h 2373250"/>
              <a:gd name="connsiteX104" fmla="*/ 626056 w 1804943"/>
              <a:gd name="connsiteY104" fmla="*/ 2247109 h 2373250"/>
              <a:gd name="connsiteX105" fmla="*/ 651904 w 1804943"/>
              <a:gd name="connsiteY105" fmla="*/ 2252291 h 2373250"/>
              <a:gd name="connsiteX106" fmla="*/ 678567 w 1804943"/>
              <a:gd name="connsiteY106" fmla="*/ 2256688 h 2373250"/>
              <a:gd name="connsiteX107" fmla="*/ 706061 w 1804943"/>
              <a:gd name="connsiteY107" fmla="*/ 2260301 h 2373250"/>
              <a:gd name="connsiteX108" fmla="*/ 734390 w 1804943"/>
              <a:gd name="connsiteY108" fmla="*/ 2263116 h 2373250"/>
              <a:gd name="connsiteX109" fmla="*/ 763575 w 1804943"/>
              <a:gd name="connsiteY109" fmla="*/ 2265138 h 2373250"/>
              <a:gd name="connsiteX110" fmla="*/ 793630 w 1804943"/>
              <a:gd name="connsiteY110" fmla="*/ 2266352 h 2373250"/>
              <a:gd name="connsiteX111" fmla="*/ 824551 w 1804943"/>
              <a:gd name="connsiteY111" fmla="*/ 2266760 h 2373250"/>
              <a:gd name="connsiteX112" fmla="*/ 824551 w 1804943"/>
              <a:gd name="connsiteY112" fmla="*/ 2373250 h 2373250"/>
              <a:gd name="connsiteX113" fmla="*/ 792476 w 1804943"/>
              <a:gd name="connsiteY113" fmla="*/ 2372881 h 2373250"/>
              <a:gd name="connsiteX114" fmla="*/ 761193 w 1804943"/>
              <a:gd name="connsiteY114" fmla="*/ 2371759 h 2373250"/>
              <a:gd name="connsiteX115" fmla="*/ 730694 w 1804943"/>
              <a:gd name="connsiteY115" fmla="*/ 2369898 h 2373250"/>
              <a:gd name="connsiteX116" fmla="*/ 700970 w 1804943"/>
              <a:gd name="connsiteY116" fmla="*/ 2367307 h 2373250"/>
              <a:gd name="connsiteX117" fmla="*/ 672008 w 1804943"/>
              <a:gd name="connsiteY117" fmla="*/ 2363986 h 2373250"/>
              <a:gd name="connsiteX118" fmla="*/ 643800 w 1804943"/>
              <a:gd name="connsiteY118" fmla="*/ 2359941 h 2373250"/>
              <a:gd name="connsiteX119" fmla="*/ 616345 w 1804943"/>
              <a:gd name="connsiteY119" fmla="*/ 2355175 h 2373250"/>
              <a:gd name="connsiteX120" fmla="*/ 589621 w 1804943"/>
              <a:gd name="connsiteY120" fmla="*/ 2349701 h 2373250"/>
              <a:gd name="connsiteX121" fmla="*/ 563635 w 1804943"/>
              <a:gd name="connsiteY121" fmla="*/ 2343519 h 2373250"/>
              <a:gd name="connsiteX122" fmla="*/ 538363 w 1804943"/>
              <a:gd name="connsiteY122" fmla="*/ 2336631 h 2373250"/>
              <a:gd name="connsiteX123" fmla="*/ 513800 w 1804943"/>
              <a:gd name="connsiteY123" fmla="*/ 2329050 h 2373250"/>
              <a:gd name="connsiteX124" fmla="*/ 489950 w 1804943"/>
              <a:gd name="connsiteY124" fmla="*/ 2320785 h 2373250"/>
              <a:gd name="connsiteX125" fmla="*/ 466785 w 1804943"/>
              <a:gd name="connsiteY125" fmla="*/ 2311829 h 2373250"/>
              <a:gd name="connsiteX126" fmla="*/ 444312 w 1804943"/>
              <a:gd name="connsiteY126" fmla="*/ 2302195 h 2373250"/>
              <a:gd name="connsiteX127" fmla="*/ 422516 w 1804943"/>
              <a:gd name="connsiteY127" fmla="*/ 2291885 h 2373250"/>
              <a:gd name="connsiteX128" fmla="*/ 401389 w 1804943"/>
              <a:gd name="connsiteY128" fmla="*/ 2280906 h 2373250"/>
              <a:gd name="connsiteX129" fmla="*/ 380915 w 1804943"/>
              <a:gd name="connsiteY129" fmla="*/ 2269266 h 2373250"/>
              <a:gd name="connsiteX130" fmla="*/ 361094 w 1804943"/>
              <a:gd name="connsiteY130" fmla="*/ 2256965 h 2373250"/>
              <a:gd name="connsiteX131" fmla="*/ 341921 w 1804943"/>
              <a:gd name="connsiteY131" fmla="*/ 2244018 h 2373250"/>
              <a:gd name="connsiteX132" fmla="*/ 305456 w 1804943"/>
              <a:gd name="connsiteY132" fmla="*/ 2216179 h 2373250"/>
              <a:gd name="connsiteX133" fmla="*/ 271450 w 1804943"/>
              <a:gd name="connsiteY133" fmla="*/ 2185803 h 2373250"/>
              <a:gd name="connsiteX134" fmla="*/ 239844 w 1804943"/>
              <a:gd name="connsiteY134" fmla="*/ 2152920 h 2373250"/>
              <a:gd name="connsiteX135" fmla="*/ 210559 w 1804943"/>
              <a:gd name="connsiteY135" fmla="*/ 2117584 h 2373250"/>
              <a:gd name="connsiteX136" fmla="*/ 196759 w 1804943"/>
              <a:gd name="connsiteY136" fmla="*/ 2099010 h 2373250"/>
              <a:gd name="connsiteX137" fmla="*/ 183519 w 1804943"/>
              <a:gd name="connsiteY137" fmla="*/ 2079843 h 2373250"/>
              <a:gd name="connsiteX138" fmla="*/ 170826 w 1804943"/>
              <a:gd name="connsiteY138" fmla="*/ 2060076 h 2373250"/>
              <a:gd name="connsiteX139" fmla="*/ 158670 w 1804943"/>
              <a:gd name="connsiteY139" fmla="*/ 2039725 h 2373250"/>
              <a:gd name="connsiteX140" fmla="*/ 147039 w 1804943"/>
              <a:gd name="connsiteY140" fmla="*/ 2018790 h 2373250"/>
              <a:gd name="connsiteX141" fmla="*/ 135929 w 1804943"/>
              <a:gd name="connsiteY141" fmla="*/ 1997286 h 2373250"/>
              <a:gd name="connsiteX142" fmla="*/ 125326 w 1804943"/>
              <a:gd name="connsiteY142" fmla="*/ 1975206 h 2373250"/>
              <a:gd name="connsiteX143" fmla="*/ 115224 w 1804943"/>
              <a:gd name="connsiteY143" fmla="*/ 1952564 h 2373250"/>
              <a:gd name="connsiteX144" fmla="*/ 105621 w 1804943"/>
              <a:gd name="connsiteY144" fmla="*/ 1929369 h 2373250"/>
              <a:gd name="connsiteX145" fmla="*/ 96495 w 1804943"/>
              <a:gd name="connsiteY145" fmla="*/ 1905612 h 2373250"/>
              <a:gd name="connsiteX146" fmla="*/ 87846 w 1804943"/>
              <a:gd name="connsiteY146" fmla="*/ 1881309 h 2373250"/>
              <a:gd name="connsiteX147" fmla="*/ 79666 w 1804943"/>
              <a:gd name="connsiteY147" fmla="*/ 1856461 h 2373250"/>
              <a:gd name="connsiteX148" fmla="*/ 71947 w 1804943"/>
              <a:gd name="connsiteY148" fmla="*/ 1831082 h 2373250"/>
              <a:gd name="connsiteX149" fmla="*/ 64675 w 1804943"/>
              <a:gd name="connsiteY149" fmla="*/ 1805165 h 2373250"/>
              <a:gd name="connsiteX150" fmla="*/ 57839 w 1804943"/>
              <a:gd name="connsiteY150" fmla="*/ 1778725 h 2373250"/>
              <a:gd name="connsiteX151" fmla="*/ 51435 w 1804943"/>
              <a:gd name="connsiteY151" fmla="*/ 1751762 h 2373250"/>
              <a:gd name="connsiteX152" fmla="*/ 45461 w 1804943"/>
              <a:gd name="connsiteY152" fmla="*/ 1724284 h 2373250"/>
              <a:gd name="connsiteX153" fmla="*/ 39895 w 1804943"/>
              <a:gd name="connsiteY153" fmla="*/ 1696292 h 2373250"/>
              <a:gd name="connsiteX154" fmla="*/ 34736 w 1804943"/>
              <a:gd name="connsiteY154" fmla="*/ 1667799 h 2373250"/>
              <a:gd name="connsiteX155" fmla="*/ 29969 w 1804943"/>
              <a:gd name="connsiteY155" fmla="*/ 1638806 h 2373250"/>
              <a:gd name="connsiteX156" fmla="*/ 25595 w 1804943"/>
              <a:gd name="connsiteY156" fmla="*/ 1609322 h 2373250"/>
              <a:gd name="connsiteX157" fmla="*/ 21597 w 1804943"/>
              <a:gd name="connsiteY157" fmla="*/ 1579352 h 2373250"/>
              <a:gd name="connsiteX158" fmla="*/ 17967 w 1804943"/>
              <a:gd name="connsiteY158" fmla="*/ 1548893 h 2373250"/>
              <a:gd name="connsiteX159" fmla="*/ 14708 w 1804943"/>
              <a:gd name="connsiteY159" fmla="*/ 1517963 h 2373250"/>
              <a:gd name="connsiteX160" fmla="*/ 11794 w 1804943"/>
              <a:gd name="connsiteY160" fmla="*/ 1486556 h 2373250"/>
              <a:gd name="connsiteX161" fmla="*/ 9226 w 1804943"/>
              <a:gd name="connsiteY161" fmla="*/ 1454681 h 2373250"/>
              <a:gd name="connsiteX162" fmla="*/ 6989 w 1804943"/>
              <a:gd name="connsiteY162" fmla="*/ 1422351 h 2373250"/>
              <a:gd name="connsiteX163" fmla="*/ 5082 w 1804943"/>
              <a:gd name="connsiteY163" fmla="*/ 1389569 h 2373250"/>
              <a:gd name="connsiteX164" fmla="*/ 3490 w 1804943"/>
              <a:gd name="connsiteY164" fmla="*/ 1356325 h 2373250"/>
              <a:gd name="connsiteX165" fmla="*/ 2206 w 1804943"/>
              <a:gd name="connsiteY165" fmla="*/ 1322649 h 2373250"/>
              <a:gd name="connsiteX166" fmla="*/ 1230 w 1804943"/>
              <a:gd name="connsiteY166" fmla="*/ 1288530 h 2373250"/>
              <a:gd name="connsiteX167" fmla="*/ 540 w 1804943"/>
              <a:gd name="connsiteY167" fmla="*/ 1253971 h 2373250"/>
              <a:gd name="connsiteX168" fmla="*/ 132 w 1804943"/>
              <a:gd name="connsiteY168" fmla="*/ 1218989 h 2373250"/>
              <a:gd name="connsiteX169" fmla="*/ 0 w 1804943"/>
              <a:gd name="connsiteY169" fmla="*/ 1183585 h 2373250"/>
              <a:gd name="connsiteX170" fmla="*/ 132 w 1804943"/>
              <a:gd name="connsiteY170" fmla="*/ 1148334 h 2373250"/>
              <a:gd name="connsiteX171" fmla="*/ 546 w 1804943"/>
              <a:gd name="connsiteY171" fmla="*/ 1113498 h 2373250"/>
              <a:gd name="connsiteX172" fmla="*/ 1254 w 1804943"/>
              <a:gd name="connsiteY172" fmla="*/ 1079094 h 2373250"/>
              <a:gd name="connsiteX173" fmla="*/ 2246 w 1804943"/>
              <a:gd name="connsiteY173" fmla="*/ 1045127 h 2373250"/>
              <a:gd name="connsiteX174" fmla="*/ 3544 w 1804943"/>
              <a:gd name="connsiteY174" fmla="*/ 1011590 h 2373250"/>
              <a:gd name="connsiteX175" fmla="*/ 5159 w 1804943"/>
              <a:gd name="connsiteY175" fmla="*/ 978500 h 2373250"/>
              <a:gd name="connsiteX176" fmla="*/ 7096 w 1804943"/>
              <a:gd name="connsiteY176" fmla="*/ 945863 h 2373250"/>
              <a:gd name="connsiteX177" fmla="*/ 9356 w 1804943"/>
              <a:gd name="connsiteY177" fmla="*/ 913681 h 2373250"/>
              <a:gd name="connsiteX178" fmla="*/ 11964 w 1804943"/>
              <a:gd name="connsiteY178" fmla="*/ 881951 h 2373250"/>
              <a:gd name="connsiteX179" fmla="*/ 14909 w 1804943"/>
              <a:gd name="connsiteY179" fmla="*/ 850691 h 2373250"/>
              <a:gd name="connsiteX180" fmla="*/ 18214 w 1804943"/>
              <a:gd name="connsiteY180" fmla="*/ 819907 h 2373250"/>
              <a:gd name="connsiteX181" fmla="*/ 21881 w 1804943"/>
              <a:gd name="connsiteY181" fmla="*/ 789592 h 2373250"/>
              <a:gd name="connsiteX182" fmla="*/ 25917 w 1804943"/>
              <a:gd name="connsiteY182" fmla="*/ 759762 h 2373250"/>
              <a:gd name="connsiteX183" fmla="*/ 30338 w 1804943"/>
              <a:gd name="connsiteY183" fmla="*/ 730423 h 2373250"/>
              <a:gd name="connsiteX184" fmla="*/ 35152 w 1804943"/>
              <a:gd name="connsiteY184" fmla="*/ 701569 h 2373250"/>
              <a:gd name="connsiteX185" fmla="*/ 40356 w 1804943"/>
              <a:gd name="connsiteY185" fmla="*/ 673215 h 2373250"/>
              <a:gd name="connsiteX186" fmla="*/ 45968 w 1804943"/>
              <a:gd name="connsiteY186" fmla="*/ 645368 h 2373250"/>
              <a:gd name="connsiteX187" fmla="*/ 51996 w 1804943"/>
              <a:gd name="connsiteY187" fmla="*/ 618029 h 2373250"/>
              <a:gd name="connsiteX188" fmla="*/ 58446 w 1804943"/>
              <a:gd name="connsiteY188" fmla="*/ 591204 h 2373250"/>
              <a:gd name="connsiteX189" fmla="*/ 65335 w 1804943"/>
              <a:gd name="connsiteY189" fmla="*/ 564895 h 2373250"/>
              <a:gd name="connsiteX190" fmla="*/ 72655 w 1804943"/>
              <a:gd name="connsiteY190" fmla="*/ 539109 h 2373250"/>
              <a:gd name="connsiteX191" fmla="*/ 80428 w 1804943"/>
              <a:gd name="connsiteY191" fmla="*/ 513860 h 2373250"/>
              <a:gd name="connsiteX192" fmla="*/ 88661 w 1804943"/>
              <a:gd name="connsiteY192" fmla="*/ 489142 h 2373250"/>
              <a:gd name="connsiteX193" fmla="*/ 97358 w 1804943"/>
              <a:gd name="connsiteY193" fmla="*/ 464962 h 2373250"/>
              <a:gd name="connsiteX194" fmla="*/ 106521 w 1804943"/>
              <a:gd name="connsiteY194" fmla="*/ 441336 h 2373250"/>
              <a:gd name="connsiteX195" fmla="*/ 116178 w 1804943"/>
              <a:gd name="connsiteY195" fmla="*/ 418257 h 2373250"/>
              <a:gd name="connsiteX196" fmla="*/ 126320 w 1804943"/>
              <a:gd name="connsiteY196" fmla="*/ 395738 h 2373250"/>
              <a:gd name="connsiteX197" fmla="*/ 136966 w 1804943"/>
              <a:gd name="connsiteY197" fmla="*/ 373780 h 2373250"/>
              <a:gd name="connsiteX198" fmla="*/ 137880 w 1804943"/>
              <a:gd name="connsiteY198" fmla="*/ 372027 h 2373250"/>
              <a:gd name="connsiteX199" fmla="*/ 137881 w 1804943"/>
              <a:gd name="connsiteY199" fmla="*/ 372027 h 2373250"/>
              <a:gd name="connsiteX200" fmla="*/ 148122 w 1804943"/>
              <a:gd name="connsiteY200" fmla="*/ 352391 h 2373250"/>
              <a:gd name="connsiteX201" fmla="*/ 159787 w 1804943"/>
              <a:gd name="connsiteY201" fmla="*/ 331571 h 2373250"/>
              <a:gd name="connsiteX202" fmla="*/ 171988 w 1804943"/>
              <a:gd name="connsiteY202" fmla="*/ 311336 h 2373250"/>
              <a:gd name="connsiteX203" fmla="*/ 184719 w 1804943"/>
              <a:gd name="connsiteY203" fmla="*/ 291677 h 2373250"/>
              <a:gd name="connsiteX204" fmla="*/ 197988 w 1804943"/>
              <a:gd name="connsiteY204" fmla="*/ 272618 h 2373250"/>
              <a:gd name="connsiteX205" fmla="*/ 211812 w 1804943"/>
              <a:gd name="connsiteY205" fmla="*/ 254143 h 2373250"/>
              <a:gd name="connsiteX206" fmla="*/ 241142 w 1804943"/>
              <a:gd name="connsiteY206" fmla="*/ 219015 h 2373250"/>
              <a:gd name="connsiteX207" fmla="*/ 272787 w 1804943"/>
              <a:gd name="connsiteY207" fmla="*/ 186325 h 2373250"/>
              <a:gd name="connsiteX208" fmla="*/ 306808 w 1804943"/>
              <a:gd name="connsiteY208" fmla="*/ 156118 h 2373250"/>
              <a:gd name="connsiteX209" fmla="*/ 343266 w 1804943"/>
              <a:gd name="connsiteY209" fmla="*/ 128447 h 2373250"/>
              <a:gd name="connsiteX210" fmla="*/ 362432 w 1804943"/>
              <a:gd name="connsiteY210" fmla="*/ 115578 h 2373250"/>
              <a:gd name="connsiteX211" fmla="*/ 382237 w 1804943"/>
              <a:gd name="connsiteY211" fmla="*/ 103346 h 2373250"/>
              <a:gd name="connsiteX212" fmla="*/ 402689 w 1804943"/>
              <a:gd name="connsiteY212" fmla="*/ 91775 h 2373250"/>
              <a:gd name="connsiteX213" fmla="*/ 423793 w 1804943"/>
              <a:gd name="connsiteY213" fmla="*/ 80865 h 2373250"/>
              <a:gd name="connsiteX214" fmla="*/ 445558 w 1804943"/>
              <a:gd name="connsiteY214" fmla="*/ 70617 h 2373250"/>
              <a:gd name="connsiteX215" fmla="*/ 467992 w 1804943"/>
              <a:gd name="connsiteY215" fmla="*/ 61045 h 2373250"/>
              <a:gd name="connsiteX216" fmla="*/ 491103 w 1804943"/>
              <a:gd name="connsiteY216" fmla="*/ 52142 h 2373250"/>
              <a:gd name="connsiteX217" fmla="*/ 514906 w 1804943"/>
              <a:gd name="connsiteY217" fmla="*/ 43923 h 2373250"/>
              <a:gd name="connsiteX218" fmla="*/ 539409 w 1804943"/>
              <a:gd name="connsiteY218" fmla="*/ 36389 h 2373250"/>
              <a:gd name="connsiteX219" fmla="*/ 564612 w 1804943"/>
              <a:gd name="connsiteY219" fmla="*/ 29553 h 2373250"/>
              <a:gd name="connsiteX220" fmla="*/ 590528 w 1804943"/>
              <a:gd name="connsiteY220" fmla="*/ 23403 h 2373250"/>
              <a:gd name="connsiteX221" fmla="*/ 617160 w 1804943"/>
              <a:gd name="connsiteY221" fmla="*/ 17967 h 2373250"/>
              <a:gd name="connsiteX222" fmla="*/ 644530 w 1804943"/>
              <a:gd name="connsiteY222" fmla="*/ 13231 h 2373250"/>
              <a:gd name="connsiteX223" fmla="*/ 672639 w 1804943"/>
              <a:gd name="connsiteY223" fmla="*/ 9210 h 2373250"/>
              <a:gd name="connsiteX224" fmla="*/ 701494 w 1804943"/>
              <a:gd name="connsiteY224" fmla="*/ 5912 h 2373250"/>
              <a:gd name="connsiteX225" fmla="*/ 731100 w 1804943"/>
              <a:gd name="connsiteY225" fmla="*/ 3336 h 2373250"/>
              <a:gd name="connsiteX226" fmla="*/ 761477 w 1804943"/>
              <a:gd name="connsiteY226" fmla="*/ 1484 h 2373250"/>
              <a:gd name="connsiteX227" fmla="*/ 792621 w 1804943"/>
              <a:gd name="connsiteY227" fmla="*/ 377 h 23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804943" h="2373250">
                <a:moveTo>
                  <a:pt x="1135564" y="15338"/>
                </a:moveTo>
                <a:lnTo>
                  <a:pt x="1804943" y="15338"/>
                </a:lnTo>
                <a:lnTo>
                  <a:pt x="1804943" y="121436"/>
                </a:lnTo>
                <a:lnTo>
                  <a:pt x="1260314" y="121436"/>
                </a:lnTo>
                <a:lnTo>
                  <a:pt x="1260314" y="372027"/>
                </a:lnTo>
                <a:lnTo>
                  <a:pt x="1260314" y="2258004"/>
                </a:lnTo>
                <a:lnTo>
                  <a:pt x="1804943" y="2258004"/>
                </a:lnTo>
                <a:lnTo>
                  <a:pt x="1804943" y="2364102"/>
                </a:lnTo>
                <a:lnTo>
                  <a:pt x="1135564" y="2364102"/>
                </a:lnTo>
                <a:lnTo>
                  <a:pt x="1135564" y="2258004"/>
                </a:lnTo>
                <a:lnTo>
                  <a:pt x="1135564" y="372027"/>
                </a:lnTo>
                <a:lnTo>
                  <a:pt x="1135564" y="121436"/>
                </a:lnTo>
                <a:close/>
                <a:moveTo>
                  <a:pt x="824551" y="0"/>
                </a:moveTo>
                <a:lnTo>
                  <a:pt x="824551" y="106498"/>
                </a:lnTo>
                <a:lnTo>
                  <a:pt x="793382" y="106920"/>
                </a:lnTo>
                <a:lnTo>
                  <a:pt x="763107" y="108189"/>
                </a:lnTo>
                <a:lnTo>
                  <a:pt x="733699" y="110296"/>
                </a:lnTo>
                <a:lnTo>
                  <a:pt x="705152" y="113240"/>
                </a:lnTo>
                <a:lnTo>
                  <a:pt x="677451" y="117008"/>
                </a:lnTo>
                <a:lnTo>
                  <a:pt x="650596" y="121598"/>
                </a:lnTo>
                <a:lnTo>
                  <a:pt x="624564" y="126995"/>
                </a:lnTo>
                <a:lnTo>
                  <a:pt x="599346" y="133207"/>
                </a:lnTo>
                <a:lnTo>
                  <a:pt x="574929" y="140218"/>
                </a:lnTo>
                <a:lnTo>
                  <a:pt x="551302" y="148022"/>
                </a:lnTo>
                <a:lnTo>
                  <a:pt x="528461" y="156617"/>
                </a:lnTo>
                <a:lnTo>
                  <a:pt x="506387" y="165997"/>
                </a:lnTo>
                <a:lnTo>
                  <a:pt x="485076" y="176146"/>
                </a:lnTo>
                <a:lnTo>
                  <a:pt x="464502" y="187071"/>
                </a:lnTo>
                <a:lnTo>
                  <a:pt x="425554" y="211204"/>
                </a:lnTo>
                <a:lnTo>
                  <a:pt x="389457" y="238344"/>
                </a:lnTo>
                <a:lnTo>
                  <a:pt x="356105" y="268436"/>
                </a:lnTo>
                <a:lnTo>
                  <a:pt x="325421" y="301433"/>
                </a:lnTo>
                <a:lnTo>
                  <a:pt x="297313" y="337284"/>
                </a:lnTo>
                <a:lnTo>
                  <a:pt x="284189" y="356266"/>
                </a:lnTo>
                <a:lnTo>
                  <a:pt x="274169" y="372027"/>
                </a:lnTo>
                <a:lnTo>
                  <a:pt x="271680" y="375940"/>
                </a:lnTo>
                <a:lnTo>
                  <a:pt x="259763" y="396306"/>
                </a:lnTo>
                <a:lnTo>
                  <a:pt x="248431" y="417348"/>
                </a:lnTo>
                <a:lnTo>
                  <a:pt x="237675" y="439077"/>
                </a:lnTo>
                <a:lnTo>
                  <a:pt x="227480" y="461465"/>
                </a:lnTo>
                <a:lnTo>
                  <a:pt x="217839" y="484522"/>
                </a:lnTo>
                <a:lnTo>
                  <a:pt x="208737" y="508239"/>
                </a:lnTo>
                <a:lnTo>
                  <a:pt x="200156" y="532604"/>
                </a:lnTo>
                <a:lnTo>
                  <a:pt x="192100" y="557614"/>
                </a:lnTo>
                <a:lnTo>
                  <a:pt x="184542" y="583262"/>
                </a:lnTo>
                <a:lnTo>
                  <a:pt x="177484" y="609541"/>
                </a:lnTo>
                <a:lnTo>
                  <a:pt x="170903" y="636450"/>
                </a:lnTo>
                <a:lnTo>
                  <a:pt x="164799" y="663974"/>
                </a:lnTo>
                <a:lnTo>
                  <a:pt x="159148" y="692121"/>
                </a:lnTo>
                <a:lnTo>
                  <a:pt x="153950" y="720867"/>
                </a:lnTo>
                <a:lnTo>
                  <a:pt x="149183" y="750212"/>
                </a:lnTo>
                <a:lnTo>
                  <a:pt x="144839" y="780158"/>
                </a:lnTo>
                <a:lnTo>
                  <a:pt x="140910" y="810689"/>
                </a:lnTo>
                <a:lnTo>
                  <a:pt x="137390" y="841803"/>
                </a:lnTo>
                <a:lnTo>
                  <a:pt x="134253" y="873494"/>
                </a:lnTo>
                <a:lnTo>
                  <a:pt x="131501" y="905754"/>
                </a:lnTo>
                <a:lnTo>
                  <a:pt x="129109" y="938575"/>
                </a:lnTo>
                <a:lnTo>
                  <a:pt x="127073" y="971958"/>
                </a:lnTo>
                <a:lnTo>
                  <a:pt x="125389" y="1005886"/>
                </a:lnTo>
                <a:lnTo>
                  <a:pt x="124027" y="1040360"/>
                </a:lnTo>
                <a:lnTo>
                  <a:pt x="122997" y="1075373"/>
                </a:lnTo>
                <a:lnTo>
                  <a:pt x="122267" y="1110923"/>
                </a:lnTo>
                <a:lnTo>
                  <a:pt x="121844" y="1146996"/>
                </a:lnTo>
                <a:lnTo>
                  <a:pt x="121706" y="1183585"/>
                </a:lnTo>
                <a:lnTo>
                  <a:pt x="121829" y="1220003"/>
                </a:lnTo>
                <a:lnTo>
                  <a:pt x="122229" y="1255892"/>
                </a:lnTo>
                <a:lnTo>
                  <a:pt x="122897" y="1291258"/>
                </a:lnTo>
                <a:lnTo>
                  <a:pt x="123850" y="1326087"/>
                </a:lnTo>
                <a:lnTo>
                  <a:pt x="125111" y="1360376"/>
                </a:lnTo>
                <a:lnTo>
                  <a:pt x="126679" y="1394113"/>
                </a:lnTo>
                <a:lnTo>
                  <a:pt x="128571" y="1427303"/>
                </a:lnTo>
                <a:lnTo>
                  <a:pt x="130802" y="1459939"/>
                </a:lnTo>
                <a:lnTo>
                  <a:pt x="133368" y="1492006"/>
                </a:lnTo>
                <a:lnTo>
                  <a:pt x="136298" y="1523513"/>
                </a:lnTo>
                <a:lnTo>
                  <a:pt x="139596" y="1554442"/>
                </a:lnTo>
                <a:lnTo>
                  <a:pt x="143271" y="1584796"/>
                </a:lnTo>
                <a:lnTo>
                  <a:pt x="147338" y="1614566"/>
                </a:lnTo>
                <a:lnTo>
                  <a:pt x="151813" y="1643750"/>
                </a:lnTo>
                <a:lnTo>
                  <a:pt x="156702" y="1672334"/>
                </a:lnTo>
                <a:lnTo>
                  <a:pt x="162015" y="1700320"/>
                </a:lnTo>
                <a:lnTo>
                  <a:pt x="167766" y="1727705"/>
                </a:lnTo>
                <a:lnTo>
                  <a:pt x="173962" y="1754476"/>
                </a:lnTo>
                <a:lnTo>
                  <a:pt x="180629" y="1780631"/>
                </a:lnTo>
                <a:lnTo>
                  <a:pt x="187755" y="1806164"/>
                </a:lnTo>
                <a:lnTo>
                  <a:pt x="195374" y="1831074"/>
                </a:lnTo>
                <a:lnTo>
                  <a:pt x="203485" y="1855346"/>
                </a:lnTo>
                <a:lnTo>
                  <a:pt x="212112" y="1878988"/>
                </a:lnTo>
                <a:lnTo>
                  <a:pt x="221245" y="1901983"/>
                </a:lnTo>
                <a:lnTo>
                  <a:pt x="230917" y="1924332"/>
                </a:lnTo>
                <a:lnTo>
                  <a:pt x="241128" y="1946029"/>
                </a:lnTo>
                <a:lnTo>
                  <a:pt x="251891" y="1967064"/>
                </a:lnTo>
                <a:lnTo>
                  <a:pt x="263216" y="1987430"/>
                </a:lnTo>
                <a:lnTo>
                  <a:pt x="287611" y="2026164"/>
                </a:lnTo>
                <a:lnTo>
                  <a:pt x="314404" y="2062168"/>
                </a:lnTo>
                <a:lnTo>
                  <a:pt x="343681" y="2095412"/>
                </a:lnTo>
                <a:lnTo>
                  <a:pt x="375541" y="2125849"/>
                </a:lnTo>
                <a:lnTo>
                  <a:pt x="410077" y="2153435"/>
                </a:lnTo>
                <a:lnTo>
                  <a:pt x="447372" y="2178130"/>
                </a:lnTo>
                <a:lnTo>
                  <a:pt x="487529" y="2199888"/>
                </a:lnTo>
                <a:lnTo>
                  <a:pt x="508702" y="2209652"/>
                </a:lnTo>
                <a:lnTo>
                  <a:pt x="530629" y="2218662"/>
                </a:lnTo>
                <a:lnTo>
                  <a:pt x="553317" y="2226920"/>
                </a:lnTo>
                <a:lnTo>
                  <a:pt x="576782" y="2234416"/>
                </a:lnTo>
                <a:lnTo>
                  <a:pt x="601022" y="2241150"/>
                </a:lnTo>
                <a:lnTo>
                  <a:pt x="626056" y="2247109"/>
                </a:lnTo>
                <a:lnTo>
                  <a:pt x="651904" y="2252291"/>
                </a:lnTo>
                <a:lnTo>
                  <a:pt x="678567" y="2256688"/>
                </a:lnTo>
                <a:lnTo>
                  <a:pt x="706061" y="2260301"/>
                </a:lnTo>
                <a:lnTo>
                  <a:pt x="734390" y="2263116"/>
                </a:lnTo>
                <a:lnTo>
                  <a:pt x="763575" y="2265138"/>
                </a:lnTo>
                <a:lnTo>
                  <a:pt x="793630" y="2266352"/>
                </a:lnTo>
                <a:lnTo>
                  <a:pt x="824551" y="2266760"/>
                </a:lnTo>
                <a:lnTo>
                  <a:pt x="824551" y="2373250"/>
                </a:lnTo>
                <a:lnTo>
                  <a:pt x="792476" y="2372881"/>
                </a:lnTo>
                <a:lnTo>
                  <a:pt x="761193" y="2371759"/>
                </a:lnTo>
                <a:lnTo>
                  <a:pt x="730694" y="2369898"/>
                </a:lnTo>
                <a:lnTo>
                  <a:pt x="700970" y="2367307"/>
                </a:lnTo>
                <a:lnTo>
                  <a:pt x="672008" y="2363986"/>
                </a:lnTo>
                <a:lnTo>
                  <a:pt x="643800" y="2359941"/>
                </a:lnTo>
                <a:lnTo>
                  <a:pt x="616345" y="2355175"/>
                </a:lnTo>
                <a:lnTo>
                  <a:pt x="589621" y="2349701"/>
                </a:lnTo>
                <a:lnTo>
                  <a:pt x="563635" y="2343519"/>
                </a:lnTo>
                <a:lnTo>
                  <a:pt x="538363" y="2336631"/>
                </a:lnTo>
                <a:lnTo>
                  <a:pt x="513800" y="2329050"/>
                </a:lnTo>
                <a:lnTo>
                  <a:pt x="489950" y="2320785"/>
                </a:lnTo>
                <a:lnTo>
                  <a:pt x="466785" y="2311829"/>
                </a:lnTo>
                <a:lnTo>
                  <a:pt x="444312" y="2302195"/>
                </a:lnTo>
                <a:lnTo>
                  <a:pt x="422516" y="2291885"/>
                </a:lnTo>
                <a:lnTo>
                  <a:pt x="401389" y="2280906"/>
                </a:lnTo>
                <a:lnTo>
                  <a:pt x="380915" y="2269266"/>
                </a:lnTo>
                <a:lnTo>
                  <a:pt x="361094" y="2256965"/>
                </a:lnTo>
                <a:lnTo>
                  <a:pt x="341921" y="2244018"/>
                </a:lnTo>
                <a:lnTo>
                  <a:pt x="305456" y="2216179"/>
                </a:lnTo>
                <a:lnTo>
                  <a:pt x="271450" y="2185803"/>
                </a:lnTo>
                <a:lnTo>
                  <a:pt x="239844" y="2152920"/>
                </a:lnTo>
                <a:lnTo>
                  <a:pt x="210559" y="2117584"/>
                </a:lnTo>
                <a:lnTo>
                  <a:pt x="196759" y="2099010"/>
                </a:lnTo>
                <a:lnTo>
                  <a:pt x="183519" y="2079843"/>
                </a:lnTo>
                <a:lnTo>
                  <a:pt x="170826" y="2060076"/>
                </a:lnTo>
                <a:lnTo>
                  <a:pt x="158670" y="2039725"/>
                </a:lnTo>
                <a:lnTo>
                  <a:pt x="147039" y="2018790"/>
                </a:lnTo>
                <a:lnTo>
                  <a:pt x="135929" y="1997286"/>
                </a:lnTo>
                <a:lnTo>
                  <a:pt x="125326" y="1975206"/>
                </a:lnTo>
                <a:lnTo>
                  <a:pt x="115224" y="1952564"/>
                </a:lnTo>
                <a:lnTo>
                  <a:pt x="105621" y="1929369"/>
                </a:lnTo>
                <a:lnTo>
                  <a:pt x="96495" y="1905612"/>
                </a:lnTo>
                <a:lnTo>
                  <a:pt x="87846" y="1881309"/>
                </a:lnTo>
                <a:lnTo>
                  <a:pt x="79666" y="1856461"/>
                </a:lnTo>
                <a:lnTo>
                  <a:pt x="71947" y="1831082"/>
                </a:lnTo>
                <a:lnTo>
                  <a:pt x="64675" y="1805165"/>
                </a:lnTo>
                <a:lnTo>
                  <a:pt x="57839" y="1778725"/>
                </a:lnTo>
                <a:lnTo>
                  <a:pt x="51435" y="1751762"/>
                </a:lnTo>
                <a:lnTo>
                  <a:pt x="45461" y="1724284"/>
                </a:lnTo>
                <a:lnTo>
                  <a:pt x="39895" y="1696292"/>
                </a:lnTo>
                <a:lnTo>
                  <a:pt x="34736" y="1667799"/>
                </a:lnTo>
                <a:lnTo>
                  <a:pt x="29969" y="1638806"/>
                </a:lnTo>
                <a:lnTo>
                  <a:pt x="25595" y="1609322"/>
                </a:lnTo>
                <a:lnTo>
                  <a:pt x="21597" y="1579352"/>
                </a:lnTo>
                <a:lnTo>
                  <a:pt x="17967" y="1548893"/>
                </a:lnTo>
                <a:lnTo>
                  <a:pt x="14708" y="1517963"/>
                </a:lnTo>
                <a:lnTo>
                  <a:pt x="11794" y="1486556"/>
                </a:lnTo>
                <a:lnTo>
                  <a:pt x="9226" y="1454681"/>
                </a:lnTo>
                <a:lnTo>
                  <a:pt x="6989" y="1422351"/>
                </a:lnTo>
                <a:lnTo>
                  <a:pt x="5082" y="1389569"/>
                </a:lnTo>
                <a:lnTo>
                  <a:pt x="3490" y="1356325"/>
                </a:lnTo>
                <a:lnTo>
                  <a:pt x="2206" y="1322649"/>
                </a:lnTo>
                <a:lnTo>
                  <a:pt x="1230" y="1288530"/>
                </a:lnTo>
                <a:lnTo>
                  <a:pt x="540" y="1253971"/>
                </a:lnTo>
                <a:lnTo>
                  <a:pt x="132" y="1218989"/>
                </a:lnTo>
                <a:lnTo>
                  <a:pt x="0" y="1183585"/>
                </a:lnTo>
                <a:lnTo>
                  <a:pt x="132" y="1148334"/>
                </a:lnTo>
                <a:lnTo>
                  <a:pt x="546" y="1113498"/>
                </a:lnTo>
                <a:lnTo>
                  <a:pt x="1254" y="1079094"/>
                </a:lnTo>
                <a:lnTo>
                  <a:pt x="2246" y="1045127"/>
                </a:lnTo>
                <a:lnTo>
                  <a:pt x="3544" y="1011590"/>
                </a:lnTo>
                <a:lnTo>
                  <a:pt x="5159" y="978500"/>
                </a:lnTo>
                <a:lnTo>
                  <a:pt x="7096" y="945863"/>
                </a:lnTo>
                <a:lnTo>
                  <a:pt x="9356" y="913681"/>
                </a:lnTo>
                <a:lnTo>
                  <a:pt x="11964" y="881951"/>
                </a:lnTo>
                <a:lnTo>
                  <a:pt x="14909" y="850691"/>
                </a:lnTo>
                <a:lnTo>
                  <a:pt x="18214" y="819907"/>
                </a:lnTo>
                <a:lnTo>
                  <a:pt x="21881" y="789592"/>
                </a:lnTo>
                <a:lnTo>
                  <a:pt x="25917" y="759762"/>
                </a:lnTo>
                <a:lnTo>
                  <a:pt x="30338" y="730423"/>
                </a:lnTo>
                <a:lnTo>
                  <a:pt x="35152" y="701569"/>
                </a:lnTo>
                <a:lnTo>
                  <a:pt x="40356" y="673215"/>
                </a:lnTo>
                <a:lnTo>
                  <a:pt x="45968" y="645368"/>
                </a:lnTo>
                <a:lnTo>
                  <a:pt x="51996" y="618029"/>
                </a:lnTo>
                <a:lnTo>
                  <a:pt x="58446" y="591204"/>
                </a:lnTo>
                <a:lnTo>
                  <a:pt x="65335" y="564895"/>
                </a:lnTo>
                <a:lnTo>
                  <a:pt x="72655" y="539109"/>
                </a:lnTo>
                <a:lnTo>
                  <a:pt x="80428" y="513860"/>
                </a:lnTo>
                <a:lnTo>
                  <a:pt x="88661" y="489142"/>
                </a:lnTo>
                <a:lnTo>
                  <a:pt x="97358" y="464962"/>
                </a:lnTo>
                <a:lnTo>
                  <a:pt x="106521" y="441336"/>
                </a:lnTo>
                <a:lnTo>
                  <a:pt x="116178" y="418257"/>
                </a:lnTo>
                <a:lnTo>
                  <a:pt x="126320" y="395738"/>
                </a:lnTo>
                <a:lnTo>
                  <a:pt x="136966" y="373780"/>
                </a:lnTo>
                <a:lnTo>
                  <a:pt x="137880" y="372027"/>
                </a:lnTo>
                <a:lnTo>
                  <a:pt x="137881" y="372027"/>
                </a:lnTo>
                <a:lnTo>
                  <a:pt x="148122" y="352391"/>
                </a:lnTo>
                <a:lnTo>
                  <a:pt x="159787" y="331571"/>
                </a:lnTo>
                <a:lnTo>
                  <a:pt x="171988" y="311336"/>
                </a:lnTo>
                <a:lnTo>
                  <a:pt x="184719" y="291677"/>
                </a:lnTo>
                <a:lnTo>
                  <a:pt x="197988" y="272618"/>
                </a:lnTo>
                <a:lnTo>
                  <a:pt x="211812" y="254143"/>
                </a:lnTo>
                <a:lnTo>
                  <a:pt x="241142" y="219015"/>
                </a:lnTo>
                <a:lnTo>
                  <a:pt x="272787" y="186325"/>
                </a:lnTo>
                <a:lnTo>
                  <a:pt x="306808" y="156118"/>
                </a:lnTo>
                <a:lnTo>
                  <a:pt x="343266" y="128447"/>
                </a:lnTo>
                <a:lnTo>
                  <a:pt x="362432" y="115578"/>
                </a:lnTo>
                <a:lnTo>
                  <a:pt x="382237" y="103346"/>
                </a:lnTo>
                <a:lnTo>
                  <a:pt x="402689" y="91775"/>
                </a:lnTo>
                <a:lnTo>
                  <a:pt x="423793" y="80865"/>
                </a:lnTo>
                <a:lnTo>
                  <a:pt x="445558" y="70617"/>
                </a:lnTo>
                <a:lnTo>
                  <a:pt x="467992" y="61045"/>
                </a:lnTo>
                <a:lnTo>
                  <a:pt x="491103" y="52142"/>
                </a:lnTo>
                <a:lnTo>
                  <a:pt x="514906" y="43923"/>
                </a:lnTo>
                <a:lnTo>
                  <a:pt x="539409" y="36389"/>
                </a:lnTo>
                <a:lnTo>
                  <a:pt x="564612" y="29553"/>
                </a:lnTo>
                <a:lnTo>
                  <a:pt x="590528" y="23403"/>
                </a:lnTo>
                <a:lnTo>
                  <a:pt x="617160" y="17967"/>
                </a:lnTo>
                <a:lnTo>
                  <a:pt x="644530" y="13231"/>
                </a:lnTo>
                <a:lnTo>
                  <a:pt x="672639" y="9210"/>
                </a:lnTo>
                <a:lnTo>
                  <a:pt x="701494" y="5912"/>
                </a:lnTo>
                <a:lnTo>
                  <a:pt x="731100" y="3336"/>
                </a:lnTo>
                <a:lnTo>
                  <a:pt x="761477" y="1484"/>
                </a:lnTo>
                <a:lnTo>
                  <a:pt x="792621" y="377"/>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3" name="Makro grafik 2">
            <a:extLst>
              <a:ext uri="{FF2B5EF4-FFF2-40B4-BE49-F238E27FC236}">
                <a16:creationId xmlns:a16="http://schemas.microsoft.com/office/drawing/2014/main" id="{3C47DF57-6C35-2F95-62C7-5AF5F1E443EA}"/>
              </a:ext>
            </a:extLst>
          </p:cNvPr>
          <p:cNvSpPr>
            <a:spLocks noGrp="1" noChangeAspect="1"/>
          </p:cNvSpPr>
          <p:nvPr>
            <p:ph type="body" sz="quarter" idx="20" hasCustomPrompt="1"/>
          </p:nvPr>
        </p:nvSpPr>
        <p:spPr>
          <a:xfrm>
            <a:off x="7625339" y="3523023"/>
            <a:ext cx="1123209" cy="1460462"/>
          </a:xfrm>
          <a:custGeom>
            <a:avLst/>
            <a:gdLst>
              <a:gd name="connsiteX0" fmla="*/ 0 w 1497612"/>
              <a:gd name="connsiteY0" fmla="*/ 1 h 1947283"/>
              <a:gd name="connsiteX1" fmla="*/ 133876 w 1497612"/>
              <a:gd name="connsiteY1" fmla="*/ 1 h 1947283"/>
              <a:gd name="connsiteX2" fmla="*/ 542054 w 1497612"/>
              <a:gd name="connsiteY2" fmla="*/ 1262003 h 1947283"/>
              <a:gd name="connsiteX3" fmla="*/ 763698 w 1497612"/>
              <a:gd name="connsiteY3" fmla="*/ 1947283 h 1947283"/>
              <a:gd name="connsiteX4" fmla="*/ 626777 w 1497612"/>
              <a:gd name="connsiteY4" fmla="*/ 1947283 h 1947283"/>
              <a:gd name="connsiteX5" fmla="*/ 406204 w 1497612"/>
              <a:gd name="connsiteY5" fmla="*/ 1262004 h 1947283"/>
              <a:gd name="connsiteX6" fmla="*/ 733914 w 1497612"/>
              <a:gd name="connsiteY6" fmla="*/ 0 h 1947283"/>
              <a:gd name="connsiteX7" fmla="*/ 867789 w 1497612"/>
              <a:gd name="connsiteY7" fmla="*/ 0 h 1947283"/>
              <a:gd name="connsiteX8" fmla="*/ 988168 w 1497612"/>
              <a:gd name="connsiteY8" fmla="*/ 372187 h 1947283"/>
              <a:gd name="connsiteX9" fmla="*/ 1497612 w 1497612"/>
              <a:gd name="connsiteY9" fmla="*/ 1947283 h 1947283"/>
              <a:gd name="connsiteX10" fmla="*/ 1360692 w 1497612"/>
              <a:gd name="connsiteY10" fmla="*/ 1947283 h 1947283"/>
              <a:gd name="connsiteX11" fmla="*/ 988168 w 1497612"/>
              <a:gd name="connsiteY11" fmla="*/ 789920 h 19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7612" h="1947283">
                <a:moveTo>
                  <a:pt x="0" y="1"/>
                </a:moveTo>
                <a:lnTo>
                  <a:pt x="133876" y="1"/>
                </a:lnTo>
                <a:lnTo>
                  <a:pt x="542054" y="1262003"/>
                </a:lnTo>
                <a:lnTo>
                  <a:pt x="763698" y="1947283"/>
                </a:lnTo>
                <a:lnTo>
                  <a:pt x="626777" y="1947283"/>
                </a:lnTo>
                <a:lnTo>
                  <a:pt x="406204" y="1262004"/>
                </a:lnTo>
                <a:close/>
                <a:moveTo>
                  <a:pt x="733914" y="0"/>
                </a:moveTo>
                <a:lnTo>
                  <a:pt x="867789" y="0"/>
                </a:lnTo>
                <a:lnTo>
                  <a:pt x="988168" y="372187"/>
                </a:lnTo>
                <a:lnTo>
                  <a:pt x="1497612" y="1947283"/>
                </a:lnTo>
                <a:lnTo>
                  <a:pt x="1360692" y="1947283"/>
                </a:lnTo>
                <a:lnTo>
                  <a:pt x="988168" y="78992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4" name="TextBox 1">
            <a:extLst>
              <a:ext uri="{FF2B5EF4-FFF2-40B4-BE49-F238E27FC236}">
                <a16:creationId xmlns:a16="http://schemas.microsoft.com/office/drawing/2014/main" id="{38C4D288-BF41-D871-ACA4-A53FE219D09D}"/>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pic>
        <p:nvPicPr>
          <p:cNvPr id="6" name="Picture 5" descr="A logo with a crown on it&#10;&#10;Description automatically generated">
            <a:extLst>
              <a:ext uri="{FF2B5EF4-FFF2-40B4-BE49-F238E27FC236}">
                <a16:creationId xmlns:a16="http://schemas.microsoft.com/office/drawing/2014/main" id="{7BA48A51-F02A-F177-5069-52B92F6042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5001" y="207900"/>
            <a:ext cx="2150000" cy="307143"/>
          </a:xfrm>
          <a:prstGeom prst="rect">
            <a:avLst/>
          </a:prstGeom>
        </p:spPr>
      </p:pic>
    </p:spTree>
    <p:extLst>
      <p:ext uri="{BB962C8B-B14F-4D97-AF65-F5344CB8AC3E}">
        <p14:creationId xmlns:p14="http://schemas.microsoft.com/office/powerpoint/2010/main" val="4207019848"/>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ikkerdigital cover B">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5143500"/>
            <a:ext cx="0" cy="0"/>
          </a:xfrm>
        </p:spPr>
        <p:txBody>
          <a:bodyPr/>
          <a:lstStyle>
            <a:lvl1pPr>
              <a:defRPr sz="100">
                <a:noFill/>
              </a:defRPr>
            </a:lvl1pPr>
          </a:lstStyle>
          <a:p>
            <a:r>
              <a:rPr lang="da-DK" dirty="0"/>
              <a:t>Digitaliseringsstyrelsen</a:t>
            </a:r>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5143500"/>
            <a:ext cx="0" cy="0"/>
          </a:xfrm>
        </p:spPr>
        <p:txBody>
          <a:bodyPr/>
          <a:lstStyle>
            <a:lvl1pPr>
              <a:defRPr sz="100">
                <a:noFill/>
              </a:defRPr>
            </a:lvl1pPr>
          </a:lstStyle>
          <a:p>
            <a:fld id="{24C8C45C-947F-4981-8B3F-4F32E973C901}" type="slidenum">
              <a:rPr lang="da-DK" smtClean="0"/>
              <a:pPr/>
              <a:t>‹nr.›</a:t>
            </a:fld>
            <a:endParaRPr lang="da-DK" dirty="0"/>
          </a:p>
        </p:txBody>
      </p:sp>
      <p:sp>
        <p:nvSpPr>
          <p:cNvPr id="7" name="Baggrund">
            <a:extLst>
              <a:ext uri="{FF2B5EF4-FFF2-40B4-BE49-F238E27FC236}">
                <a16:creationId xmlns:a16="http://schemas.microsoft.com/office/drawing/2014/main" id="{35254865-C2B4-A57D-5618-3B5A4D00F774}"/>
              </a:ext>
            </a:extLst>
          </p:cNvPr>
          <p:cNvSpPr/>
          <p:nvPr userDrawn="1"/>
        </p:nvSpPr>
        <p:spPr bwMode="white">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10" name="Picture Placeholder 7">
            <a:extLst>
              <a:ext uri="{FF2B5EF4-FFF2-40B4-BE49-F238E27FC236}">
                <a16:creationId xmlns:a16="http://schemas.microsoft.com/office/drawing/2014/main" id="{2998B1E1-EFAB-1012-D72B-1B664B52E093}"/>
              </a:ext>
            </a:extLst>
          </p:cNvPr>
          <p:cNvSpPr>
            <a:spLocks noGrp="1"/>
          </p:cNvSpPr>
          <p:nvPr>
            <p:ph type="pic" sz="quarter" idx="13" hasCustomPrompt="1"/>
          </p:nvPr>
        </p:nvSpPr>
        <p:spPr>
          <a:xfrm>
            <a:off x="0" y="675000"/>
            <a:ext cx="8362562" cy="3792182"/>
          </a:xfrm>
          <a:custGeom>
            <a:avLst/>
            <a:gdLst>
              <a:gd name="connsiteX0" fmla="*/ 0 w 11150082"/>
              <a:gd name="connsiteY0" fmla="*/ 0 h 5056242"/>
              <a:gd name="connsiteX1" fmla="*/ 8379351 w 11150082"/>
              <a:gd name="connsiteY1" fmla="*/ 0 h 5056242"/>
              <a:gd name="connsiteX2" fmla="*/ 11150082 w 11150082"/>
              <a:gd name="connsiteY2" fmla="*/ 0 h 5056242"/>
              <a:gd name="connsiteX3" fmla="*/ 11150082 w 11150082"/>
              <a:gd name="connsiteY3" fmla="*/ 5056242 h 5056242"/>
              <a:gd name="connsiteX4" fmla="*/ 8379351 w 11150082"/>
              <a:gd name="connsiteY4" fmla="*/ 5056242 h 5056242"/>
              <a:gd name="connsiteX5" fmla="*/ 6005514 w 11150082"/>
              <a:gd name="connsiteY5" fmla="*/ 5056242 h 5056242"/>
              <a:gd name="connsiteX6" fmla="*/ 6005514 w 11150082"/>
              <a:gd name="connsiteY6" fmla="*/ 3515511 h 5056242"/>
              <a:gd name="connsiteX7" fmla="*/ 0 w 11150082"/>
              <a:gd name="connsiteY7" fmla="*/ 3515511 h 505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0082" h="5056242">
                <a:moveTo>
                  <a:pt x="0" y="0"/>
                </a:moveTo>
                <a:lnTo>
                  <a:pt x="8379351" y="0"/>
                </a:lnTo>
                <a:lnTo>
                  <a:pt x="11150082" y="0"/>
                </a:lnTo>
                <a:lnTo>
                  <a:pt x="11150082" y="5056242"/>
                </a:lnTo>
                <a:lnTo>
                  <a:pt x="8379351" y="5056242"/>
                </a:lnTo>
                <a:lnTo>
                  <a:pt x="6005514" y="5056242"/>
                </a:lnTo>
                <a:lnTo>
                  <a:pt x="6005514" y="3515511"/>
                </a:lnTo>
                <a:lnTo>
                  <a:pt x="0" y="3515511"/>
                </a:lnTo>
                <a:close/>
              </a:path>
            </a:pathLst>
          </a:custGeom>
          <a:solidFill>
            <a:schemeClr val="bg1"/>
          </a:solidFill>
        </p:spPr>
        <p:txBody>
          <a:bodyPr wrap="square" lIns="0" tIns="720000" anchor="ctr" anchorCtr="0">
            <a:noAutofit/>
          </a:bodyPr>
          <a:lstStyle>
            <a:lvl1pPr marL="0" indent="0" algn="ctr">
              <a:lnSpc>
                <a:spcPct val="100000"/>
              </a:lnSpc>
              <a:spcAft>
                <a:spcPts val="0"/>
              </a:spcAft>
              <a:buNone/>
              <a:defRPr sz="1200"/>
            </a:lvl1pPr>
          </a:lstStyle>
          <a:p>
            <a:r>
              <a:rPr lang="da-DK" dirty="0"/>
              <a:t>Klik på ikonet for at tilføje et billede</a:t>
            </a:r>
          </a:p>
        </p:txBody>
      </p:sp>
      <p:sp>
        <p:nvSpPr>
          <p:cNvPr id="2" name="Title 1"/>
          <p:cNvSpPr>
            <a:spLocks noGrp="1"/>
          </p:cNvSpPr>
          <p:nvPr>
            <p:ph type="ctrTitle" hasCustomPrompt="1"/>
          </p:nvPr>
        </p:nvSpPr>
        <p:spPr>
          <a:xfrm>
            <a:off x="405000" y="3979801"/>
            <a:ext cx="3527635" cy="893429"/>
          </a:xfrm>
        </p:spPr>
        <p:txBody>
          <a:bodyPr anchor="t" anchorCtr="0"/>
          <a:lstStyle>
            <a:lvl1pPr algn="l">
              <a:lnSpc>
                <a:spcPct val="95000"/>
              </a:lnSpc>
              <a:defRPr sz="2400">
                <a:solidFill>
                  <a:schemeClr val="bg2"/>
                </a:solidFill>
              </a:defRPr>
            </a:lvl1pPr>
          </a:lstStyle>
          <a:p>
            <a:r>
              <a:rPr lang="da-DK" dirty="0"/>
              <a:t>Klik for at tilføje titel</a:t>
            </a:r>
          </a:p>
        </p:txBody>
      </p:sp>
      <p:sp>
        <p:nvSpPr>
          <p:cNvPr id="5" name="Pladsholder til dato 4">
            <a:extLst>
              <a:ext uri="{FF2B5EF4-FFF2-40B4-BE49-F238E27FC236}">
                <a16:creationId xmlns:a16="http://schemas.microsoft.com/office/drawing/2014/main" id="{54B45B50-0EB1-98A1-09A7-35675ACBA352}"/>
              </a:ext>
            </a:extLst>
          </p:cNvPr>
          <p:cNvSpPr>
            <a:spLocks noGrp="1"/>
          </p:cNvSpPr>
          <p:nvPr>
            <p:ph type="dt" sz="half" idx="18"/>
          </p:nvPr>
        </p:nvSpPr>
        <p:spPr>
          <a:xfrm>
            <a:off x="405000" y="3798900"/>
            <a:ext cx="3527635" cy="135000"/>
          </a:xfrm>
        </p:spPr>
        <p:txBody>
          <a:bodyPr/>
          <a:lstStyle>
            <a:lvl1pPr>
              <a:defRPr sz="750">
                <a:solidFill>
                  <a:schemeClr val="bg2"/>
                </a:solidFill>
              </a:defRPr>
            </a:lvl1pPr>
          </a:lstStyle>
          <a:p>
            <a:fld id="{111792F2-08D8-42AC-9B72-DC0B112AA1A9}" type="datetime2">
              <a:rPr lang="da-DK" smtClean="0"/>
              <a:t>11. december 2025</a:t>
            </a:fld>
            <a:endParaRPr lang="da-DK" dirty="0"/>
          </a:p>
        </p:txBody>
      </p:sp>
      <p:sp>
        <p:nvSpPr>
          <p:cNvPr id="25" name="Makro grafik 1">
            <a:extLst>
              <a:ext uri="{FF2B5EF4-FFF2-40B4-BE49-F238E27FC236}">
                <a16:creationId xmlns:a16="http://schemas.microsoft.com/office/drawing/2014/main" id="{F2E0EEBD-7C39-E8CB-108F-09AF0CD4D448}"/>
              </a:ext>
            </a:extLst>
          </p:cNvPr>
          <p:cNvSpPr>
            <a:spLocks noGrp="1" noChangeAspect="1"/>
          </p:cNvSpPr>
          <p:nvPr>
            <p:ph type="body" sz="quarter" idx="19" hasCustomPrompt="1"/>
          </p:nvPr>
        </p:nvSpPr>
        <p:spPr>
          <a:xfrm>
            <a:off x="2827574" y="391015"/>
            <a:ext cx="1353707" cy="1779938"/>
          </a:xfrm>
          <a:custGeom>
            <a:avLst/>
            <a:gdLst>
              <a:gd name="connsiteX0" fmla="*/ 1135564 w 1804943"/>
              <a:gd name="connsiteY0" fmla="*/ 15338 h 2373250"/>
              <a:gd name="connsiteX1" fmla="*/ 1804943 w 1804943"/>
              <a:gd name="connsiteY1" fmla="*/ 15338 h 2373250"/>
              <a:gd name="connsiteX2" fmla="*/ 1804943 w 1804943"/>
              <a:gd name="connsiteY2" fmla="*/ 121436 h 2373250"/>
              <a:gd name="connsiteX3" fmla="*/ 1260314 w 1804943"/>
              <a:gd name="connsiteY3" fmla="*/ 121436 h 2373250"/>
              <a:gd name="connsiteX4" fmla="*/ 1260314 w 1804943"/>
              <a:gd name="connsiteY4" fmla="*/ 372027 h 2373250"/>
              <a:gd name="connsiteX5" fmla="*/ 1260314 w 1804943"/>
              <a:gd name="connsiteY5" fmla="*/ 2258004 h 2373250"/>
              <a:gd name="connsiteX6" fmla="*/ 1804943 w 1804943"/>
              <a:gd name="connsiteY6" fmla="*/ 2258004 h 2373250"/>
              <a:gd name="connsiteX7" fmla="*/ 1804943 w 1804943"/>
              <a:gd name="connsiteY7" fmla="*/ 2364102 h 2373250"/>
              <a:gd name="connsiteX8" fmla="*/ 1135564 w 1804943"/>
              <a:gd name="connsiteY8" fmla="*/ 2364102 h 2373250"/>
              <a:gd name="connsiteX9" fmla="*/ 1135564 w 1804943"/>
              <a:gd name="connsiteY9" fmla="*/ 2258004 h 2373250"/>
              <a:gd name="connsiteX10" fmla="*/ 1135564 w 1804943"/>
              <a:gd name="connsiteY10" fmla="*/ 372027 h 2373250"/>
              <a:gd name="connsiteX11" fmla="*/ 1135564 w 1804943"/>
              <a:gd name="connsiteY11" fmla="*/ 121436 h 2373250"/>
              <a:gd name="connsiteX12" fmla="*/ 824551 w 1804943"/>
              <a:gd name="connsiteY12" fmla="*/ 0 h 2373250"/>
              <a:gd name="connsiteX13" fmla="*/ 824551 w 1804943"/>
              <a:gd name="connsiteY13" fmla="*/ 106498 h 2373250"/>
              <a:gd name="connsiteX14" fmla="*/ 793382 w 1804943"/>
              <a:gd name="connsiteY14" fmla="*/ 106920 h 2373250"/>
              <a:gd name="connsiteX15" fmla="*/ 763107 w 1804943"/>
              <a:gd name="connsiteY15" fmla="*/ 108189 h 2373250"/>
              <a:gd name="connsiteX16" fmla="*/ 733699 w 1804943"/>
              <a:gd name="connsiteY16" fmla="*/ 110296 h 2373250"/>
              <a:gd name="connsiteX17" fmla="*/ 705152 w 1804943"/>
              <a:gd name="connsiteY17" fmla="*/ 113240 h 2373250"/>
              <a:gd name="connsiteX18" fmla="*/ 677451 w 1804943"/>
              <a:gd name="connsiteY18" fmla="*/ 117008 h 2373250"/>
              <a:gd name="connsiteX19" fmla="*/ 650596 w 1804943"/>
              <a:gd name="connsiteY19" fmla="*/ 121598 h 2373250"/>
              <a:gd name="connsiteX20" fmla="*/ 624564 w 1804943"/>
              <a:gd name="connsiteY20" fmla="*/ 126995 h 2373250"/>
              <a:gd name="connsiteX21" fmla="*/ 599346 w 1804943"/>
              <a:gd name="connsiteY21" fmla="*/ 133207 h 2373250"/>
              <a:gd name="connsiteX22" fmla="*/ 574929 w 1804943"/>
              <a:gd name="connsiteY22" fmla="*/ 140218 h 2373250"/>
              <a:gd name="connsiteX23" fmla="*/ 551302 w 1804943"/>
              <a:gd name="connsiteY23" fmla="*/ 148022 h 2373250"/>
              <a:gd name="connsiteX24" fmla="*/ 528461 w 1804943"/>
              <a:gd name="connsiteY24" fmla="*/ 156617 h 2373250"/>
              <a:gd name="connsiteX25" fmla="*/ 506387 w 1804943"/>
              <a:gd name="connsiteY25" fmla="*/ 165997 h 2373250"/>
              <a:gd name="connsiteX26" fmla="*/ 485076 w 1804943"/>
              <a:gd name="connsiteY26" fmla="*/ 176146 h 2373250"/>
              <a:gd name="connsiteX27" fmla="*/ 464502 w 1804943"/>
              <a:gd name="connsiteY27" fmla="*/ 187071 h 2373250"/>
              <a:gd name="connsiteX28" fmla="*/ 425554 w 1804943"/>
              <a:gd name="connsiteY28" fmla="*/ 211204 h 2373250"/>
              <a:gd name="connsiteX29" fmla="*/ 389457 w 1804943"/>
              <a:gd name="connsiteY29" fmla="*/ 238344 h 2373250"/>
              <a:gd name="connsiteX30" fmla="*/ 356105 w 1804943"/>
              <a:gd name="connsiteY30" fmla="*/ 268436 h 2373250"/>
              <a:gd name="connsiteX31" fmla="*/ 325421 w 1804943"/>
              <a:gd name="connsiteY31" fmla="*/ 301433 h 2373250"/>
              <a:gd name="connsiteX32" fmla="*/ 297313 w 1804943"/>
              <a:gd name="connsiteY32" fmla="*/ 337284 h 2373250"/>
              <a:gd name="connsiteX33" fmla="*/ 284189 w 1804943"/>
              <a:gd name="connsiteY33" fmla="*/ 356266 h 2373250"/>
              <a:gd name="connsiteX34" fmla="*/ 274169 w 1804943"/>
              <a:gd name="connsiteY34" fmla="*/ 372027 h 2373250"/>
              <a:gd name="connsiteX35" fmla="*/ 271680 w 1804943"/>
              <a:gd name="connsiteY35" fmla="*/ 375940 h 2373250"/>
              <a:gd name="connsiteX36" fmla="*/ 259763 w 1804943"/>
              <a:gd name="connsiteY36" fmla="*/ 396306 h 2373250"/>
              <a:gd name="connsiteX37" fmla="*/ 248431 w 1804943"/>
              <a:gd name="connsiteY37" fmla="*/ 417348 h 2373250"/>
              <a:gd name="connsiteX38" fmla="*/ 237675 w 1804943"/>
              <a:gd name="connsiteY38" fmla="*/ 439077 h 2373250"/>
              <a:gd name="connsiteX39" fmla="*/ 227480 w 1804943"/>
              <a:gd name="connsiteY39" fmla="*/ 461465 h 2373250"/>
              <a:gd name="connsiteX40" fmla="*/ 217839 w 1804943"/>
              <a:gd name="connsiteY40" fmla="*/ 484522 h 2373250"/>
              <a:gd name="connsiteX41" fmla="*/ 208737 w 1804943"/>
              <a:gd name="connsiteY41" fmla="*/ 508239 h 2373250"/>
              <a:gd name="connsiteX42" fmla="*/ 200156 w 1804943"/>
              <a:gd name="connsiteY42" fmla="*/ 532604 h 2373250"/>
              <a:gd name="connsiteX43" fmla="*/ 192100 w 1804943"/>
              <a:gd name="connsiteY43" fmla="*/ 557614 h 2373250"/>
              <a:gd name="connsiteX44" fmla="*/ 184542 w 1804943"/>
              <a:gd name="connsiteY44" fmla="*/ 583262 h 2373250"/>
              <a:gd name="connsiteX45" fmla="*/ 177484 w 1804943"/>
              <a:gd name="connsiteY45" fmla="*/ 609541 h 2373250"/>
              <a:gd name="connsiteX46" fmla="*/ 170903 w 1804943"/>
              <a:gd name="connsiteY46" fmla="*/ 636450 h 2373250"/>
              <a:gd name="connsiteX47" fmla="*/ 164799 w 1804943"/>
              <a:gd name="connsiteY47" fmla="*/ 663974 h 2373250"/>
              <a:gd name="connsiteX48" fmla="*/ 159148 w 1804943"/>
              <a:gd name="connsiteY48" fmla="*/ 692121 h 2373250"/>
              <a:gd name="connsiteX49" fmla="*/ 153950 w 1804943"/>
              <a:gd name="connsiteY49" fmla="*/ 720867 h 2373250"/>
              <a:gd name="connsiteX50" fmla="*/ 149183 w 1804943"/>
              <a:gd name="connsiteY50" fmla="*/ 750212 h 2373250"/>
              <a:gd name="connsiteX51" fmla="*/ 144839 w 1804943"/>
              <a:gd name="connsiteY51" fmla="*/ 780158 h 2373250"/>
              <a:gd name="connsiteX52" fmla="*/ 140910 w 1804943"/>
              <a:gd name="connsiteY52" fmla="*/ 810689 h 2373250"/>
              <a:gd name="connsiteX53" fmla="*/ 137390 w 1804943"/>
              <a:gd name="connsiteY53" fmla="*/ 841803 h 2373250"/>
              <a:gd name="connsiteX54" fmla="*/ 134253 w 1804943"/>
              <a:gd name="connsiteY54" fmla="*/ 873494 h 2373250"/>
              <a:gd name="connsiteX55" fmla="*/ 131501 w 1804943"/>
              <a:gd name="connsiteY55" fmla="*/ 905754 h 2373250"/>
              <a:gd name="connsiteX56" fmla="*/ 129109 w 1804943"/>
              <a:gd name="connsiteY56" fmla="*/ 938575 h 2373250"/>
              <a:gd name="connsiteX57" fmla="*/ 127073 w 1804943"/>
              <a:gd name="connsiteY57" fmla="*/ 971958 h 2373250"/>
              <a:gd name="connsiteX58" fmla="*/ 125389 w 1804943"/>
              <a:gd name="connsiteY58" fmla="*/ 1005886 h 2373250"/>
              <a:gd name="connsiteX59" fmla="*/ 124027 w 1804943"/>
              <a:gd name="connsiteY59" fmla="*/ 1040360 h 2373250"/>
              <a:gd name="connsiteX60" fmla="*/ 122997 w 1804943"/>
              <a:gd name="connsiteY60" fmla="*/ 1075373 h 2373250"/>
              <a:gd name="connsiteX61" fmla="*/ 122267 w 1804943"/>
              <a:gd name="connsiteY61" fmla="*/ 1110923 h 2373250"/>
              <a:gd name="connsiteX62" fmla="*/ 121844 w 1804943"/>
              <a:gd name="connsiteY62" fmla="*/ 1146996 h 2373250"/>
              <a:gd name="connsiteX63" fmla="*/ 121706 w 1804943"/>
              <a:gd name="connsiteY63" fmla="*/ 1183585 h 2373250"/>
              <a:gd name="connsiteX64" fmla="*/ 121829 w 1804943"/>
              <a:gd name="connsiteY64" fmla="*/ 1220003 h 2373250"/>
              <a:gd name="connsiteX65" fmla="*/ 122229 w 1804943"/>
              <a:gd name="connsiteY65" fmla="*/ 1255892 h 2373250"/>
              <a:gd name="connsiteX66" fmla="*/ 122897 w 1804943"/>
              <a:gd name="connsiteY66" fmla="*/ 1291258 h 2373250"/>
              <a:gd name="connsiteX67" fmla="*/ 123850 w 1804943"/>
              <a:gd name="connsiteY67" fmla="*/ 1326087 h 2373250"/>
              <a:gd name="connsiteX68" fmla="*/ 125111 w 1804943"/>
              <a:gd name="connsiteY68" fmla="*/ 1360376 h 2373250"/>
              <a:gd name="connsiteX69" fmla="*/ 126679 w 1804943"/>
              <a:gd name="connsiteY69" fmla="*/ 1394113 h 2373250"/>
              <a:gd name="connsiteX70" fmla="*/ 128571 w 1804943"/>
              <a:gd name="connsiteY70" fmla="*/ 1427303 h 2373250"/>
              <a:gd name="connsiteX71" fmla="*/ 130802 w 1804943"/>
              <a:gd name="connsiteY71" fmla="*/ 1459939 h 2373250"/>
              <a:gd name="connsiteX72" fmla="*/ 133368 w 1804943"/>
              <a:gd name="connsiteY72" fmla="*/ 1492006 h 2373250"/>
              <a:gd name="connsiteX73" fmla="*/ 136298 w 1804943"/>
              <a:gd name="connsiteY73" fmla="*/ 1523513 h 2373250"/>
              <a:gd name="connsiteX74" fmla="*/ 139596 w 1804943"/>
              <a:gd name="connsiteY74" fmla="*/ 1554442 h 2373250"/>
              <a:gd name="connsiteX75" fmla="*/ 143271 w 1804943"/>
              <a:gd name="connsiteY75" fmla="*/ 1584796 h 2373250"/>
              <a:gd name="connsiteX76" fmla="*/ 147338 w 1804943"/>
              <a:gd name="connsiteY76" fmla="*/ 1614566 h 2373250"/>
              <a:gd name="connsiteX77" fmla="*/ 151813 w 1804943"/>
              <a:gd name="connsiteY77" fmla="*/ 1643750 h 2373250"/>
              <a:gd name="connsiteX78" fmla="*/ 156702 w 1804943"/>
              <a:gd name="connsiteY78" fmla="*/ 1672334 h 2373250"/>
              <a:gd name="connsiteX79" fmla="*/ 162015 w 1804943"/>
              <a:gd name="connsiteY79" fmla="*/ 1700320 h 2373250"/>
              <a:gd name="connsiteX80" fmla="*/ 167766 w 1804943"/>
              <a:gd name="connsiteY80" fmla="*/ 1727705 h 2373250"/>
              <a:gd name="connsiteX81" fmla="*/ 173962 w 1804943"/>
              <a:gd name="connsiteY81" fmla="*/ 1754476 h 2373250"/>
              <a:gd name="connsiteX82" fmla="*/ 180629 w 1804943"/>
              <a:gd name="connsiteY82" fmla="*/ 1780631 h 2373250"/>
              <a:gd name="connsiteX83" fmla="*/ 187755 w 1804943"/>
              <a:gd name="connsiteY83" fmla="*/ 1806164 h 2373250"/>
              <a:gd name="connsiteX84" fmla="*/ 195374 w 1804943"/>
              <a:gd name="connsiteY84" fmla="*/ 1831074 h 2373250"/>
              <a:gd name="connsiteX85" fmla="*/ 203485 w 1804943"/>
              <a:gd name="connsiteY85" fmla="*/ 1855346 h 2373250"/>
              <a:gd name="connsiteX86" fmla="*/ 212112 w 1804943"/>
              <a:gd name="connsiteY86" fmla="*/ 1878988 h 2373250"/>
              <a:gd name="connsiteX87" fmla="*/ 221245 w 1804943"/>
              <a:gd name="connsiteY87" fmla="*/ 1901983 h 2373250"/>
              <a:gd name="connsiteX88" fmla="*/ 230917 w 1804943"/>
              <a:gd name="connsiteY88" fmla="*/ 1924332 h 2373250"/>
              <a:gd name="connsiteX89" fmla="*/ 241128 w 1804943"/>
              <a:gd name="connsiteY89" fmla="*/ 1946029 h 2373250"/>
              <a:gd name="connsiteX90" fmla="*/ 251891 w 1804943"/>
              <a:gd name="connsiteY90" fmla="*/ 1967064 h 2373250"/>
              <a:gd name="connsiteX91" fmla="*/ 263216 w 1804943"/>
              <a:gd name="connsiteY91" fmla="*/ 1987430 h 2373250"/>
              <a:gd name="connsiteX92" fmla="*/ 287611 w 1804943"/>
              <a:gd name="connsiteY92" fmla="*/ 2026164 h 2373250"/>
              <a:gd name="connsiteX93" fmla="*/ 314404 w 1804943"/>
              <a:gd name="connsiteY93" fmla="*/ 2062168 h 2373250"/>
              <a:gd name="connsiteX94" fmla="*/ 343681 w 1804943"/>
              <a:gd name="connsiteY94" fmla="*/ 2095412 h 2373250"/>
              <a:gd name="connsiteX95" fmla="*/ 375541 w 1804943"/>
              <a:gd name="connsiteY95" fmla="*/ 2125849 h 2373250"/>
              <a:gd name="connsiteX96" fmla="*/ 410077 w 1804943"/>
              <a:gd name="connsiteY96" fmla="*/ 2153435 h 2373250"/>
              <a:gd name="connsiteX97" fmla="*/ 447372 w 1804943"/>
              <a:gd name="connsiteY97" fmla="*/ 2178130 h 2373250"/>
              <a:gd name="connsiteX98" fmla="*/ 487529 w 1804943"/>
              <a:gd name="connsiteY98" fmla="*/ 2199888 h 2373250"/>
              <a:gd name="connsiteX99" fmla="*/ 508702 w 1804943"/>
              <a:gd name="connsiteY99" fmla="*/ 2209652 h 2373250"/>
              <a:gd name="connsiteX100" fmla="*/ 530629 w 1804943"/>
              <a:gd name="connsiteY100" fmla="*/ 2218662 h 2373250"/>
              <a:gd name="connsiteX101" fmla="*/ 553317 w 1804943"/>
              <a:gd name="connsiteY101" fmla="*/ 2226920 h 2373250"/>
              <a:gd name="connsiteX102" fmla="*/ 576782 w 1804943"/>
              <a:gd name="connsiteY102" fmla="*/ 2234416 h 2373250"/>
              <a:gd name="connsiteX103" fmla="*/ 601022 w 1804943"/>
              <a:gd name="connsiteY103" fmla="*/ 2241150 h 2373250"/>
              <a:gd name="connsiteX104" fmla="*/ 626056 w 1804943"/>
              <a:gd name="connsiteY104" fmla="*/ 2247109 h 2373250"/>
              <a:gd name="connsiteX105" fmla="*/ 651904 w 1804943"/>
              <a:gd name="connsiteY105" fmla="*/ 2252291 h 2373250"/>
              <a:gd name="connsiteX106" fmla="*/ 678567 w 1804943"/>
              <a:gd name="connsiteY106" fmla="*/ 2256688 h 2373250"/>
              <a:gd name="connsiteX107" fmla="*/ 706061 w 1804943"/>
              <a:gd name="connsiteY107" fmla="*/ 2260301 h 2373250"/>
              <a:gd name="connsiteX108" fmla="*/ 734390 w 1804943"/>
              <a:gd name="connsiteY108" fmla="*/ 2263116 h 2373250"/>
              <a:gd name="connsiteX109" fmla="*/ 763575 w 1804943"/>
              <a:gd name="connsiteY109" fmla="*/ 2265138 h 2373250"/>
              <a:gd name="connsiteX110" fmla="*/ 793630 w 1804943"/>
              <a:gd name="connsiteY110" fmla="*/ 2266352 h 2373250"/>
              <a:gd name="connsiteX111" fmla="*/ 824551 w 1804943"/>
              <a:gd name="connsiteY111" fmla="*/ 2266760 h 2373250"/>
              <a:gd name="connsiteX112" fmla="*/ 824551 w 1804943"/>
              <a:gd name="connsiteY112" fmla="*/ 2373250 h 2373250"/>
              <a:gd name="connsiteX113" fmla="*/ 792476 w 1804943"/>
              <a:gd name="connsiteY113" fmla="*/ 2372881 h 2373250"/>
              <a:gd name="connsiteX114" fmla="*/ 761193 w 1804943"/>
              <a:gd name="connsiteY114" fmla="*/ 2371759 h 2373250"/>
              <a:gd name="connsiteX115" fmla="*/ 730694 w 1804943"/>
              <a:gd name="connsiteY115" fmla="*/ 2369898 h 2373250"/>
              <a:gd name="connsiteX116" fmla="*/ 700970 w 1804943"/>
              <a:gd name="connsiteY116" fmla="*/ 2367307 h 2373250"/>
              <a:gd name="connsiteX117" fmla="*/ 672008 w 1804943"/>
              <a:gd name="connsiteY117" fmla="*/ 2363986 h 2373250"/>
              <a:gd name="connsiteX118" fmla="*/ 643800 w 1804943"/>
              <a:gd name="connsiteY118" fmla="*/ 2359941 h 2373250"/>
              <a:gd name="connsiteX119" fmla="*/ 616345 w 1804943"/>
              <a:gd name="connsiteY119" fmla="*/ 2355175 h 2373250"/>
              <a:gd name="connsiteX120" fmla="*/ 589621 w 1804943"/>
              <a:gd name="connsiteY120" fmla="*/ 2349701 h 2373250"/>
              <a:gd name="connsiteX121" fmla="*/ 563635 w 1804943"/>
              <a:gd name="connsiteY121" fmla="*/ 2343519 h 2373250"/>
              <a:gd name="connsiteX122" fmla="*/ 538363 w 1804943"/>
              <a:gd name="connsiteY122" fmla="*/ 2336631 h 2373250"/>
              <a:gd name="connsiteX123" fmla="*/ 513800 w 1804943"/>
              <a:gd name="connsiteY123" fmla="*/ 2329050 h 2373250"/>
              <a:gd name="connsiteX124" fmla="*/ 489950 w 1804943"/>
              <a:gd name="connsiteY124" fmla="*/ 2320785 h 2373250"/>
              <a:gd name="connsiteX125" fmla="*/ 466785 w 1804943"/>
              <a:gd name="connsiteY125" fmla="*/ 2311829 h 2373250"/>
              <a:gd name="connsiteX126" fmla="*/ 444312 w 1804943"/>
              <a:gd name="connsiteY126" fmla="*/ 2302195 h 2373250"/>
              <a:gd name="connsiteX127" fmla="*/ 422516 w 1804943"/>
              <a:gd name="connsiteY127" fmla="*/ 2291885 h 2373250"/>
              <a:gd name="connsiteX128" fmla="*/ 401389 w 1804943"/>
              <a:gd name="connsiteY128" fmla="*/ 2280906 h 2373250"/>
              <a:gd name="connsiteX129" fmla="*/ 380915 w 1804943"/>
              <a:gd name="connsiteY129" fmla="*/ 2269266 h 2373250"/>
              <a:gd name="connsiteX130" fmla="*/ 361094 w 1804943"/>
              <a:gd name="connsiteY130" fmla="*/ 2256965 h 2373250"/>
              <a:gd name="connsiteX131" fmla="*/ 341921 w 1804943"/>
              <a:gd name="connsiteY131" fmla="*/ 2244018 h 2373250"/>
              <a:gd name="connsiteX132" fmla="*/ 305456 w 1804943"/>
              <a:gd name="connsiteY132" fmla="*/ 2216179 h 2373250"/>
              <a:gd name="connsiteX133" fmla="*/ 271450 w 1804943"/>
              <a:gd name="connsiteY133" fmla="*/ 2185803 h 2373250"/>
              <a:gd name="connsiteX134" fmla="*/ 239844 w 1804943"/>
              <a:gd name="connsiteY134" fmla="*/ 2152920 h 2373250"/>
              <a:gd name="connsiteX135" fmla="*/ 210559 w 1804943"/>
              <a:gd name="connsiteY135" fmla="*/ 2117584 h 2373250"/>
              <a:gd name="connsiteX136" fmla="*/ 196759 w 1804943"/>
              <a:gd name="connsiteY136" fmla="*/ 2099010 h 2373250"/>
              <a:gd name="connsiteX137" fmla="*/ 183519 w 1804943"/>
              <a:gd name="connsiteY137" fmla="*/ 2079843 h 2373250"/>
              <a:gd name="connsiteX138" fmla="*/ 170826 w 1804943"/>
              <a:gd name="connsiteY138" fmla="*/ 2060076 h 2373250"/>
              <a:gd name="connsiteX139" fmla="*/ 158670 w 1804943"/>
              <a:gd name="connsiteY139" fmla="*/ 2039725 h 2373250"/>
              <a:gd name="connsiteX140" fmla="*/ 147039 w 1804943"/>
              <a:gd name="connsiteY140" fmla="*/ 2018790 h 2373250"/>
              <a:gd name="connsiteX141" fmla="*/ 135929 w 1804943"/>
              <a:gd name="connsiteY141" fmla="*/ 1997286 h 2373250"/>
              <a:gd name="connsiteX142" fmla="*/ 125326 w 1804943"/>
              <a:gd name="connsiteY142" fmla="*/ 1975206 h 2373250"/>
              <a:gd name="connsiteX143" fmla="*/ 115224 w 1804943"/>
              <a:gd name="connsiteY143" fmla="*/ 1952564 h 2373250"/>
              <a:gd name="connsiteX144" fmla="*/ 105621 w 1804943"/>
              <a:gd name="connsiteY144" fmla="*/ 1929369 h 2373250"/>
              <a:gd name="connsiteX145" fmla="*/ 96495 w 1804943"/>
              <a:gd name="connsiteY145" fmla="*/ 1905612 h 2373250"/>
              <a:gd name="connsiteX146" fmla="*/ 87846 w 1804943"/>
              <a:gd name="connsiteY146" fmla="*/ 1881309 h 2373250"/>
              <a:gd name="connsiteX147" fmla="*/ 79666 w 1804943"/>
              <a:gd name="connsiteY147" fmla="*/ 1856461 h 2373250"/>
              <a:gd name="connsiteX148" fmla="*/ 71947 w 1804943"/>
              <a:gd name="connsiteY148" fmla="*/ 1831082 h 2373250"/>
              <a:gd name="connsiteX149" fmla="*/ 64675 w 1804943"/>
              <a:gd name="connsiteY149" fmla="*/ 1805165 h 2373250"/>
              <a:gd name="connsiteX150" fmla="*/ 57839 w 1804943"/>
              <a:gd name="connsiteY150" fmla="*/ 1778725 h 2373250"/>
              <a:gd name="connsiteX151" fmla="*/ 51435 w 1804943"/>
              <a:gd name="connsiteY151" fmla="*/ 1751762 h 2373250"/>
              <a:gd name="connsiteX152" fmla="*/ 45461 w 1804943"/>
              <a:gd name="connsiteY152" fmla="*/ 1724284 h 2373250"/>
              <a:gd name="connsiteX153" fmla="*/ 39895 w 1804943"/>
              <a:gd name="connsiteY153" fmla="*/ 1696292 h 2373250"/>
              <a:gd name="connsiteX154" fmla="*/ 34736 w 1804943"/>
              <a:gd name="connsiteY154" fmla="*/ 1667799 h 2373250"/>
              <a:gd name="connsiteX155" fmla="*/ 29969 w 1804943"/>
              <a:gd name="connsiteY155" fmla="*/ 1638806 h 2373250"/>
              <a:gd name="connsiteX156" fmla="*/ 25595 w 1804943"/>
              <a:gd name="connsiteY156" fmla="*/ 1609322 h 2373250"/>
              <a:gd name="connsiteX157" fmla="*/ 21597 w 1804943"/>
              <a:gd name="connsiteY157" fmla="*/ 1579352 h 2373250"/>
              <a:gd name="connsiteX158" fmla="*/ 17967 w 1804943"/>
              <a:gd name="connsiteY158" fmla="*/ 1548893 h 2373250"/>
              <a:gd name="connsiteX159" fmla="*/ 14708 w 1804943"/>
              <a:gd name="connsiteY159" fmla="*/ 1517963 h 2373250"/>
              <a:gd name="connsiteX160" fmla="*/ 11794 w 1804943"/>
              <a:gd name="connsiteY160" fmla="*/ 1486556 h 2373250"/>
              <a:gd name="connsiteX161" fmla="*/ 9226 w 1804943"/>
              <a:gd name="connsiteY161" fmla="*/ 1454681 h 2373250"/>
              <a:gd name="connsiteX162" fmla="*/ 6989 w 1804943"/>
              <a:gd name="connsiteY162" fmla="*/ 1422351 h 2373250"/>
              <a:gd name="connsiteX163" fmla="*/ 5082 w 1804943"/>
              <a:gd name="connsiteY163" fmla="*/ 1389569 h 2373250"/>
              <a:gd name="connsiteX164" fmla="*/ 3490 w 1804943"/>
              <a:gd name="connsiteY164" fmla="*/ 1356325 h 2373250"/>
              <a:gd name="connsiteX165" fmla="*/ 2206 w 1804943"/>
              <a:gd name="connsiteY165" fmla="*/ 1322649 h 2373250"/>
              <a:gd name="connsiteX166" fmla="*/ 1230 w 1804943"/>
              <a:gd name="connsiteY166" fmla="*/ 1288530 h 2373250"/>
              <a:gd name="connsiteX167" fmla="*/ 540 w 1804943"/>
              <a:gd name="connsiteY167" fmla="*/ 1253971 h 2373250"/>
              <a:gd name="connsiteX168" fmla="*/ 132 w 1804943"/>
              <a:gd name="connsiteY168" fmla="*/ 1218989 h 2373250"/>
              <a:gd name="connsiteX169" fmla="*/ 0 w 1804943"/>
              <a:gd name="connsiteY169" fmla="*/ 1183585 h 2373250"/>
              <a:gd name="connsiteX170" fmla="*/ 132 w 1804943"/>
              <a:gd name="connsiteY170" fmla="*/ 1148334 h 2373250"/>
              <a:gd name="connsiteX171" fmla="*/ 546 w 1804943"/>
              <a:gd name="connsiteY171" fmla="*/ 1113498 h 2373250"/>
              <a:gd name="connsiteX172" fmla="*/ 1254 w 1804943"/>
              <a:gd name="connsiteY172" fmla="*/ 1079094 h 2373250"/>
              <a:gd name="connsiteX173" fmla="*/ 2246 w 1804943"/>
              <a:gd name="connsiteY173" fmla="*/ 1045127 h 2373250"/>
              <a:gd name="connsiteX174" fmla="*/ 3544 w 1804943"/>
              <a:gd name="connsiteY174" fmla="*/ 1011590 h 2373250"/>
              <a:gd name="connsiteX175" fmla="*/ 5159 w 1804943"/>
              <a:gd name="connsiteY175" fmla="*/ 978500 h 2373250"/>
              <a:gd name="connsiteX176" fmla="*/ 7096 w 1804943"/>
              <a:gd name="connsiteY176" fmla="*/ 945863 h 2373250"/>
              <a:gd name="connsiteX177" fmla="*/ 9356 w 1804943"/>
              <a:gd name="connsiteY177" fmla="*/ 913681 h 2373250"/>
              <a:gd name="connsiteX178" fmla="*/ 11964 w 1804943"/>
              <a:gd name="connsiteY178" fmla="*/ 881951 h 2373250"/>
              <a:gd name="connsiteX179" fmla="*/ 14909 w 1804943"/>
              <a:gd name="connsiteY179" fmla="*/ 850691 h 2373250"/>
              <a:gd name="connsiteX180" fmla="*/ 18214 w 1804943"/>
              <a:gd name="connsiteY180" fmla="*/ 819907 h 2373250"/>
              <a:gd name="connsiteX181" fmla="*/ 21881 w 1804943"/>
              <a:gd name="connsiteY181" fmla="*/ 789592 h 2373250"/>
              <a:gd name="connsiteX182" fmla="*/ 25917 w 1804943"/>
              <a:gd name="connsiteY182" fmla="*/ 759762 h 2373250"/>
              <a:gd name="connsiteX183" fmla="*/ 30338 w 1804943"/>
              <a:gd name="connsiteY183" fmla="*/ 730423 h 2373250"/>
              <a:gd name="connsiteX184" fmla="*/ 35152 w 1804943"/>
              <a:gd name="connsiteY184" fmla="*/ 701569 h 2373250"/>
              <a:gd name="connsiteX185" fmla="*/ 40356 w 1804943"/>
              <a:gd name="connsiteY185" fmla="*/ 673215 h 2373250"/>
              <a:gd name="connsiteX186" fmla="*/ 45968 w 1804943"/>
              <a:gd name="connsiteY186" fmla="*/ 645368 h 2373250"/>
              <a:gd name="connsiteX187" fmla="*/ 51996 w 1804943"/>
              <a:gd name="connsiteY187" fmla="*/ 618029 h 2373250"/>
              <a:gd name="connsiteX188" fmla="*/ 58446 w 1804943"/>
              <a:gd name="connsiteY188" fmla="*/ 591204 h 2373250"/>
              <a:gd name="connsiteX189" fmla="*/ 65335 w 1804943"/>
              <a:gd name="connsiteY189" fmla="*/ 564895 h 2373250"/>
              <a:gd name="connsiteX190" fmla="*/ 72655 w 1804943"/>
              <a:gd name="connsiteY190" fmla="*/ 539109 h 2373250"/>
              <a:gd name="connsiteX191" fmla="*/ 80428 w 1804943"/>
              <a:gd name="connsiteY191" fmla="*/ 513860 h 2373250"/>
              <a:gd name="connsiteX192" fmla="*/ 88661 w 1804943"/>
              <a:gd name="connsiteY192" fmla="*/ 489142 h 2373250"/>
              <a:gd name="connsiteX193" fmla="*/ 97358 w 1804943"/>
              <a:gd name="connsiteY193" fmla="*/ 464962 h 2373250"/>
              <a:gd name="connsiteX194" fmla="*/ 106521 w 1804943"/>
              <a:gd name="connsiteY194" fmla="*/ 441336 h 2373250"/>
              <a:gd name="connsiteX195" fmla="*/ 116178 w 1804943"/>
              <a:gd name="connsiteY195" fmla="*/ 418257 h 2373250"/>
              <a:gd name="connsiteX196" fmla="*/ 126320 w 1804943"/>
              <a:gd name="connsiteY196" fmla="*/ 395738 h 2373250"/>
              <a:gd name="connsiteX197" fmla="*/ 136966 w 1804943"/>
              <a:gd name="connsiteY197" fmla="*/ 373780 h 2373250"/>
              <a:gd name="connsiteX198" fmla="*/ 137880 w 1804943"/>
              <a:gd name="connsiteY198" fmla="*/ 372027 h 2373250"/>
              <a:gd name="connsiteX199" fmla="*/ 137881 w 1804943"/>
              <a:gd name="connsiteY199" fmla="*/ 372027 h 2373250"/>
              <a:gd name="connsiteX200" fmla="*/ 148122 w 1804943"/>
              <a:gd name="connsiteY200" fmla="*/ 352391 h 2373250"/>
              <a:gd name="connsiteX201" fmla="*/ 159787 w 1804943"/>
              <a:gd name="connsiteY201" fmla="*/ 331571 h 2373250"/>
              <a:gd name="connsiteX202" fmla="*/ 171988 w 1804943"/>
              <a:gd name="connsiteY202" fmla="*/ 311336 h 2373250"/>
              <a:gd name="connsiteX203" fmla="*/ 184719 w 1804943"/>
              <a:gd name="connsiteY203" fmla="*/ 291677 h 2373250"/>
              <a:gd name="connsiteX204" fmla="*/ 197988 w 1804943"/>
              <a:gd name="connsiteY204" fmla="*/ 272618 h 2373250"/>
              <a:gd name="connsiteX205" fmla="*/ 211812 w 1804943"/>
              <a:gd name="connsiteY205" fmla="*/ 254143 h 2373250"/>
              <a:gd name="connsiteX206" fmla="*/ 241142 w 1804943"/>
              <a:gd name="connsiteY206" fmla="*/ 219015 h 2373250"/>
              <a:gd name="connsiteX207" fmla="*/ 272787 w 1804943"/>
              <a:gd name="connsiteY207" fmla="*/ 186325 h 2373250"/>
              <a:gd name="connsiteX208" fmla="*/ 306808 w 1804943"/>
              <a:gd name="connsiteY208" fmla="*/ 156118 h 2373250"/>
              <a:gd name="connsiteX209" fmla="*/ 343266 w 1804943"/>
              <a:gd name="connsiteY209" fmla="*/ 128447 h 2373250"/>
              <a:gd name="connsiteX210" fmla="*/ 362432 w 1804943"/>
              <a:gd name="connsiteY210" fmla="*/ 115578 h 2373250"/>
              <a:gd name="connsiteX211" fmla="*/ 382237 w 1804943"/>
              <a:gd name="connsiteY211" fmla="*/ 103346 h 2373250"/>
              <a:gd name="connsiteX212" fmla="*/ 402689 w 1804943"/>
              <a:gd name="connsiteY212" fmla="*/ 91775 h 2373250"/>
              <a:gd name="connsiteX213" fmla="*/ 423793 w 1804943"/>
              <a:gd name="connsiteY213" fmla="*/ 80865 h 2373250"/>
              <a:gd name="connsiteX214" fmla="*/ 445558 w 1804943"/>
              <a:gd name="connsiteY214" fmla="*/ 70617 h 2373250"/>
              <a:gd name="connsiteX215" fmla="*/ 467992 w 1804943"/>
              <a:gd name="connsiteY215" fmla="*/ 61045 h 2373250"/>
              <a:gd name="connsiteX216" fmla="*/ 491103 w 1804943"/>
              <a:gd name="connsiteY216" fmla="*/ 52142 h 2373250"/>
              <a:gd name="connsiteX217" fmla="*/ 514906 w 1804943"/>
              <a:gd name="connsiteY217" fmla="*/ 43923 h 2373250"/>
              <a:gd name="connsiteX218" fmla="*/ 539409 w 1804943"/>
              <a:gd name="connsiteY218" fmla="*/ 36389 h 2373250"/>
              <a:gd name="connsiteX219" fmla="*/ 564612 w 1804943"/>
              <a:gd name="connsiteY219" fmla="*/ 29553 h 2373250"/>
              <a:gd name="connsiteX220" fmla="*/ 590528 w 1804943"/>
              <a:gd name="connsiteY220" fmla="*/ 23403 h 2373250"/>
              <a:gd name="connsiteX221" fmla="*/ 617160 w 1804943"/>
              <a:gd name="connsiteY221" fmla="*/ 17967 h 2373250"/>
              <a:gd name="connsiteX222" fmla="*/ 644530 w 1804943"/>
              <a:gd name="connsiteY222" fmla="*/ 13231 h 2373250"/>
              <a:gd name="connsiteX223" fmla="*/ 672639 w 1804943"/>
              <a:gd name="connsiteY223" fmla="*/ 9210 h 2373250"/>
              <a:gd name="connsiteX224" fmla="*/ 701494 w 1804943"/>
              <a:gd name="connsiteY224" fmla="*/ 5912 h 2373250"/>
              <a:gd name="connsiteX225" fmla="*/ 731100 w 1804943"/>
              <a:gd name="connsiteY225" fmla="*/ 3336 h 2373250"/>
              <a:gd name="connsiteX226" fmla="*/ 761477 w 1804943"/>
              <a:gd name="connsiteY226" fmla="*/ 1484 h 2373250"/>
              <a:gd name="connsiteX227" fmla="*/ 792621 w 1804943"/>
              <a:gd name="connsiteY227" fmla="*/ 377 h 23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1804943" h="2373250">
                <a:moveTo>
                  <a:pt x="1135564" y="15338"/>
                </a:moveTo>
                <a:lnTo>
                  <a:pt x="1804943" y="15338"/>
                </a:lnTo>
                <a:lnTo>
                  <a:pt x="1804943" y="121436"/>
                </a:lnTo>
                <a:lnTo>
                  <a:pt x="1260314" y="121436"/>
                </a:lnTo>
                <a:lnTo>
                  <a:pt x="1260314" y="372027"/>
                </a:lnTo>
                <a:lnTo>
                  <a:pt x="1260314" y="2258004"/>
                </a:lnTo>
                <a:lnTo>
                  <a:pt x="1804943" y="2258004"/>
                </a:lnTo>
                <a:lnTo>
                  <a:pt x="1804943" y="2364102"/>
                </a:lnTo>
                <a:lnTo>
                  <a:pt x="1135564" y="2364102"/>
                </a:lnTo>
                <a:lnTo>
                  <a:pt x="1135564" y="2258004"/>
                </a:lnTo>
                <a:lnTo>
                  <a:pt x="1135564" y="372027"/>
                </a:lnTo>
                <a:lnTo>
                  <a:pt x="1135564" y="121436"/>
                </a:lnTo>
                <a:close/>
                <a:moveTo>
                  <a:pt x="824551" y="0"/>
                </a:moveTo>
                <a:lnTo>
                  <a:pt x="824551" y="106498"/>
                </a:lnTo>
                <a:lnTo>
                  <a:pt x="793382" y="106920"/>
                </a:lnTo>
                <a:lnTo>
                  <a:pt x="763107" y="108189"/>
                </a:lnTo>
                <a:lnTo>
                  <a:pt x="733699" y="110296"/>
                </a:lnTo>
                <a:lnTo>
                  <a:pt x="705152" y="113240"/>
                </a:lnTo>
                <a:lnTo>
                  <a:pt x="677451" y="117008"/>
                </a:lnTo>
                <a:lnTo>
                  <a:pt x="650596" y="121598"/>
                </a:lnTo>
                <a:lnTo>
                  <a:pt x="624564" y="126995"/>
                </a:lnTo>
                <a:lnTo>
                  <a:pt x="599346" y="133207"/>
                </a:lnTo>
                <a:lnTo>
                  <a:pt x="574929" y="140218"/>
                </a:lnTo>
                <a:lnTo>
                  <a:pt x="551302" y="148022"/>
                </a:lnTo>
                <a:lnTo>
                  <a:pt x="528461" y="156617"/>
                </a:lnTo>
                <a:lnTo>
                  <a:pt x="506387" y="165997"/>
                </a:lnTo>
                <a:lnTo>
                  <a:pt x="485076" y="176146"/>
                </a:lnTo>
                <a:lnTo>
                  <a:pt x="464502" y="187071"/>
                </a:lnTo>
                <a:lnTo>
                  <a:pt x="425554" y="211204"/>
                </a:lnTo>
                <a:lnTo>
                  <a:pt x="389457" y="238344"/>
                </a:lnTo>
                <a:lnTo>
                  <a:pt x="356105" y="268436"/>
                </a:lnTo>
                <a:lnTo>
                  <a:pt x="325421" y="301433"/>
                </a:lnTo>
                <a:lnTo>
                  <a:pt x="297313" y="337284"/>
                </a:lnTo>
                <a:lnTo>
                  <a:pt x="284189" y="356266"/>
                </a:lnTo>
                <a:lnTo>
                  <a:pt x="274169" y="372027"/>
                </a:lnTo>
                <a:lnTo>
                  <a:pt x="271680" y="375940"/>
                </a:lnTo>
                <a:lnTo>
                  <a:pt x="259763" y="396306"/>
                </a:lnTo>
                <a:lnTo>
                  <a:pt x="248431" y="417348"/>
                </a:lnTo>
                <a:lnTo>
                  <a:pt x="237675" y="439077"/>
                </a:lnTo>
                <a:lnTo>
                  <a:pt x="227480" y="461465"/>
                </a:lnTo>
                <a:lnTo>
                  <a:pt x="217839" y="484522"/>
                </a:lnTo>
                <a:lnTo>
                  <a:pt x="208737" y="508239"/>
                </a:lnTo>
                <a:lnTo>
                  <a:pt x="200156" y="532604"/>
                </a:lnTo>
                <a:lnTo>
                  <a:pt x="192100" y="557614"/>
                </a:lnTo>
                <a:lnTo>
                  <a:pt x="184542" y="583262"/>
                </a:lnTo>
                <a:lnTo>
                  <a:pt x="177484" y="609541"/>
                </a:lnTo>
                <a:lnTo>
                  <a:pt x="170903" y="636450"/>
                </a:lnTo>
                <a:lnTo>
                  <a:pt x="164799" y="663974"/>
                </a:lnTo>
                <a:lnTo>
                  <a:pt x="159148" y="692121"/>
                </a:lnTo>
                <a:lnTo>
                  <a:pt x="153950" y="720867"/>
                </a:lnTo>
                <a:lnTo>
                  <a:pt x="149183" y="750212"/>
                </a:lnTo>
                <a:lnTo>
                  <a:pt x="144839" y="780158"/>
                </a:lnTo>
                <a:lnTo>
                  <a:pt x="140910" y="810689"/>
                </a:lnTo>
                <a:lnTo>
                  <a:pt x="137390" y="841803"/>
                </a:lnTo>
                <a:lnTo>
                  <a:pt x="134253" y="873494"/>
                </a:lnTo>
                <a:lnTo>
                  <a:pt x="131501" y="905754"/>
                </a:lnTo>
                <a:lnTo>
                  <a:pt x="129109" y="938575"/>
                </a:lnTo>
                <a:lnTo>
                  <a:pt x="127073" y="971958"/>
                </a:lnTo>
                <a:lnTo>
                  <a:pt x="125389" y="1005886"/>
                </a:lnTo>
                <a:lnTo>
                  <a:pt x="124027" y="1040360"/>
                </a:lnTo>
                <a:lnTo>
                  <a:pt x="122997" y="1075373"/>
                </a:lnTo>
                <a:lnTo>
                  <a:pt x="122267" y="1110923"/>
                </a:lnTo>
                <a:lnTo>
                  <a:pt x="121844" y="1146996"/>
                </a:lnTo>
                <a:lnTo>
                  <a:pt x="121706" y="1183585"/>
                </a:lnTo>
                <a:lnTo>
                  <a:pt x="121829" y="1220003"/>
                </a:lnTo>
                <a:lnTo>
                  <a:pt x="122229" y="1255892"/>
                </a:lnTo>
                <a:lnTo>
                  <a:pt x="122897" y="1291258"/>
                </a:lnTo>
                <a:lnTo>
                  <a:pt x="123850" y="1326087"/>
                </a:lnTo>
                <a:lnTo>
                  <a:pt x="125111" y="1360376"/>
                </a:lnTo>
                <a:lnTo>
                  <a:pt x="126679" y="1394113"/>
                </a:lnTo>
                <a:lnTo>
                  <a:pt x="128571" y="1427303"/>
                </a:lnTo>
                <a:lnTo>
                  <a:pt x="130802" y="1459939"/>
                </a:lnTo>
                <a:lnTo>
                  <a:pt x="133368" y="1492006"/>
                </a:lnTo>
                <a:lnTo>
                  <a:pt x="136298" y="1523513"/>
                </a:lnTo>
                <a:lnTo>
                  <a:pt x="139596" y="1554442"/>
                </a:lnTo>
                <a:lnTo>
                  <a:pt x="143271" y="1584796"/>
                </a:lnTo>
                <a:lnTo>
                  <a:pt x="147338" y="1614566"/>
                </a:lnTo>
                <a:lnTo>
                  <a:pt x="151813" y="1643750"/>
                </a:lnTo>
                <a:lnTo>
                  <a:pt x="156702" y="1672334"/>
                </a:lnTo>
                <a:lnTo>
                  <a:pt x="162015" y="1700320"/>
                </a:lnTo>
                <a:lnTo>
                  <a:pt x="167766" y="1727705"/>
                </a:lnTo>
                <a:lnTo>
                  <a:pt x="173962" y="1754476"/>
                </a:lnTo>
                <a:lnTo>
                  <a:pt x="180629" y="1780631"/>
                </a:lnTo>
                <a:lnTo>
                  <a:pt x="187755" y="1806164"/>
                </a:lnTo>
                <a:lnTo>
                  <a:pt x="195374" y="1831074"/>
                </a:lnTo>
                <a:lnTo>
                  <a:pt x="203485" y="1855346"/>
                </a:lnTo>
                <a:lnTo>
                  <a:pt x="212112" y="1878988"/>
                </a:lnTo>
                <a:lnTo>
                  <a:pt x="221245" y="1901983"/>
                </a:lnTo>
                <a:lnTo>
                  <a:pt x="230917" y="1924332"/>
                </a:lnTo>
                <a:lnTo>
                  <a:pt x="241128" y="1946029"/>
                </a:lnTo>
                <a:lnTo>
                  <a:pt x="251891" y="1967064"/>
                </a:lnTo>
                <a:lnTo>
                  <a:pt x="263216" y="1987430"/>
                </a:lnTo>
                <a:lnTo>
                  <a:pt x="287611" y="2026164"/>
                </a:lnTo>
                <a:lnTo>
                  <a:pt x="314404" y="2062168"/>
                </a:lnTo>
                <a:lnTo>
                  <a:pt x="343681" y="2095412"/>
                </a:lnTo>
                <a:lnTo>
                  <a:pt x="375541" y="2125849"/>
                </a:lnTo>
                <a:lnTo>
                  <a:pt x="410077" y="2153435"/>
                </a:lnTo>
                <a:lnTo>
                  <a:pt x="447372" y="2178130"/>
                </a:lnTo>
                <a:lnTo>
                  <a:pt x="487529" y="2199888"/>
                </a:lnTo>
                <a:lnTo>
                  <a:pt x="508702" y="2209652"/>
                </a:lnTo>
                <a:lnTo>
                  <a:pt x="530629" y="2218662"/>
                </a:lnTo>
                <a:lnTo>
                  <a:pt x="553317" y="2226920"/>
                </a:lnTo>
                <a:lnTo>
                  <a:pt x="576782" y="2234416"/>
                </a:lnTo>
                <a:lnTo>
                  <a:pt x="601022" y="2241150"/>
                </a:lnTo>
                <a:lnTo>
                  <a:pt x="626056" y="2247109"/>
                </a:lnTo>
                <a:lnTo>
                  <a:pt x="651904" y="2252291"/>
                </a:lnTo>
                <a:lnTo>
                  <a:pt x="678567" y="2256688"/>
                </a:lnTo>
                <a:lnTo>
                  <a:pt x="706061" y="2260301"/>
                </a:lnTo>
                <a:lnTo>
                  <a:pt x="734390" y="2263116"/>
                </a:lnTo>
                <a:lnTo>
                  <a:pt x="763575" y="2265138"/>
                </a:lnTo>
                <a:lnTo>
                  <a:pt x="793630" y="2266352"/>
                </a:lnTo>
                <a:lnTo>
                  <a:pt x="824551" y="2266760"/>
                </a:lnTo>
                <a:lnTo>
                  <a:pt x="824551" y="2373250"/>
                </a:lnTo>
                <a:lnTo>
                  <a:pt x="792476" y="2372881"/>
                </a:lnTo>
                <a:lnTo>
                  <a:pt x="761193" y="2371759"/>
                </a:lnTo>
                <a:lnTo>
                  <a:pt x="730694" y="2369898"/>
                </a:lnTo>
                <a:lnTo>
                  <a:pt x="700970" y="2367307"/>
                </a:lnTo>
                <a:lnTo>
                  <a:pt x="672008" y="2363986"/>
                </a:lnTo>
                <a:lnTo>
                  <a:pt x="643800" y="2359941"/>
                </a:lnTo>
                <a:lnTo>
                  <a:pt x="616345" y="2355175"/>
                </a:lnTo>
                <a:lnTo>
                  <a:pt x="589621" y="2349701"/>
                </a:lnTo>
                <a:lnTo>
                  <a:pt x="563635" y="2343519"/>
                </a:lnTo>
                <a:lnTo>
                  <a:pt x="538363" y="2336631"/>
                </a:lnTo>
                <a:lnTo>
                  <a:pt x="513800" y="2329050"/>
                </a:lnTo>
                <a:lnTo>
                  <a:pt x="489950" y="2320785"/>
                </a:lnTo>
                <a:lnTo>
                  <a:pt x="466785" y="2311829"/>
                </a:lnTo>
                <a:lnTo>
                  <a:pt x="444312" y="2302195"/>
                </a:lnTo>
                <a:lnTo>
                  <a:pt x="422516" y="2291885"/>
                </a:lnTo>
                <a:lnTo>
                  <a:pt x="401389" y="2280906"/>
                </a:lnTo>
                <a:lnTo>
                  <a:pt x="380915" y="2269266"/>
                </a:lnTo>
                <a:lnTo>
                  <a:pt x="361094" y="2256965"/>
                </a:lnTo>
                <a:lnTo>
                  <a:pt x="341921" y="2244018"/>
                </a:lnTo>
                <a:lnTo>
                  <a:pt x="305456" y="2216179"/>
                </a:lnTo>
                <a:lnTo>
                  <a:pt x="271450" y="2185803"/>
                </a:lnTo>
                <a:lnTo>
                  <a:pt x="239844" y="2152920"/>
                </a:lnTo>
                <a:lnTo>
                  <a:pt x="210559" y="2117584"/>
                </a:lnTo>
                <a:lnTo>
                  <a:pt x="196759" y="2099010"/>
                </a:lnTo>
                <a:lnTo>
                  <a:pt x="183519" y="2079843"/>
                </a:lnTo>
                <a:lnTo>
                  <a:pt x="170826" y="2060076"/>
                </a:lnTo>
                <a:lnTo>
                  <a:pt x="158670" y="2039725"/>
                </a:lnTo>
                <a:lnTo>
                  <a:pt x="147039" y="2018790"/>
                </a:lnTo>
                <a:lnTo>
                  <a:pt x="135929" y="1997286"/>
                </a:lnTo>
                <a:lnTo>
                  <a:pt x="125326" y="1975206"/>
                </a:lnTo>
                <a:lnTo>
                  <a:pt x="115224" y="1952564"/>
                </a:lnTo>
                <a:lnTo>
                  <a:pt x="105621" y="1929369"/>
                </a:lnTo>
                <a:lnTo>
                  <a:pt x="96495" y="1905612"/>
                </a:lnTo>
                <a:lnTo>
                  <a:pt x="87846" y="1881309"/>
                </a:lnTo>
                <a:lnTo>
                  <a:pt x="79666" y="1856461"/>
                </a:lnTo>
                <a:lnTo>
                  <a:pt x="71947" y="1831082"/>
                </a:lnTo>
                <a:lnTo>
                  <a:pt x="64675" y="1805165"/>
                </a:lnTo>
                <a:lnTo>
                  <a:pt x="57839" y="1778725"/>
                </a:lnTo>
                <a:lnTo>
                  <a:pt x="51435" y="1751762"/>
                </a:lnTo>
                <a:lnTo>
                  <a:pt x="45461" y="1724284"/>
                </a:lnTo>
                <a:lnTo>
                  <a:pt x="39895" y="1696292"/>
                </a:lnTo>
                <a:lnTo>
                  <a:pt x="34736" y="1667799"/>
                </a:lnTo>
                <a:lnTo>
                  <a:pt x="29969" y="1638806"/>
                </a:lnTo>
                <a:lnTo>
                  <a:pt x="25595" y="1609322"/>
                </a:lnTo>
                <a:lnTo>
                  <a:pt x="21597" y="1579352"/>
                </a:lnTo>
                <a:lnTo>
                  <a:pt x="17967" y="1548893"/>
                </a:lnTo>
                <a:lnTo>
                  <a:pt x="14708" y="1517963"/>
                </a:lnTo>
                <a:lnTo>
                  <a:pt x="11794" y="1486556"/>
                </a:lnTo>
                <a:lnTo>
                  <a:pt x="9226" y="1454681"/>
                </a:lnTo>
                <a:lnTo>
                  <a:pt x="6989" y="1422351"/>
                </a:lnTo>
                <a:lnTo>
                  <a:pt x="5082" y="1389569"/>
                </a:lnTo>
                <a:lnTo>
                  <a:pt x="3490" y="1356325"/>
                </a:lnTo>
                <a:lnTo>
                  <a:pt x="2206" y="1322649"/>
                </a:lnTo>
                <a:lnTo>
                  <a:pt x="1230" y="1288530"/>
                </a:lnTo>
                <a:lnTo>
                  <a:pt x="540" y="1253971"/>
                </a:lnTo>
                <a:lnTo>
                  <a:pt x="132" y="1218989"/>
                </a:lnTo>
                <a:lnTo>
                  <a:pt x="0" y="1183585"/>
                </a:lnTo>
                <a:lnTo>
                  <a:pt x="132" y="1148334"/>
                </a:lnTo>
                <a:lnTo>
                  <a:pt x="546" y="1113498"/>
                </a:lnTo>
                <a:lnTo>
                  <a:pt x="1254" y="1079094"/>
                </a:lnTo>
                <a:lnTo>
                  <a:pt x="2246" y="1045127"/>
                </a:lnTo>
                <a:lnTo>
                  <a:pt x="3544" y="1011590"/>
                </a:lnTo>
                <a:lnTo>
                  <a:pt x="5159" y="978500"/>
                </a:lnTo>
                <a:lnTo>
                  <a:pt x="7096" y="945863"/>
                </a:lnTo>
                <a:lnTo>
                  <a:pt x="9356" y="913681"/>
                </a:lnTo>
                <a:lnTo>
                  <a:pt x="11964" y="881951"/>
                </a:lnTo>
                <a:lnTo>
                  <a:pt x="14909" y="850691"/>
                </a:lnTo>
                <a:lnTo>
                  <a:pt x="18214" y="819907"/>
                </a:lnTo>
                <a:lnTo>
                  <a:pt x="21881" y="789592"/>
                </a:lnTo>
                <a:lnTo>
                  <a:pt x="25917" y="759762"/>
                </a:lnTo>
                <a:lnTo>
                  <a:pt x="30338" y="730423"/>
                </a:lnTo>
                <a:lnTo>
                  <a:pt x="35152" y="701569"/>
                </a:lnTo>
                <a:lnTo>
                  <a:pt x="40356" y="673215"/>
                </a:lnTo>
                <a:lnTo>
                  <a:pt x="45968" y="645368"/>
                </a:lnTo>
                <a:lnTo>
                  <a:pt x="51996" y="618029"/>
                </a:lnTo>
                <a:lnTo>
                  <a:pt x="58446" y="591204"/>
                </a:lnTo>
                <a:lnTo>
                  <a:pt x="65335" y="564895"/>
                </a:lnTo>
                <a:lnTo>
                  <a:pt x="72655" y="539109"/>
                </a:lnTo>
                <a:lnTo>
                  <a:pt x="80428" y="513860"/>
                </a:lnTo>
                <a:lnTo>
                  <a:pt x="88661" y="489142"/>
                </a:lnTo>
                <a:lnTo>
                  <a:pt x="97358" y="464962"/>
                </a:lnTo>
                <a:lnTo>
                  <a:pt x="106521" y="441336"/>
                </a:lnTo>
                <a:lnTo>
                  <a:pt x="116178" y="418257"/>
                </a:lnTo>
                <a:lnTo>
                  <a:pt x="126320" y="395738"/>
                </a:lnTo>
                <a:lnTo>
                  <a:pt x="136966" y="373780"/>
                </a:lnTo>
                <a:lnTo>
                  <a:pt x="137880" y="372027"/>
                </a:lnTo>
                <a:lnTo>
                  <a:pt x="137881" y="372027"/>
                </a:lnTo>
                <a:lnTo>
                  <a:pt x="148122" y="352391"/>
                </a:lnTo>
                <a:lnTo>
                  <a:pt x="159787" y="331571"/>
                </a:lnTo>
                <a:lnTo>
                  <a:pt x="171988" y="311336"/>
                </a:lnTo>
                <a:lnTo>
                  <a:pt x="184719" y="291677"/>
                </a:lnTo>
                <a:lnTo>
                  <a:pt x="197988" y="272618"/>
                </a:lnTo>
                <a:lnTo>
                  <a:pt x="211812" y="254143"/>
                </a:lnTo>
                <a:lnTo>
                  <a:pt x="241142" y="219015"/>
                </a:lnTo>
                <a:lnTo>
                  <a:pt x="272787" y="186325"/>
                </a:lnTo>
                <a:lnTo>
                  <a:pt x="306808" y="156118"/>
                </a:lnTo>
                <a:lnTo>
                  <a:pt x="343266" y="128447"/>
                </a:lnTo>
                <a:lnTo>
                  <a:pt x="362432" y="115578"/>
                </a:lnTo>
                <a:lnTo>
                  <a:pt x="382237" y="103346"/>
                </a:lnTo>
                <a:lnTo>
                  <a:pt x="402689" y="91775"/>
                </a:lnTo>
                <a:lnTo>
                  <a:pt x="423793" y="80865"/>
                </a:lnTo>
                <a:lnTo>
                  <a:pt x="445558" y="70617"/>
                </a:lnTo>
                <a:lnTo>
                  <a:pt x="467992" y="61045"/>
                </a:lnTo>
                <a:lnTo>
                  <a:pt x="491103" y="52142"/>
                </a:lnTo>
                <a:lnTo>
                  <a:pt x="514906" y="43923"/>
                </a:lnTo>
                <a:lnTo>
                  <a:pt x="539409" y="36389"/>
                </a:lnTo>
                <a:lnTo>
                  <a:pt x="564612" y="29553"/>
                </a:lnTo>
                <a:lnTo>
                  <a:pt x="590528" y="23403"/>
                </a:lnTo>
                <a:lnTo>
                  <a:pt x="617160" y="17967"/>
                </a:lnTo>
                <a:lnTo>
                  <a:pt x="644530" y="13231"/>
                </a:lnTo>
                <a:lnTo>
                  <a:pt x="672639" y="9210"/>
                </a:lnTo>
                <a:lnTo>
                  <a:pt x="701494" y="5912"/>
                </a:lnTo>
                <a:lnTo>
                  <a:pt x="731100" y="3336"/>
                </a:lnTo>
                <a:lnTo>
                  <a:pt x="761477" y="1484"/>
                </a:lnTo>
                <a:lnTo>
                  <a:pt x="792621" y="377"/>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3" name="Makro grafik 2">
            <a:extLst>
              <a:ext uri="{FF2B5EF4-FFF2-40B4-BE49-F238E27FC236}">
                <a16:creationId xmlns:a16="http://schemas.microsoft.com/office/drawing/2014/main" id="{3C47DF57-6C35-2F95-62C7-5AF5F1E443EA}"/>
              </a:ext>
            </a:extLst>
          </p:cNvPr>
          <p:cNvSpPr>
            <a:spLocks noGrp="1" noChangeAspect="1"/>
          </p:cNvSpPr>
          <p:nvPr>
            <p:ph type="body" sz="quarter" idx="20" hasCustomPrompt="1"/>
          </p:nvPr>
        </p:nvSpPr>
        <p:spPr>
          <a:xfrm>
            <a:off x="7625339" y="3523023"/>
            <a:ext cx="1123209" cy="1460462"/>
          </a:xfrm>
          <a:custGeom>
            <a:avLst/>
            <a:gdLst>
              <a:gd name="connsiteX0" fmla="*/ 0 w 1497612"/>
              <a:gd name="connsiteY0" fmla="*/ 1 h 1947283"/>
              <a:gd name="connsiteX1" fmla="*/ 133876 w 1497612"/>
              <a:gd name="connsiteY1" fmla="*/ 1 h 1947283"/>
              <a:gd name="connsiteX2" fmla="*/ 542054 w 1497612"/>
              <a:gd name="connsiteY2" fmla="*/ 1262003 h 1947283"/>
              <a:gd name="connsiteX3" fmla="*/ 763698 w 1497612"/>
              <a:gd name="connsiteY3" fmla="*/ 1947283 h 1947283"/>
              <a:gd name="connsiteX4" fmla="*/ 626777 w 1497612"/>
              <a:gd name="connsiteY4" fmla="*/ 1947283 h 1947283"/>
              <a:gd name="connsiteX5" fmla="*/ 406204 w 1497612"/>
              <a:gd name="connsiteY5" fmla="*/ 1262004 h 1947283"/>
              <a:gd name="connsiteX6" fmla="*/ 733914 w 1497612"/>
              <a:gd name="connsiteY6" fmla="*/ 0 h 1947283"/>
              <a:gd name="connsiteX7" fmla="*/ 867789 w 1497612"/>
              <a:gd name="connsiteY7" fmla="*/ 0 h 1947283"/>
              <a:gd name="connsiteX8" fmla="*/ 988168 w 1497612"/>
              <a:gd name="connsiteY8" fmla="*/ 372187 h 1947283"/>
              <a:gd name="connsiteX9" fmla="*/ 1497612 w 1497612"/>
              <a:gd name="connsiteY9" fmla="*/ 1947283 h 1947283"/>
              <a:gd name="connsiteX10" fmla="*/ 1360692 w 1497612"/>
              <a:gd name="connsiteY10" fmla="*/ 1947283 h 1947283"/>
              <a:gd name="connsiteX11" fmla="*/ 988168 w 1497612"/>
              <a:gd name="connsiteY11" fmla="*/ 789920 h 19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7612" h="1947283">
                <a:moveTo>
                  <a:pt x="0" y="1"/>
                </a:moveTo>
                <a:lnTo>
                  <a:pt x="133876" y="1"/>
                </a:lnTo>
                <a:lnTo>
                  <a:pt x="542054" y="1262003"/>
                </a:lnTo>
                <a:lnTo>
                  <a:pt x="763698" y="1947283"/>
                </a:lnTo>
                <a:lnTo>
                  <a:pt x="626777" y="1947283"/>
                </a:lnTo>
                <a:lnTo>
                  <a:pt x="406204" y="1262004"/>
                </a:lnTo>
                <a:close/>
                <a:moveTo>
                  <a:pt x="733914" y="0"/>
                </a:moveTo>
                <a:lnTo>
                  <a:pt x="867789" y="0"/>
                </a:lnTo>
                <a:lnTo>
                  <a:pt x="988168" y="372187"/>
                </a:lnTo>
                <a:lnTo>
                  <a:pt x="1497612" y="1947283"/>
                </a:lnTo>
                <a:lnTo>
                  <a:pt x="1360692" y="1947283"/>
                </a:lnTo>
                <a:lnTo>
                  <a:pt x="988168" y="78992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noFill/>
                <a:latin typeface="+mn-lt"/>
              </a:defRPr>
            </a:lvl2pPr>
            <a:lvl3pPr marL="0" indent="0">
              <a:lnSpc>
                <a:spcPct val="100000"/>
              </a:lnSpc>
              <a:spcBef>
                <a:spcPts val="0"/>
              </a:spcBef>
              <a:spcAft>
                <a:spcPts val="0"/>
              </a:spcAft>
              <a:buNone/>
              <a:defRPr sz="750">
                <a:noFill/>
                <a:latin typeface="+mn-lt"/>
              </a:defRPr>
            </a:lvl3pPr>
            <a:lvl4pPr marL="0" indent="0">
              <a:lnSpc>
                <a:spcPct val="100000"/>
              </a:lnSpc>
              <a:spcBef>
                <a:spcPts val="0"/>
              </a:spcBef>
              <a:spcAft>
                <a:spcPts val="0"/>
              </a:spcAft>
              <a:buNone/>
              <a:defRPr sz="750">
                <a:noFill/>
                <a:latin typeface="+mn-lt"/>
              </a:defRPr>
            </a:lvl4pPr>
            <a:lvl5pPr marL="0" indent="0">
              <a:lnSpc>
                <a:spcPct val="100000"/>
              </a:lnSpc>
              <a:spcBef>
                <a:spcPts val="0"/>
              </a:spcBef>
              <a:spcAft>
                <a:spcPts val="0"/>
              </a:spcAft>
              <a:buNone/>
              <a:defRPr sz="750">
                <a:noFill/>
                <a:latin typeface="+mn-lt"/>
              </a:defRPr>
            </a:lvl5pPr>
            <a:lvl6pPr marL="0" indent="0">
              <a:lnSpc>
                <a:spcPct val="100000"/>
              </a:lnSpc>
              <a:spcBef>
                <a:spcPts val="0"/>
              </a:spcBef>
              <a:spcAft>
                <a:spcPts val="0"/>
              </a:spcAft>
              <a:buNone/>
              <a:defRPr sz="750">
                <a:noFill/>
                <a:latin typeface="+mn-lt"/>
              </a:defRPr>
            </a:lvl6pPr>
            <a:lvl7pPr marL="0" indent="0">
              <a:lnSpc>
                <a:spcPct val="100000"/>
              </a:lnSpc>
              <a:spcBef>
                <a:spcPts val="0"/>
              </a:spcBef>
              <a:spcAft>
                <a:spcPts val="0"/>
              </a:spcAft>
              <a:buNone/>
              <a:defRPr sz="750" b="0">
                <a:noFill/>
                <a:latin typeface="+mn-lt"/>
              </a:defRPr>
            </a:lvl7pPr>
            <a:lvl8pPr marL="0" indent="0">
              <a:lnSpc>
                <a:spcPct val="100000"/>
              </a:lnSpc>
              <a:spcBef>
                <a:spcPts val="0"/>
              </a:spcBef>
              <a:spcAft>
                <a:spcPts val="0"/>
              </a:spcAft>
              <a:buNone/>
              <a:defRPr sz="750">
                <a:noFill/>
                <a:latin typeface="+mn-lt"/>
              </a:defRPr>
            </a:lvl8pPr>
            <a:lvl9pPr marL="0" indent="0">
              <a:lnSpc>
                <a:spcPct val="100000"/>
              </a:lnSpc>
              <a:spcBef>
                <a:spcPts val="0"/>
              </a:spcBef>
              <a:spcAft>
                <a:spcPts val="0"/>
              </a:spcAft>
              <a:buNone/>
              <a:defRPr sz="750">
                <a:noFill/>
                <a:latin typeface="+mn-lt"/>
              </a:defRPr>
            </a:lvl9pPr>
          </a:lstStyle>
          <a:p>
            <a:pPr lvl="0"/>
            <a:r>
              <a:rPr lang="da-DK" dirty="0"/>
              <a:t>.</a:t>
            </a:r>
          </a:p>
        </p:txBody>
      </p:sp>
      <p:sp>
        <p:nvSpPr>
          <p:cNvPr id="6" name="TextBox 1">
            <a:extLst>
              <a:ext uri="{FF2B5EF4-FFF2-40B4-BE49-F238E27FC236}">
                <a16:creationId xmlns:a16="http://schemas.microsoft.com/office/drawing/2014/main" id="{65A8188C-11F0-CD4C-0611-D4AE140468F8}"/>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pic>
        <p:nvPicPr>
          <p:cNvPr id="11" name="Picture 10">
            <a:extLst>
              <a:ext uri="{FF2B5EF4-FFF2-40B4-BE49-F238E27FC236}">
                <a16:creationId xmlns:a16="http://schemas.microsoft.com/office/drawing/2014/main" id="{2F5CF440-4268-2D3A-7B7C-350EFD4B940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05001" y="207901"/>
            <a:ext cx="2150000" cy="307142"/>
          </a:xfrm>
          <a:prstGeom prst="rect">
            <a:avLst/>
          </a:prstGeom>
        </p:spPr>
      </p:pic>
    </p:spTree>
    <p:extLst>
      <p:ext uri="{BB962C8B-B14F-4D97-AF65-F5344CB8AC3E}">
        <p14:creationId xmlns:p14="http://schemas.microsoft.com/office/powerpoint/2010/main" val="3155442557"/>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3753">
          <p15:clr>
            <a:srgbClr val="A4A3A4"/>
          </p15:clr>
        </p15:guide>
        <p15:guide id="3" pos="7023">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CD22E9-9AE9-424B-A7A1-AFD0F990FCCC}"/>
              </a:ext>
            </a:extLst>
          </p:cNvPr>
          <p:cNvSpPr>
            <a:spLocks noGrp="1"/>
          </p:cNvSpPr>
          <p:nvPr>
            <p:ph type="title" hasCustomPrompt="1"/>
          </p:nvPr>
        </p:nvSpPr>
        <p:spPr>
          <a:xfrm>
            <a:off x="405000" y="675000"/>
            <a:ext cx="4099135" cy="621000"/>
          </a:xfrm>
        </p:spPr>
        <p:txBody>
          <a:bodyPr/>
          <a:lstStyle>
            <a:lvl1pPr>
              <a:defRPr/>
            </a:lvl1pPr>
          </a:lstStyle>
          <a:p>
            <a:r>
              <a:rPr lang="da-DK" dirty="0"/>
              <a:t>Klik for at tilføje agenda titel</a:t>
            </a:r>
          </a:p>
        </p:txBody>
      </p:sp>
      <p:sp>
        <p:nvSpPr>
          <p:cNvPr id="7" name="Text Placeholder 2"/>
          <p:cNvSpPr>
            <a:spLocks noGrp="1"/>
          </p:cNvSpPr>
          <p:nvPr>
            <p:ph type="body" sz="quarter" idx="13" hasCustomPrompt="1"/>
          </p:nvPr>
        </p:nvSpPr>
        <p:spPr>
          <a:xfrm>
            <a:off x="405000" y="1431000"/>
            <a:ext cx="4099135" cy="3172500"/>
          </a:xfrm>
        </p:spPr>
        <p:txBody>
          <a:bodyPr/>
          <a:lstStyle>
            <a:lvl1pPr marL="135000" indent="-135000">
              <a:spcAft>
                <a:spcPts val="900"/>
              </a:spcAft>
              <a:buFont typeface="Arial" panose="020B0604020202020204" pitchFamily="34" charset="0"/>
              <a:buChar char="•"/>
              <a:defRPr b="0">
                <a:latin typeface="+mn-lt"/>
              </a:defRPr>
            </a:lvl1pPr>
            <a:lvl2pPr marL="135000" indent="-135000">
              <a:spcBef>
                <a:spcPts val="0"/>
              </a:spcBef>
              <a:spcAft>
                <a:spcPts val="900"/>
              </a:spcAft>
              <a:buFont typeface="Arial" panose="020B0604020202020204" pitchFamily="34" charset="0"/>
              <a:buChar char="•"/>
              <a:defRPr sz="1200" b="0">
                <a:latin typeface="+mn-lt"/>
              </a:defRPr>
            </a:lvl2pPr>
            <a:lvl3pPr marL="135000" indent="-135000">
              <a:spcBef>
                <a:spcPts val="0"/>
              </a:spcBef>
              <a:spcAft>
                <a:spcPts val="900"/>
              </a:spcAft>
              <a:buFont typeface="Arial" panose="020B0604020202020204" pitchFamily="34" charset="0"/>
              <a:buChar char="•"/>
              <a:defRPr sz="1200" b="0">
                <a:latin typeface="+mn-lt"/>
              </a:defRPr>
            </a:lvl3pPr>
            <a:lvl4pPr marL="135000" indent="-135000">
              <a:spcBef>
                <a:spcPts val="0"/>
              </a:spcBef>
              <a:spcAft>
                <a:spcPts val="900"/>
              </a:spcAft>
              <a:buFont typeface="Arial" panose="020B0604020202020204" pitchFamily="34" charset="0"/>
              <a:buChar char="•"/>
              <a:defRPr sz="1200" b="0">
                <a:latin typeface="+mn-lt"/>
              </a:defRPr>
            </a:lvl4pPr>
            <a:lvl5pPr marL="135000" indent="-135000">
              <a:spcBef>
                <a:spcPts val="0"/>
              </a:spcBef>
              <a:spcAft>
                <a:spcPts val="900"/>
              </a:spcAft>
              <a:buFont typeface="Arial" panose="020B0604020202020204" pitchFamily="34" charset="0"/>
              <a:buChar char="•"/>
              <a:defRPr sz="1200" b="0">
                <a:latin typeface="+mn-lt"/>
              </a:defRPr>
            </a:lvl5pPr>
            <a:lvl6pPr marL="135000" indent="-135000">
              <a:spcBef>
                <a:spcPts val="0"/>
              </a:spcBef>
              <a:spcAft>
                <a:spcPts val="900"/>
              </a:spcAft>
              <a:buFont typeface="Arial" panose="020B0604020202020204" pitchFamily="34" charset="0"/>
              <a:buChar char="•"/>
              <a:defRPr sz="1200" b="0">
                <a:latin typeface="+mn-lt"/>
              </a:defRPr>
            </a:lvl6pPr>
            <a:lvl7pPr marL="135000" indent="-135000">
              <a:spcBef>
                <a:spcPts val="0"/>
              </a:spcBef>
              <a:spcAft>
                <a:spcPts val="900"/>
              </a:spcAft>
              <a:buFont typeface="Arial" panose="020B0604020202020204" pitchFamily="34" charset="0"/>
              <a:buChar char="•"/>
              <a:defRPr sz="1200" b="0">
                <a:latin typeface="+mn-lt"/>
              </a:defRPr>
            </a:lvl7pPr>
            <a:lvl8pPr marL="135000" indent="-135000">
              <a:spcBef>
                <a:spcPts val="0"/>
              </a:spcBef>
              <a:spcAft>
                <a:spcPts val="900"/>
              </a:spcAft>
              <a:buFont typeface="Arial" panose="020B0604020202020204" pitchFamily="34" charset="0"/>
              <a:buChar char="•"/>
              <a:defRPr sz="1200" b="0">
                <a:latin typeface="+mn-lt"/>
              </a:defRPr>
            </a:lvl8pPr>
            <a:lvl9pPr marL="135000" indent="-135000">
              <a:spcBef>
                <a:spcPts val="0"/>
              </a:spcBef>
              <a:spcAft>
                <a:spcPts val="900"/>
              </a:spcAft>
              <a:buFont typeface="Arial" panose="020B0604020202020204" pitchFamily="34" charset="0"/>
              <a:buChar char="•"/>
              <a:defRPr sz="1200" b="0">
                <a:latin typeface="+mn-lt"/>
              </a:defRPr>
            </a:lvl9pPr>
          </a:lstStyle>
          <a:p>
            <a:pPr lvl="0"/>
            <a:r>
              <a:rPr lang="da-DK" noProof="0" dirty="0"/>
              <a:t>Klik for at tilføje agendapunkt</a:t>
            </a:r>
          </a:p>
        </p:txBody>
      </p:sp>
      <p:sp>
        <p:nvSpPr>
          <p:cNvPr id="15" name="Mikro grafik 1">
            <a:extLst>
              <a:ext uri="{FF2B5EF4-FFF2-40B4-BE49-F238E27FC236}">
                <a16:creationId xmlns:a16="http://schemas.microsoft.com/office/drawing/2014/main" id="{A58AE1EA-C36B-B73A-DB53-589C914428DD}"/>
              </a:ext>
            </a:extLst>
          </p:cNvPr>
          <p:cNvSpPr>
            <a:spLocks noGrp="1"/>
          </p:cNvSpPr>
          <p:nvPr>
            <p:ph type="body" sz="quarter" idx="18" hasCustomPrompt="1"/>
          </p:nvPr>
        </p:nvSpPr>
        <p:spPr>
          <a:xfrm>
            <a:off x="4816131" y="575232"/>
            <a:ext cx="4124069" cy="3344379"/>
          </a:xfrm>
          <a:custGeom>
            <a:avLst/>
            <a:gdLst>
              <a:gd name="connsiteX0" fmla="*/ 3875521 w 5498758"/>
              <a:gd name="connsiteY0" fmla="*/ 4290095 h 4459172"/>
              <a:gd name="connsiteX1" fmla="*/ 4001824 w 5498758"/>
              <a:gd name="connsiteY1" fmla="*/ 4290095 h 4459172"/>
              <a:gd name="connsiteX2" fmla="*/ 4001824 w 5498758"/>
              <a:gd name="connsiteY2" fmla="*/ 4396023 h 4459172"/>
              <a:gd name="connsiteX3" fmla="*/ 3875521 w 5498758"/>
              <a:gd name="connsiteY3" fmla="*/ 4396023 h 4459172"/>
              <a:gd name="connsiteX4" fmla="*/ 2034141 w 5498758"/>
              <a:gd name="connsiteY4" fmla="*/ 4198427 h 4459172"/>
              <a:gd name="connsiteX5" fmla="*/ 2586194 w 5498758"/>
              <a:gd name="connsiteY5" fmla="*/ 4198427 h 4459172"/>
              <a:gd name="connsiteX6" fmla="*/ 2586194 w 5498758"/>
              <a:gd name="connsiteY6" fmla="*/ 4263614 h 4459172"/>
              <a:gd name="connsiteX7" fmla="*/ 2034141 w 5498758"/>
              <a:gd name="connsiteY7" fmla="*/ 4263614 h 4459172"/>
              <a:gd name="connsiteX8" fmla="*/ 2034141 w 5498758"/>
              <a:gd name="connsiteY8" fmla="*/ 3985552 h 4459172"/>
              <a:gd name="connsiteX9" fmla="*/ 2586194 w 5498758"/>
              <a:gd name="connsiteY9" fmla="*/ 3985552 h 4459172"/>
              <a:gd name="connsiteX10" fmla="*/ 2586194 w 5498758"/>
              <a:gd name="connsiteY10" fmla="*/ 4050739 h 4459172"/>
              <a:gd name="connsiteX11" fmla="*/ 2034141 w 5498758"/>
              <a:gd name="connsiteY11" fmla="*/ 4050739 h 4459172"/>
              <a:gd name="connsiteX12" fmla="*/ 3269090 w 5498758"/>
              <a:gd name="connsiteY12" fmla="*/ 3670481 h 4459172"/>
              <a:gd name="connsiteX13" fmla="*/ 3497245 w 5498758"/>
              <a:gd name="connsiteY13" fmla="*/ 3670481 h 4459172"/>
              <a:gd name="connsiteX14" fmla="*/ 3497245 w 5498758"/>
              <a:gd name="connsiteY14" fmla="*/ 3728711 h 4459172"/>
              <a:gd name="connsiteX15" fmla="*/ 3497245 w 5498758"/>
              <a:gd name="connsiteY15" fmla="*/ 4399124 h 4459172"/>
              <a:gd name="connsiteX16" fmla="*/ 3497245 w 5498758"/>
              <a:gd name="connsiteY16" fmla="*/ 4457355 h 4459172"/>
              <a:gd name="connsiteX17" fmla="*/ 3269090 w 5498758"/>
              <a:gd name="connsiteY17" fmla="*/ 4457355 h 4459172"/>
              <a:gd name="connsiteX18" fmla="*/ 3269090 w 5498758"/>
              <a:gd name="connsiteY18" fmla="*/ 4399124 h 4459172"/>
              <a:gd name="connsiteX19" fmla="*/ 3426962 w 5498758"/>
              <a:gd name="connsiteY19" fmla="*/ 4399124 h 4459172"/>
              <a:gd name="connsiteX20" fmla="*/ 3426962 w 5498758"/>
              <a:gd name="connsiteY20" fmla="*/ 3728711 h 4459172"/>
              <a:gd name="connsiteX21" fmla="*/ 3269090 w 5498758"/>
              <a:gd name="connsiteY21" fmla="*/ 3728711 h 4459172"/>
              <a:gd name="connsiteX22" fmla="*/ 2980062 w 5498758"/>
              <a:gd name="connsiteY22" fmla="*/ 3670481 h 4459172"/>
              <a:gd name="connsiteX23" fmla="*/ 3208209 w 5498758"/>
              <a:gd name="connsiteY23" fmla="*/ 3670481 h 4459172"/>
              <a:gd name="connsiteX24" fmla="*/ 3208209 w 5498758"/>
              <a:gd name="connsiteY24" fmla="*/ 3728711 h 4459172"/>
              <a:gd name="connsiteX25" fmla="*/ 3050336 w 5498758"/>
              <a:gd name="connsiteY25" fmla="*/ 3728711 h 4459172"/>
              <a:gd name="connsiteX26" fmla="*/ 3050336 w 5498758"/>
              <a:gd name="connsiteY26" fmla="*/ 4399124 h 4459172"/>
              <a:gd name="connsiteX27" fmla="*/ 3208209 w 5498758"/>
              <a:gd name="connsiteY27" fmla="*/ 4399124 h 4459172"/>
              <a:gd name="connsiteX28" fmla="*/ 3208209 w 5498758"/>
              <a:gd name="connsiteY28" fmla="*/ 4457355 h 4459172"/>
              <a:gd name="connsiteX29" fmla="*/ 2980062 w 5498758"/>
              <a:gd name="connsiteY29" fmla="*/ 4457355 h 4459172"/>
              <a:gd name="connsiteX30" fmla="*/ 2980062 w 5498758"/>
              <a:gd name="connsiteY30" fmla="*/ 4399124 h 4459172"/>
              <a:gd name="connsiteX31" fmla="*/ 2980062 w 5498758"/>
              <a:gd name="connsiteY31" fmla="*/ 3728711 h 4459172"/>
              <a:gd name="connsiteX32" fmla="*/ 5216619 w 5498758"/>
              <a:gd name="connsiteY32" fmla="*/ 3666747 h 4459172"/>
              <a:gd name="connsiteX33" fmla="*/ 5247512 w 5498758"/>
              <a:gd name="connsiteY33" fmla="*/ 3667786 h 4459172"/>
              <a:gd name="connsiteX34" fmla="*/ 5276218 w 5498758"/>
              <a:gd name="connsiteY34" fmla="*/ 3670875 h 4459172"/>
              <a:gd name="connsiteX35" fmla="*/ 5302804 w 5498758"/>
              <a:gd name="connsiteY35" fmla="*/ 3675971 h 4459172"/>
              <a:gd name="connsiteX36" fmla="*/ 5327340 w 5498758"/>
              <a:gd name="connsiteY36" fmla="*/ 3683030 h 4459172"/>
              <a:gd name="connsiteX37" fmla="*/ 5349898 w 5498758"/>
              <a:gd name="connsiteY37" fmla="*/ 3692010 h 4459172"/>
              <a:gd name="connsiteX38" fmla="*/ 5370546 w 5498758"/>
              <a:gd name="connsiteY38" fmla="*/ 3702868 h 4459172"/>
              <a:gd name="connsiteX39" fmla="*/ 5406397 w 5498758"/>
              <a:gd name="connsiteY39" fmla="*/ 3730047 h 4459172"/>
              <a:gd name="connsiteX40" fmla="*/ 5435450 w 5498758"/>
              <a:gd name="connsiteY40" fmla="*/ 3764224 h 4459172"/>
              <a:gd name="connsiteX41" fmla="*/ 5447604 w 5498758"/>
              <a:gd name="connsiteY41" fmla="*/ 3783829 h 4459172"/>
              <a:gd name="connsiteX42" fmla="*/ 5458267 w 5498758"/>
              <a:gd name="connsiteY42" fmla="*/ 3805055 h 4459172"/>
              <a:gd name="connsiteX43" fmla="*/ 5467511 w 5498758"/>
              <a:gd name="connsiteY43" fmla="*/ 3827858 h 4459172"/>
              <a:gd name="connsiteX44" fmla="*/ 5475406 w 5498758"/>
              <a:gd name="connsiteY44" fmla="*/ 3852197 h 4459172"/>
              <a:gd name="connsiteX45" fmla="*/ 5482020 w 5498758"/>
              <a:gd name="connsiteY45" fmla="*/ 3878028 h 4459172"/>
              <a:gd name="connsiteX46" fmla="*/ 5487426 w 5498758"/>
              <a:gd name="connsiteY46" fmla="*/ 3905307 h 4459172"/>
              <a:gd name="connsiteX47" fmla="*/ 5491692 w 5498758"/>
              <a:gd name="connsiteY47" fmla="*/ 3933993 h 4459172"/>
              <a:gd name="connsiteX48" fmla="*/ 5494888 w 5498758"/>
              <a:gd name="connsiteY48" fmla="*/ 3964042 h 4459172"/>
              <a:gd name="connsiteX49" fmla="*/ 5497084 w 5498758"/>
              <a:gd name="connsiteY49" fmla="*/ 3995412 h 4459172"/>
              <a:gd name="connsiteX50" fmla="*/ 5498352 w 5498758"/>
              <a:gd name="connsiteY50" fmla="*/ 4028059 h 4459172"/>
              <a:gd name="connsiteX51" fmla="*/ 5498758 w 5498758"/>
              <a:gd name="connsiteY51" fmla="*/ 4061941 h 4459172"/>
              <a:gd name="connsiteX52" fmla="*/ 5498370 w 5498758"/>
              <a:gd name="connsiteY52" fmla="*/ 4095968 h 4459172"/>
              <a:gd name="connsiteX53" fmla="*/ 5497160 w 5498758"/>
              <a:gd name="connsiteY53" fmla="*/ 4128760 h 4459172"/>
              <a:gd name="connsiteX54" fmla="*/ 5495049 w 5498758"/>
              <a:gd name="connsiteY54" fmla="*/ 4160274 h 4459172"/>
              <a:gd name="connsiteX55" fmla="*/ 5491962 w 5498758"/>
              <a:gd name="connsiteY55" fmla="*/ 4190464 h 4459172"/>
              <a:gd name="connsiteX56" fmla="*/ 5487822 w 5498758"/>
              <a:gd name="connsiteY56" fmla="*/ 4219289 h 4459172"/>
              <a:gd name="connsiteX57" fmla="*/ 5482556 w 5498758"/>
              <a:gd name="connsiteY57" fmla="*/ 4246704 h 4459172"/>
              <a:gd name="connsiteX58" fmla="*/ 5476085 w 5498758"/>
              <a:gd name="connsiteY58" fmla="*/ 4272666 h 4459172"/>
              <a:gd name="connsiteX59" fmla="*/ 5468335 w 5498758"/>
              <a:gd name="connsiteY59" fmla="*/ 4297132 h 4459172"/>
              <a:gd name="connsiteX60" fmla="*/ 5459230 w 5498758"/>
              <a:gd name="connsiteY60" fmla="*/ 4320057 h 4459172"/>
              <a:gd name="connsiteX61" fmla="*/ 5448693 w 5498758"/>
              <a:gd name="connsiteY61" fmla="*/ 4341398 h 4459172"/>
              <a:gd name="connsiteX62" fmla="*/ 5436648 w 5498758"/>
              <a:gd name="connsiteY62" fmla="*/ 4361113 h 4459172"/>
              <a:gd name="connsiteX63" fmla="*/ 5407736 w 5498758"/>
              <a:gd name="connsiteY63" fmla="*/ 4395485 h 4459172"/>
              <a:gd name="connsiteX64" fmla="*/ 5371884 w 5498758"/>
              <a:gd name="connsiteY64" fmla="*/ 4422825 h 4459172"/>
              <a:gd name="connsiteX65" fmla="*/ 5351165 w 5498758"/>
              <a:gd name="connsiteY65" fmla="*/ 4433750 h 4459172"/>
              <a:gd name="connsiteX66" fmla="*/ 5328485 w 5498758"/>
              <a:gd name="connsiteY66" fmla="*/ 4442786 h 4459172"/>
              <a:gd name="connsiteX67" fmla="*/ 5303766 w 5498758"/>
              <a:gd name="connsiteY67" fmla="*/ 4449890 h 4459172"/>
              <a:gd name="connsiteX68" fmla="*/ 5276932 w 5498758"/>
              <a:gd name="connsiteY68" fmla="*/ 4455018 h 4459172"/>
              <a:gd name="connsiteX69" fmla="*/ 5247908 w 5498758"/>
              <a:gd name="connsiteY69" fmla="*/ 4458127 h 4459172"/>
              <a:gd name="connsiteX70" fmla="*/ 5216619 w 5498758"/>
              <a:gd name="connsiteY70" fmla="*/ 4459172 h 4459172"/>
              <a:gd name="connsiteX71" fmla="*/ 5216619 w 5498758"/>
              <a:gd name="connsiteY71" fmla="*/ 4400097 h 4459172"/>
              <a:gd name="connsiteX72" fmla="*/ 5246934 w 5498758"/>
              <a:gd name="connsiteY72" fmla="*/ 4398734 h 4459172"/>
              <a:gd name="connsiteX73" fmla="*/ 5274342 w 5498758"/>
              <a:gd name="connsiteY73" fmla="*/ 4394695 h 4459172"/>
              <a:gd name="connsiteX74" fmla="*/ 5298981 w 5498758"/>
              <a:gd name="connsiteY74" fmla="*/ 4388051 h 4459172"/>
              <a:gd name="connsiteX75" fmla="*/ 5320990 w 5498758"/>
              <a:gd name="connsiteY75" fmla="*/ 4378874 h 4459172"/>
              <a:gd name="connsiteX76" fmla="*/ 5357666 w 5498758"/>
              <a:gd name="connsiteY76" fmla="*/ 4353212 h 4459172"/>
              <a:gd name="connsiteX77" fmla="*/ 5385476 w 5498758"/>
              <a:gd name="connsiteY77" fmla="*/ 4318285 h 4459172"/>
              <a:gd name="connsiteX78" fmla="*/ 5396402 w 5498758"/>
              <a:gd name="connsiteY78" fmla="*/ 4297528 h 4459172"/>
              <a:gd name="connsiteX79" fmla="*/ 5405524 w 5498758"/>
              <a:gd name="connsiteY79" fmla="*/ 4274671 h 4459172"/>
              <a:gd name="connsiteX80" fmla="*/ 5412982 w 5498758"/>
              <a:gd name="connsiteY80" fmla="*/ 4249786 h 4459172"/>
              <a:gd name="connsiteX81" fmla="*/ 5418916 w 5498758"/>
              <a:gd name="connsiteY81" fmla="*/ 4222947 h 4459172"/>
              <a:gd name="connsiteX82" fmla="*/ 5423460 w 5498758"/>
              <a:gd name="connsiteY82" fmla="*/ 4194223 h 4459172"/>
              <a:gd name="connsiteX83" fmla="*/ 5426754 w 5498758"/>
              <a:gd name="connsiteY83" fmla="*/ 4163689 h 4459172"/>
              <a:gd name="connsiteX84" fmla="*/ 5428935 w 5498758"/>
              <a:gd name="connsiteY84" fmla="*/ 4131416 h 4459172"/>
              <a:gd name="connsiteX85" fmla="*/ 5430142 w 5498758"/>
              <a:gd name="connsiteY85" fmla="*/ 4097476 h 4459172"/>
              <a:gd name="connsiteX86" fmla="*/ 5430514 w 5498758"/>
              <a:gd name="connsiteY86" fmla="*/ 4061941 h 4459172"/>
              <a:gd name="connsiteX87" fmla="*/ 5430122 w 5498758"/>
              <a:gd name="connsiteY87" fmla="*/ 4026755 h 4459172"/>
              <a:gd name="connsiteX88" fmla="*/ 5428860 w 5498758"/>
              <a:gd name="connsiteY88" fmla="*/ 3993143 h 4459172"/>
              <a:gd name="connsiteX89" fmla="*/ 5426596 w 5498758"/>
              <a:gd name="connsiteY89" fmla="*/ 3961177 h 4459172"/>
              <a:gd name="connsiteX90" fmla="*/ 5423200 w 5498758"/>
              <a:gd name="connsiteY90" fmla="*/ 3930927 h 4459172"/>
              <a:gd name="connsiteX91" fmla="*/ 5418542 w 5498758"/>
              <a:gd name="connsiteY91" fmla="*/ 3902469 h 4459172"/>
              <a:gd name="connsiteX92" fmla="*/ 5412490 w 5498758"/>
              <a:gd name="connsiteY92" fmla="*/ 3875872 h 4459172"/>
              <a:gd name="connsiteX93" fmla="*/ 5404915 w 5498758"/>
              <a:gd name="connsiteY93" fmla="*/ 3851210 h 4459172"/>
              <a:gd name="connsiteX94" fmla="*/ 5395686 w 5498758"/>
              <a:gd name="connsiteY94" fmla="*/ 3828553 h 4459172"/>
              <a:gd name="connsiteX95" fmla="*/ 5384671 w 5498758"/>
              <a:gd name="connsiteY95" fmla="*/ 3807976 h 4459172"/>
              <a:gd name="connsiteX96" fmla="*/ 5356765 w 5498758"/>
              <a:gd name="connsiteY96" fmla="*/ 3773345 h 4459172"/>
              <a:gd name="connsiteX97" fmla="*/ 5320150 w 5498758"/>
              <a:gd name="connsiteY97" fmla="*/ 3747894 h 4459172"/>
              <a:gd name="connsiteX98" fmla="*/ 5298251 w 5498758"/>
              <a:gd name="connsiteY98" fmla="*/ 3738792 h 4459172"/>
              <a:gd name="connsiteX99" fmla="*/ 5273782 w 5498758"/>
              <a:gd name="connsiteY99" fmla="*/ 3732201 h 4459172"/>
              <a:gd name="connsiteX100" fmla="*/ 5246616 w 5498758"/>
              <a:gd name="connsiteY100" fmla="*/ 3728193 h 4459172"/>
              <a:gd name="connsiteX101" fmla="*/ 5216619 w 5498758"/>
              <a:gd name="connsiteY101" fmla="*/ 3726841 h 4459172"/>
              <a:gd name="connsiteX102" fmla="*/ 5160582 w 5498758"/>
              <a:gd name="connsiteY102" fmla="*/ 3666747 h 4459172"/>
              <a:gd name="connsiteX103" fmla="*/ 5160582 w 5498758"/>
              <a:gd name="connsiteY103" fmla="*/ 3726841 h 4459172"/>
              <a:gd name="connsiteX104" fmla="*/ 5130753 w 5498758"/>
              <a:gd name="connsiteY104" fmla="*/ 3728193 h 4459172"/>
              <a:gd name="connsiteX105" fmla="*/ 5103735 w 5498758"/>
              <a:gd name="connsiteY105" fmla="*/ 3732201 h 4459172"/>
              <a:gd name="connsiteX106" fmla="*/ 5079398 w 5498758"/>
              <a:gd name="connsiteY106" fmla="*/ 3738792 h 4459172"/>
              <a:gd name="connsiteX107" fmla="*/ 5057612 w 5498758"/>
              <a:gd name="connsiteY107" fmla="*/ 3747894 h 4459172"/>
              <a:gd name="connsiteX108" fmla="*/ 5021178 w 5498758"/>
              <a:gd name="connsiteY108" fmla="*/ 3773345 h 4459172"/>
              <a:gd name="connsiteX109" fmla="*/ 4993394 w 5498758"/>
              <a:gd name="connsiteY109" fmla="*/ 3807976 h 4459172"/>
              <a:gd name="connsiteX110" fmla="*/ 4982426 w 5498758"/>
              <a:gd name="connsiteY110" fmla="*/ 3828553 h 4459172"/>
              <a:gd name="connsiteX111" fmla="*/ 4973230 w 5498758"/>
              <a:gd name="connsiteY111" fmla="*/ 3851210 h 4459172"/>
              <a:gd name="connsiteX112" fmla="*/ 4965682 w 5498758"/>
              <a:gd name="connsiteY112" fmla="*/ 3875872 h 4459172"/>
              <a:gd name="connsiteX113" fmla="*/ 4959648 w 5498758"/>
              <a:gd name="connsiteY113" fmla="*/ 3902469 h 4459172"/>
              <a:gd name="connsiteX114" fmla="*/ 4955003 w 5498758"/>
              <a:gd name="connsiteY114" fmla="*/ 3930927 h 4459172"/>
              <a:gd name="connsiteX115" fmla="*/ 4951615 w 5498758"/>
              <a:gd name="connsiteY115" fmla="*/ 3961177 h 4459172"/>
              <a:gd name="connsiteX116" fmla="*/ 4949355 w 5498758"/>
              <a:gd name="connsiteY116" fmla="*/ 3993143 h 4459172"/>
              <a:gd name="connsiteX117" fmla="*/ 4948094 w 5498758"/>
              <a:gd name="connsiteY117" fmla="*/ 4026755 h 4459172"/>
              <a:gd name="connsiteX118" fmla="*/ 4947702 w 5498758"/>
              <a:gd name="connsiteY118" fmla="*/ 4061941 h 4459172"/>
              <a:gd name="connsiteX119" fmla="*/ 4948084 w 5498758"/>
              <a:gd name="connsiteY119" fmla="*/ 4097476 h 4459172"/>
              <a:gd name="connsiteX120" fmla="*/ 4949318 w 5498758"/>
              <a:gd name="connsiteY120" fmla="*/ 4131416 h 4459172"/>
              <a:gd name="connsiteX121" fmla="*/ 4951536 w 5498758"/>
              <a:gd name="connsiteY121" fmla="*/ 4163689 h 4459172"/>
              <a:gd name="connsiteX122" fmla="*/ 4954874 w 5498758"/>
              <a:gd name="connsiteY122" fmla="*/ 4194223 h 4459172"/>
              <a:gd name="connsiteX123" fmla="*/ 4959462 w 5498758"/>
              <a:gd name="connsiteY123" fmla="*/ 4222947 h 4459172"/>
              <a:gd name="connsiteX124" fmla="*/ 4965436 w 5498758"/>
              <a:gd name="connsiteY124" fmla="*/ 4249786 h 4459172"/>
              <a:gd name="connsiteX125" fmla="*/ 4972926 w 5498758"/>
              <a:gd name="connsiteY125" fmla="*/ 4274671 h 4459172"/>
              <a:gd name="connsiteX126" fmla="*/ 4982067 w 5498758"/>
              <a:gd name="connsiteY126" fmla="*/ 4297528 h 4459172"/>
              <a:gd name="connsiteX127" fmla="*/ 4992992 w 5498758"/>
              <a:gd name="connsiteY127" fmla="*/ 4318285 h 4459172"/>
              <a:gd name="connsiteX128" fmla="*/ 5020726 w 5498758"/>
              <a:gd name="connsiteY128" fmla="*/ 4353212 h 4459172"/>
              <a:gd name="connsiteX129" fmla="*/ 5057192 w 5498758"/>
              <a:gd name="connsiteY129" fmla="*/ 4378874 h 4459172"/>
              <a:gd name="connsiteX130" fmla="*/ 5079032 w 5498758"/>
              <a:gd name="connsiteY130" fmla="*/ 4388051 h 4459172"/>
              <a:gd name="connsiteX131" fmla="*/ 5103455 w 5498758"/>
              <a:gd name="connsiteY131" fmla="*/ 4394695 h 4459172"/>
              <a:gd name="connsiteX132" fmla="*/ 5130594 w 5498758"/>
              <a:gd name="connsiteY132" fmla="*/ 4398734 h 4459172"/>
              <a:gd name="connsiteX133" fmla="*/ 5160582 w 5498758"/>
              <a:gd name="connsiteY133" fmla="*/ 4400097 h 4459172"/>
              <a:gd name="connsiteX134" fmla="*/ 5160582 w 5498758"/>
              <a:gd name="connsiteY134" fmla="*/ 4459172 h 4459172"/>
              <a:gd name="connsiteX135" fmla="*/ 5129424 w 5498758"/>
              <a:gd name="connsiteY135" fmla="*/ 4458127 h 4459172"/>
              <a:gd name="connsiteX136" fmla="*/ 5100505 w 5498758"/>
              <a:gd name="connsiteY136" fmla="*/ 4455018 h 4459172"/>
              <a:gd name="connsiteX137" fmla="*/ 5073755 w 5498758"/>
              <a:gd name="connsiteY137" fmla="*/ 4449890 h 4459172"/>
              <a:gd name="connsiteX138" fmla="*/ 5049096 w 5498758"/>
              <a:gd name="connsiteY138" fmla="*/ 4442786 h 4459172"/>
              <a:gd name="connsiteX139" fmla="*/ 5026456 w 5498758"/>
              <a:gd name="connsiteY139" fmla="*/ 4433750 h 4459172"/>
              <a:gd name="connsiteX140" fmla="*/ 5005761 w 5498758"/>
              <a:gd name="connsiteY140" fmla="*/ 4422825 h 4459172"/>
              <a:gd name="connsiteX141" fmla="*/ 4969910 w 5498758"/>
              <a:gd name="connsiteY141" fmla="*/ 4395485 h 4459172"/>
              <a:gd name="connsiteX142" fmla="*/ 4940950 w 5498758"/>
              <a:gd name="connsiteY142" fmla="*/ 4361113 h 4459172"/>
              <a:gd name="connsiteX143" fmla="*/ 4928870 w 5498758"/>
              <a:gd name="connsiteY143" fmla="*/ 4341398 h 4459172"/>
              <a:gd name="connsiteX144" fmla="*/ 4918290 w 5498758"/>
              <a:gd name="connsiteY144" fmla="*/ 4320057 h 4459172"/>
              <a:gd name="connsiteX145" fmla="*/ 4909140 w 5498758"/>
              <a:gd name="connsiteY145" fmla="*/ 4297132 h 4459172"/>
              <a:gd name="connsiteX146" fmla="*/ 4901341 w 5498758"/>
              <a:gd name="connsiteY146" fmla="*/ 4272666 h 4459172"/>
              <a:gd name="connsiteX147" fmla="*/ 4894822 w 5498758"/>
              <a:gd name="connsiteY147" fmla="*/ 4246704 h 4459172"/>
              <a:gd name="connsiteX148" fmla="*/ 4889509 w 5498758"/>
              <a:gd name="connsiteY148" fmla="*/ 4219289 h 4459172"/>
              <a:gd name="connsiteX149" fmla="*/ 4885328 w 5498758"/>
              <a:gd name="connsiteY149" fmla="*/ 4190464 h 4459172"/>
              <a:gd name="connsiteX150" fmla="*/ 4882204 w 5498758"/>
              <a:gd name="connsiteY150" fmla="*/ 4160274 h 4459172"/>
              <a:gd name="connsiteX151" fmla="*/ 4880065 w 5498758"/>
              <a:gd name="connsiteY151" fmla="*/ 4128760 h 4459172"/>
              <a:gd name="connsiteX152" fmla="*/ 4878836 w 5498758"/>
              <a:gd name="connsiteY152" fmla="*/ 4095968 h 4459172"/>
              <a:gd name="connsiteX153" fmla="*/ 4878442 w 5498758"/>
              <a:gd name="connsiteY153" fmla="*/ 4061941 h 4459172"/>
              <a:gd name="connsiteX154" fmla="*/ 4878849 w 5498758"/>
              <a:gd name="connsiteY154" fmla="*/ 4028059 h 4459172"/>
              <a:gd name="connsiteX155" fmla="*/ 4880116 w 5498758"/>
              <a:gd name="connsiteY155" fmla="*/ 3995412 h 4459172"/>
              <a:gd name="connsiteX156" fmla="*/ 4882312 w 5498758"/>
              <a:gd name="connsiteY156" fmla="*/ 3964042 h 4459172"/>
              <a:gd name="connsiteX157" fmla="*/ 4885508 w 5498758"/>
              <a:gd name="connsiteY157" fmla="*/ 3933993 h 4459172"/>
              <a:gd name="connsiteX158" fmla="*/ 4889774 w 5498758"/>
              <a:gd name="connsiteY158" fmla="*/ 3905307 h 4459172"/>
              <a:gd name="connsiteX159" fmla="*/ 4895179 w 5498758"/>
              <a:gd name="connsiteY159" fmla="*/ 3878028 h 4459172"/>
              <a:gd name="connsiteX160" fmla="*/ 4901794 w 5498758"/>
              <a:gd name="connsiteY160" fmla="*/ 3852197 h 4459172"/>
              <a:gd name="connsiteX161" fmla="*/ 4909688 w 5498758"/>
              <a:gd name="connsiteY161" fmla="*/ 3827858 h 4459172"/>
              <a:gd name="connsiteX162" fmla="*/ 4918933 w 5498758"/>
              <a:gd name="connsiteY162" fmla="*/ 3805055 h 4459172"/>
              <a:gd name="connsiteX163" fmla="*/ 4929596 w 5498758"/>
              <a:gd name="connsiteY163" fmla="*/ 3783829 h 4459172"/>
              <a:gd name="connsiteX164" fmla="*/ 4941748 w 5498758"/>
              <a:gd name="connsiteY164" fmla="*/ 3764224 h 4459172"/>
              <a:gd name="connsiteX165" fmla="*/ 4970802 w 5498758"/>
              <a:gd name="connsiteY165" fmla="*/ 3730047 h 4459172"/>
              <a:gd name="connsiteX166" fmla="*/ 5006652 w 5498758"/>
              <a:gd name="connsiteY166" fmla="*/ 3702868 h 4459172"/>
              <a:gd name="connsiteX167" fmla="*/ 5027302 w 5498758"/>
              <a:gd name="connsiteY167" fmla="*/ 3692010 h 4459172"/>
              <a:gd name="connsiteX168" fmla="*/ 5049860 w 5498758"/>
              <a:gd name="connsiteY168" fmla="*/ 3683030 h 4459172"/>
              <a:gd name="connsiteX169" fmla="*/ 5074396 w 5498758"/>
              <a:gd name="connsiteY169" fmla="*/ 3675971 h 4459172"/>
              <a:gd name="connsiteX170" fmla="*/ 5100983 w 5498758"/>
              <a:gd name="connsiteY170" fmla="*/ 3670875 h 4459172"/>
              <a:gd name="connsiteX171" fmla="*/ 5129688 w 5498758"/>
              <a:gd name="connsiteY171" fmla="*/ 3667786 h 4459172"/>
              <a:gd name="connsiteX172" fmla="*/ 859902 w 5498758"/>
              <a:gd name="connsiteY172" fmla="*/ 3666747 h 4459172"/>
              <a:gd name="connsiteX173" fmla="*/ 890796 w 5498758"/>
              <a:gd name="connsiteY173" fmla="*/ 3667786 h 4459172"/>
              <a:gd name="connsiteX174" fmla="*/ 919501 w 5498758"/>
              <a:gd name="connsiteY174" fmla="*/ 3670875 h 4459172"/>
              <a:gd name="connsiteX175" fmla="*/ 946088 w 5498758"/>
              <a:gd name="connsiteY175" fmla="*/ 3675971 h 4459172"/>
              <a:gd name="connsiteX176" fmla="*/ 970625 w 5498758"/>
              <a:gd name="connsiteY176" fmla="*/ 3683030 h 4459172"/>
              <a:gd name="connsiteX177" fmla="*/ 993183 w 5498758"/>
              <a:gd name="connsiteY177" fmla="*/ 3692010 h 4459172"/>
              <a:gd name="connsiteX178" fmla="*/ 1013832 w 5498758"/>
              <a:gd name="connsiteY178" fmla="*/ 3702868 h 4459172"/>
              <a:gd name="connsiteX179" fmla="*/ 1049682 w 5498758"/>
              <a:gd name="connsiteY179" fmla="*/ 3730047 h 4459172"/>
              <a:gd name="connsiteX180" fmla="*/ 1078736 w 5498758"/>
              <a:gd name="connsiteY180" fmla="*/ 3764224 h 4459172"/>
              <a:gd name="connsiteX181" fmla="*/ 1090888 w 5498758"/>
              <a:gd name="connsiteY181" fmla="*/ 3783829 h 4459172"/>
              <a:gd name="connsiteX182" fmla="*/ 1101552 w 5498758"/>
              <a:gd name="connsiteY182" fmla="*/ 3805055 h 4459172"/>
              <a:gd name="connsiteX183" fmla="*/ 1110795 w 5498758"/>
              <a:gd name="connsiteY183" fmla="*/ 3827858 h 4459172"/>
              <a:gd name="connsiteX184" fmla="*/ 1118690 w 5498758"/>
              <a:gd name="connsiteY184" fmla="*/ 3852197 h 4459172"/>
              <a:gd name="connsiteX185" fmla="*/ 1125304 w 5498758"/>
              <a:gd name="connsiteY185" fmla="*/ 3878028 h 4459172"/>
              <a:gd name="connsiteX186" fmla="*/ 1130710 w 5498758"/>
              <a:gd name="connsiteY186" fmla="*/ 3905307 h 4459172"/>
              <a:gd name="connsiteX187" fmla="*/ 1134975 w 5498758"/>
              <a:gd name="connsiteY187" fmla="*/ 3933993 h 4459172"/>
              <a:gd name="connsiteX188" fmla="*/ 1138171 w 5498758"/>
              <a:gd name="connsiteY188" fmla="*/ 3964042 h 4459172"/>
              <a:gd name="connsiteX189" fmla="*/ 1140367 w 5498758"/>
              <a:gd name="connsiteY189" fmla="*/ 3995412 h 4459172"/>
              <a:gd name="connsiteX190" fmla="*/ 1141633 w 5498758"/>
              <a:gd name="connsiteY190" fmla="*/ 4028059 h 4459172"/>
              <a:gd name="connsiteX191" fmla="*/ 1142040 w 5498758"/>
              <a:gd name="connsiteY191" fmla="*/ 4061941 h 4459172"/>
              <a:gd name="connsiteX192" fmla="*/ 1141653 w 5498758"/>
              <a:gd name="connsiteY192" fmla="*/ 4095968 h 4459172"/>
              <a:gd name="connsiteX193" fmla="*/ 1140442 w 5498758"/>
              <a:gd name="connsiteY193" fmla="*/ 4128760 h 4459172"/>
              <a:gd name="connsiteX194" fmla="*/ 1138331 w 5498758"/>
              <a:gd name="connsiteY194" fmla="*/ 4160274 h 4459172"/>
              <a:gd name="connsiteX195" fmla="*/ 1135244 w 5498758"/>
              <a:gd name="connsiteY195" fmla="*/ 4190464 h 4459172"/>
              <a:gd name="connsiteX196" fmla="*/ 1131105 w 5498758"/>
              <a:gd name="connsiteY196" fmla="*/ 4219289 h 4459172"/>
              <a:gd name="connsiteX197" fmla="*/ 1125838 w 5498758"/>
              <a:gd name="connsiteY197" fmla="*/ 4246704 h 4459172"/>
              <a:gd name="connsiteX198" fmla="*/ 1119368 w 5498758"/>
              <a:gd name="connsiteY198" fmla="*/ 4272666 h 4459172"/>
              <a:gd name="connsiteX199" fmla="*/ 1111618 w 5498758"/>
              <a:gd name="connsiteY199" fmla="*/ 4297132 h 4459172"/>
              <a:gd name="connsiteX200" fmla="*/ 1102512 w 5498758"/>
              <a:gd name="connsiteY200" fmla="*/ 4320057 h 4459172"/>
              <a:gd name="connsiteX201" fmla="*/ 1091976 w 5498758"/>
              <a:gd name="connsiteY201" fmla="*/ 4341398 h 4459172"/>
              <a:gd name="connsiteX202" fmla="*/ 1079931 w 5498758"/>
              <a:gd name="connsiteY202" fmla="*/ 4361113 h 4459172"/>
              <a:gd name="connsiteX203" fmla="*/ 1051018 w 5498758"/>
              <a:gd name="connsiteY203" fmla="*/ 4395485 h 4459172"/>
              <a:gd name="connsiteX204" fmla="*/ 1015166 w 5498758"/>
              <a:gd name="connsiteY204" fmla="*/ 4422825 h 4459172"/>
              <a:gd name="connsiteX205" fmla="*/ 994448 w 5498758"/>
              <a:gd name="connsiteY205" fmla="*/ 4433750 h 4459172"/>
              <a:gd name="connsiteX206" fmla="*/ 971768 w 5498758"/>
              <a:gd name="connsiteY206" fmla="*/ 4442786 h 4459172"/>
              <a:gd name="connsiteX207" fmla="*/ 947048 w 5498758"/>
              <a:gd name="connsiteY207" fmla="*/ 4449890 h 4459172"/>
              <a:gd name="connsiteX208" fmla="*/ 920215 w 5498758"/>
              <a:gd name="connsiteY208" fmla="*/ 4455018 h 4459172"/>
              <a:gd name="connsiteX209" fmla="*/ 891191 w 5498758"/>
              <a:gd name="connsiteY209" fmla="*/ 4458127 h 4459172"/>
              <a:gd name="connsiteX210" fmla="*/ 859902 w 5498758"/>
              <a:gd name="connsiteY210" fmla="*/ 4459172 h 4459172"/>
              <a:gd name="connsiteX211" fmla="*/ 859902 w 5498758"/>
              <a:gd name="connsiteY211" fmla="*/ 4400097 h 4459172"/>
              <a:gd name="connsiteX212" fmla="*/ 890216 w 5498758"/>
              <a:gd name="connsiteY212" fmla="*/ 4398734 h 4459172"/>
              <a:gd name="connsiteX213" fmla="*/ 917625 w 5498758"/>
              <a:gd name="connsiteY213" fmla="*/ 4394695 h 4459172"/>
              <a:gd name="connsiteX214" fmla="*/ 942264 w 5498758"/>
              <a:gd name="connsiteY214" fmla="*/ 4388051 h 4459172"/>
              <a:gd name="connsiteX215" fmla="*/ 964272 w 5498758"/>
              <a:gd name="connsiteY215" fmla="*/ 4378874 h 4459172"/>
              <a:gd name="connsiteX216" fmla="*/ 1000948 w 5498758"/>
              <a:gd name="connsiteY216" fmla="*/ 4353212 h 4459172"/>
              <a:gd name="connsiteX217" fmla="*/ 1028759 w 5498758"/>
              <a:gd name="connsiteY217" fmla="*/ 4318285 h 4459172"/>
              <a:gd name="connsiteX218" fmla="*/ 1039684 w 5498758"/>
              <a:gd name="connsiteY218" fmla="*/ 4297528 h 4459172"/>
              <a:gd name="connsiteX219" fmla="*/ 1048807 w 5498758"/>
              <a:gd name="connsiteY219" fmla="*/ 4274671 h 4459172"/>
              <a:gd name="connsiteX220" fmla="*/ 1056265 w 5498758"/>
              <a:gd name="connsiteY220" fmla="*/ 4249786 h 4459172"/>
              <a:gd name="connsiteX221" fmla="*/ 1062197 w 5498758"/>
              <a:gd name="connsiteY221" fmla="*/ 4222947 h 4459172"/>
              <a:gd name="connsiteX222" fmla="*/ 1066741 w 5498758"/>
              <a:gd name="connsiteY222" fmla="*/ 4194223 h 4459172"/>
              <a:gd name="connsiteX223" fmla="*/ 1070035 w 5498758"/>
              <a:gd name="connsiteY223" fmla="*/ 4163689 h 4459172"/>
              <a:gd name="connsiteX224" fmla="*/ 1072217 w 5498758"/>
              <a:gd name="connsiteY224" fmla="*/ 4131416 h 4459172"/>
              <a:gd name="connsiteX225" fmla="*/ 1073425 w 5498758"/>
              <a:gd name="connsiteY225" fmla="*/ 4097476 h 4459172"/>
              <a:gd name="connsiteX226" fmla="*/ 1073797 w 5498758"/>
              <a:gd name="connsiteY226" fmla="*/ 4061941 h 4459172"/>
              <a:gd name="connsiteX227" fmla="*/ 1073405 w 5498758"/>
              <a:gd name="connsiteY227" fmla="*/ 4026755 h 4459172"/>
              <a:gd name="connsiteX228" fmla="*/ 1072143 w 5498758"/>
              <a:gd name="connsiteY228" fmla="*/ 3993143 h 4459172"/>
              <a:gd name="connsiteX229" fmla="*/ 1069879 w 5498758"/>
              <a:gd name="connsiteY229" fmla="*/ 3961177 h 4459172"/>
              <a:gd name="connsiteX230" fmla="*/ 1066483 w 5498758"/>
              <a:gd name="connsiteY230" fmla="*/ 3930927 h 4459172"/>
              <a:gd name="connsiteX231" fmla="*/ 1061825 w 5498758"/>
              <a:gd name="connsiteY231" fmla="*/ 3902469 h 4459172"/>
              <a:gd name="connsiteX232" fmla="*/ 1055773 w 5498758"/>
              <a:gd name="connsiteY232" fmla="*/ 3875872 h 4459172"/>
              <a:gd name="connsiteX233" fmla="*/ 1048198 w 5498758"/>
              <a:gd name="connsiteY233" fmla="*/ 3851210 h 4459172"/>
              <a:gd name="connsiteX234" fmla="*/ 1038968 w 5498758"/>
              <a:gd name="connsiteY234" fmla="*/ 3828553 h 4459172"/>
              <a:gd name="connsiteX235" fmla="*/ 1027954 w 5498758"/>
              <a:gd name="connsiteY235" fmla="*/ 3807976 h 4459172"/>
              <a:gd name="connsiteX236" fmla="*/ 1000047 w 5498758"/>
              <a:gd name="connsiteY236" fmla="*/ 3773345 h 4459172"/>
              <a:gd name="connsiteX237" fmla="*/ 963432 w 5498758"/>
              <a:gd name="connsiteY237" fmla="*/ 3747894 h 4459172"/>
              <a:gd name="connsiteX238" fmla="*/ 941533 w 5498758"/>
              <a:gd name="connsiteY238" fmla="*/ 3738792 h 4459172"/>
              <a:gd name="connsiteX239" fmla="*/ 917065 w 5498758"/>
              <a:gd name="connsiteY239" fmla="*/ 3732201 h 4459172"/>
              <a:gd name="connsiteX240" fmla="*/ 889898 w 5498758"/>
              <a:gd name="connsiteY240" fmla="*/ 3728193 h 4459172"/>
              <a:gd name="connsiteX241" fmla="*/ 859902 w 5498758"/>
              <a:gd name="connsiteY241" fmla="*/ 3726841 h 4459172"/>
              <a:gd name="connsiteX242" fmla="*/ 803845 w 5498758"/>
              <a:gd name="connsiteY242" fmla="*/ 3666747 h 4459172"/>
              <a:gd name="connsiteX243" fmla="*/ 803845 w 5498758"/>
              <a:gd name="connsiteY243" fmla="*/ 3726841 h 4459172"/>
              <a:gd name="connsiteX244" fmla="*/ 774018 w 5498758"/>
              <a:gd name="connsiteY244" fmla="*/ 3728193 h 4459172"/>
              <a:gd name="connsiteX245" fmla="*/ 747000 w 5498758"/>
              <a:gd name="connsiteY245" fmla="*/ 3732201 h 4459172"/>
              <a:gd name="connsiteX246" fmla="*/ 722664 w 5498758"/>
              <a:gd name="connsiteY246" fmla="*/ 3738792 h 4459172"/>
              <a:gd name="connsiteX247" fmla="*/ 700878 w 5498758"/>
              <a:gd name="connsiteY247" fmla="*/ 3747894 h 4459172"/>
              <a:gd name="connsiteX248" fmla="*/ 664443 w 5498758"/>
              <a:gd name="connsiteY248" fmla="*/ 3773345 h 4459172"/>
              <a:gd name="connsiteX249" fmla="*/ 636661 w 5498758"/>
              <a:gd name="connsiteY249" fmla="*/ 3807976 h 4459172"/>
              <a:gd name="connsiteX250" fmla="*/ 625691 w 5498758"/>
              <a:gd name="connsiteY250" fmla="*/ 3828553 h 4459172"/>
              <a:gd name="connsiteX251" fmla="*/ 616496 w 5498758"/>
              <a:gd name="connsiteY251" fmla="*/ 3851210 h 4459172"/>
              <a:gd name="connsiteX252" fmla="*/ 608947 w 5498758"/>
              <a:gd name="connsiteY252" fmla="*/ 3875872 h 4459172"/>
              <a:gd name="connsiteX253" fmla="*/ 602914 w 5498758"/>
              <a:gd name="connsiteY253" fmla="*/ 3902469 h 4459172"/>
              <a:gd name="connsiteX254" fmla="*/ 598268 w 5498758"/>
              <a:gd name="connsiteY254" fmla="*/ 3930927 h 4459172"/>
              <a:gd name="connsiteX255" fmla="*/ 594879 w 5498758"/>
              <a:gd name="connsiteY255" fmla="*/ 3961177 h 4459172"/>
              <a:gd name="connsiteX256" fmla="*/ 592619 w 5498758"/>
              <a:gd name="connsiteY256" fmla="*/ 3993143 h 4459172"/>
              <a:gd name="connsiteX257" fmla="*/ 591358 w 5498758"/>
              <a:gd name="connsiteY257" fmla="*/ 4026755 h 4459172"/>
              <a:gd name="connsiteX258" fmla="*/ 590966 w 5498758"/>
              <a:gd name="connsiteY258" fmla="*/ 4061941 h 4459172"/>
              <a:gd name="connsiteX259" fmla="*/ 591348 w 5498758"/>
              <a:gd name="connsiteY259" fmla="*/ 4097476 h 4459172"/>
              <a:gd name="connsiteX260" fmla="*/ 592582 w 5498758"/>
              <a:gd name="connsiteY260" fmla="*/ 4131416 h 4459172"/>
              <a:gd name="connsiteX261" fmla="*/ 594801 w 5498758"/>
              <a:gd name="connsiteY261" fmla="*/ 4163689 h 4459172"/>
              <a:gd name="connsiteX262" fmla="*/ 598139 w 5498758"/>
              <a:gd name="connsiteY262" fmla="*/ 4194223 h 4459172"/>
              <a:gd name="connsiteX263" fmla="*/ 602727 w 5498758"/>
              <a:gd name="connsiteY263" fmla="*/ 4222947 h 4459172"/>
              <a:gd name="connsiteX264" fmla="*/ 608701 w 5498758"/>
              <a:gd name="connsiteY264" fmla="*/ 4249786 h 4459172"/>
              <a:gd name="connsiteX265" fmla="*/ 616192 w 5498758"/>
              <a:gd name="connsiteY265" fmla="*/ 4274671 h 4459172"/>
              <a:gd name="connsiteX266" fmla="*/ 625333 w 5498758"/>
              <a:gd name="connsiteY266" fmla="*/ 4297528 h 4459172"/>
              <a:gd name="connsiteX267" fmla="*/ 636259 w 5498758"/>
              <a:gd name="connsiteY267" fmla="*/ 4318285 h 4459172"/>
              <a:gd name="connsiteX268" fmla="*/ 663993 w 5498758"/>
              <a:gd name="connsiteY268" fmla="*/ 4353212 h 4459172"/>
              <a:gd name="connsiteX269" fmla="*/ 700458 w 5498758"/>
              <a:gd name="connsiteY269" fmla="*/ 4378874 h 4459172"/>
              <a:gd name="connsiteX270" fmla="*/ 722299 w 5498758"/>
              <a:gd name="connsiteY270" fmla="*/ 4388051 h 4459172"/>
              <a:gd name="connsiteX271" fmla="*/ 746721 w 5498758"/>
              <a:gd name="connsiteY271" fmla="*/ 4394695 h 4459172"/>
              <a:gd name="connsiteX272" fmla="*/ 773858 w 5498758"/>
              <a:gd name="connsiteY272" fmla="*/ 4398734 h 4459172"/>
              <a:gd name="connsiteX273" fmla="*/ 803845 w 5498758"/>
              <a:gd name="connsiteY273" fmla="*/ 4400097 h 4459172"/>
              <a:gd name="connsiteX274" fmla="*/ 803845 w 5498758"/>
              <a:gd name="connsiteY274" fmla="*/ 4459172 h 4459172"/>
              <a:gd name="connsiteX275" fmla="*/ 772687 w 5498758"/>
              <a:gd name="connsiteY275" fmla="*/ 4458127 h 4459172"/>
              <a:gd name="connsiteX276" fmla="*/ 743769 w 5498758"/>
              <a:gd name="connsiteY276" fmla="*/ 4455018 h 4459172"/>
              <a:gd name="connsiteX277" fmla="*/ 717018 w 5498758"/>
              <a:gd name="connsiteY277" fmla="*/ 4449890 h 4459172"/>
              <a:gd name="connsiteX278" fmla="*/ 692360 w 5498758"/>
              <a:gd name="connsiteY278" fmla="*/ 4442786 h 4459172"/>
              <a:gd name="connsiteX279" fmla="*/ 669720 w 5498758"/>
              <a:gd name="connsiteY279" fmla="*/ 4433750 h 4459172"/>
              <a:gd name="connsiteX280" fmla="*/ 649024 w 5498758"/>
              <a:gd name="connsiteY280" fmla="*/ 4422825 h 4459172"/>
              <a:gd name="connsiteX281" fmla="*/ 613173 w 5498758"/>
              <a:gd name="connsiteY281" fmla="*/ 4395485 h 4459172"/>
              <a:gd name="connsiteX282" fmla="*/ 584213 w 5498758"/>
              <a:gd name="connsiteY282" fmla="*/ 4361113 h 4459172"/>
              <a:gd name="connsiteX283" fmla="*/ 572133 w 5498758"/>
              <a:gd name="connsiteY283" fmla="*/ 4341398 h 4459172"/>
              <a:gd name="connsiteX284" fmla="*/ 561554 w 5498758"/>
              <a:gd name="connsiteY284" fmla="*/ 4320057 h 4459172"/>
              <a:gd name="connsiteX285" fmla="*/ 552403 w 5498758"/>
              <a:gd name="connsiteY285" fmla="*/ 4297132 h 4459172"/>
              <a:gd name="connsiteX286" fmla="*/ 544605 w 5498758"/>
              <a:gd name="connsiteY286" fmla="*/ 4272666 h 4459172"/>
              <a:gd name="connsiteX287" fmla="*/ 538086 w 5498758"/>
              <a:gd name="connsiteY287" fmla="*/ 4246704 h 4459172"/>
              <a:gd name="connsiteX288" fmla="*/ 532773 w 5498758"/>
              <a:gd name="connsiteY288" fmla="*/ 4219289 h 4459172"/>
              <a:gd name="connsiteX289" fmla="*/ 528592 w 5498758"/>
              <a:gd name="connsiteY289" fmla="*/ 4190464 h 4459172"/>
              <a:gd name="connsiteX290" fmla="*/ 525469 w 5498758"/>
              <a:gd name="connsiteY290" fmla="*/ 4160274 h 4459172"/>
              <a:gd name="connsiteX291" fmla="*/ 523329 w 5498758"/>
              <a:gd name="connsiteY291" fmla="*/ 4128760 h 4459172"/>
              <a:gd name="connsiteX292" fmla="*/ 522100 w 5498758"/>
              <a:gd name="connsiteY292" fmla="*/ 4095968 h 4459172"/>
              <a:gd name="connsiteX293" fmla="*/ 521706 w 5498758"/>
              <a:gd name="connsiteY293" fmla="*/ 4061941 h 4459172"/>
              <a:gd name="connsiteX294" fmla="*/ 522113 w 5498758"/>
              <a:gd name="connsiteY294" fmla="*/ 4028059 h 4459172"/>
              <a:gd name="connsiteX295" fmla="*/ 523379 w 5498758"/>
              <a:gd name="connsiteY295" fmla="*/ 3995412 h 4459172"/>
              <a:gd name="connsiteX296" fmla="*/ 525575 w 5498758"/>
              <a:gd name="connsiteY296" fmla="*/ 3964042 h 4459172"/>
              <a:gd name="connsiteX297" fmla="*/ 528772 w 5498758"/>
              <a:gd name="connsiteY297" fmla="*/ 3933993 h 4459172"/>
              <a:gd name="connsiteX298" fmla="*/ 533038 w 5498758"/>
              <a:gd name="connsiteY298" fmla="*/ 3905307 h 4459172"/>
              <a:gd name="connsiteX299" fmla="*/ 538443 w 5498758"/>
              <a:gd name="connsiteY299" fmla="*/ 3878028 h 4459172"/>
              <a:gd name="connsiteX300" fmla="*/ 545058 w 5498758"/>
              <a:gd name="connsiteY300" fmla="*/ 3852197 h 4459172"/>
              <a:gd name="connsiteX301" fmla="*/ 552952 w 5498758"/>
              <a:gd name="connsiteY301" fmla="*/ 3827858 h 4459172"/>
              <a:gd name="connsiteX302" fmla="*/ 562197 w 5498758"/>
              <a:gd name="connsiteY302" fmla="*/ 3805055 h 4459172"/>
              <a:gd name="connsiteX303" fmla="*/ 572860 w 5498758"/>
              <a:gd name="connsiteY303" fmla="*/ 3783829 h 4459172"/>
              <a:gd name="connsiteX304" fmla="*/ 585013 w 5498758"/>
              <a:gd name="connsiteY304" fmla="*/ 3764224 h 4459172"/>
              <a:gd name="connsiteX305" fmla="*/ 614066 w 5498758"/>
              <a:gd name="connsiteY305" fmla="*/ 3730047 h 4459172"/>
              <a:gd name="connsiteX306" fmla="*/ 649917 w 5498758"/>
              <a:gd name="connsiteY306" fmla="*/ 3702868 h 4459172"/>
              <a:gd name="connsiteX307" fmla="*/ 670566 w 5498758"/>
              <a:gd name="connsiteY307" fmla="*/ 3692010 h 4459172"/>
              <a:gd name="connsiteX308" fmla="*/ 693123 w 5498758"/>
              <a:gd name="connsiteY308" fmla="*/ 3683030 h 4459172"/>
              <a:gd name="connsiteX309" fmla="*/ 717661 w 5498758"/>
              <a:gd name="connsiteY309" fmla="*/ 3675971 h 4459172"/>
              <a:gd name="connsiteX310" fmla="*/ 744246 w 5498758"/>
              <a:gd name="connsiteY310" fmla="*/ 3670875 h 4459172"/>
              <a:gd name="connsiteX311" fmla="*/ 772951 w 5498758"/>
              <a:gd name="connsiteY311" fmla="*/ 3667786 h 4459172"/>
              <a:gd name="connsiteX312" fmla="*/ 308214 w 5498758"/>
              <a:gd name="connsiteY312" fmla="*/ 3373408 h 4459172"/>
              <a:gd name="connsiteX313" fmla="*/ 333981 w 5498758"/>
              <a:gd name="connsiteY313" fmla="*/ 3375652 h 4459172"/>
              <a:gd name="connsiteX314" fmla="*/ 353923 w 5498758"/>
              <a:gd name="connsiteY314" fmla="*/ 3383720 h 4459172"/>
              <a:gd name="connsiteX315" fmla="*/ 366798 w 5498758"/>
              <a:gd name="connsiteY315" fmla="*/ 3399619 h 4459172"/>
              <a:gd name="connsiteX316" fmla="*/ 371366 w 5498758"/>
              <a:gd name="connsiteY316" fmla="*/ 3425353 h 4459172"/>
              <a:gd name="connsiteX317" fmla="*/ 366798 w 5498758"/>
              <a:gd name="connsiteY317" fmla="*/ 3452265 h 4459172"/>
              <a:gd name="connsiteX318" fmla="*/ 353923 w 5498758"/>
              <a:gd name="connsiteY318" fmla="*/ 3468768 h 4459172"/>
              <a:gd name="connsiteX319" fmla="*/ 333981 w 5498758"/>
              <a:gd name="connsiteY319" fmla="*/ 3477060 h 4459172"/>
              <a:gd name="connsiteX320" fmla="*/ 308214 w 5498758"/>
              <a:gd name="connsiteY320" fmla="*/ 3479336 h 4459172"/>
              <a:gd name="connsiteX321" fmla="*/ 282447 w 5498758"/>
              <a:gd name="connsiteY321" fmla="*/ 3477060 h 4459172"/>
              <a:gd name="connsiteX322" fmla="*/ 262505 w 5498758"/>
              <a:gd name="connsiteY322" fmla="*/ 3468768 h 4459172"/>
              <a:gd name="connsiteX323" fmla="*/ 249631 w 5498758"/>
              <a:gd name="connsiteY323" fmla="*/ 3452265 h 4459172"/>
              <a:gd name="connsiteX324" fmla="*/ 245063 w 5498758"/>
              <a:gd name="connsiteY324" fmla="*/ 3425353 h 4459172"/>
              <a:gd name="connsiteX325" fmla="*/ 249774 w 5498758"/>
              <a:gd name="connsiteY325" fmla="*/ 3399619 h 4459172"/>
              <a:gd name="connsiteX326" fmla="*/ 262889 w 5498758"/>
              <a:gd name="connsiteY326" fmla="*/ 3383720 h 4459172"/>
              <a:gd name="connsiteX327" fmla="*/ 282879 w 5498758"/>
              <a:gd name="connsiteY327" fmla="*/ 3375652 h 4459172"/>
              <a:gd name="connsiteX328" fmla="*/ 1504247 w 5498758"/>
              <a:gd name="connsiteY328" fmla="*/ 3281741 h 4459172"/>
              <a:gd name="connsiteX329" fmla="*/ 2056300 w 5498758"/>
              <a:gd name="connsiteY329" fmla="*/ 3281741 h 4459172"/>
              <a:gd name="connsiteX330" fmla="*/ 2056300 w 5498758"/>
              <a:gd name="connsiteY330" fmla="*/ 3346928 h 4459172"/>
              <a:gd name="connsiteX331" fmla="*/ 1504247 w 5498758"/>
              <a:gd name="connsiteY331" fmla="*/ 3346928 h 4459172"/>
              <a:gd name="connsiteX332" fmla="*/ 1504247 w 5498758"/>
              <a:gd name="connsiteY332" fmla="*/ 3068866 h 4459172"/>
              <a:gd name="connsiteX333" fmla="*/ 2056300 w 5498758"/>
              <a:gd name="connsiteY333" fmla="*/ 3068866 h 4459172"/>
              <a:gd name="connsiteX334" fmla="*/ 2056300 w 5498758"/>
              <a:gd name="connsiteY334" fmla="*/ 3134053 h 4459172"/>
              <a:gd name="connsiteX335" fmla="*/ 1504247 w 5498758"/>
              <a:gd name="connsiteY335" fmla="*/ 3134053 h 4459172"/>
              <a:gd name="connsiteX336" fmla="*/ 308214 w 5498758"/>
              <a:gd name="connsiteY336" fmla="*/ 2945621 h 4459172"/>
              <a:gd name="connsiteX337" fmla="*/ 333981 w 5498758"/>
              <a:gd name="connsiteY337" fmla="*/ 2947737 h 4459172"/>
              <a:gd name="connsiteX338" fmla="*/ 353923 w 5498758"/>
              <a:gd name="connsiteY338" fmla="*/ 2955678 h 4459172"/>
              <a:gd name="connsiteX339" fmla="*/ 366798 w 5498758"/>
              <a:gd name="connsiteY339" fmla="*/ 2971832 h 4459172"/>
              <a:gd name="connsiteX340" fmla="*/ 371366 w 5498758"/>
              <a:gd name="connsiteY340" fmla="*/ 2998585 h 4459172"/>
              <a:gd name="connsiteX341" fmla="*/ 366798 w 5498758"/>
              <a:gd name="connsiteY341" fmla="*/ 3024478 h 4459172"/>
              <a:gd name="connsiteX342" fmla="*/ 353923 w 5498758"/>
              <a:gd name="connsiteY342" fmla="*/ 3040727 h 4459172"/>
              <a:gd name="connsiteX343" fmla="*/ 333981 w 5498758"/>
              <a:gd name="connsiteY343" fmla="*/ 3049145 h 4459172"/>
              <a:gd name="connsiteX344" fmla="*/ 308214 w 5498758"/>
              <a:gd name="connsiteY344" fmla="*/ 3051549 h 4459172"/>
              <a:gd name="connsiteX345" fmla="*/ 283039 w 5498758"/>
              <a:gd name="connsiteY345" fmla="*/ 3049145 h 4459172"/>
              <a:gd name="connsiteX346" fmla="*/ 263401 w 5498758"/>
              <a:gd name="connsiteY346" fmla="*/ 3040727 h 4459172"/>
              <a:gd name="connsiteX347" fmla="*/ 250637 w 5498758"/>
              <a:gd name="connsiteY347" fmla="*/ 3024478 h 4459172"/>
              <a:gd name="connsiteX348" fmla="*/ 246086 w 5498758"/>
              <a:gd name="connsiteY348" fmla="*/ 2998585 h 4459172"/>
              <a:gd name="connsiteX349" fmla="*/ 250637 w 5498758"/>
              <a:gd name="connsiteY349" fmla="*/ 2971832 h 4459172"/>
              <a:gd name="connsiteX350" fmla="*/ 263401 w 5498758"/>
              <a:gd name="connsiteY350" fmla="*/ 2955678 h 4459172"/>
              <a:gd name="connsiteX351" fmla="*/ 283039 w 5498758"/>
              <a:gd name="connsiteY351" fmla="*/ 2947737 h 4459172"/>
              <a:gd name="connsiteX352" fmla="*/ 2508665 w 5498758"/>
              <a:gd name="connsiteY352" fmla="*/ 2750062 h 4459172"/>
              <a:gd name="connsiteX353" fmla="*/ 2539559 w 5498758"/>
              <a:gd name="connsiteY353" fmla="*/ 2751100 h 4459172"/>
              <a:gd name="connsiteX354" fmla="*/ 2568264 w 5498758"/>
              <a:gd name="connsiteY354" fmla="*/ 2754189 h 4459172"/>
              <a:gd name="connsiteX355" fmla="*/ 2594850 w 5498758"/>
              <a:gd name="connsiteY355" fmla="*/ 2759285 h 4459172"/>
              <a:gd name="connsiteX356" fmla="*/ 2619388 w 5498758"/>
              <a:gd name="connsiteY356" fmla="*/ 2766344 h 4459172"/>
              <a:gd name="connsiteX357" fmla="*/ 2641946 w 5498758"/>
              <a:gd name="connsiteY357" fmla="*/ 2775324 h 4459172"/>
              <a:gd name="connsiteX358" fmla="*/ 2662596 w 5498758"/>
              <a:gd name="connsiteY358" fmla="*/ 2786182 h 4459172"/>
              <a:gd name="connsiteX359" fmla="*/ 2698446 w 5498758"/>
              <a:gd name="connsiteY359" fmla="*/ 2813361 h 4459172"/>
              <a:gd name="connsiteX360" fmla="*/ 2727499 w 5498758"/>
              <a:gd name="connsiteY360" fmla="*/ 2847538 h 4459172"/>
              <a:gd name="connsiteX361" fmla="*/ 2739652 w 5498758"/>
              <a:gd name="connsiteY361" fmla="*/ 2867143 h 4459172"/>
              <a:gd name="connsiteX362" fmla="*/ 2750315 w 5498758"/>
              <a:gd name="connsiteY362" fmla="*/ 2888369 h 4459172"/>
              <a:gd name="connsiteX363" fmla="*/ 2759559 w 5498758"/>
              <a:gd name="connsiteY363" fmla="*/ 2911173 h 4459172"/>
              <a:gd name="connsiteX364" fmla="*/ 2767453 w 5498758"/>
              <a:gd name="connsiteY364" fmla="*/ 2935511 h 4459172"/>
              <a:gd name="connsiteX365" fmla="*/ 2774068 w 5498758"/>
              <a:gd name="connsiteY365" fmla="*/ 2961342 h 4459172"/>
              <a:gd name="connsiteX366" fmla="*/ 2779473 w 5498758"/>
              <a:gd name="connsiteY366" fmla="*/ 2988621 h 4459172"/>
              <a:gd name="connsiteX367" fmla="*/ 2783738 w 5498758"/>
              <a:gd name="connsiteY367" fmla="*/ 3017307 h 4459172"/>
              <a:gd name="connsiteX368" fmla="*/ 2786934 w 5498758"/>
              <a:gd name="connsiteY368" fmla="*/ 3047357 h 4459172"/>
              <a:gd name="connsiteX369" fmla="*/ 2789131 w 5498758"/>
              <a:gd name="connsiteY369" fmla="*/ 3078726 h 4459172"/>
              <a:gd name="connsiteX370" fmla="*/ 2790397 w 5498758"/>
              <a:gd name="connsiteY370" fmla="*/ 3111374 h 4459172"/>
              <a:gd name="connsiteX371" fmla="*/ 2790804 w 5498758"/>
              <a:gd name="connsiteY371" fmla="*/ 3145255 h 4459172"/>
              <a:gd name="connsiteX372" fmla="*/ 2790416 w 5498758"/>
              <a:gd name="connsiteY372" fmla="*/ 3179282 h 4459172"/>
              <a:gd name="connsiteX373" fmla="*/ 2789206 w 5498758"/>
              <a:gd name="connsiteY373" fmla="*/ 3212075 h 4459172"/>
              <a:gd name="connsiteX374" fmla="*/ 2787095 w 5498758"/>
              <a:gd name="connsiteY374" fmla="*/ 3243587 h 4459172"/>
              <a:gd name="connsiteX375" fmla="*/ 2784008 w 5498758"/>
              <a:gd name="connsiteY375" fmla="*/ 3273778 h 4459172"/>
              <a:gd name="connsiteX376" fmla="*/ 2779868 w 5498758"/>
              <a:gd name="connsiteY376" fmla="*/ 3302603 h 4459172"/>
              <a:gd name="connsiteX377" fmla="*/ 2774602 w 5498758"/>
              <a:gd name="connsiteY377" fmla="*/ 3330018 h 4459172"/>
              <a:gd name="connsiteX378" fmla="*/ 2768131 w 5498758"/>
              <a:gd name="connsiteY378" fmla="*/ 3355980 h 4459172"/>
              <a:gd name="connsiteX379" fmla="*/ 2760381 w 5498758"/>
              <a:gd name="connsiteY379" fmla="*/ 3380445 h 4459172"/>
              <a:gd name="connsiteX380" fmla="*/ 2751276 w 5498758"/>
              <a:gd name="connsiteY380" fmla="*/ 3403370 h 4459172"/>
              <a:gd name="connsiteX381" fmla="*/ 2740739 w 5498758"/>
              <a:gd name="connsiteY381" fmla="*/ 3424712 h 4459172"/>
              <a:gd name="connsiteX382" fmla="*/ 2728695 w 5498758"/>
              <a:gd name="connsiteY382" fmla="*/ 3444427 h 4459172"/>
              <a:gd name="connsiteX383" fmla="*/ 2699782 w 5498758"/>
              <a:gd name="connsiteY383" fmla="*/ 3478799 h 4459172"/>
              <a:gd name="connsiteX384" fmla="*/ 2663930 w 5498758"/>
              <a:gd name="connsiteY384" fmla="*/ 3506139 h 4459172"/>
              <a:gd name="connsiteX385" fmla="*/ 2643211 w 5498758"/>
              <a:gd name="connsiteY385" fmla="*/ 3517063 h 4459172"/>
              <a:gd name="connsiteX386" fmla="*/ 2620530 w 5498758"/>
              <a:gd name="connsiteY386" fmla="*/ 3526100 h 4459172"/>
              <a:gd name="connsiteX387" fmla="*/ 2595811 w 5498758"/>
              <a:gd name="connsiteY387" fmla="*/ 3533203 h 4459172"/>
              <a:gd name="connsiteX388" fmla="*/ 2568978 w 5498758"/>
              <a:gd name="connsiteY388" fmla="*/ 3538331 h 4459172"/>
              <a:gd name="connsiteX389" fmla="*/ 2539954 w 5498758"/>
              <a:gd name="connsiteY389" fmla="*/ 3541440 h 4459172"/>
              <a:gd name="connsiteX390" fmla="*/ 2508665 w 5498758"/>
              <a:gd name="connsiteY390" fmla="*/ 3542486 h 4459172"/>
              <a:gd name="connsiteX391" fmla="*/ 2508665 w 5498758"/>
              <a:gd name="connsiteY391" fmla="*/ 3483411 h 4459172"/>
              <a:gd name="connsiteX392" fmla="*/ 2538979 w 5498758"/>
              <a:gd name="connsiteY392" fmla="*/ 3482048 h 4459172"/>
              <a:gd name="connsiteX393" fmla="*/ 2566388 w 5498758"/>
              <a:gd name="connsiteY393" fmla="*/ 3478009 h 4459172"/>
              <a:gd name="connsiteX394" fmla="*/ 2591027 w 5498758"/>
              <a:gd name="connsiteY394" fmla="*/ 3471365 h 4459172"/>
              <a:gd name="connsiteX395" fmla="*/ 2613035 w 5498758"/>
              <a:gd name="connsiteY395" fmla="*/ 3462188 h 4459172"/>
              <a:gd name="connsiteX396" fmla="*/ 2649712 w 5498758"/>
              <a:gd name="connsiteY396" fmla="*/ 3436526 h 4459172"/>
              <a:gd name="connsiteX397" fmla="*/ 2677522 w 5498758"/>
              <a:gd name="connsiteY397" fmla="*/ 3401599 h 4459172"/>
              <a:gd name="connsiteX398" fmla="*/ 2688447 w 5498758"/>
              <a:gd name="connsiteY398" fmla="*/ 3380842 h 4459172"/>
              <a:gd name="connsiteX399" fmla="*/ 2697570 w 5498758"/>
              <a:gd name="connsiteY399" fmla="*/ 3357985 h 4459172"/>
              <a:gd name="connsiteX400" fmla="*/ 2705029 w 5498758"/>
              <a:gd name="connsiteY400" fmla="*/ 3333100 h 4459172"/>
              <a:gd name="connsiteX401" fmla="*/ 2710961 w 5498758"/>
              <a:gd name="connsiteY401" fmla="*/ 3306261 h 4459172"/>
              <a:gd name="connsiteX402" fmla="*/ 2715505 w 5498758"/>
              <a:gd name="connsiteY402" fmla="*/ 3277537 h 4459172"/>
              <a:gd name="connsiteX403" fmla="*/ 2718799 w 5498758"/>
              <a:gd name="connsiteY403" fmla="*/ 3247003 h 4459172"/>
              <a:gd name="connsiteX404" fmla="*/ 2720980 w 5498758"/>
              <a:gd name="connsiteY404" fmla="*/ 3214730 h 4459172"/>
              <a:gd name="connsiteX405" fmla="*/ 2722188 w 5498758"/>
              <a:gd name="connsiteY405" fmla="*/ 3180790 h 4459172"/>
              <a:gd name="connsiteX406" fmla="*/ 2722561 w 5498758"/>
              <a:gd name="connsiteY406" fmla="*/ 3145255 h 4459172"/>
              <a:gd name="connsiteX407" fmla="*/ 2722168 w 5498758"/>
              <a:gd name="connsiteY407" fmla="*/ 3110069 h 4459172"/>
              <a:gd name="connsiteX408" fmla="*/ 2720906 w 5498758"/>
              <a:gd name="connsiteY408" fmla="*/ 3076457 h 4459172"/>
              <a:gd name="connsiteX409" fmla="*/ 2718642 w 5498758"/>
              <a:gd name="connsiteY409" fmla="*/ 3044490 h 4459172"/>
              <a:gd name="connsiteX410" fmla="*/ 2715246 w 5498758"/>
              <a:gd name="connsiteY410" fmla="*/ 3014242 h 4459172"/>
              <a:gd name="connsiteX411" fmla="*/ 2710588 w 5498758"/>
              <a:gd name="connsiteY411" fmla="*/ 2985783 h 4459172"/>
              <a:gd name="connsiteX412" fmla="*/ 2704536 w 5498758"/>
              <a:gd name="connsiteY412" fmla="*/ 2959186 h 4459172"/>
              <a:gd name="connsiteX413" fmla="*/ 2696962 w 5498758"/>
              <a:gd name="connsiteY413" fmla="*/ 2934524 h 4459172"/>
              <a:gd name="connsiteX414" fmla="*/ 2687732 w 5498758"/>
              <a:gd name="connsiteY414" fmla="*/ 2911868 h 4459172"/>
              <a:gd name="connsiteX415" fmla="*/ 2676717 w 5498758"/>
              <a:gd name="connsiteY415" fmla="*/ 2891290 h 4459172"/>
              <a:gd name="connsiteX416" fmla="*/ 2648810 w 5498758"/>
              <a:gd name="connsiteY416" fmla="*/ 2856659 h 4459172"/>
              <a:gd name="connsiteX417" fmla="*/ 2612196 w 5498758"/>
              <a:gd name="connsiteY417" fmla="*/ 2831208 h 4459172"/>
              <a:gd name="connsiteX418" fmla="*/ 2590296 w 5498758"/>
              <a:gd name="connsiteY418" fmla="*/ 2822106 h 4459172"/>
              <a:gd name="connsiteX419" fmla="*/ 2565828 w 5498758"/>
              <a:gd name="connsiteY419" fmla="*/ 2815514 h 4459172"/>
              <a:gd name="connsiteX420" fmla="*/ 2538661 w 5498758"/>
              <a:gd name="connsiteY420" fmla="*/ 2811507 h 4459172"/>
              <a:gd name="connsiteX421" fmla="*/ 2508665 w 5498758"/>
              <a:gd name="connsiteY421" fmla="*/ 2810155 h 4459172"/>
              <a:gd name="connsiteX422" fmla="*/ 2452608 w 5498758"/>
              <a:gd name="connsiteY422" fmla="*/ 2750062 h 4459172"/>
              <a:gd name="connsiteX423" fmla="*/ 2452608 w 5498758"/>
              <a:gd name="connsiteY423" fmla="*/ 2810155 h 4459172"/>
              <a:gd name="connsiteX424" fmla="*/ 2422781 w 5498758"/>
              <a:gd name="connsiteY424" fmla="*/ 2811507 h 4459172"/>
              <a:gd name="connsiteX425" fmla="*/ 2395763 w 5498758"/>
              <a:gd name="connsiteY425" fmla="*/ 2815514 h 4459172"/>
              <a:gd name="connsiteX426" fmla="*/ 2371427 w 5498758"/>
              <a:gd name="connsiteY426" fmla="*/ 2822106 h 4459172"/>
              <a:gd name="connsiteX427" fmla="*/ 2349641 w 5498758"/>
              <a:gd name="connsiteY427" fmla="*/ 2831208 h 4459172"/>
              <a:gd name="connsiteX428" fmla="*/ 2313206 w 5498758"/>
              <a:gd name="connsiteY428" fmla="*/ 2856659 h 4459172"/>
              <a:gd name="connsiteX429" fmla="*/ 2285424 w 5498758"/>
              <a:gd name="connsiteY429" fmla="*/ 2891290 h 4459172"/>
              <a:gd name="connsiteX430" fmla="*/ 2274454 w 5498758"/>
              <a:gd name="connsiteY430" fmla="*/ 2911868 h 4459172"/>
              <a:gd name="connsiteX431" fmla="*/ 2265258 w 5498758"/>
              <a:gd name="connsiteY431" fmla="*/ 2934524 h 4459172"/>
              <a:gd name="connsiteX432" fmla="*/ 2257709 w 5498758"/>
              <a:gd name="connsiteY432" fmla="*/ 2959186 h 4459172"/>
              <a:gd name="connsiteX433" fmla="*/ 2251676 w 5498758"/>
              <a:gd name="connsiteY433" fmla="*/ 2985783 h 4459172"/>
              <a:gd name="connsiteX434" fmla="*/ 2247030 w 5498758"/>
              <a:gd name="connsiteY434" fmla="*/ 3014242 h 4459172"/>
              <a:gd name="connsiteX435" fmla="*/ 2243642 w 5498758"/>
              <a:gd name="connsiteY435" fmla="*/ 3044490 h 4459172"/>
              <a:gd name="connsiteX436" fmla="*/ 2241382 w 5498758"/>
              <a:gd name="connsiteY436" fmla="*/ 3076457 h 4459172"/>
              <a:gd name="connsiteX437" fmla="*/ 2240120 w 5498758"/>
              <a:gd name="connsiteY437" fmla="*/ 3110069 h 4459172"/>
              <a:gd name="connsiteX438" fmla="*/ 2239728 w 5498758"/>
              <a:gd name="connsiteY438" fmla="*/ 3145255 h 4459172"/>
              <a:gd name="connsiteX439" fmla="*/ 2240110 w 5498758"/>
              <a:gd name="connsiteY439" fmla="*/ 3180790 h 4459172"/>
              <a:gd name="connsiteX440" fmla="*/ 2241344 w 5498758"/>
              <a:gd name="connsiteY440" fmla="*/ 3214730 h 4459172"/>
              <a:gd name="connsiteX441" fmla="*/ 2243564 w 5498758"/>
              <a:gd name="connsiteY441" fmla="*/ 3247003 h 4459172"/>
              <a:gd name="connsiteX442" fmla="*/ 2246901 w 5498758"/>
              <a:gd name="connsiteY442" fmla="*/ 3277537 h 4459172"/>
              <a:gd name="connsiteX443" fmla="*/ 2251490 w 5498758"/>
              <a:gd name="connsiteY443" fmla="*/ 3306261 h 4459172"/>
              <a:gd name="connsiteX444" fmla="*/ 2257463 w 5498758"/>
              <a:gd name="connsiteY444" fmla="*/ 3333100 h 4459172"/>
              <a:gd name="connsiteX445" fmla="*/ 2264954 w 5498758"/>
              <a:gd name="connsiteY445" fmla="*/ 3357985 h 4459172"/>
              <a:gd name="connsiteX446" fmla="*/ 2274096 w 5498758"/>
              <a:gd name="connsiteY446" fmla="*/ 3380842 h 4459172"/>
              <a:gd name="connsiteX447" fmla="*/ 2285021 w 5498758"/>
              <a:gd name="connsiteY447" fmla="*/ 3401599 h 4459172"/>
              <a:gd name="connsiteX448" fmla="*/ 2312756 w 5498758"/>
              <a:gd name="connsiteY448" fmla="*/ 3436526 h 4459172"/>
              <a:gd name="connsiteX449" fmla="*/ 2349222 w 5498758"/>
              <a:gd name="connsiteY449" fmla="*/ 3462188 h 4459172"/>
              <a:gd name="connsiteX450" fmla="*/ 2371062 w 5498758"/>
              <a:gd name="connsiteY450" fmla="*/ 3471365 h 4459172"/>
              <a:gd name="connsiteX451" fmla="*/ 2395484 w 5498758"/>
              <a:gd name="connsiteY451" fmla="*/ 3478009 h 4459172"/>
              <a:gd name="connsiteX452" fmla="*/ 2422622 w 5498758"/>
              <a:gd name="connsiteY452" fmla="*/ 3482048 h 4459172"/>
              <a:gd name="connsiteX453" fmla="*/ 2452608 w 5498758"/>
              <a:gd name="connsiteY453" fmla="*/ 3483411 h 4459172"/>
              <a:gd name="connsiteX454" fmla="*/ 2452608 w 5498758"/>
              <a:gd name="connsiteY454" fmla="*/ 3542486 h 4459172"/>
              <a:gd name="connsiteX455" fmla="*/ 2421450 w 5498758"/>
              <a:gd name="connsiteY455" fmla="*/ 3541440 h 4459172"/>
              <a:gd name="connsiteX456" fmla="*/ 2392532 w 5498758"/>
              <a:gd name="connsiteY456" fmla="*/ 3538331 h 4459172"/>
              <a:gd name="connsiteX457" fmla="*/ 2365781 w 5498758"/>
              <a:gd name="connsiteY457" fmla="*/ 3533203 h 4459172"/>
              <a:gd name="connsiteX458" fmla="*/ 2341123 w 5498758"/>
              <a:gd name="connsiteY458" fmla="*/ 3526100 h 4459172"/>
              <a:gd name="connsiteX459" fmla="*/ 2318483 w 5498758"/>
              <a:gd name="connsiteY459" fmla="*/ 3517063 h 4459172"/>
              <a:gd name="connsiteX460" fmla="*/ 2297787 w 5498758"/>
              <a:gd name="connsiteY460" fmla="*/ 3506139 h 4459172"/>
              <a:gd name="connsiteX461" fmla="*/ 2261935 w 5498758"/>
              <a:gd name="connsiteY461" fmla="*/ 3478799 h 4459172"/>
              <a:gd name="connsiteX462" fmla="*/ 2232976 w 5498758"/>
              <a:gd name="connsiteY462" fmla="*/ 3444427 h 4459172"/>
              <a:gd name="connsiteX463" fmla="*/ 2220895 w 5498758"/>
              <a:gd name="connsiteY463" fmla="*/ 3424712 h 4459172"/>
              <a:gd name="connsiteX464" fmla="*/ 2210316 w 5498758"/>
              <a:gd name="connsiteY464" fmla="*/ 3403370 h 4459172"/>
              <a:gd name="connsiteX465" fmla="*/ 2201165 w 5498758"/>
              <a:gd name="connsiteY465" fmla="*/ 3380445 h 4459172"/>
              <a:gd name="connsiteX466" fmla="*/ 2193367 w 5498758"/>
              <a:gd name="connsiteY466" fmla="*/ 3355980 h 4459172"/>
              <a:gd name="connsiteX467" fmla="*/ 2186848 w 5498758"/>
              <a:gd name="connsiteY467" fmla="*/ 3330018 h 4459172"/>
              <a:gd name="connsiteX468" fmla="*/ 2181536 w 5498758"/>
              <a:gd name="connsiteY468" fmla="*/ 3302603 h 4459172"/>
              <a:gd name="connsiteX469" fmla="*/ 2177354 w 5498758"/>
              <a:gd name="connsiteY469" fmla="*/ 3273778 h 4459172"/>
              <a:gd name="connsiteX470" fmla="*/ 2174231 w 5498758"/>
              <a:gd name="connsiteY470" fmla="*/ 3243587 h 4459172"/>
              <a:gd name="connsiteX471" fmla="*/ 2172092 w 5498758"/>
              <a:gd name="connsiteY471" fmla="*/ 3212075 h 4459172"/>
              <a:gd name="connsiteX472" fmla="*/ 2170862 w 5498758"/>
              <a:gd name="connsiteY472" fmla="*/ 3179282 h 4459172"/>
              <a:gd name="connsiteX473" fmla="*/ 2170469 w 5498758"/>
              <a:gd name="connsiteY473" fmla="*/ 3145255 h 4459172"/>
              <a:gd name="connsiteX474" fmla="*/ 2170876 w 5498758"/>
              <a:gd name="connsiteY474" fmla="*/ 3111374 h 4459172"/>
              <a:gd name="connsiteX475" fmla="*/ 2172142 w 5498758"/>
              <a:gd name="connsiteY475" fmla="*/ 3078726 h 4459172"/>
              <a:gd name="connsiteX476" fmla="*/ 2174338 w 5498758"/>
              <a:gd name="connsiteY476" fmla="*/ 3047357 h 4459172"/>
              <a:gd name="connsiteX477" fmla="*/ 2177534 w 5498758"/>
              <a:gd name="connsiteY477" fmla="*/ 3017307 h 4459172"/>
              <a:gd name="connsiteX478" fmla="*/ 2181800 w 5498758"/>
              <a:gd name="connsiteY478" fmla="*/ 2988621 h 4459172"/>
              <a:gd name="connsiteX479" fmla="*/ 2187206 w 5498758"/>
              <a:gd name="connsiteY479" fmla="*/ 2961342 h 4459172"/>
              <a:gd name="connsiteX480" fmla="*/ 2193820 w 5498758"/>
              <a:gd name="connsiteY480" fmla="*/ 2935511 h 4459172"/>
              <a:gd name="connsiteX481" fmla="*/ 2201715 w 5498758"/>
              <a:gd name="connsiteY481" fmla="*/ 2911173 h 4459172"/>
              <a:gd name="connsiteX482" fmla="*/ 2210959 w 5498758"/>
              <a:gd name="connsiteY482" fmla="*/ 2888369 h 4459172"/>
              <a:gd name="connsiteX483" fmla="*/ 2221622 w 5498758"/>
              <a:gd name="connsiteY483" fmla="*/ 2867143 h 4459172"/>
              <a:gd name="connsiteX484" fmla="*/ 2233775 w 5498758"/>
              <a:gd name="connsiteY484" fmla="*/ 2847538 h 4459172"/>
              <a:gd name="connsiteX485" fmla="*/ 2262829 w 5498758"/>
              <a:gd name="connsiteY485" fmla="*/ 2813361 h 4459172"/>
              <a:gd name="connsiteX486" fmla="*/ 2298679 w 5498758"/>
              <a:gd name="connsiteY486" fmla="*/ 2786182 h 4459172"/>
              <a:gd name="connsiteX487" fmla="*/ 2319329 w 5498758"/>
              <a:gd name="connsiteY487" fmla="*/ 2775324 h 4459172"/>
              <a:gd name="connsiteX488" fmla="*/ 2341886 w 5498758"/>
              <a:gd name="connsiteY488" fmla="*/ 2766344 h 4459172"/>
              <a:gd name="connsiteX489" fmla="*/ 2366424 w 5498758"/>
              <a:gd name="connsiteY489" fmla="*/ 2759285 h 4459172"/>
              <a:gd name="connsiteX490" fmla="*/ 2393009 w 5498758"/>
              <a:gd name="connsiteY490" fmla="*/ 2754189 h 4459172"/>
              <a:gd name="connsiteX491" fmla="*/ 2421714 w 5498758"/>
              <a:gd name="connsiteY491" fmla="*/ 2751100 h 4459172"/>
              <a:gd name="connsiteX492" fmla="*/ 0 w 5498758"/>
              <a:gd name="connsiteY492" fmla="*/ 2365053 h 4459172"/>
              <a:gd name="connsiteX493" fmla="*/ 552046 w 5498758"/>
              <a:gd name="connsiteY493" fmla="*/ 2365053 h 4459172"/>
              <a:gd name="connsiteX494" fmla="*/ 552046 w 5498758"/>
              <a:gd name="connsiteY494" fmla="*/ 2430239 h 4459172"/>
              <a:gd name="connsiteX495" fmla="*/ 0 w 5498758"/>
              <a:gd name="connsiteY495" fmla="*/ 2430239 h 4459172"/>
              <a:gd name="connsiteX496" fmla="*/ 0 w 5498758"/>
              <a:gd name="connsiteY496" fmla="*/ 2152178 h 4459172"/>
              <a:gd name="connsiteX497" fmla="*/ 552046 w 5498758"/>
              <a:gd name="connsiteY497" fmla="*/ 2152178 h 4459172"/>
              <a:gd name="connsiteX498" fmla="*/ 552046 w 5498758"/>
              <a:gd name="connsiteY498" fmla="*/ 2217364 h 4459172"/>
              <a:gd name="connsiteX499" fmla="*/ 0 w 5498758"/>
              <a:gd name="connsiteY499" fmla="*/ 2217364 h 4459172"/>
              <a:gd name="connsiteX500" fmla="*/ 975625 w 5498758"/>
              <a:gd name="connsiteY500" fmla="*/ 1837762 h 4459172"/>
              <a:gd name="connsiteX501" fmla="*/ 1203780 w 5498758"/>
              <a:gd name="connsiteY501" fmla="*/ 1837762 h 4459172"/>
              <a:gd name="connsiteX502" fmla="*/ 1203780 w 5498758"/>
              <a:gd name="connsiteY502" fmla="*/ 1895226 h 4459172"/>
              <a:gd name="connsiteX503" fmla="*/ 1203780 w 5498758"/>
              <a:gd name="connsiteY503" fmla="*/ 2565639 h 4459172"/>
              <a:gd name="connsiteX504" fmla="*/ 1203780 w 5498758"/>
              <a:gd name="connsiteY504" fmla="*/ 2623869 h 4459172"/>
              <a:gd name="connsiteX505" fmla="*/ 975625 w 5498758"/>
              <a:gd name="connsiteY505" fmla="*/ 2623869 h 4459172"/>
              <a:gd name="connsiteX506" fmla="*/ 975625 w 5498758"/>
              <a:gd name="connsiteY506" fmla="*/ 2565639 h 4459172"/>
              <a:gd name="connsiteX507" fmla="*/ 1133506 w 5498758"/>
              <a:gd name="connsiteY507" fmla="*/ 2565639 h 4459172"/>
              <a:gd name="connsiteX508" fmla="*/ 1133506 w 5498758"/>
              <a:gd name="connsiteY508" fmla="*/ 1895226 h 4459172"/>
              <a:gd name="connsiteX509" fmla="*/ 975625 w 5498758"/>
              <a:gd name="connsiteY509" fmla="*/ 1895226 h 4459172"/>
              <a:gd name="connsiteX510" fmla="*/ 686589 w 5498758"/>
              <a:gd name="connsiteY510" fmla="*/ 1837762 h 4459172"/>
              <a:gd name="connsiteX511" fmla="*/ 914744 w 5498758"/>
              <a:gd name="connsiteY511" fmla="*/ 1837762 h 4459172"/>
              <a:gd name="connsiteX512" fmla="*/ 914744 w 5498758"/>
              <a:gd name="connsiteY512" fmla="*/ 1895226 h 4459172"/>
              <a:gd name="connsiteX513" fmla="*/ 756871 w 5498758"/>
              <a:gd name="connsiteY513" fmla="*/ 1895226 h 4459172"/>
              <a:gd name="connsiteX514" fmla="*/ 756871 w 5498758"/>
              <a:gd name="connsiteY514" fmla="*/ 2565639 h 4459172"/>
              <a:gd name="connsiteX515" fmla="*/ 914744 w 5498758"/>
              <a:gd name="connsiteY515" fmla="*/ 2565639 h 4459172"/>
              <a:gd name="connsiteX516" fmla="*/ 914744 w 5498758"/>
              <a:gd name="connsiteY516" fmla="*/ 2623869 h 4459172"/>
              <a:gd name="connsiteX517" fmla="*/ 686589 w 5498758"/>
              <a:gd name="connsiteY517" fmla="*/ 2623869 h 4459172"/>
              <a:gd name="connsiteX518" fmla="*/ 686589 w 5498758"/>
              <a:gd name="connsiteY518" fmla="*/ 2565639 h 4459172"/>
              <a:gd name="connsiteX519" fmla="*/ 686589 w 5498758"/>
              <a:gd name="connsiteY519" fmla="*/ 1895226 h 4459172"/>
              <a:gd name="connsiteX520" fmla="*/ 2196892 w 5498758"/>
              <a:gd name="connsiteY520" fmla="*/ 1833374 h 4459172"/>
              <a:gd name="connsiteX521" fmla="*/ 2227786 w 5498758"/>
              <a:gd name="connsiteY521" fmla="*/ 1834413 h 4459172"/>
              <a:gd name="connsiteX522" fmla="*/ 2256490 w 5498758"/>
              <a:gd name="connsiteY522" fmla="*/ 1837502 h 4459172"/>
              <a:gd name="connsiteX523" fmla="*/ 2283076 w 5498758"/>
              <a:gd name="connsiteY523" fmla="*/ 1842597 h 4459172"/>
              <a:gd name="connsiteX524" fmla="*/ 2307613 w 5498758"/>
              <a:gd name="connsiteY524" fmla="*/ 1849656 h 4459172"/>
              <a:gd name="connsiteX525" fmla="*/ 2330171 w 5498758"/>
              <a:gd name="connsiteY525" fmla="*/ 1858637 h 4459172"/>
              <a:gd name="connsiteX526" fmla="*/ 2350821 w 5498758"/>
              <a:gd name="connsiteY526" fmla="*/ 1869495 h 4459172"/>
              <a:gd name="connsiteX527" fmla="*/ 2386671 w 5498758"/>
              <a:gd name="connsiteY527" fmla="*/ 1896674 h 4459172"/>
              <a:gd name="connsiteX528" fmla="*/ 2415724 w 5498758"/>
              <a:gd name="connsiteY528" fmla="*/ 1930851 h 4459172"/>
              <a:gd name="connsiteX529" fmla="*/ 2427878 w 5498758"/>
              <a:gd name="connsiteY529" fmla="*/ 1950456 h 4459172"/>
              <a:gd name="connsiteX530" fmla="*/ 2438541 w 5498758"/>
              <a:gd name="connsiteY530" fmla="*/ 1971682 h 4459172"/>
              <a:gd name="connsiteX531" fmla="*/ 2447785 w 5498758"/>
              <a:gd name="connsiteY531" fmla="*/ 1994485 h 4459172"/>
              <a:gd name="connsiteX532" fmla="*/ 2455680 w 5498758"/>
              <a:gd name="connsiteY532" fmla="*/ 2018824 h 4459172"/>
              <a:gd name="connsiteX533" fmla="*/ 2462294 w 5498758"/>
              <a:gd name="connsiteY533" fmla="*/ 2044655 h 4459172"/>
              <a:gd name="connsiteX534" fmla="*/ 2467700 w 5498758"/>
              <a:gd name="connsiteY534" fmla="*/ 2071935 h 4459172"/>
              <a:gd name="connsiteX535" fmla="*/ 2471966 w 5498758"/>
              <a:gd name="connsiteY535" fmla="*/ 2100621 h 4459172"/>
              <a:gd name="connsiteX536" fmla="*/ 2475162 w 5498758"/>
              <a:gd name="connsiteY536" fmla="*/ 2130670 h 4459172"/>
              <a:gd name="connsiteX537" fmla="*/ 2477358 w 5498758"/>
              <a:gd name="connsiteY537" fmla="*/ 2162039 h 4459172"/>
              <a:gd name="connsiteX538" fmla="*/ 2478625 w 5498758"/>
              <a:gd name="connsiteY538" fmla="*/ 2194687 h 4459172"/>
              <a:gd name="connsiteX539" fmla="*/ 2479032 w 5498758"/>
              <a:gd name="connsiteY539" fmla="*/ 2228568 h 4459172"/>
              <a:gd name="connsiteX540" fmla="*/ 2478644 w 5498758"/>
              <a:gd name="connsiteY540" fmla="*/ 2262596 h 4459172"/>
              <a:gd name="connsiteX541" fmla="*/ 2477434 w 5498758"/>
              <a:gd name="connsiteY541" fmla="*/ 2295388 h 4459172"/>
              <a:gd name="connsiteX542" fmla="*/ 2475322 w 5498758"/>
              <a:gd name="connsiteY542" fmla="*/ 2326901 h 4459172"/>
              <a:gd name="connsiteX543" fmla="*/ 2472236 w 5498758"/>
              <a:gd name="connsiteY543" fmla="*/ 2357092 h 4459172"/>
              <a:gd name="connsiteX544" fmla="*/ 2468096 w 5498758"/>
              <a:gd name="connsiteY544" fmla="*/ 2385916 h 4459172"/>
              <a:gd name="connsiteX545" fmla="*/ 2462830 w 5498758"/>
              <a:gd name="connsiteY545" fmla="*/ 2413332 h 4459172"/>
              <a:gd name="connsiteX546" fmla="*/ 2456359 w 5498758"/>
              <a:gd name="connsiteY546" fmla="*/ 2439293 h 4459172"/>
              <a:gd name="connsiteX547" fmla="*/ 2448609 w 5498758"/>
              <a:gd name="connsiteY547" fmla="*/ 2463759 h 4459172"/>
              <a:gd name="connsiteX548" fmla="*/ 2439504 w 5498758"/>
              <a:gd name="connsiteY548" fmla="*/ 2486684 h 4459172"/>
              <a:gd name="connsiteX549" fmla="*/ 2428967 w 5498758"/>
              <a:gd name="connsiteY549" fmla="*/ 2508026 h 4459172"/>
              <a:gd name="connsiteX550" fmla="*/ 2416923 w 5498758"/>
              <a:gd name="connsiteY550" fmla="*/ 2527740 h 4459172"/>
              <a:gd name="connsiteX551" fmla="*/ 2388010 w 5498758"/>
              <a:gd name="connsiteY551" fmla="*/ 2562112 h 4459172"/>
              <a:gd name="connsiteX552" fmla="*/ 2352158 w 5498758"/>
              <a:gd name="connsiteY552" fmla="*/ 2589453 h 4459172"/>
              <a:gd name="connsiteX553" fmla="*/ 2331438 w 5498758"/>
              <a:gd name="connsiteY553" fmla="*/ 2600377 h 4459172"/>
              <a:gd name="connsiteX554" fmla="*/ 2308758 w 5498758"/>
              <a:gd name="connsiteY554" fmla="*/ 2609413 h 4459172"/>
              <a:gd name="connsiteX555" fmla="*/ 2284039 w 5498758"/>
              <a:gd name="connsiteY555" fmla="*/ 2616517 h 4459172"/>
              <a:gd name="connsiteX556" fmla="*/ 2257206 w 5498758"/>
              <a:gd name="connsiteY556" fmla="*/ 2621645 h 4459172"/>
              <a:gd name="connsiteX557" fmla="*/ 2228182 w 5498758"/>
              <a:gd name="connsiteY557" fmla="*/ 2624754 h 4459172"/>
              <a:gd name="connsiteX558" fmla="*/ 2196892 w 5498758"/>
              <a:gd name="connsiteY558" fmla="*/ 2625799 h 4459172"/>
              <a:gd name="connsiteX559" fmla="*/ 2196892 w 5498758"/>
              <a:gd name="connsiteY559" fmla="*/ 2566725 h 4459172"/>
              <a:gd name="connsiteX560" fmla="*/ 2227207 w 5498758"/>
              <a:gd name="connsiteY560" fmla="*/ 2565362 h 4459172"/>
              <a:gd name="connsiteX561" fmla="*/ 2254616 w 5498758"/>
              <a:gd name="connsiteY561" fmla="*/ 2561323 h 4459172"/>
              <a:gd name="connsiteX562" fmla="*/ 2279255 w 5498758"/>
              <a:gd name="connsiteY562" fmla="*/ 2554679 h 4459172"/>
              <a:gd name="connsiteX563" fmla="*/ 2301263 w 5498758"/>
              <a:gd name="connsiteY563" fmla="*/ 2545502 h 4459172"/>
              <a:gd name="connsiteX564" fmla="*/ 2337940 w 5498758"/>
              <a:gd name="connsiteY564" fmla="*/ 2519839 h 4459172"/>
              <a:gd name="connsiteX565" fmla="*/ 2365750 w 5498758"/>
              <a:gd name="connsiteY565" fmla="*/ 2484913 h 4459172"/>
              <a:gd name="connsiteX566" fmla="*/ 2376675 w 5498758"/>
              <a:gd name="connsiteY566" fmla="*/ 2464156 h 4459172"/>
              <a:gd name="connsiteX567" fmla="*/ 2385798 w 5498758"/>
              <a:gd name="connsiteY567" fmla="*/ 2441299 h 4459172"/>
              <a:gd name="connsiteX568" fmla="*/ 2393256 w 5498758"/>
              <a:gd name="connsiteY568" fmla="*/ 2416414 h 4459172"/>
              <a:gd name="connsiteX569" fmla="*/ 2399189 w 5498758"/>
              <a:gd name="connsiteY569" fmla="*/ 2389574 h 4459172"/>
              <a:gd name="connsiteX570" fmla="*/ 2403733 w 5498758"/>
              <a:gd name="connsiteY570" fmla="*/ 2360851 h 4459172"/>
              <a:gd name="connsiteX571" fmla="*/ 2407027 w 5498758"/>
              <a:gd name="connsiteY571" fmla="*/ 2330317 h 4459172"/>
              <a:gd name="connsiteX572" fmla="*/ 2409208 w 5498758"/>
              <a:gd name="connsiteY572" fmla="*/ 2298043 h 4459172"/>
              <a:gd name="connsiteX573" fmla="*/ 2410416 w 5498758"/>
              <a:gd name="connsiteY573" fmla="*/ 2264103 h 4459172"/>
              <a:gd name="connsiteX574" fmla="*/ 2410788 w 5498758"/>
              <a:gd name="connsiteY574" fmla="*/ 2228568 h 4459172"/>
              <a:gd name="connsiteX575" fmla="*/ 2410396 w 5498758"/>
              <a:gd name="connsiteY575" fmla="*/ 2193383 h 4459172"/>
              <a:gd name="connsiteX576" fmla="*/ 2409134 w 5498758"/>
              <a:gd name="connsiteY576" fmla="*/ 2159770 h 4459172"/>
              <a:gd name="connsiteX577" fmla="*/ 2406870 w 5498758"/>
              <a:gd name="connsiteY577" fmla="*/ 2127804 h 4459172"/>
              <a:gd name="connsiteX578" fmla="*/ 2403474 w 5498758"/>
              <a:gd name="connsiteY578" fmla="*/ 2097555 h 4459172"/>
              <a:gd name="connsiteX579" fmla="*/ 2398815 w 5498758"/>
              <a:gd name="connsiteY579" fmla="*/ 2069097 h 4459172"/>
              <a:gd name="connsiteX580" fmla="*/ 2392763 w 5498758"/>
              <a:gd name="connsiteY580" fmla="*/ 2042499 h 4459172"/>
              <a:gd name="connsiteX581" fmla="*/ 2385188 w 5498758"/>
              <a:gd name="connsiteY581" fmla="*/ 2017837 h 4459172"/>
              <a:gd name="connsiteX582" fmla="*/ 2375958 w 5498758"/>
              <a:gd name="connsiteY582" fmla="*/ 1995181 h 4459172"/>
              <a:gd name="connsiteX583" fmla="*/ 2364943 w 5498758"/>
              <a:gd name="connsiteY583" fmla="*/ 1974603 h 4459172"/>
              <a:gd name="connsiteX584" fmla="*/ 2337035 w 5498758"/>
              <a:gd name="connsiteY584" fmla="*/ 1939972 h 4459172"/>
              <a:gd name="connsiteX585" fmla="*/ 2300421 w 5498758"/>
              <a:gd name="connsiteY585" fmla="*/ 1914521 h 4459172"/>
              <a:gd name="connsiteX586" fmla="*/ 2278522 w 5498758"/>
              <a:gd name="connsiteY586" fmla="*/ 1905419 h 4459172"/>
              <a:gd name="connsiteX587" fmla="*/ 2254055 w 5498758"/>
              <a:gd name="connsiteY587" fmla="*/ 1898828 h 4459172"/>
              <a:gd name="connsiteX588" fmla="*/ 2226888 w 5498758"/>
              <a:gd name="connsiteY588" fmla="*/ 1894820 h 4459172"/>
              <a:gd name="connsiteX589" fmla="*/ 2196892 w 5498758"/>
              <a:gd name="connsiteY589" fmla="*/ 1893468 h 4459172"/>
              <a:gd name="connsiteX590" fmla="*/ 2140849 w 5498758"/>
              <a:gd name="connsiteY590" fmla="*/ 1833374 h 4459172"/>
              <a:gd name="connsiteX591" fmla="*/ 2140849 w 5498758"/>
              <a:gd name="connsiteY591" fmla="*/ 1893468 h 4459172"/>
              <a:gd name="connsiteX592" fmla="*/ 2111022 w 5498758"/>
              <a:gd name="connsiteY592" fmla="*/ 1894820 h 4459172"/>
              <a:gd name="connsiteX593" fmla="*/ 2084005 w 5498758"/>
              <a:gd name="connsiteY593" fmla="*/ 1898828 h 4459172"/>
              <a:gd name="connsiteX594" fmla="*/ 2059669 w 5498758"/>
              <a:gd name="connsiteY594" fmla="*/ 1905419 h 4459172"/>
              <a:gd name="connsiteX595" fmla="*/ 2037884 w 5498758"/>
              <a:gd name="connsiteY595" fmla="*/ 1914521 h 4459172"/>
              <a:gd name="connsiteX596" fmla="*/ 2001450 w 5498758"/>
              <a:gd name="connsiteY596" fmla="*/ 1939972 h 4459172"/>
              <a:gd name="connsiteX597" fmla="*/ 1973667 w 5498758"/>
              <a:gd name="connsiteY597" fmla="*/ 1974603 h 4459172"/>
              <a:gd name="connsiteX598" fmla="*/ 1962698 w 5498758"/>
              <a:gd name="connsiteY598" fmla="*/ 1995181 h 4459172"/>
              <a:gd name="connsiteX599" fmla="*/ 1953504 w 5498758"/>
              <a:gd name="connsiteY599" fmla="*/ 2017837 h 4459172"/>
              <a:gd name="connsiteX600" fmla="*/ 1945955 w 5498758"/>
              <a:gd name="connsiteY600" fmla="*/ 2042499 h 4459172"/>
              <a:gd name="connsiteX601" fmla="*/ 1939923 w 5498758"/>
              <a:gd name="connsiteY601" fmla="*/ 2069097 h 4459172"/>
              <a:gd name="connsiteX602" fmla="*/ 1935277 w 5498758"/>
              <a:gd name="connsiteY602" fmla="*/ 2097555 h 4459172"/>
              <a:gd name="connsiteX603" fmla="*/ 1931889 w 5498758"/>
              <a:gd name="connsiteY603" fmla="*/ 2127804 h 4459172"/>
              <a:gd name="connsiteX604" fmla="*/ 1929629 w 5498758"/>
              <a:gd name="connsiteY604" fmla="*/ 2159770 h 4459172"/>
              <a:gd name="connsiteX605" fmla="*/ 1928368 w 5498758"/>
              <a:gd name="connsiteY605" fmla="*/ 2193383 h 4459172"/>
              <a:gd name="connsiteX606" fmla="*/ 1927976 w 5498758"/>
              <a:gd name="connsiteY606" fmla="*/ 2228568 h 4459172"/>
              <a:gd name="connsiteX607" fmla="*/ 1928358 w 5498758"/>
              <a:gd name="connsiteY607" fmla="*/ 2264103 h 4459172"/>
              <a:gd name="connsiteX608" fmla="*/ 1929592 w 5498758"/>
              <a:gd name="connsiteY608" fmla="*/ 2298043 h 4459172"/>
              <a:gd name="connsiteX609" fmla="*/ 1931811 w 5498758"/>
              <a:gd name="connsiteY609" fmla="*/ 2330317 h 4459172"/>
              <a:gd name="connsiteX610" fmla="*/ 1935148 w 5498758"/>
              <a:gd name="connsiteY610" fmla="*/ 2360851 h 4459172"/>
              <a:gd name="connsiteX611" fmla="*/ 1939736 w 5498758"/>
              <a:gd name="connsiteY611" fmla="*/ 2389574 h 4459172"/>
              <a:gd name="connsiteX612" fmla="*/ 1945709 w 5498758"/>
              <a:gd name="connsiteY612" fmla="*/ 2416414 h 4459172"/>
              <a:gd name="connsiteX613" fmla="*/ 1953200 w 5498758"/>
              <a:gd name="connsiteY613" fmla="*/ 2441299 h 4459172"/>
              <a:gd name="connsiteX614" fmla="*/ 1962341 w 5498758"/>
              <a:gd name="connsiteY614" fmla="*/ 2464156 h 4459172"/>
              <a:gd name="connsiteX615" fmla="*/ 1973265 w 5498758"/>
              <a:gd name="connsiteY615" fmla="*/ 2484913 h 4459172"/>
              <a:gd name="connsiteX616" fmla="*/ 2000999 w 5498758"/>
              <a:gd name="connsiteY616" fmla="*/ 2519839 h 4459172"/>
              <a:gd name="connsiteX617" fmla="*/ 2037464 w 5498758"/>
              <a:gd name="connsiteY617" fmla="*/ 2545502 h 4459172"/>
              <a:gd name="connsiteX618" fmla="*/ 2059304 w 5498758"/>
              <a:gd name="connsiteY618" fmla="*/ 2554679 h 4459172"/>
              <a:gd name="connsiteX619" fmla="*/ 2083726 w 5498758"/>
              <a:gd name="connsiteY619" fmla="*/ 2561323 h 4459172"/>
              <a:gd name="connsiteX620" fmla="*/ 2110863 w 5498758"/>
              <a:gd name="connsiteY620" fmla="*/ 2565362 h 4459172"/>
              <a:gd name="connsiteX621" fmla="*/ 2140849 w 5498758"/>
              <a:gd name="connsiteY621" fmla="*/ 2566725 h 4459172"/>
              <a:gd name="connsiteX622" fmla="*/ 2140849 w 5498758"/>
              <a:gd name="connsiteY622" fmla="*/ 2625799 h 4459172"/>
              <a:gd name="connsiteX623" fmla="*/ 2109692 w 5498758"/>
              <a:gd name="connsiteY623" fmla="*/ 2624754 h 4459172"/>
              <a:gd name="connsiteX624" fmla="*/ 2080775 w 5498758"/>
              <a:gd name="connsiteY624" fmla="*/ 2621645 h 4459172"/>
              <a:gd name="connsiteX625" fmla="*/ 2054025 w 5498758"/>
              <a:gd name="connsiteY625" fmla="*/ 2616517 h 4459172"/>
              <a:gd name="connsiteX626" fmla="*/ 2029367 w 5498758"/>
              <a:gd name="connsiteY626" fmla="*/ 2609413 h 4459172"/>
              <a:gd name="connsiteX627" fmla="*/ 2006728 w 5498758"/>
              <a:gd name="connsiteY627" fmla="*/ 2600377 h 4459172"/>
              <a:gd name="connsiteX628" fmla="*/ 1986033 w 5498758"/>
              <a:gd name="connsiteY628" fmla="*/ 2589453 h 4459172"/>
              <a:gd name="connsiteX629" fmla="*/ 1950182 w 5498758"/>
              <a:gd name="connsiteY629" fmla="*/ 2562112 h 4459172"/>
              <a:gd name="connsiteX630" fmla="*/ 1921222 w 5498758"/>
              <a:gd name="connsiteY630" fmla="*/ 2527740 h 4459172"/>
              <a:gd name="connsiteX631" fmla="*/ 1909143 w 5498758"/>
              <a:gd name="connsiteY631" fmla="*/ 2508026 h 4459172"/>
              <a:gd name="connsiteX632" fmla="*/ 1898564 w 5498758"/>
              <a:gd name="connsiteY632" fmla="*/ 2486684 h 4459172"/>
              <a:gd name="connsiteX633" fmla="*/ 1889412 w 5498758"/>
              <a:gd name="connsiteY633" fmla="*/ 2463759 h 4459172"/>
              <a:gd name="connsiteX634" fmla="*/ 1881615 w 5498758"/>
              <a:gd name="connsiteY634" fmla="*/ 2439293 h 4459172"/>
              <a:gd name="connsiteX635" fmla="*/ 1875096 w 5498758"/>
              <a:gd name="connsiteY635" fmla="*/ 2413332 h 4459172"/>
              <a:gd name="connsiteX636" fmla="*/ 1869783 w 5498758"/>
              <a:gd name="connsiteY636" fmla="*/ 2385916 h 4459172"/>
              <a:gd name="connsiteX637" fmla="*/ 1865602 w 5498758"/>
              <a:gd name="connsiteY637" fmla="*/ 2357092 h 4459172"/>
              <a:gd name="connsiteX638" fmla="*/ 1862479 w 5498758"/>
              <a:gd name="connsiteY638" fmla="*/ 2326901 h 4459172"/>
              <a:gd name="connsiteX639" fmla="*/ 1860340 w 5498758"/>
              <a:gd name="connsiteY639" fmla="*/ 2295388 h 4459172"/>
              <a:gd name="connsiteX640" fmla="*/ 1859110 w 5498758"/>
              <a:gd name="connsiteY640" fmla="*/ 2262596 h 4459172"/>
              <a:gd name="connsiteX641" fmla="*/ 1858717 w 5498758"/>
              <a:gd name="connsiteY641" fmla="*/ 2228568 h 4459172"/>
              <a:gd name="connsiteX642" fmla="*/ 1859123 w 5498758"/>
              <a:gd name="connsiteY642" fmla="*/ 2194687 h 4459172"/>
              <a:gd name="connsiteX643" fmla="*/ 1860390 w 5498758"/>
              <a:gd name="connsiteY643" fmla="*/ 2162039 h 4459172"/>
              <a:gd name="connsiteX644" fmla="*/ 1862586 w 5498758"/>
              <a:gd name="connsiteY644" fmla="*/ 2130670 h 4459172"/>
              <a:gd name="connsiteX645" fmla="*/ 1865781 w 5498758"/>
              <a:gd name="connsiteY645" fmla="*/ 2100621 h 4459172"/>
              <a:gd name="connsiteX646" fmla="*/ 1870047 w 5498758"/>
              <a:gd name="connsiteY646" fmla="*/ 2071935 h 4459172"/>
              <a:gd name="connsiteX647" fmla="*/ 1875452 w 5498758"/>
              <a:gd name="connsiteY647" fmla="*/ 2044655 h 4459172"/>
              <a:gd name="connsiteX648" fmla="*/ 1882067 w 5498758"/>
              <a:gd name="connsiteY648" fmla="*/ 2018824 h 4459172"/>
              <a:gd name="connsiteX649" fmla="*/ 1889961 w 5498758"/>
              <a:gd name="connsiteY649" fmla="*/ 1994485 h 4459172"/>
              <a:gd name="connsiteX650" fmla="*/ 1899205 w 5498758"/>
              <a:gd name="connsiteY650" fmla="*/ 1971682 h 4459172"/>
              <a:gd name="connsiteX651" fmla="*/ 1909867 w 5498758"/>
              <a:gd name="connsiteY651" fmla="*/ 1950456 h 4459172"/>
              <a:gd name="connsiteX652" fmla="*/ 1922020 w 5498758"/>
              <a:gd name="connsiteY652" fmla="*/ 1930851 h 4459172"/>
              <a:gd name="connsiteX653" fmla="*/ 1951072 w 5498758"/>
              <a:gd name="connsiteY653" fmla="*/ 1896674 h 4459172"/>
              <a:gd name="connsiteX654" fmla="*/ 1986922 w 5498758"/>
              <a:gd name="connsiteY654" fmla="*/ 1869495 h 4459172"/>
              <a:gd name="connsiteX655" fmla="*/ 2007571 w 5498758"/>
              <a:gd name="connsiteY655" fmla="*/ 1858637 h 4459172"/>
              <a:gd name="connsiteX656" fmla="*/ 2030129 w 5498758"/>
              <a:gd name="connsiteY656" fmla="*/ 1849656 h 4459172"/>
              <a:gd name="connsiteX657" fmla="*/ 2054665 w 5498758"/>
              <a:gd name="connsiteY657" fmla="*/ 1842597 h 4459172"/>
              <a:gd name="connsiteX658" fmla="*/ 2081251 w 5498758"/>
              <a:gd name="connsiteY658" fmla="*/ 1837502 h 4459172"/>
              <a:gd name="connsiteX659" fmla="*/ 2109955 w 5498758"/>
              <a:gd name="connsiteY659" fmla="*/ 1834413 h 4459172"/>
              <a:gd name="connsiteX660" fmla="*/ 2219148 w 5498758"/>
              <a:gd name="connsiteY660" fmla="*/ 1448369 h 4459172"/>
              <a:gd name="connsiteX661" fmla="*/ 2771201 w 5498758"/>
              <a:gd name="connsiteY661" fmla="*/ 1448369 h 4459172"/>
              <a:gd name="connsiteX662" fmla="*/ 2771201 w 5498758"/>
              <a:gd name="connsiteY662" fmla="*/ 1513555 h 4459172"/>
              <a:gd name="connsiteX663" fmla="*/ 2219148 w 5498758"/>
              <a:gd name="connsiteY663" fmla="*/ 1513555 h 4459172"/>
              <a:gd name="connsiteX664" fmla="*/ 1555972 w 5498758"/>
              <a:gd name="connsiteY664" fmla="*/ 1448366 h 4459172"/>
              <a:gd name="connsiteX665" fmla="*/ 2108018 w 5498758"/>
              <a:gd name="connsiteY665" fmla="*/ 1448366 h 4459172"/>
              <a:gd name="connsiteX666" fmla="*/ 2108018 w 5498758"/>
              <a:gd name="connsiteY666" fmla="*/ 1513553 h 4459172"/>
              <a:gd name="connsiteX667" fmla="*/ 1555972 w 5498758"/>
              <a:gd name="connsiteY667" fmla="*/ 1513553 h 4459172"/>
              <a:gd name="connsiteX668" fmla="*/ 2219148 w 5498758"/>
              <a:gd name="connsiteY668" fmla="*/ 1235493 h 4459172"/>
              <a:gd name="connsiteX669" fmla="*/ 2771201 w 5498758"/>
              <a:gd name="connsiteY669" fmla="*/ 1235493 h 4459172"/>
              <a:gd name="connsiteX670" fmla="*/ 2771201 w 5498758"/>
              <a:gd name="connsiteY670" fmla="*/ 1300680 h 4459172"/>
              <a:gd name="connsiteX671" fmla="*/ 2219148 w 5498758"/>
              <a:gd name="connsiteY671" fmla="*/ 1300680 h 4459172"/>
              <a:gd name="connsiteX672" fmla="*/ 1555972 w 5498758"/>
              <a:gd name="connsiteY672" fmla="*/ 1235491 h 4459172"/>
              <a:gd name="connsiteX673" fmla="*/ 2108018 w 5498758"/>
              <a:gd name="connsiteY673" fmla="*/ 1235491 h 4459172"/>
              <a:gd name="connsiteX674" fmla="*/ 2108018 w 5498758"/>
              <a:gd name="connsiteY674" fmla="*/ 1300678 h 4459172"/>
              <a:gd name="connsiteX675" fmla="*/ 1555972 w 5498758"/>
              <a:gd name="connsiteY675" fmla="*/ 1300678 h 4459172"/>
              <a:gd name="connsiteX676" fmla="*/ 3742214 w 5498758"/>
              <a:gd name="connsiteY676" fmla="*/ 916690 h 4459172"/>
              <a:gd name="connsiteX677" fmla="*/ 3773108 w 5498758"/>
              <a:gd name="connsiteY677" fmla="*/ 917728 h 4459172"/>
              <a:gd name="connsiteX678" fmla="*/ 3801812 w 5498758"/>
              <a:gd name="connsiteY678" fmla="*/ 920817 h 4459172"/>
              <a:gd name="connsiteX679" fmla="*/ 3828397 w 5498758"/>
              <a:gd name="connsiteY679" fmla="*/ 925913 h 4459172"/>
              <a:gd name="connsiteX680" fmla="*/ 3852935 w 5498758"/>
              <a:gd name="connsiteY680" fmla="*/ 932972 h 4459172"/>
              <a:gd name="connsiteX681" fmla="*/ 3875492 w 5498758"/>
              <a:gd name="connsiteY681" fmla="*/ 941952 h 4459172"/>
              <a:gd name="connsiteX682" fmla="*/ 3896140 w 5498758"/>
              <a:gd name="connsiteY682" fmla="*/ 952810 h 4459172"/>
              <a:gd name="connsiteX683" fmla="*/ 3931990 w 5498758"/>
              <a:gd name="connsiteY683" fmla="*/ 979989 h 4459172"/>
              <a:gd name="connsiteX684" fmla="*/ 3961043 w 5498758"/>
              <a:gd name="connsiteY684" fmla="*/ 1014166 h 4459172"/>
              <a:gd name="connsiteX685" fmla="*/ 3973194 w 5498758"/>
              <a:gd name="connsiteY685" fmla="*/ 1033771 h 4459172"/>
              <a:gd name="connsiteX686" fmla="*/ 3983858 w 5498758"/>
              <a:gd name="connsiteY686" fmla="*/ 1054997 h 4459172"/>
              <a:gd name="connsiteX687" fmla="*/ 3993102 w 5498758"/>
              <a:gd name="connsiteY687" fmla="*/ 1077801 h 4459172"/>
              <a:gd name="connsiteX688" fmla="*/ 4000996 w 5498758"/>
              <a:gd name="connsiteY688" fmla="*/ 1102139 h 4459172"/>
              <a:gd name="connsiteX689" fmla="*/ 4007610 w 5498758"/>
              <a:gd name="connsiteY689" fmla="*/ 1127971 h 4459172"/>
              <a:gd name="connsiteX690" fmla="*/ 4013016 w 5498758"/>
              <a:gd name="connsiteY690" fmla="*/ 1155250 h 4459172"/>
              <a:gd name="connsiteX691" fmla="*/ 4017281 w 5498758"/>
              <a:gd name="connsiteY691" fmla="*/ 1183936 h 4459172"/>
              <a:gd name="connsiteX692" fmla="*/ 4020477 w 5498758"/>
              <a:gd name="connsiteY692" fmla="*/ 1213985 h 4459172"/>
              <a:gd name="connsiteX693" fmla="*/ 4022673 w 5498758"/>
              <a:gd name="connsiteY693" fmla="*/ 1245354 h 4459172"/>
              <a:gd name="connsiteX694" fmla="*/ 4023939 w 5498758"/>
              <a:gd name="connsiteY694" fmla="*/ 1278002 h 4459172"/>
              <a:gd name="connsiteX695" fmla="*/ 4024347 w 5498758"/>
              <a:gd name="connsiteY695" fmla="*/ 1311883 h 4459172"/>
              <a:gd name="connsiteX696" fmla="*/ 4023960 w 5498758"/>
              <a:gd name="connsiteY696" fmla="*/ 1345910 h 4459172"/>
              <a:gd name="connsiteX697" fmla="*/ 4022749 w 5498758"/>
              <a:gd name="connsiteY697" fmla="*/ 1378703 h 4459172"/>
              <a:gd name="connsiteX698" fmla="*/ 4020638 w 5498758"/>
              <a:gd name="connsiteY698" fmla="*/ 1410216 h 4459172"/>
              <a:gd name="connsiteX699" fmla="*/ 4017550 w 5498758"/>
              <a:gd name="connsiteY699" fmla="*/ 1440407 h 4459172"/>
              <a:gd name="connsiteX700" fmla="*/ 4013412 w 5498758"/>
              <a:gd name="connsiteY700" fmla="*/ 1469231 h 4459172"/>
              <a:gd name="connsiteX701" fmla="*/ 4008146 w 5498758"/>
              <a:gd name="connsiteY701" fmla="*/ 1496647 h 4459172"/>
              <a:gd name="connsiteX702" fmla="*/ 4001675 w 5498758"/>
              <a:gd name="connsiteY702" fmla="*/ 1522609 h 4459172"/>
              <a:gd name="connsiteX703" fmla="*/ 3993926 w 5498758"/>
              <a:gd name="connsiteY703" fmla="*/ 1547074 h 4459172"/>
              <a:gd name="connsiteX704" fmla="*/ 3984821 w 5498758"/>
              <a:gd name="connsiteY704" fmla="*/ 1570000 h 4459172"/>
              <a:gd name="connsiteX705" fmla="*/ 3974284 w 5498758"/>
              <a:gd name="connsiteY705" fmla="*/ 1591341 h 4459172"/>
              <a:gd name="connsiteX706" fmla="*/ 3962241 w 5498758"/>
              <a:gd name="connsiteY706" fmla="*/ 1611056 h 4459172"/>
              <a:gd name="connsiteX707" fmla="*/ 3933329 w 5498758"/>
              <a:gd name="connsiteY707" fmla="*/ 1645428 h 4459172"/>
              <a:gd name="connsiteX708" fmla="*/ 3897477 w 5498758"/>
              <a:gd name="connsiteY708" fmla="*/ 1672768 h 4459172"/>
              <a:gd name="connsiteX709" fmla="*/ 3876760 w 5498758"/>
              <a:gd name="connsiteY709" fmla="*/ 1683693 h 4459172"/>
              <a:gd name="connsiteX710" fmla="*/ 3854080 w 5498758"/>
              <a:gd name="connsiteY710" fmla="*/ 1692729 h 4459172"/>
              <a:gd name="connsiteX711" fmla="*/ 3829360 w 5498758"/>
              <a:gd name="connsiteY711" fmla="*/ 1699833 h 4459172"/>
              <a:gd name="connsiteX712" fmla="*/ 3802527 w 5498758"/>
              <a:gd name="connsiteY712" fmla="*/ 1704961 h 4459172"/>
              <a:gd name="connsiteX713" fmla="*/ 3773504 w 5498758"/>
              <a:gd name="connsiteY713" fmla="*/ 1708069 h 4459172"/>
              <a:gd name="connsiteX714" fmla="*/ 3742214 w 5498758"/>
              <a:gd name="connsiteY714" fmla="*/ 1709115 h 4459172"/>
              <a:gd name="connsiteX715" fmla="*/ 3742214 w 5498758"/>
              <a:gd name="connsiteY715" fmla="*/ 1650040 h 4459172"/>
              <a:gd name="connsiteX716" fmla="*/ 3772528 w 5498758"/>
              <a:gd name="connsiteY716" fmla="*/ 1648677 h 4459172"/>
              <a:gd name="connsiteX717" fmla="*/ 3799938 w 5498758"/>
              <a:gd name="connsiteY717" fmla="*/ 1644638 h 4459172"/>
              <a:gd name="connsiteX718" fmla="*/ 3824576 w 5498758"/>
              <a:gd name="connsiteY718" fmla="*/ 1637994 h 4459172"/>
              <a:gd name="connsiteX719" fmla="*/ 3846584 w 5498758"/>
              <a:gd name="connsiteY719" fmla="*/ 1628817 h 4459172"/>
              <a:gd name="connsiteX720" fmla="*/ 3883261 w 5498758"/>
              <a:gd name="connsiteY720" fmla="*/ 1603155 h 4459172"/>
              <a:gd name="connsiteX721" fmla="*/ 3911071 w 5498758"/>
              <a:gd name="connsiteY721" fmla="*/ 1568228 h 4459172"/>
              <a:gd name="connsiteX722" fmla="*/ 3921996 w 5498758"/>
              <a:gd name="connsiteY722" fmla="*/ 1547471 h 4459172"/>
              <a:gd name="connsiteX723" fmla="*/ 3931120 w 5498758"/>
              <a:gd name="connsiteY723" fmla="*/ 1524614 h 4459172"/>
              <a:gd name="connsiteX724" fmla="*/ 3938578 w 5498758"/>
              <a:gd name="connsiteY724" fmla="*/ 1499729 h 4459172"/>
              <a:gd name="connsiteX725" fmla="*/ 3944510 w 5498758"/>
              <a:gd name="connsiteY725" fmla="*/ 1472889 h 4459172"/>
              <a:gd name="connsiteX726" fmla="*/ 3949054 w 5498758"/>
              <a:gd name="connsiteY726" fmla="*/ 1444166 h 4459172"/>
              <a:gd name="connsiteX727" fmla="*/ 3952348 w 5498758"/>
              <a:gd name="connsiteY727" fmla="*/ 1413632 h 4459172"/>
              <a:gd name="connsiteX728" fmla="*/ 3954530 w 5498758"/>
              <a:gd name="connsiteY728" fmla="*/ 1381358 h 4459172"/>
              <a:gd name="connsiteX729" fmla="*/ 3955738 w 5498758"/>
              <a:gd name="connsiteY729" fmla="*/ 1347418 h 4459172"/>
              <a:gd name="connsiteX730" fmla="*/ 3956109 w 5498758"/>
              <a:gd name="connsiteY730" fmla="*/ 1311883 h 4459172"/>
              <a:gd name="connsiteX731" fmla="*/ 3955717 w 5498758"/>
              <a:gd name="connsiteY731" fmla="*/ 1276698 h 4459172"/>
              <a:gd name="connsiteX732" fmla="*/ 3954455 w 5498758"/>
              <a:gd name="connsiteY732" fmla="*/ 1243085 h 4459172"/>
              <a:gd name="connsiteX733" fmla="*/ 3952190 w 5498758"/>
              <a:gd name="connsiteY733" fmla="*/ 1211119 h 4459172"/>
              <a:gd name="connsiteX734" fmla="*/ 3948795 w 5498758"/>
              <a:gd name="connsiteY734" fmla="*/ 1180870 h 4459172"/>
              <a:gd name="connsiteX735" fmla="*/ 3944136 w 5498758"/>
              <a:gd name="connsiteY735" fmla="*/ 1152411 h 4459172"/>
              <a:gd name="connsiteX736" fmla="*/ 3938084 w 5498758"/>
              <a:gd name="connsiteY736" fmla="*/ 1125814 h 4459172"/>
              <a:gd name="connsiteX737" fmla="*/ 3930509 w 5498758"/>
              <a:gd name="connsiteY737" fmla="*/ 1101153 h 4459172"/>
              <a:gd name="connsiteX738" fmla="*/ 3921278 w 5498758"/>
              <a:gd name="connsiteY738" fmla="*/ 1078496 h 4459172"/>
              <a:gd name="connsiteX739" fmla="*/ 3910264 w 5498758"/>
              <a:gd name="connsiteY739" fmla="*/ 1057918 h 4459172"/>
              <a:gd name="connsiteX740" fmla="*/ 3882356 w 5498758"/>
              <a:gd name="connsiteY740" fmla="*/ 1023288 h 4459172"/>
              <a:gd name="connsiteX741" fmla="*/ 3845742 w 5498758"/>
              <a:gd name="connsiteY741" fmla="*/ 997836 h 4459172"/>
              <a:gd name="connsiteX742" fmla="*/ 3823844 w 5498758"/>
              <a:gd name="connsiteY742" fmla="*/ 988734 h 4459172"/>
              <a:gd name="connsiteX743" fmla="*/ 3799376 w 5498758"/>
              <a:gd name="connsiteY743" fmla="*/ 982143 h 4459172"/>
              <a:gd name="connsiteX744" fmla="*/ 3772210 w 5498758"/>
              <a:gd name="connsiteY744" fmla="*/ 978135 h 4459172"/>
              <a:gd name="connsiteX745" fmla="*/ 3742214 w 5498758"/>
              <a:gd name="connsiteY745" fmla="*/ 976783 h 4459172"/>
              <a:gd name="connsiteX746" fmla="*/ 3686156 w 5498758"/>
              <a:gd name="connsiteY746" fmla="*/ 916690 h 4459172"/>
              <a:gd name="connsiteX747" fmla="*/ 3686156 w 5498758"/>
              <a:gd name="connsiteY747" fmla="*/ 976783 h 4459172"/>
              <a:gd name="connsiteX748" fmla="*/ 3656329 w 5498758"/>
              <a:gd name="connsiteY748" fmla="*/ 978135 h 4459172"/>
              <a:gd name="connsiteX749" fmla="*/ 3629312 w 5498758"/>
              <a:gd name="connsiteY749" fmla="*/ 982143 h 4459172"/>
              <a:gd name="connsiteX750" fmla="*/ 3604976 w 5498758"/>
              <a:gd name="connsiteY750" fmla="*/ 988734 h 4459172"/>
              <a:gd name="connsiteX751" fmla="*/ 3583191 w 5498758"/>
              <a:gd name="connsiteY751" fmla="*/ 997836 h 4459172"/>
              <a:gd name="connsiteX752" fmla="*/ 3546757 w 5498758"/>
              <a:gd name="connsiteY752" fmla="*/ 1023288 h 4459172"/>
              <a:gd name="connsiteX753" fmla="*/ 3518975 w 5498758"/>
              <a:gd name="connsiteY753" fmla="*/ 1057918 h 4459172"/>
              <a:gd name="connsiteX754" fmla="*/ 3508006 w 5498758"/>
              <a:gd name="connsiteY754" fmla="*/ 1078496 h 4459172"/>
              <a:gd name="connsiteX755" fmla="*/ 3498812 w 5498758"/>
              <a:gd name="connsiteY755" fmla="*/ 1101153 h 4459172"/>
              <a:gd name="connsiteX756" fmla="*/ 3491262 w 5498758"/>
              <a:gd name="connsiteY756" fmla="*/ 1125814 h 4459172"/>
              <a:gd name="connsiteX757" fmla="*/ 3485230 w 5498758"/>
              <a:gd name="connsiteY757" fmla="*/ 1152411 h 4459172"/>
              <a:gd name="connsiteX758" fmla="*/ 3480584 w 5498758"/>
              <a:gd name="connsiteY758" fmla="*/ 1180870 h 4459172"/>
              <a:gd name="connsiteX759" fmla="*/ 3477197 w 5498758"/>
              <a:gd name="connsiteY759" fmla="*/ 1211119 h 4459172"/>
              <a:gd name="connsiteX760" fmla="*/ 3474937 w 5498758"/>
              <a:gd name="connsiteY760" fmla="*/ 1243085 h 4459172"/>
              <a:gd name="connsiteX761" fmla="*/ 3473675 w 5498758"/>
              <a:gd name="connsiteY761" fmla="*/ 1276698 h 4459172"/>
              <a:gd name="connsiteX762" fmla="*/ 3473284 w 5498758"/>
              <a:gd name="connsiteY762" fmla="*/ 1311883 h 4459172"/>
              <a:gd name="connsiteX763" fmla="*/ 3473666 w 5498758"/>
              <a:gd name="connsiteY763" fmla="*/ 1347418 h 4459172"/>
              <a:gd name="connsiteX764" fmla="*/ 3474899 w 5498758"/>
              <a:gd name="connsiteY764" fmla="*/ 1381358 h 4459172"/>
              <a:gd name="connsiteX765" fmla="*/ 3477118 w 5498758"/>
              <a:gd name="connsiteY765" fmla="*/ 1413632 h 4459172"/>
              <a:gd name="connsiteX766" fmla="*/ 3480455 w 5498758"/>
              <a:gd name="connsiteY766" fmla="*/ 1444166 h 4459172"/>
              <a:gd name="connsiteX767" fmla="*/ 3485044 w 5498758"/>
              <a:gd name="connsiteY767" fmla="*/ 1472889 h 4459172"/>
              <a:gd name="connsiteX768" fmla="*/ 3491016 w 5498758"/>
              <a:gd name="connsiteY768" fmla="*/ 1499729 h 4459172"/>
              <a:gd name="connsiteX769" fmla="*/ 3498507 w 5498758"/>
              <a:gd name="connsiteY769" fmla="*/ 1524614 h 4459172"/>
              <a:gd name="connsiteX770" fmla="*/ 3507648 w 5498758"/>
              <a:gd name="connsiteY770" fmla="*/ 1547471 h 4459172"/>
              <a:gd name="connsiteX771" fmla="*/ 3518572 w 5498758"/>
              <a:gd name="connsiteY771" fmla="*/ 1568228 h 4459172"/>
              <a:gd name="connsiteX772" fmla="*/ 3546307 w 5498758"/>
              <a:gd name="connsiteY772" fmla="*/ 1603155 h 4459172"/>
              <a:gd name="connsiteX773" fmla="*/ 3582771 w 5498758"/>
              <a:gd name="connsiteY773" fmla="*/ 1628817 h 4459172"/>
              <a:gd name="connsiteX774" fmla="*/ 3604611 w 5498758"/>
              <a:gd name="connsiteY774" fmla="*/ 1637994 h 4459172"/>
              <a:gd name="connsiteX775" fmla="*/ 3629033 w 5498758"/>
              <a:gd name="connsiteY775" fmla="*/ 1644638 h 4459172"/>
              <a:gd name="connsiteX776" fmla="*/ 3656171 w 5498758"/>
              <a:gd name="connsiteY776" fmla="*/ 1648677 h 4459172"/>
              <a:gd name="connsiteX777" fmla="*/ 3686156 w 5498758"/>
              <a:gd name="connsiteY777" fmla="*/ 1650040 h 4459172"/>
              <a:gd name="connsiteX778" fmla="*/ 3686156 w 5498758"/>
              <a:gd name="connsiteY778" fmla="*/ 1709115 h 4459172"/>
              <a:gd name="connsiteX779" fmla="*/ 3655000 w 5498758"/>
              <a:gd name="connsiteY779" fmla="*/ 1708069 h 4459172"/>
              <a:gd name="connsiteX780" fmla="*/ 3626082 w 5498758"/>
              <a:gd name="connsiteY780" fmla="*/ 1704961 h 4459172"/>
              <a:gd name="connsiteX781" fmla="*/ 3599332 w 5498758"/>
              <a:gd name="connsiteY781" fmla="*/ 1699833 h 4459172"/>
              <a:gd name="connsiteX782" fmla="*/ 3574674 w 5498758"/>
              <a:gd name="connsiteY782" fmla="*/ 1692729 h 4459172"/>
              <a:gd name="connsiteX783" fmla="*/ 3552035 w 5498758"/>
              <a:gd name="connsiteY783" fmla="*/ 1683693 h 4459172"/>
              <a:gd name="connsiteX784" fmla="*/ 3531340 w 5498758"/>
              <a:gd name="connsiteY784" fmla="*/ 1672768 h 4459172"/>
              <a:gd name="connsiteX785" fmla="*/ 3495489 w 5498758"/>
              <a:gd name="connsiteY785" fmla="*/ 1645428 h 4459172"/>
              <a:gd name="connsiteX786" fmla="*/ 3466530 w 5498758"/>
              <a:gd name="connsiteY786" fmla="*/ 1611056 h 4459172"/>
              <a:gd name="connsiteX787" fmla="*/ 3454450 w 5498758"/>
              <a:gd name="connsiteY787" fmla="*/ 1591341 h 4459172"/>
              <a:gd name="connsiteX788" fmla="*/ 3443871 w 5498758"/>
              <a:gd name="connsiteY788" fmla="*/ 1570000 h 4459172"/>
              <a:gd name="connsiteX789" fmla="*/ 3434720 w 5498758"/>
              <a:gd name="connsiteY789" fmla="*/ 1547074 h 4459172"/>
              <a:gd name="connsiteX790" fmla="*/ 3426922 w 5498758"/>
              <a:gd name="connsiteY790" fmla="*/ 1522609 h 4459172"/>
              <a:gd name="connsiteX791" fmla="*/ 3420404 w 5498758"/>
              <a:gd name="connsiteY791" fmla="*/ 1496647 h 4459172"/>
              <a:gd name="connsiteX792" fmla="*/ 3415090 w 5498758"/>
              <a:gd name="connsiteY792" fmla="*/ 1469231 h 4459172"/>
              <a:gd name="connsiteX793" fmla="*/ 3410910 w 5498758"/>
              <a:gd name="connsiteY793" fmla="*/ 1440407 h 4459172"/>
              <a:gd name="connsiteX794" fmla="*/ 3407786 w 5498758"/>
              <a:gd name="connsiteY794" fmla="*/ 1410216 h 4459172"/>
              <a:gd name="connsiteX795" fmla="*/ 3405647 w 5498758"/>
              <a:gd name="connsiteY795" fmla="*/ 1378703 h 4459172"/>
              <a:gd name="connsiteX796" fmla="*/ 3404417 w 5498758"/>
              <a:gd name="connsiteY796" fmla="*/ 1345910 h 4459172"/>
              <a:gd name="connsiteX797" fmla="*/ 3404024 w 5498758"/>
              <a:gd name="connsiteY797" fmla="*/ 1311883 h 4459172"/>
              <a:gd name="connsiteX798" fmla="*/ 3404430 w 5498758"/>
              <a:gd name="connsiteY798" fmla="*/ 1278002 h 4459172"/>
              <a:gd name="connsiteX799" fmla="*/ 3405697 w 5498758"/>
              <a:gd name="connsiteY799" fmla="*/ 1245354 h 4459172"/>
              <a:gd name="connsiteX800" fmla="*/ 3407893 w 5498758"/>
              <a:gd name="connsiteY800" fmla="*/ 1213985 h 4459172"/>
              <a:gd name="connsiteX801" fmla="*/ 3411088 w 5498758"/>
              <a:gd name="connsiteY801" fmla="*/ 1183936 h 4459172"/>
              <a:gd name="connsiteX802" fmla="*/ 3415354 w 5498758"/>
              <a:gd name="connsiteY802" fmla="*/ 1155250 h 4459172"/>
              <a:gd name="connsiteX803" fmla="*/ 3420760 w 5498758"/>
              <a:gd name="connsiteY803" fmla="*/ 1127971 h 4459172"/>
              <a:gd name="connsiteX804" fmla="*/ 3427374 w 5498758"/>
              <a:gd name="connsiteY804" fmla="*/ 1102139 h 4459172"/>
              <a:gd name="connsiteX805" fmla="*/ 3435268 w 5498758"/>
              <a:gd name="connsiteY805" fmla="*/ 1077801 h 4459172"/>
              <a:gd name="connsiteX806" fmla="*/ 3444512 w 5498758"/>
              <a:gd name="connsiteY806" fmla="*/ 1054997 h 4459172"/>
              <a:gd name="connsiteX807" fmla="*/ 3455174 w 5498758"/>
              <a:gd name="connsiteY807" fmla="*/ 1033771 h 4459172"/>
              <a:gd name="connsiteX808" fmla="*/ 3467327 w 5498758"/>
              <a:gd name="connsiteY808" fmla="*/ 1014166 h 4459172"/>
              <a:gd name="connsiteX809" fmla="*/ 3496380 w 5498758"/>
              <a:gd name="connsiteY809" fmla="*/ 979989 h 4459172"/>
              <a:gd name="connsiteX810" fmla="*/ 3532230 w 5498758"/>
              <a:gd name="connsiteY810" fmla="*/ 952810 h 4459172"/>
              <a:gd name="connsiteX811" fmla="*/ 3552878 w 5498758"/>
              <a:gd name="connsiteY811" fmla="*/ 941952 h 4459172"/>
              <a:gd name="connsiteX812" fmla="*/ 3575436 w 5498758"/>
              <a:gd name="connsiteY812" fmla="*/ 932972 h 4459172"/>
              <a:gd name="connsiteX813" fmla="*/ 3599973 w 5498758"/>
              <a:gd name="connsiteY813" fmla="*/ 925913 h 4459172"/>
              <a:gd name="connsiteX814" fmla="*/ 3626558 w 5498758"/>
              <a:gd name="connsiteY814" fmla="*/ 920817 h 4459172"/>
              <a:gd name="connsiteX815" fmla="*/ 3655263 w 5498758"/>
              <a:gd name="connsiteY815" fmla="*/ 917728 h 4459172"/>
              <a:gd name="connsiteX816" fmla="*/ 2538537 w 5498758"/>
              <a:gd name="connsiteY816" fmla="*/ 623346 h 4459172"/>
              <a:gd name="connsiteX817" fmla="*/ 2664834 w 5498758"/>
              <a:gd name="connsiteY817" fmla="*/ 623346 h 4459172"/>
              <a:gd name="connsiteX818" fmla="*/ 2664834 w 5498758"/>
              <a:gd name="connsiteY818" fmla="*/ 729274 h 4459172"/>
              <a:gd name="connsiteX819" fmla="*/ 2538537 w 5498758"/>
              <a:gd name="connsiteY819" fmla="*/ 729274 h 4459172"/>
              <a:gd name="connsiteX820" fmla="*/ 3538388 w 5498758"/>
              <a:gd name="connsiteY820" fmla="*/ 531682 h 4459172"/>
              <a:gd name="connsiteX821" fmla="*/ 4090442 w 5498758"/>
              <a:gd name="connsiteY821" fmla="*/ 531682 h 4459172"/>
              <a:gd name="connsiteX822" fmla="*/ 4090442 w 5498758"/>
              <a:gd name="connsiteY822" fmla="*/ 596869 h 4459172"/>
              <a:gd name="connsiteX823" fmla="*/ 3538388 w 5498758"/>
              <a:gd name="connsiteY823" fmla="*/ 596869 h 4459172"/>
              <a:gd name="connsiteX824" fmla="*/ 3538388 w 5498758"/>
              <a:gd name="connsiteY824" fmla="*/ 318807 h 4459172"/>
              <a:gd name="connsiteX825" fmla="*/ 4090442 w 5498758"/>
              <a:gd name="connsiteY825" fmla="*/ 318807 h 4459172"/>
              <a:gd name="connsiteX826" fmla="*/ 4090442 w 5498758"/>
              <a:gd name="connsiteY826" fmla="*/ 383994 h 4459172"/>
              <a:gd name="connsiteX827" fmla="*/ 3538388 w 5498758"/>
              <a:gd name="connsiteY827" fmla="*/ 383994 h 4459172"/>
              <a:gd name="connsiteX828" fmla="*/ 4743648 w 5498758"/>
              <a:gd name="connsiteY828" fmla="*/ 4277 h 4459172"/>
              <a:gd name="connsiteX829" fmla="*/ 4971802 w 5498758"/>
              <a:gd name="connsiteY829" fmla="*/ 4277 h 4459172"/>
              <a:gd name="connsiteX830" fmla="*/ 4971802 w 5498758"/>
              <a:gd name="connsiteY830" fmla="*/ 62507 h 4459172"/>
              <a:gd name="connsiteX831" fmla="*/ 4813930 w 5498758"/>
              <a:gd name="connsiteY831" fmla="*/ 62507 h 4459172"/>
              <a:gd name="connsiteX832" fmla="*/ 4813930 w 5498758"/>
              <a:gd name="connsiteY832" fmla="*/ 732154 h 4459172"/>
              <a:gd name="connsiteX833" fmla="*/ 4971802 w 5498758"/>
              <a:gd name="connsiteY833" fmla="*/ 732154 h 4459172"/>
              <a:gd name="connsiteX834" fmla="*/ 4971802 w 5498758"/>
              <a:gd name="connsiteY834" fmla="*/ 790385 h 4459172"/>
              <a:gd name="connsiteX835" fmla="*/ 4743648 w 5498758"/>
              <a:gd name="connsiteY835" fmla="*/ 790385 h 4459172"/>
              <a:gd name="connsiteX836" fmla="*/ 4743648 w 5498758"/>
              <a:gd name="connsiteY836" fmla="*/ 732154 h 4459172"/>
              <a:gd name="connsiteX837" fmla="*/ 4743648 w 5498758"/>
              <a:gd name="connsiteY837" fmla="*/ 62507 h 4459172"/>
              <a:gd name="connsiteX838" fmla="*/ 1841161 w 5498758"/>
              <a:gd name="connsiteY838" fmla="*/ 1 h 4459172"/>
              <a:gd name="connsiteX839" fmla="*/ 1841161 w 5498758"/>
              <a:gd name="connsiteY839" fmla="*/ 60096 h 4459172"/>
              <a:gd name="connsiteX840" fmla="*/ 1811334 w 5498758"/>
              <a:gd name="connsiteY840" fmla="*/ 61447 h 4459172"/>
              <a:gd name="connsiteX841" fmla="*/ 1784317 w 5498758"/>
              <a:gd name="connsiteY841" fmla="*/ 65456 h 4459172"/>
              <a:gd name="connsiteX842" fmla="*/ 1759981 w 5498758"/>
              <a:gd name="connsiteY842" fmla="*/ 72046 h 4459172"/>
              <a:gd name="connsiteX843" fmla="*/ 1738195 w 5498758"/>
              <a:gd name="connsiteY843" fmla="*/ 81149 h 4459172"/>
              <a:gd name="connsiteX844" fmla="*/ 1701760 w 5498758"/>
              <a:gd name="connsiteY844" fmla="*/ 106599 h 4459172"/>
              <a:gd name="connsiteX845" fmla="*/ 1673977 w 5498758"/>
              <a:gd name="connsiteY845" fmla="*/ 141231 h 4459172"/>
              <a:gd name="connsiteX846" fmla="*/ 1663007 w 5498758"/>
              <a:gd name="connsiteY846" fmla="*/ 161808 h 4459172"/>
              <a:gd name="connsiteX847" fmla="*/ 1653812 w 5498758"/>
              <a:gd name="connsiteY847" fmla="*/ 184464 h 4459172"/>
              <a:gd name="connsiteX848" fmla="*/ 1646263 w 5498758"/>
              <a:gd name="connsiteY848" fmla="*/ 209127 h 4459172"/>
              <a:gd name="connsiteX849" fmla="*/ 1640230 w 5498758"/>
              <a:gd name="connsiteY849" fmla="*/ 235723 h 4459172"/>
              <a:gd name="connsiteX850" fmla="*/ 1635584 w 5498758"/>
              <a:gd name="connsiteY850" fmla="*/ 264182 h 4459172"/>
              <a:gd name="connsiteX851" fmla="*/ 1632195 w 5498758"/>
              <a:gd name="connsiteY851" fmla="*/ 294431 h 4459172"/>
              <a:gd name="connsiteX852" fmla="*/ 1629935 w 5498758"/>
              <a:gd name="connsiteY852" fmla="*/ 326398 h 4459172"/>
              <a:gd name="connsiteX853" fmla="*/ 1628674 w 5498758"/>
              <a:gd name="connsiteY853" fmla="*/ 360010 h 4459172"/>
              <a:gd name="connsiteX854" fmla="*/ 1628282 w 5498758"/>
              <a:gd name="connsiteY854" fmla="*/ 395196 h 4459172"/>
              <a:gd name="connsiteX855" fmla="*/ 1628664 w 5498758"/>
              <a:gd name="connsiteY855" fmla="*/ 430731 h 4459172"/>
              <a:gd name="connsiteX856" fmla="*/ 1629898 w 5498758"/>
              <a:gd name="connsiteY856" fmla="*/ 464671 h 4459172"/>
              <a:gd name="connsiteX857" fmla="*/ 1632117 w 5498758"/>
              <a:gd name="connsiteY857" fmla="*/ 496943 h 4459172"/>
              <a:gd name="connsiteX858" fmla="*/ 1635455 w 5498758"/>
              <a:gd name="connsiteY858" fmla="*/ 527477 h 4459172"/>
              <a:gd name="connsiteX859" fmla="*/ 1640043 w 5498758"/>
              <a:gd name="connsiteY859" fmla="*/ 556201 h 4459172"/>
              <a:gd name="connsiteX860" fmla="*/ 1646017 w 5498758"/>
              <a:gd name="connsiteY860" fmla="*/ 583040 h 4459172"/>
              <a:gd name="connsiteX861" fmla="*/ 1653508 w 5498758"/>
              <a:gd name="connsiteY861" fmla="*/ 607925 h 4459172"/>
              <a:gd name="connsiteX862" fmla="*/ 1662650 w 5498758"/>
              <a:gd name="connsiteY862" fmla="*/ 630782 h 4459172"/>
              <a:gd name="connsiteX863" fmla="*/ 1673575 w 5498758"/>
              <a:gd name="connsiteY863" fmla="*/ 651540 h 4459172"/>
              <a:gd name="connsiteX864" fmla="*/ 1701309 w 5498758"/>
              <a:gd name="connsiteY864" fmla="*/ 686466 h 4459172"/>
              <a:gd name="connsiteX865" fmla="*/ 1737775 w 5498758"/>
              <a:gd name="connsiteY865" fmla="*/ 712128 h 4459172"/>
              <a:gd name="connsiteX866" fmla="*/ 1759616 w 5498758"/>
              <a:gd name="connsiteY866" fmla="*/ 721306 h 4459172"/>
              <a:gd name="connsiteX867" fmla="*/ 1784038 w 5498758"/>
              <a:gd name="connsiteY867" fmla="*/ 727950 h 4459172"/>
              <a:gd name="connsiteX868" fmla="*/ 1811175 w 5498758"/>
              <a:gd name="connsiteY868" fmla="*/ 731988 h 4459172"/>
              <a:gd name="connsiteX869" fmla="*/ 1841161 w 5498758"/>
              <a:gd name="connsiteY869" fmla="*/ 733351 h 4459172"/>
              <a:gd name="connsiteX870" fmla="*/ 1841161 w 5498758"/>
              <a:gd name="connsiteY870" fmla="*/ 792427 h 4459172"/>
              <a:gd name="connsiteX871" fmla="*/ 1810003 w 5498758"/>
              <a:gd name="connsiteY871" fmla="*/ 791381 h 4459172"/>
              <a:gd name="connsiteX872" fmla="*/ 1781086 w 5498758"/>
              <a:gd name="connsiteY872" fmla="*/ 788273 h 4459172"/>
              <a:gd name="connsiteX873" fmla="*/ 1754335 w 5498758"/>
              <a:gd name="connsiteY873" fmla="*/ 783144 h 4459172"/>
              <a:gd name="connsiteX874" fmla="*/ 1729676 w 5498758"/>
              <a:gd name="connsiteY874" fmla="*/ 776041 h 4459172"/>
              <a:gd name="connsiteX875" fmla="*/ 1707036 w 5498758"/>
              <a:gd name="connsiteY875" fmla="*/ 767004 h 4459172"/>
              <a:gd name="connsiteX876" fmla="*/ 1686340 w 5498758"/>
              <a:gd name="connsiteY876" fmla="*/ 756080 h 4459172"/>
              <a:gd name="connsiteX877" fmla="*/ 1650489 w 5498758"/>
              <a:gd name="connsiteY877" fmla="*/ 728740 h 4459172"/>
              <a:gd name="connsiteX878" fmla="*/ 1621529 w 5498758"/>
              <a:gd name="connsiteY878" fmla="*/ 694367 h 4459172"/>
              <a:gd name="connsiteX879" fmla="*/ 1609449 w 5498758"/>
              <a:gd name="connsiteY879" fmla="*/ 674653 h 4459172"/>
              <a:gd name="connsiteX880" fmla="*/ 1598870 w 5498758"/>
              <a:gd name="connsiteY880" fmla="*/ 653311 h 4459172"/>
              <a:gd name="connsiteX881" fmla="*/ 1589719 w 5498758"/>
              <a:gd name="connsiteY881" fmla="*/ 630386 h 4459172"/>
              <a:gd name="connsiteX882" fmla="*/ 1581921 w 5498758"/>
              <a:gd name="connsiteY882" fmla="*/ 605921 h 4459172"/>
              <a:gd name="connsiteX883" fmla="*/ 1575402 w 5498758"/>
              <a:gd name="connsiteY883" fmla="*/ 579959 h 4459172"/>
              <a:gd name="connsiteX884" fmla="*/ 1570089 w 5498758"/>
              <a:gd name="connsiteY884" fmla="*/ 552543 h 4459172"/>
              <a:gd name="connsiteX885" fmla="*/ 1565908 w 5498758"/>
              <a:gd name="connsiteY885" fmla="*/ 523719 h 4459172"/>
              <a:gd name="connsiteX886" fmla="*/ 1562785 w 5498758"/>
              <a:gd name="connsiteY886" fmla="*/ 493528 h 4459172"/>
              <a:gd name="connsiteX887" fmla="*/ 1560645 w 5498758"/>
              <a:gd name="connsiteY887" fmla="*/ 462016 h 4459172"/>
              <a:gd name="connsiteX888" fmla="*/ 1559416 w 5498758"/>
              <a:gd name="connsiteY888" fmla="*/ 429223 h 4459172"/>
              <a:gd name="connsiteX889" fmla="*/ 1559022 w 5498758"/>
              <a:gd name="connsiteY889" fmla="*/ 395196 h 4459172"/>
              <a:gd name="connsiteX890" fmla="*/ 1559429 w 5498758"/>
              <a:gd name="connsiteY890" fmla="*/ 361314 h 4459172"/>
              <a:gd name="connsiteX891" fmla="*/ 1560695 w 5498758"/>
              <a:gd name="connsiteY891" fmla="*/ 328666 h 4459172"/>
              <a:gd name="connsiteX892" fmla="*/ 1562891 w 5498758"/>
              <a:gd name="connsiteY892" fmla="*/ 297298 h 4459172"/>
              <a:gd name="connsiteX893" fmla="*/ 1566088 w 5498758"/>
              <a:gd name="connsiteY893" fmla="*/ 267248 h 4459172"/>
              <a:gd name="connsiteX894" fmla="*/ 1570354 w 5498758"/>
              <a:gd name="connsiteY894" fmla="*/ 238562 h 4459172"/>
              <a:gd name="connsiteX895" fmla="*/ 1575759 w 5498758"/>
              <a:gd name="connsiteY895" fmla="*/ 211282 h 4459172"/>
              <a:gd name="connsiteX896" fmla="*/ 1582374 w 5498758"/>
              <a:gd name="connsiteY896" fmla="*/ 185452 h 4459172"/>
              <a:gd name="connsiteX897" fmla="*/ 1590268 w 5498758"/>
              <a:gd name="connsiteY897" fmla="*/ 161113 h 4459172"/>
              <a:gd name="connsiteX898" fmla="*/ 1599513 w 5498758"/>
              <a:gd name="connsiteY898" fmla="*/ 138310 h 4459172"/>
              <a:gd name="connsiteX899" fmla="*/ 1610176 w 5498758"/>
              <a:gd name="connsiteY899" fmla="*/ 117084 h 4459172"/>
              <a:gd name="connsiteX900" fmla="*/ 1622329 w 5498758"/>
              <a:gd name="connsiteY900" fmla="*/ 97478 h 4459172"/>
              <a:gd name="connsiteX901" fmla="*/ 1651382 w 5498758"/>
              <a:gd name="connsiteY901" fmla="*/ 63301 h 4459172"/>
              <a:gd name="connsiteX902" fmla="*/ 1687233 w 5498758"/>
              <a:gd name="connsiteY902" fmla="*/ 36123 h 4459172"/>
              <a:gd name="connsiteX903" fmla="*/ 1707882 w 5498758"/>
              <a:gd name="connsiteY903" fmla="*/ 25265 h 4459172"/>
              <a:gd name="connsiteX904" fmla="*/ 1730440 w 5498758"/>
              <a:gd name="connsiteY904" fmla="*/ 16284 h 4459172"/>
              <a:gd name="connsiteX905" fmla="*/ 1754977 w 5498758"/>
              <a:gd name="connsiteY905" fmla="*/ 9224 h 4459172"/>
              <a:gd name="connsiteX906" fmla="*/ 1781563 w 5498758"/>
              <a:gd name="connsiteY906" fmla="*/ 4130 h 4459172"/>
              <a:gd name="connsiteX907" fmla="*/ 1810268 w 5498758"/>
              <a:gd name="connsiteY907" fmla="*/ 1040 h 4459172"/>
              <a:gd name="connsiteX908" fmla="*/ 5029634 w 5498758"/>
              <a:gd name="connsiteY908" fmla="*/ 1 h 4459172"/>
              <a:gd name="connsiteX909" fmla="*/ 5060528 w 5498758"/>
              <a:gd name="connsiteY909" fmla="*/ 1040 h 4459172"/>
              <a:gd name="connsiteX910" fmla="*/ 5089233 w 5498758"/>
              <a:gd name="connsiteY910" fmla="*/ 4128 h 4459172"/>
              <a:gd name="connsiteX911" fmla="*/ 5115819 w 5498758"/>
              <a:gd name="connsiteY911" fmla="*/ 9224 h 4459172"/>
              <a:gd name="connsiteX912" fmla="*/ 5140355 w 5498758"/>
              <a:gd name="connsiteY912" fmla="*/ 16283 h 4459172"/>
              <a:gd name="connsiteX913" fmla="*/ 5162912 w 5498758"/>
              <a:gd name="connsiteY913" fmla="*/ 25263 h 4459172"/>
              <a:gd name="connsiteX914" fmla="*/ 5183562 w 5498758"/>
              <a:gd name="connsiteY914" fmla="*/ 36121 h 4459172"/>
              <a:gd name="connsiteX915" fmla="*/ 5219411 w 5498758"/>
              <a:gd name="connsiteY915" fmla="*/ 63300 h 4459172"/>
              <a:gd name="connsiteX916" fmla="*/ 5248464 w 5498758"/>
              <a:gd name="connsiteY916" fmla="*/ 97477 h 4459172"/>
              <a:gd name="connsiteX917" fmla="*/ 5260616 w 5498758"/>
              <a:gd name="connsiteY917" fmla="*/ 117083 h 4459172"/>
              <a:gd name="connsiteX918" fmla="*/ 5271279 w 5498758"/>
              <a:gd name="connsiteY918" fmla="*/ 138308 h 4459172"/>
              <a:gd name="connsiteX919" fmla="*/ 5280522 w 5498758"/>
              <a:gd name="connsiteY919" fmla="*/ 161112 h 4459172"/>
              <a:gd name="connsiteX920" fmla="*/ 5288418 w 5498758"/>
              <a:gd name="connsiteY920" fmla="*/ 185450 h 4459172"/>
              <a:gd name="connsiteX921" fmla="*/ 5295032 w 5498758"/>
              <a:gd name="connsiteY921" fmla="*/ 211281 h 4459172"/>
              <a:gd name="connsiteX922" fmla="*/ 5300436 w 5498758"/>
              <a:gd name="connsiteY922" fmla="*/ 238560 h 4459172"/>
              <a:gd name="connsiteX923" fmla="*/ 5304703 w 5498758"/>
              <a:gd name="connsiteY923" fmla="*/ 267247 h 4459172"/>
              <a:gd name="connsiteX924" fmla="*/ 5307899 w 5498758"/>
              <a:gd name="connsiteY924" fmla="*/ 297296 h 4459172"/>
              <a:gd name="connsiteX925" fmla="*/ 5310095 w 5498758"/>
              <a:gd name="connsiteY925" fmla="*/ 328665 h 4459172"/>
              <a:gd name="connsiteX926" fmla="*/ 5311361 w 5498758"/>
              <a:gd name="connsiteY926" fmla="*/ 361313 h 4459172"/>
              <a:gd name="connsiteX927" fmla="*/ 5311768 w 5498758"/>
              <a:gd name="connsiteY927" fmla="*/ 395194 h 4459172"/>
              <a:gd name="connsiteX928" fmla="*/ 5311382 w 5498758"/>
              <a:gd name="connsiteY928" fmla="*/ 429222 h 4459172"/>
              <a:gd name="connsiteX929" fmla="*/ 5310170 w 5498758"/>
              <a:gd name="connsiteY929" fmla="*/ 462014 h 4459172"/>
              <a:gd name="connsiteX930" fmla="*/ 5308058 w 5498758"/>
              <a:gd name="connsiteY930" fmla="*/ 493527 h 4459172"/>
              <a:gd name="connsiteX931" fmla="*/ 5304972 w 5498758"/>
              <a:gd name="connsiteY931" fmla="*/ 523718 h 4459172"/>
              <a:gd name="connsiteX932" fmla="*/ 5300834 w 5498758"/>
              <a:gd name="connsiteY932" fmla="*/ 552543 h 4459172"/>
              <a:gd name="connsiteX933" fmla="*/ 5295566 w 5498758"/>
              <a:gd name="connsiteY933" fmla="*/ 579958 h 4459172"/>
              <a:gd name="connsiteX934" fmla="*/ 5289096 w 5498758"/>
              <a:gd name="connsiteY934" fmla="*/ 605920 h 4459172"/>
              <a:gd name="connsiteX935" fmla="*/ 5281347 w 5498758"/>
              <a:gd name="connsiteY935" fmla="*/ 630385 h 4459172"/>
              <a:gd name="connsiteX936" fmla="*/ 5272242 w 5498758"/>
              <a:gd name="connsiteY936" fmla="*/ 653311 h 4459172"/>
              <a:gd name="connsiteX937" fmla="*/ 5261706 w 5498758"/>
              <a:gd name="connsiteY937" fmla="*/ 674652 h 4459172"/>
              <a:gd name="connsiteX938" fmla="*/ 5249663 w 5498758"/>
              <a:gd name="connsiteY938" fmla="*/ 694367 h 4459172"/>
              <a:gd name="connsiteX939" fmla="*/ 5220750 w 5498758"/>
              <a:gd name="connsiteY939" fmla="*/ 728739 h 4459172"/>
              <a:gd name="connsiteX940" fmla="*/ 5184899 w 5498758"/>
              <a:gd name="connsiteY940" fmla="*/ 756079 h 4459172"/>
              <a:gd name="connsiteX941" fmla="*/ 5164180 w 5498758"/>
              <a:gd name="connsiteY941" fmla="*/ 767004 h 4459172"/>
              <a:gd name="connsiteX942" fmla="*/ 5141500 w 5498758"/>
              <a:gd name="connsiteY942" fmla="*/ 776040 h 4459172"/>
              <a:gd name="connsiteX943" fmla="*/ 5116782 w 5498758"/>
              <a:gd name="connsiteY943" fmla="*/ 783144 h 4459172"/>
              <a:gd name="connsiteX944" fmla="*/ 5089948 w 5498758"/>
              <a:gd name="connsiteY944" fmla="*/ 788272 h 4459172"/>
              <a:gd name="connsiteX945" fmla="*/ 5060925 w 5498758"/>
              <a:gd name="connsiteY945" fmla="*/ 791381 h 4459172"/>
              <a:gd name="connsiteX946" fmla="*/ 5029634 w 5498758"/>
              <a:gd name="connsiteY946" fmla="*/ 792426 h 4459172"/>
              <a:gd name="connsiteX947" fmla="*/ 5029634 w 5498758"/>
              <a:gd name="connsiteY947" fmla="*/ 733351 h 4459172"/>
              <a:gd name="connsiteX948" fmla="*/ 5059950 w 5498758"/>
              <a:gd name="connsiteY948" fmla="*/ 731988 h 4459172"/>
              <a:gd name="connsiteX949" fmla="*/ 5087358 w 5498758"/>
              <a:gd name="connsiteY949" fmla="*/ 727949 h 4459172"/>
              <a:gd name="connsiteX950" fmla="*/ 5111996 w 5498758"/>
              <a:gd name="connsiteY950" fmla="*/ 721305 h 4459172"/>
              <a:gd name="connsiteX951" fmla="*/ 5134005 w 5498758"/>
              <a:gd name="connsiteY951" fmla="*/ 712128 h 4459172"/>
              <a:gd name="connsiteX952" fmla="*/ 5170680 w 5498758"/>
              <a:gd name="connsiteY952" fmla="*/ 686465 h 4459172"/>
              <a:gd name="connsiteX953" fmla="*/ 5198489 w 5498758"/>
              <a:gd name="connsiteY953" fmla="*/ 651539 h 4459172"/>
              <a:gd name="connsiteX954" fmla="*/ 5209414 w 5498758"/>
              <a:gd name="connsiteY954" fmla="*/ 630782 h 4459172"/>
              <a:gd name="connsiteX955" fmla="*/ 5218536 w 5498758"/>
              <a:gd name="connsiteY955" fmla="*/ 607925 h 4459172"/>
              <a:gd name="connsiteX956" fmla="*/ 5225994 w 5498758"/>
              <a:gd name="connsiteY956" fmla="*/ 583040 h 4459172"/>
              <a:gd name="connsiteX957" fmla="*/ 5231926 w 5498758"/>
              <a:gd name="connsiteY957" fmla="*/ 556200 h 4459172"/>
              <a:gd name="connsiteX958" fmla="*/ 5236470 w 5498758"/>
              <a:gd name="connsiteY958" fmla="*/ 527476 h 4459172"/>
              <a:gd name="connsiteX959" fmla="*/ 5239763 w 5498758"/>
              <a:gd name="connsiteY959" fmla="*/ 496942 h 4459172"/>
              <a:gd name="connsiteX960" fmla="*/ 5241944 w 5498758"/>
              <a:gd name="connsiteY960" fmla="*/ 464669 h 4459172"/>
              <a:gd name="connsiteX961" fmla="*/ 5243152 w 5498758"/>
              <a:gd name="connsiteY961" fmla="*/ 430729 h 4459172"/>
              <a:gd name="connsiteX962" fmla="*/ 5243524 w 5498758"/>
              <a:gd name="connsiteY962" fmla="*/ 395194 h 4459172"/>
              <a:gd name="connsiteX963" fmla="*/ 5243133 w 5498758"/>
              <a:gd name="connsiteY963" fmla="*/ 360008 h 4459172"/>
              <a:gd name="connsiteX964" fmla="*/ 5241870 w 5498758"/>
              <a:gd name="connsiteY964" fmla="*/ 326396 h 4459172"/>
              <a:gd name="connsiteX965" fmla="*/ 5239606 w 5498758"/>
              <a:gd name="connsiteY965" fmla="*/ 294430 h 4459172"/>
              <a:gd name="connsiteX966" fmla="*/ 5236210 w 5498758"/>
              <a:gd name="connsiteY966" fmla="*/ 264181 h 4459172"/>
              <a:gd name="connsiteX967" fmla="*/ 5231552 w 5498758"/>
              <a:gd name="connsiteY967" fmla="*/ 235722 h 4459172"/>
              <a:gd name="connsiteX968" fmla="*/ 5225501 w 5498758"/>
              <a:gd name="connsiteY968" fmla="*/ 209126 h 4459172"/>
              <a:gd name="connsiteX969" fmla="*/ 5217926 w 5498758"/>
              <a:gd name="connsiteY969" fmla="*/ 184463 h 4459172"/>
              <a:gd name="connsiteX970" fmla="*/ 5208696 w 5498758"/>
              <a:gd name="connsiteY970" fmla="*/ 161807 h 4459172"/>
              <a:gd name="connsiteX971" fmla="*/ 5197682 w 5498758"/>
              <a:gd name="connsiteY971" fmla="*/ 141229 h 4459172"/>
              <a:gd name="connsiteX972" fmla="*/ 5169776 w 5498758"/>
              <a:gd name="connsiteY972" fmla="*/ 106598 h 4459172"/>
              <a:gd name="connsiteX973" fmla="*/ 5133162 w 5498758"/>
              <a:gd name="connsiteY973" fmla="*/ 81148 h 4459172"/>
              <a:gd name="connsiteX974" fmla="*/ 5111264 w 5498758"/>
              <a:gd name="connsiteY974" fmla="*/ 72045 h 4459172"/>
              <a:gd name="connsiteX975" fmla="*/ 5086797 w 5498758"/>
              <a:gd name="connsiteY975" fmla="*/ 65454 h 4459172"/>
              <a:gd name="connsiteX976" fmla="*/ 5059632 w 5498758"/>
              <a:gd name="connsiteY976" fmla="*/ 61446 h 4459172"/>
              <a:gd name="connsiteX977" fmla="*/ 5029634 w 5498758"/>
              <a:gd name="connsiteY977" fmla="*/ 60095 h 4459172"/>
              <a:gd name="connsiteX978" fmla="*/ 1897218 w 5498758"/>
              <a:gd name="connsiteY978" fmla="*/ 0 h 4459172"/>
              <a:gd name="connsiteX979" fmla="*/ 1928111 w 5498758"/>
              <a:gd name="connsiteY979" fmla="*/ 1039 h 4459172"/>
              <a:gd name="connsiteX980" fmla="*/ 1956816 w 5498758"/>
              <a:gd name="connsiteY980" fmla="*/ 4128 h 4459172"/>
              <a:gd name="connsiteX981" fmla="*/ 1983402 w 5498758"/>
              <a:gd name="connsiteY981" fmla="*/ 9223 h 4459172"/>
              <a:gd name="connsiteX982" fmla="*/ 2007938 w 5498758"/>
              <a:gd name="connsiteY982" fmla="*/ 16282 h 4459172"/>
              <a:gd name="connsiteX983" fmla="*/ 2030496 w 5498758"/>
              <a:gd name="connsiteY983" fmla="*/ 25263 h 4459172"/>
              <a:gd name="connsiteX984" fmla="*/ 2051145 w 5498758"/>
              <a:gd name="connsiteY984" fmla="*/ 36121 h 4459172"/>
              <a:gd name="connsiteX985" fmla="*/ 2086994 w 5498758"/>
              <a:gd name="connsiteY985" fmla="*/ 63300 h 4459172"/>
              <a:gd name="connsiteX986" fmla="*/ 2116047 w 5498758"/>
              <a:gd name="connsiteY986" fmla="*/ 97477 h 4459172"/>
              <a:gd name="connsiteX987" fmla="*/ 2128200 w 5498758"/>
              <a:gd name="connsiteY987" fmla="*/ 117082 h 4459172"/>
              <a:gd name="connsiteX988" fmla="*/ 2138863 w 5498758"/>
              <a:gd name="connsiteY988" fmla="*/ 138308 h 4459172"/>
              <a:gd name="connsiteX989" fmla="*/ 2148106 w 5498758"/>
              <a:gd name="connsiteY989" fmla="*/ 161111 h 4459172"/>
              <a:gd name="connsiteX990" fmla="*/ 2156000 w 5498758"/>
              <a:gd name="connsiteY990" fmla="*/ 185450 h 4459172"/>
              <a:gd name="connsiteX991" fmla="*/ 2162615 w 5498758"/>
              <a:gd name="connsiteY991" fmla="*/ 211281 h 4459172"/>
              <a:gd name="connsiteX992" fmla="*/ 2168020 w 5498758"/>
              <a:gd name="connsiteY992" fmla="*/ 238560 h 4459172"/>
              <a:gd name="connsiteX993" fmla="*/ 2172286 w 5498758"/>
              <a:gd name="connsiteY993" fmla="*/ 267247 h 4459172"/>
              <a:gd name="connsiteX994" fmla="*/ 2175482 w 5498758"/>
              <a:gd name="connsiteY994" fmla="*/ 297296 h 4459172"/>
              <a:gd name="connsiteX995" fmla="*/ 2177678 w 5498758"/>
              <a:gd name="connsiteY995" fmla="*/ 328665 h 4459172"/>
              <a:gd name="connsiteX996" fmla="*/ 2178944 w 5498758"/>
              <a:gd name="connsiteY996" fmla="*/ 361313 h 4459172"/>
              <a:gd name="connsiteX997" fmla="*/ 2179350 w 5498758"/>
              <a:gd name="connsiteY997" fmla="*/ 395194 h 4459172"/>
              <a:gd name="connsiteX998" fmla="*/ 2178964 w 5498758"/>
              <a:gd name="connsiteY998" fmla="*/ 429222 h 4459172"/>
              <a:gd name="connsiteX999" fmla="*/ 2177753 w 5498758"/>
              <a:gd name="connsiteY999" fmla="*/ 462014 h 4459172"/>
              <a:gd name="connsiteX1000" fmla="*/ 2175642 w 5498758"/>
              <a:gd name="connsiteY1000" fmla="*/ 493527 h 4459172"/>
              <a:gd name="connsiteX1001" fmla="*/ 2172554 w 5498758"/>
              <a:gd name="connsiteY1001" fmla="*/ 523718 h 4459172"/>
              <a:gd name="connsiteX1002" fmla="*/ 2168416 w 5498758"/>
              <a:gd name="connsiteY1002" fmla="*/ 552542 h 4459172"/>
              <a:gd name="connsiteX1003" fmla="*/ 2163149 w 5498758"/>
              <a:gd name="connsiteY1003" fmla="*/ 579958 h 4459172"/>
              <a:gd name="connsiteX1004" fmla="*/ 2156679 w 5498758"/>
              <a:gd name="connsiteY1004" fmla="*/ 605919 h 4459172"/>
              <a:gd name="connsiteX1005" fmla="*/ 2148929 w 5498758"/>
              <a:gd name="connsiteY1005" fmla="*/ 630385 h 4459172"/>
              <a:gd name="connsiteX1006" fmla="*/ 2139823 w 5498758"/>
              <a:gd name="connsiteY1006" fmla="*/ 653310 h 4459172"/>
              <a:gd name="connsiteX1007" fmla="*/ 2129287 w 5498758"/>
              <a:gd name="connsiteY1007" fmla="*/ 674652 h 4459172"/>
              <a:gd name="connsiteX1008" fmla="*/ 2117243 w 5498758"/>
              <a:gd name="connsiteY1008" fmla="*/ 694366 h 4459172"/>
              <a:gd name="connsiteX1009" fmla="*/ 2088331 w 5498758"/>
              <a:gd name="connsiteY1009" fmla="*/ 728738 h 4459172"/>
              <a:gd name="connsiteX1010" fmla="*/ 2052479 w 5498758"/>
              <a:gd name="connsiteY1010" fmla="*/ 756079 h 4459172"/>
              <a:gd name="connsiteX1011" fmla="*/ 2031761 w 5498758"/>
              <a:gd name="connsiteY1011" fmla="*/ 767003 h 4459172"/>
              <a:gd name="connsiteX1012" fmla="*/ 2009081 w 5498758"/>
              <a:gd name="connsiteY1012" fmla="*/ 776039 h 4459172"/>
              <a:gd name="connsiteX1013" fmla="*/ 1984362 w 5498758"/>
              <a:gd name="connsiteY1013" fmla="*/ 783143 h 4459172"/>
              <a:gd name="connsiteX1014" fmla="*/ 1957530 w 5498758"/>
              <a:gd name="connsiteY1014" fmla="*/ 788271 h 4459172"/>
              <a:gd name="connsiteX1015" fmla="*/ 1928507 w 5498758"/>
              <a:gd name="connsiteY1015" fmla="*/ 791380 h 4459172"/>
              <a:gd name="connsiteX1016" fmla="*/ 1897218 w 5498758"/>
              <a:gd name="connsiteY1016" fmla="*/ 792425 h 4459172"/>
              <a:gd name="connsiteX1017" fmla="*/ 1897218 w 5498758"/>
              <a:gd name="connsiteY1017" fmla="*/ 733350 h 4459172"/>
              <a:gd name="connsiteX1018" fmla="*/ 1927532 w 5498758"/>
              <a:gd name="connsiteY1018" fmla="*/ 731987 h 4459172"/>
              <a:gd name="connsiteX1019" fmla="*/ 1954939 w 5498758"/>
              <a:gd name="connsiteY1019" fmla="*/ 727948 h 4459172"/>
              <a:gd name="connsiteX1020" fmla="*/ 1979577 w 5498758"/>
              <a:gd name="connsiteY1020" fmla="*/ 721304 h 4459172"/>
              <a:gd name="connsiteX1021" fmla="*/ 2001585 w 5498758"/>
              <a:gd name="connsiteY1021" fmla="*/ 712127 h 4459172"/>
              <a:gd name="connsiteX1022" fmla="*/ 2038261 w 5498758"/>
              <a:gd name="connsiteY1022" fmla="*/ 686465 h 4459172"/>
              <a:gd name="connsiteX1023" fmla="*/ 2066070 w 5498758"/>
              <a:gd name="connsiteY1023" fmla="*/ 651538 h 4459172"/>
              <a:gd name="connsiteX1024" fmla="*/ 2076995 w 5498758"/>
              <a:gd name="connsiteY1024" fmla="*/ 630781 h 4459172"/>
              <a:gd name="connsiteX1025" fmla="*/ 2086118 w 5498758"/>
              <a:gd name="connsiteY1025" fmla="*/ 607924 h 4459172"/>
              <a:gd name="connsiteX1026" fmla="*/ 2093576 w 5498758"/>
              <a:gd name="connsiteY1026" fmla="*/ 583039 h 4459172"/>
              <a:gd name="connsiteX1027" fmla="*/ 2099508 w 5498758"/>
              <a:gd name="connsiteY1027" fmla="*/ 556200 h 4459172"/>
              <a:gd name="connsiteX1028" fmla="*/ 2104052 w 5498758"/>
              <a:gd name="connsiteY1028" fmla="*/ 527476 h 4459172"/>
              <a:gd name="connsiteX1029" fmla="*/ 2107346 w 5498758"/>
              <a:gd name="connsiteY1029" fmla="*/ 496942 h 4459172"/>
              <a:gd name="connsiteX1030" fmla="*/ 2109528 w 5498758"/>
              <a:gd name="connsiteY1030" fmla="*/ 464669 h 4459172"/>
              <a:gd name="connsiteX1031" fmla="*/ 2110736 w 5498758"/>
              <a:gd name="connsiteY1031" fmla="*/ 430729 h 4459172"/>
              <a:gd name="connsiteX1032" fmla="*/ 2111108 w 5498758"/>
              <a:gd name="connsiteY1032" fmla="*/ 395194 h 4459172"/>
              <a:gd name="connsiteX1033" fmla="*/ 2110716 w 5498758"/>
              <a:gd name="connsiteY1033" fmla="*/ 360008 h 4459172"/>
              <a:gd name="connsiteX1034" fmla="*/ 2109453 w 5498758"/>
              <a:gd name="connsiteY1034" fmla="*/ 326396 h 4459172"/>
              <a:gd name="connsiteX1035" fmla="*/ 2107190 w 5498758"/>
              <a:gd name="connsiteY1035" fmla="*/ 294429 h 4459172"/>
              <a:gd name="connsiteX1036" fmla="*/ 2103794 w 5498758"/>
              <a:gd name="connsiteY1036" fmla="*/ 264181 h 4459172"/>
              <a:gd name="connsiteX1037" fmla="*/ 2099136 w 5498758"/>
              <a:gd name="connsiteY1037" fmla="*/ 235721 h 4459172"/>
              <a:gd name="connsiteX1038" fmla="*/ 2093084 w 5498758"/>
              <a:gd name="connsiteY1038" fmla="*/ 209125 h 4459172"/>
              <a:gd name="connsiteX1039" fmla="*/ 2085509 w 5498758"/>
              <a:gd name="connsiteY1039" fmla="*/ 184462 h 4459172"/>
              <a:gd name="connsiteX1040" fmla="*/ 2076280 w 5498758"/>
              <a:gd name="connsiteY1040" fmla="*/ 161806 h 4459172"/>
              <a:gd name="connsiteX1041" fmla="*/ 2065265 w 5498758"/>
              <a:gd name="connsiteY1041" fmla="*/ 141229 h 4459172"/>
              <a:gd name="connsiteX1042" fmla="*/ 2037359 w 5498758"/>
              <a:gd name="connsiteY1042" fmla="*/ 106598 h 4459172"/>
              <a:gd name="connsiteX1043" fmla="*/ 2000745 w 5498758"/>
              <a:gd name="connsiteY1043" fmla="*/ 81147 h 4459172"/>
              <a:gd name="connsiteX1044" fmla="*/ 1978847 w 5498758"/>
              <a:gd name="connsiteY1044" fmla="*/ 72045 h 4459172"/>
              <a:gd name="connsiteX1045" fmla="*/ 1954380 w 5498758"/>
              <a:gd name="connsiteY1045" fmla="*/ 65454 h 4459172"/>
              <a:gd name="connsiteX1046" fmla="*/ 1927214 w 5498758"/>
              <a:gd name="connsiteY1046" fmla="*/ 61446 h 4459172"/>
              <a:gd name="connsiteX1047" fmla="*/ 1897218 w 5498758"/>
              <a:gd name="connsiteY1047" fmla="*/ 60094 h 445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Lst>
            <a:rect l="l" t="t" r="r" b="b"/>
            <a:pathLst>
              <a:path w="5498758" h="4459172">
                <a:moveTo>
                  <a:pt x="3875521" y="4290095"/>
                </a:moveTo>
                <a:lnTo>
                  <a:pt x="4001824" y="4290095"/>
                </a:lnTo>
                <a:lnTo>
                  <a:pt x="4001824" y="4396023"/>
                </a:lnTo>
                <a:lnTo>
                  <a:pt x="3875521" y="4396023"/>
                </a:lnTo>
                <a:close/>
                <a:moveTo>
                  <a:pt x="2034141" y="4198427"/>
                </a:moveTo>
                <a:lnTo>
                  <a:pt x="2586194" y="4198427"/>
                </a:lnTo>
                <a:lnTo>
                  <a:pt x="2586194" y="4263614"/>
                </a:lnTo>
                <a:lnTo>
                  <a:pt x="2034141" y="4263614"/>
                </a:lnTo>
                <a:close/>
                <a:moveTo>
                  <a:pt x="2034141" y="3985552"/>
                </a:moveTo>
                <a:lnTo>
                  <a:pt x="2586194" y="3985552"/>
                </a:lnTo>
                <a:lnTo>
                  <a:pt x="2586194" y="4050739"/>
                </a:lnTo>
                <a:lnTo>
                  <a:pt x="2034141" y="4050739"/>
                </a:lnTo>
                <a:close/>
                <a:moveTo>
                  <a:pt x="3269090" y="3670481"/>
                </a:moveTo>
                <a:lnTo>
                  <a:pt x="3497245" y="3670481"/>
                </a:lnTo>
                <a:lnTo>
                  <a:pt x="3497245" y="3728711"/>
                </a:lnTo>
                <a:lnTo>
                  <a:pt x="3497245" y="4399124"/>
                </a:lnTo>
                <a:lnTo>
                  <a:pt x="3497245" y="4457355"/>
                </a:lnTo>
                <a:lnTo>
                  <a:pt x="3269090" y="4457355"/>
                </a:lnTo>
                <a:lnTo>
                  <a:pt x="3269090" y="4399124"/>
                </a:lnTo>
                <a:lnTo>
                  <a:pt x="3426962" y="4399124"/>
                </a:lnTo>
                <a:lnTo>
                  <a:pt x="3426962" y="3728711"/>
                </a:lnTo>
                <a:lnTo>
                  <a:pt x="3269090" y="3728711"/>
                </a:lnTo>
                <a:close/>
                <a:moveTo>
                  <a:pt x="2980062" y="3670481"/>
                </a:moveTo>
                <a:lnTo>
                  <a:pt x="3208209" y="3670481"/>
                </a:lnTo>
                <a:lnTo>
                  <a:pt x="3208209" y="3728711"/>
                </a:lnTo>
                <a:lnTo>
                  <a:pt x="3050336" y="3728711"/>
                </a:lnTo>
                <a:lnTo>
                  <a:pt x="3050336" y="4399124"/>
                </a:lnTo>
                <a:lnTo>
                  <a:pt x="3208209" y="4399124"/>
                </a:lnTo>
                <a:lnTo>
                  <a:pt x="3208209" y="4457355"/>
                </a:lnTo>
                <a:lnTo>
                  <a:pt x="2980062" y="4457355"/>
                </a:lnTo>
                <a:lnTo>
                  <a:pt x="2980062" y="4399124"/>
                </a:lnTo>
                <a:lnTo>
                  <a:pt x="2980062" y="3728711"/>
                </a:lnTo>
                <a:close/>
                <a:moveTo>
                  <a:pt x="5216619" y="3666747"/>
                </a:moveTo>
                <a:lnTo>
                  <a:pt x="5247512" y="3667786"/>
                </a:lnTo>
                <a:lnTo>
                  <a:pt x="5276218" y="3670875"/>
                </a:lnTo>
                <a:lnTo>
                  <a:pt x="5302804" y="3675971"/>
                </a:lnTo>
                <a:lnTo>
                  <a:pt x="5327340" y="3683030"/>
                </a:lnTo>
                <a:lnTo>
                  <a:pt x="5349898" y="3692010"/>
                </a:lnTo>
                <a:lnTo>
                  <a:pt x="5370546" y="3702868"/>
                </a:lnTo>
                <a:lnTo>
                  <a:pt x="5406397" y="3730047"/>
                </a:lnTo>
                <a:lnTo>
                  <a:pt x="5435450" y="3764224"/>
                </a:lnTo>
                <a:lnTo>
                  <a:pt x="5447604" y="3783829"/>
                </a:lnTo>
                <a:lnTo>
                  <a:pt x="5458267" y="3805055"/>
                </a:lnTo>
                <a:lnTo>
                  <a:pt x="5467511" y="3827858"/>
                </a:lnTo>
                <a:lnTo>
                  <a:pt x="5475406" y="3852197"/>
                </a:lnTo>
                <a:lnTo>
                  <a:pt x="5482020" y="3878028"/>
                </a:lnTo>
                <a:lnTo>
                  <a:pt x="5487426" y="3905307"/>
                </a:lnTo>
                <a:lnTo>
                  <a:pt x="5491692" y="3933993"/>
                </a:lnTo>
                <a:lnTo>
                  <a:pt x="5494888" y="3964042"/>
                </a:lnTo>
                <a:lnTo>
                  <a:pt x="5497084" y="3995412"/>
                </a:lnTo>
                <a:lnTo>
                  <a:pt x="5498352" y="4028059"/>
                </a:lnTo>
                <a:lnTo>
                  <a:pt x="5498758" y="4061941"/>
                </a:lnTo>
                <a:lnTo>
                  <a:pt x="5498370" y="4095968"/>
                </a:lnTo>
                <a:lnTo>
                  <a:pt x="5497160" y="4128760"/>
                </a:lnTo>
                <a:lnTo>
                  <a:pt x="5495049" y="4160274"/>
                </a:lnTo>
                <a:lnTo>
                  <a:pt x="5491962" y="4190464"/>
                </a:lnTo>
                <a:lnTo>
                  <a:pt x="5487822" y="4219289"/>
                </a:lnTo>
                <a:lnTo>
                  <a:pt x="5482556" y="4246704"/>
                </a:lnTo>
                <a:lnTo>
                  <a:pt x="5476085" y="4272666"/>
                </a:lnTo>
                <a:lnTo>
                  <a:pt x="5468335" y="4297132"/>
                </a:lnTo>
                <a:lnTo>
                  <a:pt x="5459230" y="4320057"/>
                </a:lnTo>
                <a:lnTo>
                  <a:pt x="5448693" y="4341398"/>
                </a:lnTo>
                <a:lnTo>
                  <a:pt x="5436648" y="4361113"/>
                </a:lnTo>
                <a:lnTo>
                  <a:pt x="5407736" y="4395485"/>
                </a:lnTo>
                <a:lnTo>
                  <a:pt x="5371884" y="4422825"/>
                </a:lnTo>
                <a:lnTo>
                  <a:pt x="5351165" y="4433750"/>
                </a:lnTo>
                <a:lnTo>
                  <a:pt x="5328485" y="4442786"/>
                </a:lnTo>
                <a:lnTo>
                  <a:pt x="5303766" y="4449890"/>
                </a:lnTo>
                <a:lnTo>
                  <a:pt x="5276932" y="4455018"/>
                </a:lnTo>
                <a:lnTo>
                  <a:pt x="5247908" y="4458127"/>
                </a:lnTo>
                <a:lnTo>
                  <a:pt x="5216619" y="4459172"/>
                </a:lnTo>
                <a:lnTo>
                  <a:pt x="5216619" y="4400097"/>
                </a:lnTo>
                <a:lnTo>
                  <a:pt x="5246934" y="4398734"/>
                </a:lnTo>
                <a:lnTo>
                  <a:pt x="5274342" y="4394695"/>
                </a:lnTo>
                <a:lnTo>
                  <a:pt x="5298981" y="4388051"/>
                </a:lnTo>
                <a:lnTo>
                  <a:pt x="5320990" y="4378874"/>
                </a:lnTo>
                <a:lnTo>
                  <a:pt x="5357666" y="4353212"/>
                </a:lnTo>
                <a:lnTo>
                  <a:pt x="5385476" y="4318285"/>
                </a:lnTo>
                <a:lnTo>
                  <a:pt x="5396402" y="4297528"/>
                </a:lnTo>
                <a:lnTo>
                  <a:pt x="5405524" y="4274671"/>
                </a:lnTo>
                <a:lnTo>
                  <a:pt x="5412982" y="4249786"/>
                </a:lnTo>
                <a:lnTo>
                  <a:pt x="5418916" y="4222947"/>
                </a:lnTo>
                <a:lnTo>
                  <a:pt x="5423460" y="4194223"/>
                </a:lnTo>
                <a:lnTo>
                  <a:pt x="5426754" y="4163689"/>
                </a:lnTo>
                <a:lnTo>
                  <a:pt x="5428935" y="4131416"/>
                </a:lnTo>
                <a:lnTo>
                  <a:pt x="5430142" y="4097476"/>
                </a:lnTo>
                <a:lnTo>
                  <a:pt x="5430514" y="4061941"/>
                </a:lnTo>
                <a:lnTo>
                  <a:pt x="5430122" y="4026755"/>
                </a:lnTo>
                <a:lnTo>
                  <a:pt x="5428860" y="3993143"/>
                </a:lnTo>
                <a:lnTo>
                  <a:pt x="5426596" y="3961177"/>
                </a:lnTo>
                <a:lnTo>
                  <a:pt x="5423200" y="3930927"/>
                </a:lnTo>
                <a:lnTo>
                  <a:pt x="5418542" y="3902469"/>
                </a:lnTo>
                <a:lnTo>
                  <a:pt x="5412490" y="3875872"/>
                </a:lnTo>
                <a:lnTo>
                  <a:pt x="5404915" y="3851210"/>
                </a:lnTo>
                <a:lnTo>
                  <a:pt x="5395686" y="3828553"/>
                </a:lnTo>
                <a:lnTo>
                  <a:pt x="5384671" y="3807976"/>
                </a:lnTo>
                <a:lnTo>
                  <a:pt x="5356765" y="3773345"/>
                </a:lnTo>
                <a:lnTo>
                  <a:pt x="5320150" y="3747894"/>
                </a:lnTo>
                <a:lnTo>
                  <a:pt x="5298251" y="3738792"/>
                </a:lnTo>
                <a:lnTo>
                  <a:pt x="5273782" y="3732201"/>
                </a:lnTo>
                <a:lnTo>
                  <a:pt x="5246616" y="3728193"/>
                </a:lnTo>
                <a:lnTo>
                  <a:pt x="5216619" y="3726841"/>
                </a:lnTo>
                <a:close/>
                <a:moveTo>
                  <a:pt x="5160582" y="3666747"/>
                </a:moveTo>
                <a:lnTo>
                  <a:pt x="5160582" y="3726841"/>
                </a:lnTo>
                <a:lnTo>
                  <a:pt x="5130753" y="3728193"/>
                </a:lnTo>
                <a:lnTo>
                  <a:pt x="5103735" y="3732201"/>
                </a:lnTo>
                <a:lnTo>
                  <a:pt x="5079398" y="3738792"/>
                </a:lnTo>
                <a:lnTo>
                  <a:pt x="5057612" y="3747894"/>
                </a:lnTo>
                <a:lnTo>
                  <a:pt x="5021178" y="3773345"/>
                </a:lnTo>
                <a:lnTo>
                  <a:pt x="4993394" y="3807976"/>
                </a:lnTo>
                <a:lnTo>
                  <a:pt x="4982426" y="3828553"/>
                </a:lnTo>
                <a:lnTo>
                  <a:pt x="4973230" y="3851210"/>
                </a:lnTo>
                <a:lnTo>
                  <a:pt x="4965682" y="3875872"/>
                </a:lnTo>
                <a:lnTo>
                  <a:pt x="4959648" y="3902469"/>
                </a:lnTo>
                <a:lnTo>
                  <a:pt x="4955003" y="3930927"/>
                </a:lnTo>
                <a:lnTo>
                  <a:pt x="4951615" y="3961177"/>
                </a:lnTo>
                <a:lnTo>
                  <a:pt x="4949355" y="3993143"/>
                </a:lnTo>
                <a:lnTo>
                  <a:pt x="4948094" y="4026755"/>
                </a:lnTo>
                <a:lnTo>
                  <a:pt x="4947702" y="4061941"/>
                </a:lnTo>
                <a:lnTo>
                  <a:pt x="4948084" y="4097476"/>
                </a:lnTo>
                <a:lnTo>
                  <a:pt x="4949318" y="4131416"/>
                </a:lnTo>
                <a:lnTo>
                  <a:pt x="4951536" y="4163689"/>
                </a:lnTo>
                <a:lnTo>
                  <a:pt x="4954874" y="4194223"/>
                </a:lnTo>
                <a:lnTo>
                  <a:pt x="4959462" y="4222947"/>
                </a:lnTo>
                <a:lnTo>
                  <a:pt x="4965436" y="4249786"/>
                </a:lnTo>
                <a:lnTo>
                  <a:pt x="4972926" y="4274671"/>
                </a:lnTo>
                <a:lnTo>
                  <a:pt x="4982067" y="4297528"/>
                </a:lnTo>
                <a:lnTo>
                  <a:pt x="4992992" y="4318285"/>
                </a:lnTo>
                <a:lnTo>
                  <a:pt x="5020726" y="4353212"/>
                </a:lnTo>
                <a:lnTo>
                  <a:pt x="5057192" y="4378874"/>
                </a:lnTo>
                <a:lnTo>
                  <a:pt x="5079032" y="4388051"/>
                </a:lnTo>
                <a:lnTo>
                  <a:pt x="5103455" y="4394695"/>
                </a:lnTo>
                <a:lnTo>
                  <a:pt x="5130594" y="4398734"/>
                </a:lnTo>
                <a:lnTo>
                  <a:pt x="5160582" y="4400097"/>
                </a:lnTo>
                <a:lnTo>
                  <a:pt x="5160582" y="4459172"/>
                </a:lnTo>
                <a:lnTo>
                  <a:pt x="5129424" y="4458127"/>
                </a:lnTo>
                <a:lnTo>
                  <a:pt x="5100505" y="4455018"/>
                </a:lnTo>
                <a:lnTo>
                  <a:pt x="5073755" y="4449890"/>
                </a:lnTo>
                <a:lnTo>
                  <a:pt x="5049096" y="4442786"/>
                </a:lnTo>
                <a:lnTo>
                  <a:pt x="5026456" y="4433750"/>
                </a:lnTo>
                <a:lnTo>
                  <a:pt x="5005761" y="4422825"/>
                </a:lnTo>
                <a:lnTo>
                  <a:pt x="4969910" y="4395485"/>
                </a:lnTo>
                <a:lnTo>
                  <a:pt x="4940950" y="4361113"/>
                </a:lnTo>
                <a:lnTo>
                  <a:pt x="4928870" y="4341398"/>
                </a:lnTo>
                <a:lnTo>
                  <a:pt x="4918290" y="4320057"/>
                </a:lnTo>
                <a:lnTo>
                  <a:pt x="4909140" y="4297132"/>
                </a:lnTo>
                <a:lnTo>
                  <a:pt x="4901341" y="4272666"/>
                </a:lnTo>
                <a:lnTo>
                  <a:pt x="4894822" y="4246704"/>
                </a:lnTo>
                <a:lnTo>
                  <a:pt x="4889509" y="4219289"/>
                </a:lnTo>
                <a:lnTo>
                  <a:pt x="4885328" y="4190464"/>
                </a:lnTo>
                <a:lnTo>
                  <a:pt x="4882204" y="4160274"/>
                </a:lnTo>
                <a:lnTo>
                  <a:pt x="4880065" y="4128760"/>
                </a:lnTo>
                <a:lnTo>
                  <a:pt x="4878836" y="4095968"/>
                </a:lnTo>
                <a:lnTo>
                  <a:pt x="4878442" y="4061941"/>
                </a:lnTo>
                <a:lnTo>
                  <a:pt x="4878849" y="4028059"/>
                </a:lnTo>
                <a:lnTo>
                  <a:pt x="4880116" y="3995412"/>
                </a:lnTo>
                <a:lnTo>
                  <a:pt x="4882312" y="3964042"/>
                </a:lnTo>
                <a:lnTo>
                  <a:pt x="4885508" y="3933993"/>
                </a:lnTo>
                <a:lnTo>
                  <a:pt x="4889774" y="3905307"/>
                </a:lnTo>
                <a:lnTo>
                  <a:pt x="4895179" y="3878028"/>
                </a:lnTo>
                <a:lnTo>
                  <a:pt x="4901794" y="3852197"/>
                </a:lnTo>
                <a:lnTo>
                  <a:pt x="4909688" y="3827858"/>
                </a:lnTo>
                <a:lnTo>
                  <a:pt x="4918933" y="3805055"/>
                </a:lnTo>
                <a:lnTo>
                  <a:pt x="4929596" y="3783829"/>
                </a:lnTo>
                <a:lnTo>
                  <a:pt x="4941748" y="3764224"/>
                </a:lnTo>
                <a:lnTo>
                  <a:pt x="4970802" y="3730047"/>
                </a:lnTo>
                <a:lnTo>
                  <a:pt x="5006652" y="3702868"/>
                </a:lnTo>
                <a:lnTo>
                  <a:pt x="5027302" y="3692010"/>
                </a:lnTo>
                <a:lnTo>
                  <a:pt x="5049860" y="3683030"/>
                </a:lnTo>
                <a:lnTo>
                  <a:pt x="5074396" y="3675971"/>
                </a:lnTo>
                <a:lnTo>
                  <a:pt x="5100983" y="3670875"/>
                </a:lnTo>
                <a:lnTo>
                  <a:pt x="5129688" y="3667786"/>
                </a:lnTo>
                <a:close/>
                <a:moveTo>
                  <a:pt x="859902" y="3666747"/>
                </a:moveTo>
                <a:lnTo>
                  <a:pt x="890796" y="3667786"/>
                </a:lnTo>
                <a:lnTo>
                  <a:pt x="919501" y="3670875"/>
                </a:lnTo>
                <a:lnTo>
                  <a:pt x="946088" y="3675971"/>
                </a:lnTo>
                <a:lnTo>
                  <a:pt x="970625" y="3683030"/>
                </a:lnTo>
                <a:lnTo>
                  <a:pt x="993183" y="3692010"/>
                </a:lnTo>
                <a:lnTo>
                  <a:pt x="1013832" y="3702868"/>
                </a:lnTo>
                <a:lnTo>
                  <a:pt x="1049682" y="3730047"/>
                </a:lnTo>
                <a:lnTo>
                  <a:pt x="1078736" y="3764224"/>
                </a:lnTo>
                <a:lnTo>
                  <a:pt x="1090888" y="3783829"/>
                </a:lnTo>
                <a:lnTo>
                  <a:pt x="1101552" y="3805055"/>
                </a:lnTo>
                <a:lnTo>
                  <a:pt x="1110795" y="3827858"/>
                </a:lnTo>
                <a:lnTo>
                  <a:pt x="1118690" y="3852197"/>
                </a:lnTo>
                <a:lnTo>
                  <a:pt x="1125304" y="3878028"/>
                </a:lnTo>
                <a:lnTo>
                  <a:pt x="1130710" y="3905307"/>
                </a:lnTo>
                <a:lnTo>
                  <a:pt x="1134975" y="3933993"/>
                </a:lnTo>
                <a:lnTo>
                  <a:pt x="1138171" y="3964042"/>
                </a:lnTo>
                <a:lnTo>
                  <a:pt x="1140367" y="3995412"/>
                </a:lnTo>
                <a:lnTo>
                  <a:pt x="1141633" y="4028059"/>
                </a:lnTo>
                <a:lnTo>
                  <a:pt x="1142040" y="4061941"/>
                </a:lnTo>
                <a:lnTo>
                  <a:pt x="1141653" y="4095968"/>
                </a:lnTo>
                <a:lnTo>
                  <a:pt x="1140442" y="4128760"/>
                </a:lnTo>
                <a:lnTo>
                  <a:pt x="1138331" y="4160274"/>
                </a:lnTo>
                <a:lnTo>
                  <a:pt x="1135244" y="4190464"/>
                </a:lnTo>
                <a:lnTo>
                  <a:pt x="1131105" y="4219289"/>
                </a:lnTo>
                <a:lnTo>
                  <a:pt x="1125838" y="4246704"/>
                </a:lnTo>
                <a:lnTo>
                  <a:pt x="1119368" y="4272666"/>
                </a:lnTo>
                <a:lnTo>
                  <a:pt x="1111618" y="4297132"/>
                </a:lnTo>
                <a:lnTo>
                  <a:pt x="1102512" y="4320057"/>
                </a:lnTo>
                <a:lnTo>
                  <a:pt x="1091976" y="4341398"/>
                </a:lnTo>
                <a:lnTo>
                  <a:pt x="1079931" y="4361113"/>
                </a:lnTo>
                <a:lnTo>
                  <a:pt x="1051018" y="4395485"/>
                </a:lnTo>
                <a:lnTo>
                  <a:pt x="1015166" y="4422825"/>
                </a:lnTo>
                <a:lnTo>
                  <a:pt x="994448" y="4433750"/>
                </a:lnTo>
                <a:lnTo>
                  <a:pt x="971768" y="4442786"/>
                </a:lnTo>
                <a:lnTo>
                  <a:pt x="947048" y="4449890"/>
                </a:lnTo>
                <a:lnTo>
                  <a:pt x="920215" y="4455018"/>
                </a:lnTo>
                <a:lnTo>
                  <a:pt x="891191" y="4458127"/>
                </a:lnTo>
                <a:lnTo>
                  <a:pt x="859902" y="4459172"/>
                </a:lnTo>
                <a:lnTo>
                  <a:pt x="859902" y="4400097"/>
                </a:lnTo>
                <a:lnTo>
                  <a:pt x="890216" y="4398734"/>
                </a:lnTo>
                <a:lnTo>
                  <a:pt x="917625" y="4394695"/>
                </a:lnTo>
                <a:lnTo>
                  <a:pt x="942264" y="4388051"/>
                </a:lnTo>
                <a:lnTo>
                  <a:pt x="964272" y="4378874"/>
                </a:lnTo>
                <a:lnTo>
                  <a:pt x="1000948" y="4353212"/>
                </a:lnTo>
                <a:lnTo>
                  <a:pt x="1028759" y="4318285"/>
                </a:lnTo>
                <a:lnTo>
                  <a:pt x="1039684" y="4297528"/>
                </a:lnTo>
                <a:lnTo>
                  <a:pt x="1048807" y="4274671"/>
                </a:lnTo>
                <a:lnTo>
                  <a:pt x="1056265" y="4249786"/>
                </a:lnTo>
                <a:lnTo>
                  <a:pt x="1062197" y="4222947"/>
                </a:lnTo>
                <a:lnTo>
                  <a:pt x="1066741" y="4194223"/>
                </a:lnTo>
                <a:lnTo>
                  <a:pt x="1070035" y="4163689"/>
                </a:lnTo>
                <a:lnTo>
                  <a:pt x="1072217" y="4131416"/>
                </a:lnTo>
                <a:lnTo>
                  <a:pt x="1073425" y="4097476"/>
                </a:lnTo>
                <a:lnTo>
                  <a:pt x="1073797" y="4061941"/>
                </a:lnTo>
                <a:lnTo>
                  <a:pt x="1073405" y="4026755"/>
                </a:lnTo>
                <a:lnTo>
                  <a:pt x="1072143" y="3993143"/>
                </a:lnTo>
                <a:lnTo>
                  <a:pt x="1069879" y="3961177"/>
                </a:lnTo>
                <a:lnTo>
                  <a:pt x="1066483" y="3930927"/>
                </a:lnTo>
                <a:lnTo>
                  <a:pt x="1061825" y="3902469"/>
                </a:lnTo>
                <a:lnTo>
                  <a:pt x="1055773" y="3875872"/>
                </a:lnTo>
                <a:lnTo>
                  <a:pt x="1048198" y="3851210"/>
                </a:lnTo>
                <a:lnTo>
                  <a:pt x="1038968" y="3828553"/>
                </a:lnTo>
                <a:lnTo>
                  <a:pt x="1027954" y="3807976"/>
                </a:lnTo>
                <a:lnTo>
                  <a:pt x="1000047" y="3773345"/>
                </a:lnTo>
                <a:lnTo>
                  <a:pt x="963432" y="3747894"/>
                </a:lnTo>
                <a:lnTo>
                  <a:pt x="941533" y="3738792"/>
                </a:lnTo>
                <a:lnTo>
                  <a:pt x="917065" y="3732201"/>
                </a:lnTo>
                <a:lnTo>
                  <a:pt x="889898" y="3728193"/>
                </a:lnTo>
                <a:lnTo>
                  <a:pt x="859902" y="3726841"/>
                </a:lnTo>
                <a:close/>
                <a:moveTo>
                  <a:pt x="803845" y="3666747"/>
                </a:moveTo>
                <a:lnTo>
                  <a:pt x="803845" y="3726841"/>
                </a:lnTo>
                <a:lnTo>
                  <a:pt x="774018" y="3728193"/>
                </a:lnTo>
                <a:lnTo>
                  <a:pt x="747000" y="3732201"/>
                </a:lnTo>
                <a:lnTo>
                  <a:pt x="722664" y="3738792"/>
                </a:lnTo>
                <a:lnTo>
                  <a:pt x="700878" y="3747894"/>
                </a:lnTo>
                <a:lnTo>
                  <a:pt x="664443" y="3773345"/>
                </a:lnTo>
                <a:lnTo>
                  <a:pt x="636661" y="3807976"/>
                </a:lnTo>
                <a:lnTo>
                  <a:pt x="625691" y="3828553"/>
                </a:lnTo>
                <a:lnTo>
                  <a:pt x="616496" y="3851210"/>
                </a:lnTo>
                <a:lnTo>
                  <a:pt x="608947" y="3875872"/>
                </a:lnTo>
                <a:lnTo>
                  <a:pt x="602914" y="3902469"/>
                </a:lnTo>
                <a:lnTo>
                  <a:pt x="598268" y="3930927"/>
                </a:lnTo>
                <a:lnTo>
                  <a:pt x="594879" y="3961177"/>
                </a:lnTo>
                <a:lnTo>
                  <a:pt x="592619" y="3993143"/>
                </a:lnTo>
                <a:lnTo>
                  <a:pt x="591358" y="4026755"/>
                </a:lnTo>
                <a:lnTo>
                  <a:pt x="590966" y="4061941"/>
                </a:lnTo>
                <a:lnTo>
                  <a:pt x="591348" y="4097476"/>
                </a:lnTo>
                <a:lnTo>
                  <a:pt x="592582" y="4131416"/>
                </a:lnTo>
                <a:lnTo>
                  <a:pt x="594801" y="4163689"/>
                </a:lnTo>
                <a:lnTo>
                  <a:pt x="598139" y="4194223"/>
                </a:lnTo>
                <a:lnTo>
                  <a:pt x="602727" y="4222947"/>
                </a:lnTo>
                <a:lnTo>
                  <a:pt x="608701" y="4249786"/>
                </a:lnTo>
                <a:lnTo>
                  <a:pt x="616192" y="4274671"/>
                </a:lnTo>
                <a:lnTo>
                  <a:pt x="625333" y="4297528"/>
                </a:lnTo>
                <a:lnTo>
                  <a:pt x="636259" y="4318285"/>
                </a:lnTo>
                <a:lnTo>
                  <a:pt x="663993" y="4353212"/>
                </a:lnTo>
                <a:lnTo>
                  <a:pt x="700458" y="4378874"/>
                </a:lnTo>
                <a:lnTo>
                  <a:pt x="722299" y="4388051"/>
                </a:lnTo>
                <a:lnTo>
                  <a:pt x="746721" y="4394695"/>
                </a:lnTo>
                <a:lnTo>
                  <a:pt x="773858" y="4398734"/>
                </a:lnTo>
                <a:lnTo>
                  <a:pt x="803845" y="4400097"/>
                </a:lnTo>
                <a:lnTo>
                  <a:pt x="803845" y="4459172"/>
                </a:lnTo>
                <a:lnTo>
                  <a:pt x="772687" y="4458127"/>
                </a:lnTo>
                <a:lnTo>
                  <a:pt x="743769" y="4455018"/>
                </a:lnTo>
                <a:lnTo>
                  <a:pt x="717018" y="4449890"/>
                </a:lnTo>
                <a:lnTo>
                  <a:pt x="692360" y="4442786"/>
                </a:lnTo>
                <a:lnTo>
                  <a:pt x="669720" y="4433750"/>
                </a:lnTo>
                <a:lnTo>
                  <a:pt x="649024" y="4422825"/>
                </a:lnTo>
                <a:lnTo>
                  <a:pt x="613173" y="4395485"/>
                </a:lnTo>
                <a:lnTo>
                  <a:pt x="584213" y="4361113"/>
                </a:lnTo>
                <a:lnTo>
                  <a:pt x="572133" y="4341398"/>
                </a:lnTo>
                <a:lnTo>
                  <a:pt x="561554" y="4320057"/>
                </a:lnTo>
                <a:lnTo>
                  <a:pt x="552403" y="4297132"/>
                </a:lnTo>
                <a:lnTo>
                  <a:pt x="544605" y="4272666"/>
                </a:lnTo>
                <a:lnTo>
                  <a:pt x="538086" y="4246704"/>
                </a:lnTo>
                <a:lnTo>
                  <a:pt x="532773" y="4219289"/>
                </a:lnTo>
                <a:lnTo>
                  <a:pt x="528592" y="4190464"/>
                </a:lnTo>
                <a:lnTo>
                  <a:pt x="525469" y="4160274"/>
                </a:lnTo>
                <a:lnTo>
                  <a:pt x="523329" y="4128760"/>
                </a:lnTo>
                <a:lnTo>
                  <a:pt x="522100" y="4095968"/>
                </a:lnTo>
                <a:lnTo>
                  <a:pt x="521706" y="4061941"/>
                </a:lnTo>
                <a:lnTo>
                  <a:pt x="522113" y="4028059"/>
                </a:lnTo>
                <a:lnTo>
                  <a:pt x="523379" y="3995412"/>
                </a:lnTo>
                <a:lnTo>
                  <a:pt x="525575" y="3964042"/>
                </a:lnTo>
                <a:lnTo>
                  <a:pt x="528772" y="3933993"/>
                </a:lnTo>
                <a:lnTo>
                  <a:pt x="533038" y="3905307"/>
                </a:lnTo>
                <a:lnTo>
                  <a:pt x="538443" y="3878028"/>
                </a:lnTo>
                <a:lnTo>
                  <a:pt x="545058" y="3852197"/>
                </a:lnTo>
                <a:lnTo>
                  <a:pt x="552952" y="3827858"/>
                </a:lnTo>
                <a:lnTo>
                  <a:pt x="562197" y="3805055"/>
                </a:lnTo>
                <a:lnTo>
                  <a:pt x="572860" y="3783829"/>
                </a:lnTo>
                <a:lnTo>
                  <a:pt x="585013" y="3764224"/>
                </a:lnTo>
                <a:lnTo>
                  <a:pt x="614066" y="3730047"/>
                </a:lnTo>
                <a:lnTo>
                  <a:pt x="649917" y="3702868"/>
                </a:lnTo>
                <a:lnTo>
                  <a:pt x="670566" y="3692010"/>
                </a:lnTo>
                <a:lnTo>
                  <a:pt x="693123" y="3683030"/>
                </a:lnTo>
                <a:lnTo>
                  <a:pt x="717661" y="3675971"/>
                </a:lnTo>
                <a:lnTo>
                  <a:pt x="744246" y="3670875"/>
                </a:lnTo>
                <a:lnTo>
                  <a:pt x="772951" y="3667786"/>
                </a:lnTo>
                <a:close/>
                <a:moveTo>
                  <a:pt x="308214" y="3373408"/>
                </a:moveTo>
                <a:lnTo>
                  <a:pt x="333981" y="3375652"/>
                </a:lnTo>
                <a:lnTo>
                  <a:pt x="353923" y="3383720"/>
                </a:lnTo>
                <a:lnTo>
                  <a:pt x="366798" y="3399619"/>
                </a:lnTo>
                <a:lnTo>
                  <a:pt x="371366" y="3425353"/>
                </a:lnTo>
                <a:lnTo>
                  <a:pt x="366798" y="3452265"/>
                </a:lnTo>
                <a:lnTo>
                  <a:pt x="353923" y="3468768"/>
                </a:lnTo>
                <a:lnTo>
                  <a:pt x="333981" y="3477060"/>
                </a:lnTo>
                <a:lnTo>
                  <a:pt x="308214" y="3479336"/>
                </a:lnTo>
                <a:lnTo>
                  <a:pt x="282447" y="3477060"/>
                </a:lnTo>
                <a:lnTo>
                  <a:pt x="262505" y="3468768"/>
                </a:lnTo>
                <a:lnTo>
                  <a:pt x="249631" y="3452265"/>
                </a:lnTo>
                <a:lnTo>
                  <a:pt x="245063" y="3425353"/>
                </a:lnTo>
                <a:lnTo>
                  <a:pt x="249774" y="3399619"/>
                </a:lnTo>
                <a:lnTo>
                  <a:pt x="262889" y="3383720"/>
                </a:lnTo>
                <a:lnTo>
                  <a:pt x="282879" y="3375652"/>
                </a:lnTo>
                <a:close/>
                <a:moveTo>
                  <a:pt x="1504247" y="3281741"/>
                </a:moveTo>
                <a:lnTo>
                  <a:pt x="2056300" y="3281741"/>
                </a:lnTo>
                <a:lnTo>
                  <a:pt x="2056300" y="3346928"/>
                </a:lnTo>
                <a:lnTo>
                  <a:pt x="1504247" y="3346928"/>
                </a:lnTo>
                <a:close/>
                <a:moveTo>
                  <a:pt x="1504247" y="3068866"/>
                </a:moveTo>
                <a:lnTo>
                  <a:pt x="2056300" y="3068866"/>
                </a:lnTo>
                <a:lnTo>
                  <a:pt x="2056300" y="3134053"/>
                </a:lnTo>
                <a:lnTo>
                  <a:pt x="1504247" y="3134053"/>
                </a:lnTo>
                <a:close/>
                <a:moveTo>
                  <a:pt x="308214" y="2945621"/>
                </a:moveTo>
                <a:lnTo>
                  <a:pt x="333981" y="2947737"/>
                </a:lnTo>
                <a:lnTo>
                  <a:pt x="353923" y="2955678"/>
                </a:lnTo>
                <a:lnTo>
                  <a:pt x="366798" y="2971832"/>
                </a:lnTo>
                <a:lnTo>
                  <a:pt x="371366" y="2998585"/>
                </a:lnTo>
                <a:lnTo>
                  <a:pt x="366798" y="3024478"/>
                </a:lnTo>
                <a:lnTo>
                  <a:pt x="353923" y="3040727"/>
                </a:lnTo>
                <a:lnTo>
                  <a:pt x="333981" y="3049145"/>
                </a:lnTo>
                <a:lnTo>
                  <a:pt x="308214" y="3051549"/>
                </a:lnTo>
                <a:lnTo>
                  <a:pt x="283039" y="3049145"/>
                </a:lnTo>
                <a:lnTo>
                  <a:pt x="263401" y="3040727"/>
                </a:lnTo>
                <a:lnTo>
                  <a:pt x="250637" y="3024478"/>
                </a:lnTo>
                <a:lnTo>
                  <a:pt x="246086" y="2998585"/>
                </a:lnTo>
                <a:lnTo>
                  <a:pt x="250637" y="2971832"/>
                </a:lnTo>
                <a:lnTo>
                  <a:pt x="263401" y="2955678"/>
                </a:lnTo>
                <a:lnTo>
                  <a:pt x="283039" y="2947737"/>
                </a:lnTo>
                <a:close/>
                <a:moveTo>
                  <a:pt x="2508665" y="2750062"/>
                </a:moveTo>
                <a:lnTo>
                  <a:pt x="2539559" y="2751100"/>
                </a:lnTo>
                <a:lnTo>
                  <a:pt x="2568264" y="2754189"/>
                </a:lnTo>
                <a:lnTo>
                  <a:pt x="2594850" y="2759285"/>
                </a:lnTo>
                <a:lnTo>
                  <a:pt x="2619388" y="2766344"/>
                </a:lnTo>
                <a:lnTo>
                  <a:pt x="2641946" y="2775324"/>
                </a:lnTo>
                <a:lnTo>
                  <a:pt x="2662596" y="2786182"/>
                </a:lnTo>
                <a:lnTo>
                  <a:pt x="2698446" y="2813361"/>
                </a:lnTo>
                <a:lnTo>
                  <a:pt x="2727499" y="2847538"/>
                </a:lnTo>
                <a:lnTo>
                  <a:pt x="2739652" y="2867143"/>
                </a:lnTo>
                <a:lnTo>
                  <a:pt x="2750315" y="2888369"/>
                </a:lnTo>
                <a:lnTo>
                  <a:pt x="2759559" y="2911173"/>
                </a:lnTo>
                <a:lnTo>
                  <a:pt x="2767453" y="2935511"/>
                </a:lnTo>
                <a:lnTo>
                  <a:pt x="2774068" y="2961342"/>
                </a:lnTo>
                <a:lnTo>
                  <a:pt x="2779473" y="2988621"/>
                </a:lnTo>
                <a:lnTo>
                  <a:pt x="2783738" y="3017307"/>
                </a:lnTo>
                <a:lnTo>
                  <a:pt x="2786934" y="3047357"/>
                </a:lnTo>
                <a:lnTo>
                  <a:pt x="2789131" y="3078726"/>
                </a:lnTo>
                <a:lnTo>
                  <a:pt x="2790397" y="3111374"/>
                </a:lnTo>
                <a:lnTo>
                  <a:pt x="2790804" y="3145255"/>
                </a:lnTo>
                <a:lnTo>
                  <a:pt x="2790416" y="3179282"/>
                </a:lnTo>
                <a:lnTo>
                  <a:pt x="2789206" y="3212075"/>
                </a:lnTo>
                <a:lnTo>
                  <a:pt x="2787095" y="3243587"/>
                </a:lnTo>
                <a:lnTo>
                  <a:pt x="2784008" y="3273778"/>
                </a:lnTo>
                <a:lnTo>
                  <a:pt x="2779868" y="3302603"/>
                </a:lnTo>
                <a:lnTo>
                  <a:pt x="2774602" y="3330018"/>
                </a:lnTo>
                <a:lnTo>
                  <a:pt x="2768131" y="3355980"/>
                </a:lnTo>
                <a:lnTo>
                  <a:pt x="2760381" y="3380445"/>
                </a:lnTo>
                <a:lnTo>
                  <a:pt x="2751276" y="3403370"/>
                </a:lnTo>
                <a:lnTo>
                  <a:pt x="2740739" y="3424712"/>
                </a:lnTo>
                <a:lnTo>
                  <a:pt x="2728695" y="3444427"/>
                </a:lnTo>
                <a:lnTo>
                  <a:pt x="2699782" y="3478799"/>
                </a:lnTo>
                <a:lnTo>
                  <a:pt x="2663930" y="3506139"/>
                </a:lnTo>
                <a:lnTo>
                  <a:pt x="2643211" y="3517063"/>
                </a:lnTo>
                <a:lnTo>
                  <a:pt x="2620530" y="3526100"/>
                </a:lnTo>
                <a:lnTo>
                  <a:pt x="2595811" y="3533203"/>
                </a:lnTo>
                <a:lnTo>
                  <a:pt x="2568978" y="3538331"/>
                </a:lnTo>
                <a:lnTo>
                  <a:pt x="2539954" y="3541440"/>
                </a:lnTo>
                <a:lnTo>
                  <a:pt x="2508665" y="3542486"/>
                </a:lnTo>
                <a:lnTo>
                  <a:pt x="2508665" y="3483411"/>
                </a:lnTo>
                <a:lnTo>
                  <a:pt x="2538979" y="3482048"/>
                </a:lnTo>
                <a:lnTo>
                  <a:pt x="2566388" y="3478009"/>
                </a:lnTo>
                <a:lnTo>
                  <a:pt x="2591027" y="3471365"/>
                </a:lnTo>
                <a:lnTo>
                  <a:pt x="2613035" y="3462188"/>
                </a:lnTo>
                <a:lnTo>
                  <a:pt x="2649712" y="3436526"/>
                </a:lnTo>
                <a:lnTo>
                  <a:pt x="2677522" y="3401599"/>
                </a:lnTo>
                <a:lnTo>
                  <a:pt x="2688447" y="3380842"/>
                </a:lnTo>
                <a:lnTo>
                  <a:pt x="2697570" y="3357985"/>
                </a:lnTo>
                <a:lnTo>
                  <a:pt x="2705029" y="3333100"/>
                </a:lnTo>
                <a:lnTo>
                  <a:pt x="2710961" y="3306261"/>
                </a:lnTo>
                <a:lnTo>
                  <a:pt x="2715505" y="3277537"/>
                </a:lnTo>
                <a:lnTo>
                  <a:pt x="2718799" y="3247003"/>
                </a:lnTo>
                <a:lnTo>
                  <a:pt x="2720980" y="3214730"/>
                </a:lnTo>
                <a:lnTo>
                  <a:pt x="2722188" y="3180790"/>
                </a:lnTo>
                <a:lnTo>
                  <a:pt x="2722561" y="3145255"/>
                </a:lnTo>
                <a:lnTo>
                  <a:pt x="2722168" y="3110069"/>
                </a:lnTo>
                <a:lnTo>
                  <a:pt x="2720906" y="3076457"/>
                </a:lnTo>
                <a:lnTo>
                  <a:pt x="2718642" y="3044490"/>
                </a:lnTo>
                <a:lnTo>
                  <a:pt x="2715246" y="3014242"/>
                </a:lnTo>
                <a:lnTo>
                  <a:pt x="2710588" y="2985783"/>
                </a:lnTo>
                <a:lnTo>
                  <a:pt x="2704536" y="2959186"/>
                </a:lnTo>
                <a:lnTo>
                  <a:pt x="2696962" y="2934524"/>
                </a:lnTo>
                <a:lnTo>
                  <a:pt x="2687732" y="2911868"/>
                </a:lnTo>
                <a:lnTo>
                  <a:pt x="2676717" y="2891290"/>
                </a:lnTo>
                <a:lnTo>
                  <a:pt x="2648810" y="2856659"/>
                </a:lnTo>
                <a:lnTo>
                  <a:pt x="2612196" y="2831208"/>
                </a:lnTo>
                <a:lnTo>
                  <a:pt x="2590296" y="2822106"/>
                </a:lnTo>
                <a:lnTo>
                  <a:pt x="2565828" y="2815514"/>
                </a:lnTo>
                <a:lnTo>
                  <a:pt x="2538661" y="2811507"/>
                </a:lnTo>
                <a:lnTo>
                  <a:pt x="2508665" y="2810155"/>
                </a:lnTo>
                <a:close/>
                <a:moveTo>
                  <a:pt x="2452608" y="2750062"/>
                </a:moveTo>
                <a:lnTo>
                  <a:pt x="2452608" y="2810155"/>
                </a:lnTo>
                <a:lnTo>
                  <a:pt x="2422781" y="2811507"/>
                </a:lnTo>
                <a:lnTo>
                  <a:pt x="2395763" y="2815514"/>
                </a:lnTo>
                <a:lnTo>
                  <a:pt x="2371427" y="2822106"/>
                </a:lnTo>
                <a:lnTo>
                  <a:pt x="2349641" y="2831208"/>
                </a:lnTo>
                <a:lnTo>
                  <a:pt x="2313206" y="2856659"/>
                </a:lnTo>
                <a:lnTo>
                  <a:pt x="2285424" y="2891290"/>
                </a:lnTo>
                <a:lnTo>
                  <a:pt x="2274454" y="2911868"/>
                </a:lnTo>
                <a:lnTo>
                  <a:pt x="2265258" y="2934524"/>
                </a:lnTo>
                <a:lnTo>
                  <a:pt x="2257709" y="2959186"/>
                </a:lnTo>
                <a:lnTo>
                  <a:pt x="2251676" y="2985783"/>
                </a:lnTo>
                <a:lnTo>
                  <a:pt x="2247030" y="3014242"/>
                </a:lnTo>
                <a:lnTo>
                  <a:pt x="2243642" y="3044490"/>
                </a:lnTo>
                <a:lnTo>
                  <a:pt x="2241382" y="3076457"/>
                </a:lnTo>
                <a:lnTo>
                  <a:pt x="2240120" y="3110069"/>
                </a:lnTo>
                <a:lnTo>
                  <a:pt x="2239728" y="3145255"/>
                </a:lnTo>
                <a:lnTo>
                  <a:pt x="2240110" y="3180790"/>
                </a:lnTo>
                <a:lnTo>
                  <a:pt x="2241344" y="3214730"/>
                </a:lnTo>
                <a:lnTo>
                  <a:pt x="2243564" y="3247003"/>
                </a:lnTo>
                <a:lnTo>
                  <a:pt x="2246901" y="3277537"/>
                </a:lnTo>
                <a:lnTo>
                  <a:pt x="2251490" y="3306261"/>
                </a:lnTo>
                <a:lnTo>
                  <a:pt x="2257463" y="3333100"/>
                </a:lnTo>
                <a:lnTo>
                  <a:pt x="2264954" y="3357985"/>
                </a:lnTo>
                <a:lnTo>
                  <a:pt x="2274096" y="3380842"/>
                </a:lnTo>
                <a:lnTo>
                  <a:pt x="2285021" y="3401599"/>
                </a:lnTo>
                <a:lnTo>
                  <a:pt x="2312756" y="3436526"/>
                </a:lnTo>
                <a:lnTo>
                  <a:pt x="2349222" y="3462188"/>
                </a:lnTo>
                <a:lnTo>
                  <a:pt x="2371062" y="3471365"/>
                </a:lnTo>
                <a:lnTo>
                  <a:pt x="2395484" y="3478009"/>
                </a:lnTo>
                <a:lnTo>
                  <a:pt x="2422622" y="3482048"/>
                </a:lnTo>
                <a:lnTo>
                  <a:pt x="2452608" y="3483411"/>
                </a:lnTo>
                <a:lnTo>
                  <a:pt x="2452608" y="3542486"/>
                </a:lnTo>
                <a:lnTo>
                  <a:pt x="2421450" y="3541440"/>
                </a:lnTo>
                <a:lnTo>
                  <a:pt x="2392532" y="3538331"/>
                </a:lnTo>
                <a:lnTo>
                  <a:pt x="2365781" y="3533203"/>
                </a:lnTo>
                <a:lnTo>
                  <a:pt x="2341123" y="3526100"/>
                </a:lnTo>
                <a:lnTo>
                  <a:pt x="2318483" y="3517063"/>
                </a:lnTo>
                <a:lnTo>
                  <a:pt x="2297787" y="3506139"/>
                </a:lnTo>
                <a:lnTo>
                  <a:pt x="2261935" y="3478799"/>
                </a:lnTo>
                <a:lnTo>
                  <a:pt x="2232976" y="3444427"/>
                </a:lnTo>
                <a:lnTo>
                  <a:pt x="2220895" y="3424712"/>
                </a:lnTo>
                <a:lnTo>
                  <a:pt x="2210316" y="3403370"/>
                </a:lnTo>
                <a:lnTo>
                  <a:pt x="2201165" y="3380445"/>
                </a:lnTo>
                <a:lnTo>
                  <a:pt x="2193367" y="3355980"/>
                </a:lnTo>
                <a:lnTo>
                  <a:pt x="2186848" y="3330018"/>
                </a:lnTo>
                <a:lnTo>
                  <a:pt x="2181536" y="3302603"/>
                </a:lnTo>
                <a:lnTo>
                  <a:pt x="2177354" y="3273778"/>
                </a:lnTo>
                <a:lnTo>
                  <a:pt x="2174231" y="3243587"/>
                </a:lnTo>
                <a:lnTo>
                  <a:pt x="2172092" y="3212075"/>
                </a:lnTo>
                <a:lnTo>
                  <a:pt x="2170862" y="3179282"/>
                </a:lnTo>
                <a:lnTo>
                  <a:pt x="2170469" y="3145255"/>
                </a:lnTo>
                <a:lnTo>
                  <a:pt x="2170876" y="3111374"/>
                </a:lnTo>
                <a:lnTo>
                  <a:pt x="2172142" y="3078726"/>
                </a:lnTo>
                <a:lnTo>
                  <a:pt x="2174338" y="3047357"/>
                </a:lnTo>
                <a:lnTo>
                  <a:pt x="2177534" y="3017307"/>
                </a:lnTo>
                <a:lnTo>
                  <a:pt x="2181800" y="2988621"/>
                </a:lnTo>
                <a:lnTo>
                  <a:pt x="2187206" y="2961342"/>
                </a:lnTo>
                <a:lnTo>
                  <a:pt x="2193820" y="2935511"/>
                </a:lnTo>
                <a:lnTo>
                  <a:pt x="2201715" y="2911173"/>
                </a:lnTo>
                <a:lnTo>
                  <a:pt x="2210959" y="2888369"/>
                </a:lnTo>
                <a:lnTo>
                  <a:pt x="2221622" y="2867143"/>
                </a:lnTo>
                <a:lnTo>
                  <a:pt x="2233775" y="2847538"/>
                </a:lnTo>
                <a:lnTo>
                  <a:pt x="2262829" y="2813361"/>
                </a:lnTo>
                <a:lnTo>
                  <a:pt x="2298679" y="2786182"/>
                </a:lnTo>
                <a:lnTo>
                  <a:pt x="2319329" y="2775324"/>
                </a:lnTo>
                <a:lnTo>
                  <a:pt x="2341886" y="2766344"/>
                </a:lnTo>
                <a:lnTo>
                  <a:pt x="2366424" y="2759285"/>
                </a:lnTo>
                <a:lnTo>
                  <a:pt x="2393009" y="2754189"/>
                </a:lnTo>
                <a:lnTo>
                  <a:pt x="2421714" y="2751100"/>
                </a:lnTo>
                <a:close/>
                <a:moveTo>
                  <a:pt x="0" y="2365053"/>
                </a:moveTo>
                <a:lnTo>
                  <a:pt x="552046" y="2365053"/>
                </a:lnTo>
                <a:lnTo>
                  <a:pt x="552046" y="2430239"/>
                </a:lnTo>
                <a:lnTo>
                  <a:pt x="0" y="2430239"/>
                </a:lnTo>
                <a:close/>
                <a:moveTo>
                  <a:pt x="0" y="2152178"/>
                </a:moveTo>
                <a:lnTo>
                  <a:pt x="552046" y="2152178"/>
                </a:lnTo>
                <a:lnTo>
                  <a:pt x="552046" y="2217364"/>
                </a:lnTo>
                <a:lnTo>
                  <a:pt x="0" y="2217364"/>
                </a:lnTo>
                <a:close/>
                <a:moveTo>
                  <a:pt x="975625" y="1837762"/>
                </a:moveTo>
                <a:lnTo>
                  <a:pt x="1203780" y="1837762"/>
                </a:lnTo>
                <a:lnTo>
                  <a:pt x="1203780" y="1895226"/>
                </a:lnTo>
                <a:lnTo>
                  <a:pt x="1203780" y="2565639"/>
                </a:lnTo>
                <a:lnTo>
                  <a:pt x="1203780" y="2623869"/>
                </a:lnTo>
                <a:lnTo>
                  <a:pt x="975625" y="2623869"/>
                </a:lnTo>
                <a:lnTo>
                  <a:pt x="975625" y="2565639"/>
                </a:lnTo>
                <a:lnTo>
                  <a:pt x="1133506" y="2565639"/>
                </a:lnTo>
                <a:lnTo>
                  <a:pt x="1133506" y="1895226"/>
                </a:lnTo>
                <a:lnTo>
                  <a:pt x="975625" y="1895226"/>
                </a:lnTo>
                <a:close/>
                <a:moveTo>
                  <a:pt x="686589" y="1837762"/>
                </a:moveTo>
                <a:lnTo>
                  <a:pt x="914744" y="1837762"/>
                </a:lnTo>
                <a:lnTo>
                  <a:pt x="914744" y="1895226"/>
                </a:lnTo>
                <a:lnTo>
                  <a:pt x="756871" y="1895226"/>
                </a:lnTo>
                <a:lnTo>
                  <a:pt x="756871" y="2565639"/>
                </a:lnTo>
                <a:lnTo>
                  <a:pt x="914744" y="2565639"/>
                </a:lnTo>
                <a:lnTo>
                  <a:pt x="914744" y="2623869"/>
                </a:lnTo>
                <a:lnTo>
                  <a:pt x="686589" y="2623869"/>
                </a:lnTo>
                <a:lnTo>
                  <a:pt x="686589" y="2565639"/>
                </a:lnTo>
                <a:lnTo>
                  <a:pt x="686589" y="1895226"/>
                </a:lnTo>
                <a:close/>
                <a:moveTo>
                  <a:pt x="2196892" y="1833374"/>
                </a:moveTo>
                <a:lnTo>
                  <a:pt x="2227786" y="1834413"/>
                </a:lnTo>
                <a:lnTo>
                  <a:pt x="2256490" y="1837502"/>
                </a:lnTo>
                <a:lnTo>
                  <a:pt x="2283076" y="1842597"/>
                </a:lnTo>
                <a:lnTo>
                  <a:pt x="2307613" y="1849656"/>
                </a:lnTo>
                <a:lnTo>
                  <a:pt x="2330171" y="1858637"/>
                </a:lnTo>
                <a:lnTo>
                  <a:pt x="2350821" y="1869495"/>
                </a:lnTo>
                <a:lnTo>
                  <a:pt x="2386671" y="1896674"/>
                </a:lnTo>
                <a:lnTo>
                  <a:pt x="2415724" y="1930851"/>
                </a:lnTo>
                <a:lnTo>
                  <a:pt x="2427878" y="1950456"/>
                </a:lnTo>
                <a:lnTo>
                  <a:pt x="2438541" y="1971682"/>
                </a:lnTo>
                <a:lnTo>
                  <a:pt x="2447785" y="1994485"/>
                </a:lnTo>
                <a:lnTo>
                  <a:pt x="2455680" y="2018824"/>
                </a:lnTo>
                <a:lnTo>
                  <a:pt x="2462294" y="2044655"/>
                </a:lnTo>
                <a:lnTo>
                  <a:pt x="2467700" y="2071935"/>
                </a:lnTo>
                <a:lnTo>
                  <a:pt x="2471966" y="2100621"/>
                </a:lnTo>
                <a:lnTo>
                  <a:pt x="2475162" y="2130670"/>
                </a:lnTo>
                <a:lnTo>
                  <a:pt x="2477358" y="2162039"/>
                </a:lnTo>
                <a:lnTo>
                  <a:pt x="2478625" y="2194687"/>
                </a:lnTo>
                <a:lnTo>
                  <a:pt x="2479032" y="2228568"/>
                </a:lnTo>
                <a:lnTo>
                  <a:pt x="2478644" y="2262596"/>
                </a:lnTo>
                <a:lnTo>
                  <a:pt x="2477434" y="2295388"/>
                </a:lnTo>
                <a:lnTo>
                  <a:pt x="2475322" y="2326901"/>
                </a:lnTo>
                <a:lnTo>
                  <a:pt x="2472236" y="2357092"/>
                </a:lnTo>
                <a:lnTo>
                  <a:pt x="2468096" y="2385916"/>
                </a:lnTo>
                <a:lnTo>
                  <a:pt x="2462830" y="2413332"/>
                </a:lnTo>
                <a:lnTo>
                  <a:pt x="2456359" y="2439293"/>
                </a:lnTo>
                <a:lnTo>
                  <a:pt x="2448609" y="2463759"/>
                </a:lnTo>
                <a:lnTo>
                  <a:pt x="2439504" y="2486684"/>
                </a:lnTo>
                <a:lnTo>
                  <a:pt x="2428967" y="2508026"/>
                </a:lnTo>
                <a:lnTo>
                  <a:pt x="2416923" y="2527740"/>
                </a:lnTo>
                <a:lnTo>
                  <a:pt x="2388010" y="2562112"/>
                </a:lnTo>
                <a:lnTo>
                  <a:pt x="2352158" y="2589453"/>
                </a:lnTo>
                <a:lnTo>
                  <a:pt x="2331438" y="2600377"/>
                </a:lnTo>
                <a:lnTo>
                  <a:pt x="2308758" y="2609413"/>
                </a:lnTo>
                <a:lnTo>
                  <a:pt x="2284039" y="2616517"/>
                </a:lnTo>
                <a:lnTo>
                  <a:pt x="2257206" y="2621645"/>
                </a:lnTo>
                <a:lnTo>
                  <a:pt x="2228182" y="2624754"/>
                </a:lnTo>
                <a:lnTo>
                  <a:pt x="2196892" y="2625799"/>
                </a:lnTo>
                <a:lnTo>
                  <a:pt x="2196892" y="2566725"/>
                </a:lnTo>
                <a:lnTo>
                  <a:pt x="2227207" y="2565362"/>
                </a:lnTo>
                <a:lnTo>
                  <a:pt x="2254616" y="2561323"/>
                </a:lnTo>
                <a:lnTo>
                  <a:pt x="2279255" y="2554679"/>
                </a:lnTo>
                <a:lnTo>
                  <a:pt x="2301263" y="2545502"/>
                </a:lnTo>
                <a:lnTo>
                  <a:pt x="2337940" y="2519839"/>
                </a:lnTo>
                <a:lnTo>
                  <a:pt x="2365750" y="2484913"/>
                </a:lnTo>
                <a:lnTo>
                  <a:pt x="2376675" y="2464156"/>
                </a:lnTo>
                <a:lnTo>
                  <a:pt x="2385798" y="2441299"/>
                </a:lnTo>
                <a:lnTo>
                  <a:pt x="2393256" y="2416414"/>
                </a:lnTo>
                <a:lnTo>
                  <a:pt x="2399189" y="2389574"/>
                </a:lnTo>
                <a:lnTo>
                  <a:pt x="2403733" y="2360851"/>
                </a:lnTo>
                <a:lnTo>
                  <a:pt x="2407027" y="2330317"/>
                </a:lnTo>
                <a:lnTo>
                  <a:pt x="2409208" y="2298043"/>
                </a:lnTo>
                <a:lnTo>
                  <a:pt x="2410416" y="2264103"/>
                </a:lnTo>
                <a:lnTo>
                  <a:pt x="2410788" y="2228568"/>
                </a:lnTo>
                <a:lnTo>
                  <a:pt x="2410396" y="2193383"/>
                </a:lnTo>
                <a:lnTo>
                  <a:pt x="2409134" y="2159770"/>
                </a:lnTo>
                <a:lnTo>
                  <a:pt x="2406870" y="2127804"/>
                </a:lnTo>
                <a:lnTo>
                  <a:pt x="2403474" y="2097555"/>
                </a:lnTo>
                <a:lnTo>
                  <a:pt x="2398815" y="2069097"/>
                </a:lnTo>
                <a:lnTo>
                  <a:pt x="2392763" y="2042499"/>
                </a:lnTo>
                <a:lnTo>
                  <a:pt x="2385188" y="2017837"/>
                </a:lnTo>
                <a:lnTo>
                  <a:pt x="2375958" y="1995181"/>
                </a:lnTo>
                <a:lnTo>
                  <a:pt x="2364943" y="1974603"/>
                </a:lnTo>
                <a:lnTo>
                  <a:pt x="2337035" y="1939972"/>
                </a:lnTo>
                <a:lnTo>
                  <a:pt x="2300421" y="1914521"/>
                </a:lnTo>
                <a:lnTo>
                  <a:pt x="2278522" y="1905419"/>
                </a:lnTo>
                <a:lnTo>
                  <a:pt x="2254055" y="1898828"/>
                </a:lnTo>
                <a:lnTo>
                  <a:pt x="2226888" y="1894820"/>
                </a:lnTo>
                <a:lnTo>
                  <a:pt x="2196892" y="1893468"/>
                </a:lnTo>
                <a:close/>
                <a:moveTo>
                  <a:pt x="2140849" y="1833374"/>
                </a:moveTo>
                <a:lnTo>
                  <a:pt x="2140849" y="1893468"/>
                </a:lnTo>
                <a:lnTo>
                  <a:pt x="2111022" y="1894820"/>
                </a:lnTo>
                <a:lnTo>
                  <a:pt x="2084005" y="1898828"/>
                </a:lnTo>
                <a:lnTo>
                  <a:pt x="2059669" y="1905419"/>
                </a:lnTo>
                <a:lnTo>
                  <a:pt x="2037884" y="1914521"/>
                </a:lnTo>
                <a:lnTo>
                  <a:pt x="2001450" y="1939972"/>
                </a:lnTo>
                <a:lnTo>
                  <a:pt x="1973667" y="1974603"/>
                </a:lnTo>
                <a:lnTo>
                  <a:pt x="1962698" y="1995181"/>
                </a:lnTo>
                <a:lnTo>
                  <a:pt x="1953504" y="2017837"/>
                </a:lnTo>
                <a:lnTo>
                  <a:pt x="1945955" y="2042499"/>
                </a:lnTo>
                <a:lnTo>
                  <a:pt x="1939923" y="2069097"/>
                </a:lnTo>
                <a:lnTo>
                  <a:pt x="1935277" y="2097555"/>
                </a:lnTo>
                <a:lnTo>
                  <a:pt x="1931889" y="2127804"/>
                </a:lnTo>
                <a:lnTo>
                  <a:pt x="1929629" y="2159770"/>
                </a:lnTo>
                <a:lnTo>
                  <a:pt x="1928368" y="2193383"/>
                </a:lnTo>
                <a:lnTo>
                  <a:pt x="1927976" y="2228568"/>
                </a:lnTo>
                <a:lnTo>
                  <a:pt x="1928358" y="2264103"/>
                </a:lnTo>
                <a:lnTo>
                  <a:pt x="1929592" y="2298043"/>
                </a:lnTo>
                <a:lnTo>
                  <a:pt x="1931811" y="2330317"/>
                </a:lnTo>
                <a:lnTo>
                  <a:pt x="1935148" y="2360851"/>
                </a:lnTo>
                <a:lnTo>
                  <a:pt x="1939736" y="2389574"/>
                </a:lnTo>
                <a:lnTo>
                  <a:pt x="1945709" y="2416414"/>
                </a:lnTo>
                <a:lnTo>
                  <a:pt x="1953200" y="2441299"/>
                </a:lnTo>
                <a:lnTo>
                  <a:pt x="1962341" y="2464156"/>
                </a:lnTo>
                <a:lnTo>
                  <a:pt x="1973265" y="2484913"/>
                </a:lnTo>
                <a:lnTo>
                  <a:pt x="2000999" y="2519839"/>
                </a:lnTo>
                <a:lnTo>
                  <a:pt x="2037464" y="2545502"/>
                </a:lnTo>
                <a:lnTo>
                  <a:pt x="2059304" y="2554679"/>
                </a:lnTo>
                <a:lnTo>
                  <a:pt x="2083726" y="2561323"/>
                </a:lnTo>
                <a:lnTo>
                  <a:pt x="2110863" y="2565362"/>
                </a:lnTo>
                <a:lnTo>
                  <a:pt x="2140849" y="2566725"/>
                </a:lnTo>
                <a:lnTo>
                  <a:pt x="2140849" y="2625799"/>
                </a:lnTo>
                <a:lnTo>
                  <a:pt x="2109692" y="2624754"/>
                </a:lnTo>
                <a:lnTo>
                  <a:pt x="2080775" y="2621645"/>
                </a:lnTo>
                <a:lnTo>
                  <a:pt x="2054025" y="2616517"/>
                </a:lnTo>
                <a:lnTo>
                  <a:pt x="2029367" y="2609413"/>
                </a:lnTo>
                <a:lnTo>
                  <a:pt x="2006728" y="2600377"/>
                </a:lnTo>
                <a:lnTo>
                  <a:pt x="1986033" y="2589453"/>
                </a:lnTo>
                <a:lnTo>
                  <a:pt x="1950182" y="2562112"/>
                </a:lnTo>
                <a:lnTo>
                  <a:pt x="1921222" y="2527740"/>
                </a:lnTo>
                <a:lnTo>
                  <a:pt x="1909143" y="2508026"/>
                </a:lnTo>
                <a:lnTo>
                  <a:pt x="1898564" y="2486684"/>
                </a:lnTo>
                <a:lnTo>
                  <a:pt x="1889412" y="2463759"/>
                </a:lnTo>
                <a:lnTo>
                  <a:pt x="1881615" y="2439293"/>
                </a:lnTo>
                <a:lnTo>
                  <a:pt x="1875096" y="2413332"/>
                </a:lnTo>
                <a:lnTo>
                  <a:pt x="1869783" y="2385916"/>
                </a:lnTo>
                <a:lnTo>
                  <a:pt x="1865602" y="2357092"/>
                </a:lnTo>
                <a:lnTo>
                  <a:pt x="1862479" y="2326901"/>
                </a:lnTo>
                <a:lnTo>
                  <a:pt x="1860340" y="2295388"/>
                </a:lnTo>
                <a:lnTo>
                  <a:pt x="1859110" y="2262596"/>
                </a:lnTo>
                <a:lnTo>
                  <a:pt x="1858717" y="2228568"/>
                </a:lnTo>
                <a:lnTo>
                  <a:pt x="1859123" y="2194687"/>
                </a:lnTo>
                <a:lnTo>
                  <a:pt x="1860390" y="2162039"/>
                </a:lnTo>
                <a:lnTo>
                  <a:pt x="1862586" y="2130670"/>
                </a:lnTo>
                <a:lnTo>
                  <a:pt x="1865781" y="2100621"/>
                </a:lnTo>
                <a:lnTo>
                  <a:pt x="1870047" y="2071935"/>
                </a:lnTo>
                <a:lnTo>
                  <a:pt x="1875452" y="2044655"/>
                </a:lnTo>
                <a:lnTo>
                  <a:pt x="1882067" y="2018824"/>
                </a:lnTo>
                <a:lnTo>
                  <a:pt x="1889961" y="1994485"/>
                </a:lnTo>
                <a:lnTo>
                  <a:pt x="1899205" y="1971682"/>
                </a:lnTo>
                <a:lnTo>
                  <a:pt x="1909867" y="1950456"/>
                </a:lnTo>
                <a:lnTo>
                  <a:pt x="1922020" y="1930851"/>
                </a:lnTo>
                <a:lnTo>
                  <a:pt x="1951072" y="1896674"/>
                </a:lnTo>
                <a:lnTo>
                  <a:pt x="1986922" y="1869495"/>
                </a:lnTo>
                <a:lnTo>
                  <a:pt x="2007571" y="1858637"/>
                </a:lnTo>
                <a:lnTo>
                  <a:pt x="2030129" y="1849656"/>
                </a:lnTo>
                <a:lnTo>
                  <a:pt x="2054665" y="1842597"/>
                </a:lnTo>
                <a:lnTo>
                  <a:pt x="2081251" y="1837502"/>
                </a:lnTo>
                <a:lnTo>
                  <a:pt x="2109955" y="1834413"/>
                </a:lnTo>
                <a:close/>
                <a:moveTo>
                  <a:pt x="2219148" y="1448369"/>
                </a:moveTo>
                <a:lnTo>
                  <a:pt x="2771201" y="1448369"/>
                </a:lnTo>
                <a:lnTo>
                  <a:pt x="2771201" y="1513555"/>
                </a:lnTo>
                <a:lnTo>
                  <a:pt x="2219148" y="1513555"/>
                </a:lnTo>
                <a:close/>
                <a:moveTo>
                  <a:pt x="1555972" y="1448366"/>
                </a:moveTo>
                <a:lnTo>
                  <a:pt x="2108018" y="1448366"/>
                </a:lnTo>
                <a:lnTo>
                  <a:pt x="2108018" y="1513553"/>
                </a:lnTo>
                <a:lnTo>
                  <a:pt x="1555972" y="1513553"/>
                </a:lnTo>
                <a:close/>
                <a:moveTo>
                  <a:pt x="2219148" y="1235493"/>
                </a:moveTo>
                <a:lnTo>
                  <a:pt x="2771201" y="1235493"/>
                </a:lnTo>
                <a:lnTo>
                  <a:pt x="2771201" y="1300680"/>
                </a:lnTo>
                <a:lnTo>
                  <a:pt x="2219148" y="1300680"/>
                </a:lnTo>
                <a:close/>
                <a:moveTo>
                  <a:pt x="1555972" y="1235491"/>
                </a:moveTo>
                <a:lnTo>
                  <a:pt x="2108018" y="1235491"/>
                </a:lnTo>
                <a:lnTo>
                  <a:pt x="2108018" y="1300678"/>
                </a:lnTo>
                <a:lnTo>
                  <a:pt x="1555972" y="1300678"/>
                </a:lnTo>
                <a:close/>
                <a:moveTo>
                  <a:pt x="3742214" y="916690"/>
                </a:moveTo>
                <a:lnTo>
                  <a:pt x="3773108" y="917728"/>
                </a:lnTo>
                <a:lnTo>
                  <a:pt x="3801812" y="920817"/>
                </a:lnTo>
                <a:lnTo>
                  <a:pt x="3828397" y="925913"/>
                </a:lnTo>
                <a:lnTo>
                  <a:pt x="3852935" y="932972"/>
                </a:lnTo>
                <a:lnTo>
                  <a:pt x="3875492" y="941952"/>
                </a:lnTo>
                <a:lnTo>
                  <a:pt x="3896140" y="952810"/>
                </a:lnTo>
                <a:lnTo>
                  <a:pt x="3931990" y="979989"/>
                </a:lnTo>
                <a:lnTo>
                  <a:pt x="3961043" y="1014166"/>
                </a:lnTo>
                <a:lnTo>
                  <a:pt x="3973194" y="1033771"/>
                </a:lnTo>
                <a:lnTo>
                  <a:pt x="3983858" y="1054997"/>
                </a:lnTo>
                <a:lnTo>
                  <a:pt x="3993102" y="1077801"/>
                </a:lnTo>
                <a:lnTo>
                  <a:pt x="4000996" y="1102139"/>
                </a:lnTo>
                <a:lnTo>
                  <a:pt x="4007610" y="1127971"/>
                </a:lnTo>
                <a:lnTo>
                  <a:pt x="4013016" y="1155250"/>
                </a:lnTo>
                <a:lnTo>
                  <a:pt x="4017281" y="1183936"/>
                </a:lnTo>
                <a:lnTo>
                  <a:pt x="4020477" y="1213985"/>
                </a:lnTo>
                <a:lnTo>
                  <a:pt x="4022673" y="1245354"/>
                </a:lnTo>
                <a:lnTo>
                  <a:pt x="4023939" y="1278002"/>
                </a:lnTo>
                <a:lnTo>
                  <a:pt x="4024347" y="1311883"/>
                </a:lnTo>
                <a:lnTo>
                  <a:pt x="4023960" y="1345910"/>
                </a:lnTo>
                <a:lnTo>
                  <a:pt x="4022749" y="1378703"/>
                </a:lnTo>
                <a:lnTo>
                  <a:pt x="4020638" y="1410216"/>
                </a:lnTo>
                <a:lnTo>
                  <a:pt x="4017550" y="1440407"/>
                </a:lnTo>
                <a:lnTo>
                  <a:pt x="4013412" y="1469231"/>
                </a:lnTo>
                <a:lnTo>
                  <a:pt x="4008146" y="1496647"/>
                </a:lnTo>
                <a:lnTo>
                  <a:pt x="4001675" y="1522609"/>
                </a:lnTo>
                <a:lnTo>
                  <a:pt x="3993926" y="1547074"/>
                </a:lnTo>
                <a:lnTo>
                  <a:pt x="3984821" y="1570000"/>
                </a:lnTo>
                <a:lnTo>
                  <a:pt x="3974284" y="1591341"/>
                </a:lnTo>
                <a:lnTo>
                  <a:pt x="3962241" y="1611056"/>
                </a:lnTo>
                <a:lnTo>
                  <a:pt x="3933329" y="1645428"/>
                </a:lnTo>
                <a:lnTo>
                  <a:pt x="3897477" y="1672768"/>
                </a:lnTo>
                <a:lnTo>
                  <a:pt x="3876760" y="1683693"/>
                </a:lnTo>
                <a:lnTo>
                  <a:pt x="3854080" y="1692729"/>
                </a:lnTo>
                <a:lnTo>
                  <a:pt x="3829360" y="1699833"/>
                </a:lnTo>
                <a:lnTo>
                  <a:pt x="3802527" y="1704961"/>
                </a:lnTo>
                <a:lnTo>
                  <a:pt x="3773504" y="1708069"/>
                </a:lnTo>
                <a:lnTo>
                  <a:pt x="3742214" y="1709115"/>
                </a:lnTo>
                <a:lnTo>
                  <a:pt x="3742214" y="1650040"/>
                </a:lnTo>
                <a:lnTo>
                  <a:pt x="3772528" y="1648677"/>
                </a:lnTo>
                <a:lnTo>
                  <a:pt x="3799938" y="1644638"/>
                </a:lnTo>
                <a:lnTo>
                  <a:pt x="3824576" y="1637994"/>
                </a:lnTo>
                <a:lnTo>
                  <a:pt x="3846584" y="1628817"/>
                </a:lnTo>
                <a:lnTo>
                  <a:pt x="3883261" y="1603155"/>
                </a:lnTo>
                <a:lnTo>
                  <a:pt x="3911071" y="1568228"/>
                </a:lnTo>
                <a:lnTo>
                  <a:pt x="3921996" y="1547471"/>
                </a:lnTo>
                <a:lnTo>
                  <a:pt x="3931120" y="1524614"/>
                </a:lnTo>
                <a:lnTo>
                  <a:pt x="3938578" y="1499729"/>
                </a:lnTo>
                <a:lnTo>
                  <a:pt x="3944510" y="1472889"/>
                </a:lnTo>
                <a:lnTo>
                  <a:pt x="3949054" y="1444166"/>
                </a:lnTo>
                <a:lnTo>
                  <a:pt x="3952348" y="1413632"/>
                </a:lnTo>
                <a:lnTo>
                  <a:pt x="3954530" y="1381358"/>
                </a:lnTo>
                <a:lnTo>
                  <a:pt x="3955738" y="1347418"/>
                </a:lnTo>
                <a:lnTo>
                  <a:pt x="3956109" y="1311883"/>
                </a:lnTo>
                <a:lnTo>
                  <a:pt x="3955717" y="1276698"/>
                </a:lnTo>
                <a:lnTo>
                  <a:pt x="3954455" y="1243085"/>
                </a:lnTo>
                <a:lnTo>
                  <a:pt x="3952190" y="1211119"/>
                </a:lnTo>
                <a:lnTo>
                  <a:pt x="3948795" y="1180870"/>
                </a:lnTo>
                <a:lnTo>
                  <a:pt x="3944136" y="1152411"/>
                </a:lnTo>
                <a:lnTo>
                  <a:pt x="3938084" y="1125814"/>
                </a:lnTo>
                <a:lnTo>
                  <a:pt x="3930509" y="1101153"/>
                </a:lnTo>
                <a:lnTo>
                  <a:pt x="3921278" y="1078496"/>
                </a:lnTo>
                <a:lnTo>
                  <a:pt x="3910264" y="1057918"/>
                </a:lnTo>
                <a:lnTo>
                  <a:pt x="3882356" y="1023288"/>
                </a:lnTo>
                <a:lnTo>
                  <a:pt x="3845742" y="997836"/>
                </a:lnTo>
                <a:lnTo>
                  <a:pt x="3823844" y="988734"/>
                </a:lnTo>
                <a:lnTo>
                  <a:pt x="3799376" y="982143"/>
                </a:lnTo>
                <a:lnTo>
                  <a:pt x="3772210" y="978135"/>
                </a:lnTo>
                <a:lnTo>
                  <a:pt x="3742214" y="976783"/>
                </a:lnTo>
                <a:close/>
                <a:moveTo>
                  <a:pt x="3686156" y="916690"/>
                </a:moveTo>
                <a:lnTo>
                  <a:pt x="3686156" y="976783"/>
                </a:lnTo>
                <a:lnTo>
                  <a:pt x="3656329" y="978135"/>
                </a:lnTo>
                <a:lnTo>
                  <a:pt x="3629312" y="982143"/>
                </a:lnTo>
                <a:lnTo>
                  <a:pt x="3604976" y="988734"/>
                </a:lnTo>
                <a:lnTo>
                  <a:pt x="3583191" y="997836"/>
                </a:lnTo>
                <a:lnTo>
                  <a:pt x="3546757" y="1023288"/>
                </a:lnTo>
                <a:lnTo>
                  <a:pt x="3518975" y="1057918"/>
                </a:lnTo>
                <a:lnTo>
                  <a:pt x="3508006" y="1078496"/>
                </a:lnTo>
                <a:lnTo>
                  <a:pt x="3498812" y="1101153"/>
                </a:lnTo>
                <a:lnTo>
                  <a:pt x="3491262" y="1125814"/>
                </a:lnTo>
                <a:lnTo>
                  <a:pt x="3485230" y="1152411"/>
                </a:lnTo>
                <a:lnTo>
                  <a:pt x="3480584" y="1180870"/>
                </a:lnTo>
                <a:lnTo>
                  <a:pt x="3477197" y="1211119"/>
                </a:lnTo>
                <a:lnTo>
                  <a:pt x="3474937" y="1243085"/>
                </a:lnTo>
                <a:lnTo>
                  <a:pt x="3473675" y="1276698"/>
                </a:lnTo>
                <a:lnTo>
                  <a:pt x="3473284" y="1311883"/>
                </a:lnTo>
                <a:lnTo>
                  <a:pt x="3473666" y="1347418"/>
                </a:lnTo>
                <a:lnTo>
                  <a:pt x="3474899" y="1381358"/>
                </a:lnTo>
                <a:lnTo>
                  <a:pt x="3477118" y="1413632"/>
                </a:lnTo>
                <a:lnTo>
                  <a:pt x="3480455" y="1444166"/>
                </a:lnTo>
                <a:lnTo>
                  <a:pt x="3485044" y="1472889"/>
                </a:lnTo>
                <a:lnTo>
                  <a:pt x="3491016" y="1499729"/>
                </a:lnTo>
                <a:lnTo>
                  <a:pt x="3498507" y="1524614"/>
                </a:lnTo>
                <a:lnTo>
                  <a:pt x="3507648" y="1547471"/>
                </a:lnTo>
                <a:lnTo>
                  <a:pt x="3518572" y="1568228"/>
                </a:lnTo>
                <a:lnTo>
                  <a:pt x="3546307" y="1603155"/>
                </a:lnTo>
                <a:lnTo>
                  <a:pt x="3582771" y="1628817"/>
                </a:lnTo>
                <a:lnTo>
                  <a:pt x="3604611" y="1637994"/>
                </a:lnTo>
                <a:lnTo>
                  <a:pt x="3629033" y="1644638"/>
                </a:lnTo>
                <a:lnTo>
                  <a:pt x="3656171" y="1648677"/>
                </a:lnTo>
                <a:lnTo>
                  <a:pt x="3686156" y="1650040"/>
                </a:lnTo>
                <a:lnTo>
                  <a:pt x="3686156" y="1709115"/>
                </a:lnTo>
                <a:lnTo>
                  <a:pt x="3655000" y="1708069"/>
                </a:lnTo>
                <a:lnTo>
                  <a:pt x="3626082" y="1704961"/>
                </a:lnTo>
                <a:lnTo>
                  <a:pt x="3599332" y="1699833"/>
                </a:lnTo>
                <a:lnTo>
                  <a:pt x="3574674" y="1692729"/>
                </a:lnTo>
                <a:lnTo>
                  <a:pt x="3552035" y="1683693"/>
                </a:lnTo>
                <a:lnTo>
                  <a:pt x="3531340" y="1672768"/>
                </a:lnTo>
                <a:lnTo>
                  <a:pt x="3495489" y="1645428"/>
                </a:lnTo>
                <a:lnTo>
                  <a:pt x="3466530" y="1611056"/>
                </a:lnTo>
                <a:lnTo>
                  <a:pt x="3454450" y="1591341"/>
                </a:lnTo>
                <a:lnTo>
                  <a:pt x="3443871" y="1570000"/>
                </a:lnTo>
                <a:lnTo>
                  <a:pt x="3434720" y="1547074"/>
                </a:lnTo>
                <a:lnTo>
                  <a:pt x="3426922" y="1522609"/>
                </a:lnTo>
                <a:lnTo>
                  <a:pt x="3420404" y="1496647"/>
                </a:lnTo>
                <a:lnTo>
                  <a:pt x="3415090" y="1469231"/>
                </a:lnTo>
                <a:lnTo>
                  <a:pt x="3410910" y="1440407"/>
                </a:lnTo>
                <a:lnTo>
                  <a:pt x="3407786" y="1410216"/>
                </a:lnTo>
                <a:lnTo>
                  <a:pt x="3405647" y="1378703"/>
                </a:lnTo>
                <a:lnTo>
                  <a:pt x="3404417" y="1345910"/>
                </a:lnTo>
                <a:lnTo>
                  <a:pt x="3404024" y="1311883"/>
                </a:lnTo>
                <a:lnTo>
                  <a:pt x="3404430" y="1278002"/>
                </a:lnTo>
                <a:lnTo>
                  <a:pt x="3405697" y="1245354"/>
                </a:lnTo>
                <a:lnTo>
                  <a:pt x="3407893" y="1213985"/>
                </a:lnTo>
                <a:lnTo>
                  <a:pt x="3411088" y="1183936"/>
                </a:lnTo>
                <a:lnTo>
                  <a:pt x="3415354" y="1155250"/>
                </a:lnTo>
                <a:lnTo>
                  <a:pt x="3420760" y="1127971"/>
                </a:lnTo>
                <a:lnTo>
                  <a:pt x="3427374" y="1102139"/>
                </a:lnTo>
                <a:lnTo>
                  <a:pt x="3435268" y="1077801"/>
                </a:lnTo>
                <a:lnTo>
                  <a:pt x="3444512" y="1054997"/>
                </a:lnTo>
                <a:lnTo>
                  <a:pt x="3455174" y="1033771"/>
                </a:lnTo>
                <a:lnTo>
                  <a:pt x="3467327" y="1014166"/>
                </a:lnTo>
                <a:lnTo>
                  <a:pt x="3496380" y="979989"/>
                </a:lnTo>
                <a:lnTo>
                  <a:pt x="3532230" y="952810"/>
                </a:lnTo>
                <a:lnTo>
                  <a:pt x="3552878" y="941952"/>
                </a:lnTo>
                <a:lnTo>
                  <a:pt x="3575436" y="932972"/>
                </a:lnTo>
                <a:lnTo>
                  <a:pt x="3599973" y="925913"/>
                </a:lnTo>
                <a:lnTo>
                  <a:pt x="3626558" y="920817"/>
                </a:lnTo>
                <a:lnTo>
                  <a:pt x="3655263" y="917728"/>
                </a:lnTo>
                <a:close/>
                <a:moveTo>
                  <a:pt x="2538537" y="623346"/>
                </a:moveTo>
                <a:lnTo>
                  <a:pt x="2664834" y="623346"/>
                </a:lnTo>
                <a:lnTo>
                  <a:pt x="2664834" y="729274"/>
                </a:lnTo>
                <a:lnTo>
                  <a:pt x="2538537" y="729274"/>
                </a:lnTo>
                <a:close/>
                <a:moveTo>
                  <a:pt x="3538388" y="531682"/>
                </a:moveTo>
                <a:lnTo>
                  <a:pt x="4090442" y="531682"/>
                </a:lnTo>
                <a:lnTo>
                  <a:pt x="4090442" y="596869"/>
                </a:lnTo>
                <a:lnTo>
                  <a:pt x="3538388" y="596869"/>
                </a:lnTo>
                <a:close/>
                <a:moveTo>
                  <a:pt x="3538388" y="318807"/>
                </a:moveTo>
                <a:lnTo>
                  <a:pt x="4090442" y="318807"/>
                </a:lnTo>
                <a:lnTo>
                  <a:pt x="4090442" y="383994"/>
                </a:lnTo>
                <a:lnTo>
                  <a:pt x="3538388" y="383994"/>
                </a:lnTo>
                <a:close/>
                <a:moveTo>
                  <a:pt x="4743648" y="4277"/>
                </a:moveTo>
                <a:lnTo>
                  <a:pt x="4971802" y="4277"/>
                </a:lnTo>
                <a:lnTo>
                  <a:pt x="4971802" y="62507"/>
                </a:lnTo>
                <a:lnTo>
                  <a:pt x="4813930" y="62507"/>
                </a:lnTo>
                <a:lnTo>
                  <a:pt x="4813930" y="732154"/>
                </a:lnTo>
                <a:lnTo>
                  <a:pt x="4971802" y="732154"/>
                </a:lnTo>
                <a:lnTo>
                  <a:pt x="4971802" y="790385"/>
                </a:lnTo>
                <a:lnTo>
                  <a:pt x="4743648" y="790385"/>
                </a:lnTo>
                <a:lnTo>
                  <a:pt x="4743648" y="732154"/>
                </a:lnTo>
                <a:lnTo>
                  <a:pt x="4743648" y="62507"/>
                </a:lnTo>
                <a:close/>
                <a:moveTo>
                  <a:pt x="1841161" y="1"/>
                </a:moveTo>
                <a:lnTo>
                  <a:pt x="1841161" y="60096"/>
                </a:lnTo>
                <a:lnTo>
                  <a:pt x="1811334" y="61447"/>
                </a:lnTo>
                <a:lnTo>
                  <a:pt x="1784317" y="65456"/>
                </a:lnTo>
                <a:lnTo>
                  <a:pt x="1759981" y="72046"/>
                </a:lnTo>
                <a:lnTo>
                  <a:pt x="1738195" y="81149"/>
                </a:lnTo>
                <a:lnTo>
                  <a:pt x="1701760" y="106599"/>
                </a:lnTo>
                <a:lnTo>
                  <a:pt x="1673977" y="141231"/>
                </a:lnTo>
                <a:lnTo>
                  <a:pt x="1663007" y="161808"/>
                </a:lnTo>
                <a:lnTo>
                  <a:pt x="1653812" y="184464"/>
                </a:lnTo>
                <a:lnTo>
                  <a:pt x="1646263" y="209127"/>
                </a:lnTo>
                <a:lnTo>
                  <a:pt x="1640230" y="235723"/>
                </a:lnTo>
                <a:lnTo>
                  <a:pt x="1635584" y="264182"/>
                </a:lnTo>
                <a:lnTo>
                  <a:pt x="1632195" y="294431"/>
                </a:lnTo>
                <a:lnTo>
                  <a:pt x="1629935" y="326398"/>
                </a:lnTo>
                <a:lnTo>
                  <a:pt x="1628674" y="360010"/>
                </a:lnTo>
                <a:lnTo>
                  <a:pt x="1628282" y="395196"/>
                </a:lnTo>
                <a:lnTo>
                  <a:pt x="1628664" y="430731"/>
                </a:lnTo>
                <a:lnTo>
                  <a:pt x="1629898" y="464671"/>
                </a:lnTo>
                <a:lnTo>
                  <a:pt x="1632117" y="496943"/>
                </a:lnTo>
                <a:lnTo>
                  <a:pt x="1635455" y="527477"/>
                </a:lnTo>
                <a:lnTo>
                  <a:pt x="1640043" y="556201"/>
                </a:lnTo>
                <a:lnTo>
                  <a:pt x="1646017" y="583040"/>
                </a:lnTo>
                <a:lnTo>
                  <a:pt x="1653508" y="607925"/>
                </a:lnTo>
                <a:lnTo>
                  <a:pt x="1662650" y="630782"/>
                </a:lnTo>
                <a:lnTo>
                  <a:pt x="1673575" y="651540"/>
                </a:lnTo>
                <a:lnTo>
                  <a:pt x="1701309" y="686466"/>
                </a:lnTo>
                <a:lnTo>
                  <a:pt x="1737775" y="712128"/>
                </a:lnTo>
                <a:lnTo>
                  <a:pt x="1759616" y="721306"/>
                </a:lnTo>
                <a:lnTo>
                  <a:pt x="1784038" y="727950"/>
                </a:lnTo>
                <a:lnTo>
                  <a:pt x="1811175" y="731988"/>
                </a:lnTo>
                <a:lnTo>
                  <a:pt x="1841161" y="733351"/>
                </a:lnTo>
                <a:lnTo>
                  <a:pt x="1841161" y="792427"/>
                </a:lnTo>
                <a:lnTo>
                  <a:pt x="1810003" y="791381"/>
                </a:lnTo>
                <a:lnTo>
                  <a:pt x="1781086" y="788273"/>
                </a:lnTo>
                <a:lnTo>
                  <a:pt x="1754335" y="783144"/>
                </a:lnTo>
                <a:lnTo>
                  <a:pt x="1729676" y="776041"/>
                </a:lnTo>
                <a:lnTo>
                  <a:pt x="1707036" y="767004"/>
                </a:lnTo>
                <a:lnTo>
                  <a:pt x="1686340" y="756080"/>
                </a:lnTo>
                <a:lnTo>
                  <a:pt x="1650489" y="728740"/>
                </a:lnTo>
                <a:lnTo>
                  <a:pt x="1621529" y="694367"/>
                </a:lnTo>
                <a:lnTo>
                  <a:pt x="1609449" y="674653"/>
                </a:lnTo>
                <a:lnTo>
                  <a:pt x="1598870" y="653311"/>
                </a:lnTo>
                <a:lnTo>
                  <a:pt x="1589719" y="630386"/>
                </a:lnTo>
                <a:lnTo>
                  <a:pt x="1581921" y="605921"/>
                </a:lnTo>
                <a:lnTo>
                  <a:pt x="1575402" y="579959"/>
                </a:lnTo>
                <a:lnTo>
                  <a:pt x="1570089" y="552543"/>
                </a:lnTo>
                <a:lnTo>
                  <a:pt x="1565908" y="523719"/>
                </a:lnTo>
                <a:lnTo>
                  <a:pt x="1562785" y="493528"/>
                </a:lnTo>
                <a:lnTo>
                  <a:pt x="1560645" y="462016"/>
                </a:lnTo>
                <a:lnTo>
                  <a:pt x="1559416" y="429223"/>
                </a:lnTo>
                <a:lnTo>
                  <a:pt x="1559022" y="395196"/>
                </a:lnTo>
                <a:lnTo>
                  <a:pt x="1559429" y="361314"/>
                </a:lnTo>
                <a:lnTo>
                  <a:pt x="1560695" y="328666"/>
                </a:lnTo>
                <a:lnTo>
                  <a:pt x="1562891" y="297298"/>
                </a:lnTo>
                <a:lnTo>
                  <a:pt x="1566088" y="267248"/>
                </a:lnTo>
                <a:lnTo>
                  <a:pt x="1570354" y="238562"/>
                </a:lnTo>
                <a:lnTo>
                  <a:pt x="1575759" y="211282"/>
                </a:lnTo>
                <a:lnTo>
                  <a:pt x="1582374" y="185452"/>
                </a:lnTo>
                <a:lnTo>
                  <a:pt x="1590268" y="161113"/>
                </a:lnTo>
                <a:lnTo>
                  <a:pt x="1599513" y="138310"/>
                </a:lnTo>
                <a:lnTo>
                  <a:pt x="1610176" y="117084"/>
                </a:lnTo>
                <a:lnTo>
                  <a:pt x="1622329" y="97478"/>
                </a:lnTo>
                <a:lnTo>
                  <a:pt x="1651382" y="63301"/>
                </a:lnTo>
                <a:lnTo>
                  <a:pt x="1687233" y="36123"/>
                </a:lnTo>
                <a:lnTo>
                  <a:pt x="1707882" y="25265"/>
                </a:lnTo>
                <a:lnTo>
                  <a:pt x="1730440" y="16284"/>
                </a:lnTo>
                <a:lnTo>
                  <a:pt x="1754977" y="9224"/>
                </a:lnTo>
                <a:lnTo>
                  <a:pt x="1781563" y="4130"/>
                </a:lnTo>
                <a:lnTo>
                  <a:pt x="1810268" y="1040"/>
                </a:lnTo>
                <a:close/>
                <a:moveTo>
                  <a:pt x="5029634" y="1"/>
                </a:moveTo>
                <a:lnTo>
                  <a:pt x="5060528" y="1040"/>
                </a:lnTo>
                <a:lnTo>
                  <a:pt x="5089233" y="4128"/>
                </a:lnTo>
                <a:lnTo>
                  <a:pt x="5115819" y="9224"/>
                </a:lnTo>
                <a:lnTo>
                  <a:pt x="5140355" y="16283"/>
                </a:lnTo>
                <a:lnTo>
                  <a:pt x="5162912" y="25263"/>
                </a:lnTo>
                <a:lnTo>
                  <a:pt x="5183562" y="36121"/>
                </a:lnTo>
                <a:lnTo>
                  <a:pt x="5219411" y="63300"/>
                </a:lnTo>
                <a:lnTo>
                  <a:pt x="5248464" y="97477"/>
                </a:lnTo>
                <a:lnTo>
                  <a:pt x="5260616" y="117083"/>
                </a:lnTo>
                <a:lnTo>
                  <a:pt x="5271279" y="138308"/>
                </a:lnTo>
                <a:lnTo>
                  <a:pt x="5280522" y="161112"/>
                </a:lnTo>
                <a:lnTo>
                  <a:pt x="5288418" y="185450"/>
                </a:lnTo>
                <a:lnTo>
                  <a:pt x="5295032" y="211281"/>
                </a:lnTo>
                <a:lnTo>
                  <a:pt x="5300436" y="238560"/>
                </a:lnTo>
                <a:lnTo>
                  <a:pt x="5304703" y="267247"/>
                </a:lnTo>
                <a:lnTo>
                  <a:pt x="5307899" y="297296"/>
                </a:lnTo>
                <a:lnTo>
                  <a:pt x="5310095" y="328665"/>
                </a:lnTo>
                <a:lnTo>
                  <a:pt x="5311361" y="361313"/>
                </a:lnTo>
                <a:lnTo>
                  <a:pt x="5311768" y="395194"/>
                </a:lnTo>
                <a:lnTo>
                  <a:pt x="5311382" y="429222"/>
                </a:lnTo>
                <a:lnTo>
                  <a:pt x="5310170" y="462014"/>
                </a:lnTo>
                <a:lnTo>
                  <a:pt x="5308058" y="493527"/>
                </a:lnTo>
                <a:lnTo>
                  <a:pt x="5304972" y="523718"/>
                </a:lnTo>
                <a:lnTo>
                  <a:pt x="5300834" y="552543"/>
                </a:lnTo>
                <a:lnTo>
                  <a:pt x="5295566" y="579958"/>
                </a:lnTo>
                <a:lnTo>
                  <a:pt x="5289096" y="605920"/>
                </a:lnTo>
                <a:lnTo>
                  <a:pt x="5281347" y="630385"/>
                </a:lnTo>
                <a:lnTo>
                  <a:pt x="5272242" y="653311"/>
                </a:lnTo>
                <a:lnTo>
                  <a:pt x="5261706" y="674652"/>
                </a:lnTo>
                <a:lnTo>
                  <a:pt x="5249663" y="694367"/>
                </a:lnTo>
                <a:lnTo>
                  <a:pt x="5220750" y="728739"/>
                </a:lnTo>
                <a:lnTo>
                  <a:pt x="5184899" y="756079"/>
                </a:lnTo>
                <a:lnTo>
                  <a:pt x="5164180" y="767004"/>
                </a:lnTo>
                <a:lnTo>
                  <a:pt x="5141500" y="776040"/>
                </a:lnTo>
                <a:lnTo>
                  <a:pt x="5116782" y="783144"/>
                </a:lnTo>
                <a:lnTo>
                  <a:pt x="5089948" y="788272"/>
                </a:lnTo>
                <a:lnTo>
                  <a:pt x="5060925" y="791381"/>
                </a:lnTo>
                <a:lnTo>
                  <a:pt x="5029634" y="792426"/>
                </a:lnTo>
                <a:lnTo>
                  <a:pt x="5029634" y="733351"/>
                </a:lnTo>
                <a:lnTo>
                  <a:pt x="5059950" y="731988"/>
                </a:lnTo>
                <a:lnTo>
                  <a:pt x="5087358" y="727949"/>
                </a:lnTo>
                <a:lnTo>
                  <a:pt x="5111996" y="721305"/>
                </a:lnTo>
                <a:lnTo>
                  <a:pt x="5134005" y="712128"/>
                </a:lnTo>
                <a:lnTo>
                  <a:pt x="5170680" y="686465"/>
                </a:lnTo>
                <a:lnTo>
                  <a:pt x="5198489" y="651539"/>
                </a:lnTo>
                <a:lnTo>
                  <a:pt x="5209414" y="630782"/>
                </a:lnTo>
                <a:lnTo>
                  <a:pt x="5218536" y="607925"/>
                </a:lnTo>
                <a:lnTo>
                  <a:pt x="5225994" y="583040"/>
                </a:lnTo>
                <a:lnTo>
                  <a:pt x="5231926" y="556200"/>
                </a:lnTo>
                <a:lnTo>
                  <a:pt x="5236470" y="527476"/>
                </a:lnTo>
                <a:lnTo>
                  <a:pt x="5239763" y="496942"/>
                </a:lnTo>
                <a:lnTo>
                  <a:pt x="5241944" y="464669"/>
                </a:lnTo>
                <a:lnTo>
                  <a:pt x="5243152" y="430729"/>
                </a:lnTo>
                <a:lnTo>
                  <a:pt x="5243524" y="395194"/>
                </a:lnTo>
                <a:lnTo>
                  <a:pt x="5243133" y="360008"/>
                </a:lnTo>
                <a:lnTo>
                  <a:pt x="5241870" y="326396"/>
                </a:lnTo>
                <a:lnTo>
                  <a:pt x="5239606" y="294430"/>
                </a:lnTo>
                <a:lnTo>
                  <a:pt x="5236210" y="264181"/>
                </a:lnTo>
                <a:lnTo>
                  <a:pt x="5231552" y="235722"/>
                </a:lnTo>
                <a:lnTo>
                  <a:pt x="5225501" y="209126"/>
                </a:lnTo>
                <a:lnTo>
                  <a:pt x="5217926" y="184463"/>
                </a:lnTo>
                <a:lnTo>
                  <a:pt x="5208696" y="161807"/>
                </a:lnTo>
                <a:lnTo>
                  <a:pt x="5197682" y="141229"/>
                </a:lnTo>
                <a:lnTo>
                  <a:pt x="5169776" y="106598"/>
                </a:lnTo>
                <a:lnTo>
                  <a:pt x="5133162" y="81148"/>
                </a:lnTo>
                <a:lnTo>
                  <a:pt x="5111264" y="72045"/>
                </a:lnTo>
                <a:lnTo>
                  <a:pt x="5086797" y="65454"/>
                </a:lnTo>
                <a:lnTo>
                  <a:pt x="5059632" y="61446"/>
                </a:lnTo>
                <a:lnTo>
                  <a:pt x="5029634" y="60095"/>
                </a:lnTo>
                <a:close/>
                <a:moveTo>
                  <a:pt x="1897218" y="0"/>
                </a:moveTo>
                <a:lnTo>
                  <a:pt x="1928111" y="1039"/>
                </a:lnTo>
                <a:lnTo>
                  <a:pt x="1956816" y="4128"/>
                </a:lnTo>
                <a:lnTo>
                  <a:pt x="1983402" y="9223"/>
                </a:lnTo>
                <a:lnTo>
                  <a:pt x="2007938" y="16282"/>
                </a:lnTo>
                <a:lnTo>
                  <a:pt x="2030496" y="25263"/>
                </a:lnTo>
                <a:lnTo>
                  <a:pt x="2051145" y="36121"/>
                </a:lnTo>
                <a:lnTo>
                  <a:pt x="2086994" y="63300"/>
                </a:lnTo>
                <a:lnTo>
                  <a:pt x="2116047" y="97477"/>
                </a:lnTo>
                <a:lnTo>
                  <a:pt x="2128200" y="117082"/>
                </a:lnTo>
                <a:lnTo>
                  <a:pt x="2138863" y="138308"/>
                </a:lnTo>
                <a:lnTo>
                  <a:pt x="2148106" y="161111"/>
                </a:lnTo>
                <a:lnTo>
                  <a:pt x="2156000" y="185450"/>
                </a:lnTo>
                <a:lnTo>
                  <a:pt x="2162615" y="211281"/>
                </a:lnTo>
                <a:lnTo>
                  <a:pt x="2168020" y="238560"/>
                </a:lnTo>
                <a:lnTo>
                  <a:pt x="2172286" y="267247"/>
                </a:lnTo>
                <a:lnTo>
                  <a:pt x="2175482" y="297296"/>
                </a:lnTo>
                <a:lnTo>
                  <a:pt x="2177678" y="328665"/>
                </a:lnTo>
                <a:lnTo>
                  <a:pt x="2178944" y="361313"/>
                </a:lnTo>
                <a:lnTo>
                  <a:pt x="2179350" y="395194"/>
                </a:lnTo>
                <a:lnTo>
                  <a:pt x="2178964" y="429222"/>
                </a:lnTo>
                <a:lnTo>
                  <a:pt x="2177753" y="462014"/>
                </a:lnTo>
                <a:lnTo>
                  <a:pt x="2175642" y="493527"/>
                </a:lnTo>
                <a:lnTo>
                  <a:pt x="2172554" y="523718"/>
                </a:lnTo>
                <a:lnTo>
                  <a:pt x="2168416" y="552542"/>
                </a:lnTo>
                <a:lnTo>
                  <a:pt x="2163149" y="579958"/>
                </a:lnTo>
                <a:lnTo>
                  <a:pt x="2156679" y="605919"/>
                </a:lnTo>
                <a:lnTo>
                  <a:pt x="2148929" y="630385"/>
                </a:lnTo>
                <a:lnTo>
                  <a:pt x="2139823" y="653310"/>
                </a:lnTo>
                <a:lnTo>
                  <a:pt x="2129287" y="674652"/>
                </a:lnTo>
                <a:lnTo>
                  <a:pt x="2117243" y="694366"/>
                </a:lnTo>
                <a:lnTo>
                  <a:pt x="2088331" y="728738"/>
                </a:lnTo>
                <a:lnTo>
                  <a:pt x="2052479" y="756079"/>
                </a:lnTo>
                <a:lnTo>
                  <a:pt x="2031761" y="767003"/>
                </a:lnTo>
                <a:lnTo>
                  <a:pt x="2009081" y="776039"/>
                </a:lnTo>
                <a:lnTo>
                  <a:pt x="1984362" y="783143"/>
                </a:lnTo>
                <a:lnTo>
                  <a:pt x="1957530" y="788271"/>
                </a:lnTo>
                <a:lnTo>
                  <a:pt x="1928507" y="791380"/>
                </a:lnTo>
                <a:lnTo>
                  <a:pt x="1897218" y="792425"/>
                </a:lnTo>
                <a:lnTo>
                  <a:pt x="1897218" y="733350"/>
                </a:lnTo>
                <a:lnTo>
                  <a:pt x="1927532" y="731987"/>
                </a:lnTo>
                <a:lnTo>
                  <a:pt x="1954939" y="727948"/>
                </a:lnTo>
                <a:lnTo>
                  <a:pt x="1979577" y="721304"/>
                </a:lnTo>
                <a:lnTo>
                  <a:pt x="2001585" y="712127"/>
                </a:lnTo>
                <a:lnTo>
                  <a:pt x="2038261" y="686465"/>
                </a:lnTo>
                <a:lnTo>
                  <a:pt x="2066070" y="651538"/>
                </a:lnTo>
                <a:lnTo>
                  <a:pt x="2076995" y="630781"/>
                </a:lnTo>
                <a:lnTo>
                  <a:pt x="2086118" y="607924"/>
                </a:lnTo>
                <a:lnTo>
                  <a:pt x="2093576" y="583039"/>
                </a:lnTo>
                <a:lnTo>
                  <a:pt x="2099508" y="556200"/>
                </a:lnTo>
                <a:lnTo>
                  <a:pt x="2104052" y="527476"/>
                </a:lnTo>
                <a:lnTo>
                  <a:pt x="2107346" y="496942"/>
                </a:lnTo>
                <a:lnTo>
                  <a:pt x="2109528" y="464669"/>
                </a:lnTo>
                <a:lnTo>
                  <a:pt x="2110736" y="430729"/>
                </a:lnTo>
                <a:lnTo>
                  <a:pt x="2111108" y="395194"/>
                </a:lnTo>
                <a:lnTo>
                  <a:pt x="2110716" y="360008"/>
                </a:lnTo>
                <a:lnTo>
                  <a:pt x="2109453" y="326396"/>
                </a:lnTo>
                <a:lnTo>
                  <a:pt x="2107190" y="294429"/>
                </a:lnTo>
                <a:lnTo>
                  <a:pt x="2103794" y="264181"/>
                </a:lnTo>
                <a:lnTo>
                  <a:pt x="2099136" y="235721"/>
                </a:lnTo>
                <a:lnTo>
                  <a:pt x="2093084" y="209125"/>
                </a:lnTo>
                <a:lnTo>
                  <a:pt x="2085509" y="184462"/>
                </a:lnTo>
                <a:lnTo>
                  <a:pt x="2076280" y="161806"/>
                </a:lnTo>
                <a:lnTo>
                  <a:pt x="2065265" y="141229"/>
                </a:lnTo>
                <a:lnTo>
                  <a:pt x="2037359" y="106598"/>
                </a:lnTo>
                <a:lnTo>
                  <a:pt x="2000745" y="81147"/>
                </a:lnTo>
                <a:lnTo>
                  <a:pt x="1978847" y="72045"/>
                </a:lnTo>
                <a:lnTo>
                  <a:pt x="1954380" y="65454"/>
                </a:lnTo>
                <a:lnTo>
                  <a:pt x="1927214" y="61446"/>
                </a:lnTo>
                <a:lnTo>
                  <a:pt x="1897218" y="60094"/>
                </a:lnTo>
                <a:close/>
              </a:path>
            </a:pathLst>
          </a:custGeom>
          <a:solidFill>
            <a:srgbClr val="4D7836"/>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dirty="0"/>
              <a:t>.</a:t>
            </a:r>
          </a:p>
        </p:txBody>
      </p:sp>
      <p:sp>
        <p:nvSpPr>
          <p:cNvPr id="16" name="Pladsholder til dato 15">
            <a:extLst>
              <a:ext uri="{FF2B5EF4-FFF2-40B4-BE49-F238E27FC236}">
                <a16:creationId xmlns:a16="http://schemas.microsoft.com/office/drawing/2014/main" id="{07B7D8D3-77D2-E785-81E3-AB119F5B3A7C}"/>
              </a:ext>
            </a:extLst>
          </p:cNvPr>
          <p:cNvSpPr>
            <a:spLocks noGrp="1"/>
          </p:cNvSpPr>
          <p:nvPr>
            <p:ph type="dt" sz="half" idx="19"/>
          </p:nvPr>
        </p:nvSpPr>
        <p:spPr/>
        <p:txBody>
          <a:bodyPr/>
          <a:lstStyle/>
          <a:p>
            <a:fld id="{61BEDC24-6319-4BBB-9782-63587D1632F0}" type="datetime2">
              <a:rPr lang="da-DK" smtClean="0"/>
              <a:t>11. december 2025</a:t>
            </a:fld>
            <a:endParaRPr lang="da-DK" dirty="0"/>
          </a:p>
        </p:txBody>
      </p:sp>
      <p:sp>
        <p:nvSpPr>
          <p:cNvPr id="17" name="Pladsholder til sidefod 16">
            <a:extLst>
              <a:ext uri="{FF2B5EF4-FFF2-40B4-BE49-F238E27FC236}">
                <a16:creationId xmlns:a16="http://schemas.microsoft.com/office/drawing/2014/main" id="{19E82096-1CE6-E092-C8ED-9A675CC7FFC6}"/>
              </a:ext>
            </a:extLst>
          </p:cNvPr>
          <p:cNvSpPr>
            <a:spLocks noGrp="1"/>
          </p:cNvSpPr>
          <p:nvPr>
            <p:ph type="ftr" sz="quarter" idx="20"/>
          </p:nvPr>
        </p:nvSpPr>
        <p:spPr/>
        <p:txBody>
          <a:bodyPr/>
          <a:lstStyle/>
          <a:p>
            <a:r>
              <a:rPr lang="da-DK" dirty="0"/>
              <a:t>Digitaliseringsstyrelsen</a:t>
            </a:r>
          </a:p>
        </p:txBody>
      </p:sp>
      <p:sp>
        <p:nvSpPr>
          <p:cNvPr id="18" name="Pladsholder til slidenummer 17">
            <a:extLst>
              <a:ext uri="{FF2B5EF4-FFF2-40B4-BE49-F238E27FC236}">
                <a16:creationId xmlns:a16="http://schemas.microsoft.com/office/drawing/2014/main" id="{385BC0ED-51CA-C2C1-3A79-5B97AB7EB508}"/>
              </a:ext>
            </a:extLst>
          </p:cNvPr>
          <p:cNvSpPr>
            <a:spLocks noGrp="1"/>
          </p:cNvSpPr>
          <p:nvPr>
            <p:ph type="sldNum" sz="quarter" idx="21"/>
          </p:nvPr>
        </p:nvSpPr>
        <p:spPr/>
        <p:txBody>
          <a:bodyPr/>
          <a:lstStyle/>
          <a:p>
            <a:fld id="{24C8C45C-947F-4981-8B3F-4F32E973C901}" type="slidenum">
              <a:rPr lang="da-DK" smtClean="0"/>
              <a:pPr/>
              <a:t>‹nr.›</a:t>
            </a:fld>
            <a:endParaRPr lang="da-DK" dirty="0"/>
          </a:p>
        </p:txBody>
      </p:sp>
      <p:sp>
        <p:nvSpPr>
          <p:cNvPr id="4" name="TextBox 1">
            <a:extLst>
              <a:ext uri="{FF2B5EF4-FFF2-40B4-BE49-F238E27FC236}">
                <a16:creationId xmlns:a16="http://schemas.microsoft.com/office/drawing/2014/main" id="{75C0C89F-44CF-E42F-F961-9DAAD8BE3B8C}"/>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lang="da-DK" sz="900" noProof="0" dirty="0"/>
              <a:t>Skift farve på Mikro grafikken: Klik på Mikro grafikken, klik på Fyldfarve til figur, vælg farve fra Brugerdefinerede farvers anden række. </a:t>
            </a:r>
          </a:p>
        </p:txBody>
      </p:sp>
    </p:spTree>
    <p:extLst>
      <p:ext uri="{BB962C8B-B14F-4D97-AF65-F5344CB8AC3E}">
        <p14:creationId xmlns:p14="http://schemas.microsoft.com/office/powerpoint/2010/main" val="4221902807"/>
      </p:ext>
    </p:extLst>
  </p:cSld>
  <p:clrMapOvr>
    <a:masterClrMapping/>
  </p:clrMapOvr>
  <p:extLst>
    <p:ext uri="{DCECCB84-F9BA-43D5-87BE-67443E8EF086}">
      <p15:sldGuideLst xmlns:p15="http://schemas.microsoft.com/office/powerpoint/2012/main">
        <p15:guide id="2" orient="horz" pos="1201">
          <p15:clr>
            <a:srgbClr val="A4A3A4"/>
          </p15:clr>
        </p15:guide>
        <p15:guide id="3" orient="horz" pos="566">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65F358-3D0B-4C30-94C6-9BC8E1B3EA11}"/>
              </a:ext>
            </a:extLst>
          </p:cNvPr>
          <p:cNvSpPr>
            <a:spLocks noGrp="1"/>
          </p:cNvSpPr>
          <p:nvPr>
            <p:ph type="title" hasCustomPrompt="1"/>
          </p:nvPr>
        </p:nvSpPr>
        <p:spPr>
          <a:xfrm>
            <a:off x="405000" y="675000"/>
            <a:ext cx="5510025" cy="621000"/>
          </a:xfrm>
        </p:spPr>
        <p:txBody>
          <a:bodyPr/>
          <a:lstStyle>
            <a:lvl1pPr>
              <a:defRPr/>
            </a:lvl1pPr>
          </a:lstStyle>
          <a:p>
            <a:r>
              <a:rPr lang="da-DK" dirty="0"/>
              <a:t>Klik for at tilføje titel, Dagens Program</a:t>
            </a:r>
          </a:p>
        </p:txBody>
      </p:sp>
      <p:sp>
        <p:nvSpPr>
          <p:cNvPr id="4" name="Text Placeholder 3">
            <a:extLst>
              <a:ext uri="{FF2B5EF4-FFF2-40B4-BE49-F238E27FC236}">
                <a16:creationId xmlns:a16="http://schemas.microsoft.com/office/drawing/2014/main" id="{7D485AA6-92EE-46D3-8826-CF357E1A4587}"/>
              </a:ext>
            </a:extLst>
          </p:cNvPr>
          <p:cNvSpPr>
            <a:spLocks noGrp="1"/>
          </p:cNvSpPr>
          <p:nvPr>
            <p:ph type="body" sz="quarter" idx="17" hasCustomPrompt="1"/>
          </p:nvPr>
        </p:nvSpPr>
        <p:spPr>
          <a:xfrm>
            <a:off x="405001" y="1431000"/>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7" name="Text Placeholder 2"/>
          <p:cNvSpPr>
            <a:spLocks noGrp="1"/>
          </p:cNvSpPr>
          <p:nvPr>
            <p:ph type="body" sz="quarter" idx="13" hasCustomPrompt="1"/>
          </p:nvPr>
        </p:nvSpPr>
        <p:spPr>
          <a:xfrm>
            <a:off x="1504336" y="1431000"/>
            <a:ext cx="4410689" cy="189000"/>
          </a:xfrm>
        </p:spPr>
        <p:txBody>
          <a:bodyPr/>
          <a:lstStyle>
            <a:lvl1pPr marL="0" indent="0">
              <a:lnSpc>
                <a:spcPct val="100000"/>
              </a:lnSpc>
              <a:spcAft>
                <a:spcPts val="0"/>
              </a:spcAft>
              <a:buFontTx/>
              <a:buNone/>
              <a:defRPr sz="1200" b="0">
                <a:latin typeface="+mn-lt"/>
              </a:defRPr>
            </a:lvl1pPr>
            <a:lvl2pPr marL="0" indent="0">
              <a:lnSpc>
                <a:spcPts val="1440"/>
              </a:lnSpc>
              <a:spcBef>
                <a:spcPts val="0"/>
              </a:spcBef>
              <a:spcAft>
                <a:spcPts val="0"/>
              </a:spcAft>
              <a:buFont typeface="Arial" panose="020B0604020202020204" pitchFamily="34" charset="0"/>
              <a:buChar char="​"/>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p:txBody>
      </p:sp>
      <p:sp>
        <p:nvSpPr>
          <p:cNvPr id="5" name="Text Placeholder 3">
            <a:extLst>
              <a:ext uri="{FF2B5EF4-FFF2-40B4-BE49-F238E27FC236}">
                <a16:creationId xmlns:a16="http://schemas.microsoft.com/office/drawing/2014/main" id="{1214F878-3737-6140-EC73-0B36DD11849A}"/>
              </a:ext>
            </a:extLst>
          </p:cNvPr>
          <p:cNvSpPr>
            <a:spLocks noGrp="1"/>
          </p:cNvSpPr>
          <p:nvPr>
            <p:ph type="body" sz="quarter" idx="23" hasCustomPrompt="1"/>
          </p:nvPr>
        </p:nvSpPr>
        <p:spPr>
          <a:xfrm>
            <a:off x="405001" y="1671271"/>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6" name="Text Placeholder 2">
            <a:extLst>
              <a:ext uri="{FF2B5EF4-FFF2-40B4-BE49-F238E27FC236}">
                <a16:creationId xmlns:a16="http://schemas.microsoft.com/office/drawing/2014/main" id="{D6890554-B489-5169-8564-A61A4921966F}"/>
              </a:ext>
            </a:extLst>
          </p:cNvPr>
          <p:cNvSpPr>
            <a:spLocks noGrp="1"/>
          </p:cNvSpPr>
          <p:nvPr>
            <p:ph type="body" sz="quarter" idx="24" hasCustomPrompt="1"/>
          </p:nvPr>
        </p:nvSpPr>
        <p:spPr>
          <a:xfrm>
            <a:off x="1504336" y="1671271"/>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8" name="Text Placeholder 3">
            <a:extLst>
              <a:ext uri="{FF2B5EF4-FFF2-40B4-BE49-F238E27FC236}">
                <a16:creationId xmlns:a16="http://schemas.microsoft.com/office/drawing/2014/main" id="{C817B3F1-7DA8-33A9-CD0E-25AB269AD9C7}"/>
              </a:ext>
            </a:extLst>
          </p:cNvPr>
          <p:cNvSpPr>
            <a:spLocks noGrp="1"/>
          </p:cNvSpPr>
          <p:nvPr>
            <p:ph type="body" sz="quarter" idx="25" hasCustomPrompt="1"/>
          </p:nvPr>
        </p:nvSpPr>
        <p:spPr>
          <a:xfrm>
            <a:off x="405001" y="1911541"/>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9" name="Text Placeholder 2">
            <a:extLst>
              <a:ext uri="{FF2B5EF4-FFF2-40B4-BE49-F238E27FC236}">
                <a16:creationId xmlns:a16="http://schemas.microsoft.com/office/drawing/2014/main" id="{D445D577-4930-FAD9-5D1C-C668D6BE5537}"/>
              </a:ext>
            </a:extLst>
          </p:cNvPr>
          <p:cNvSpPr>
            <a:spLocks noGrp="1"/>
          </p:cNvSpPr>
          <p:nvPr>
            <p:ph type="body" sz="quarter" idx="26" hasCustomPrompt="1"/>
          </p:nvPr>
        </p:nvSpPr>
        <p:spPr>
          <a:xfrm>
            <a:off x="1504336" y="1911541"/>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10" name="Text Placeholder 3">
            <a:extLst>
              <a:ext uri="{FF2B5EF4-FFF2-40B4-BE49-F238E27FC236}">
                <a16:creationId xmlns:a16="http://schemas.microsoft.com/office/drawing/2014/main" id="{C9353C9A-2D89-27D9-9DE4-8D6C896134AA}"/>
              </a:ext>
            </a:extLst>
          </p:cNvPr>
          <p:cNvSpPr>
            <a:spLocks noGrp="1"/>
          </p:cNvSpPr>
          <p:nvPr>
            <p:ph type="body" sz="quarter" idx="27" hasCustomPrompt="1"/>
          </p:nvPr>
        </p:nvSpPr>
        <p:spPr>
          <a:xfrm>
            <a:off x="405001" y="2153655"/>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11" name="Text Placeholder 2">
            <a:extLst>
              <a:ext uri="{FF2B5EF4-FFF2-40B4-BE49-F238E27FC236}">
                <a16:creationId xmlns:a16="http://schemas.microsoft.com/office/drawing/2014/main" id="{BEB294D1-A973-DED1-0227-2625F8AC24DC}"/>
              </a:ext>
            </a:extLst>
          </p:cNvPr>
          <p:cNvSpPr>
            <a:spLocks noGrp="1"/>
          </p:cNvSpPr>
          <p:nvPr>
            <p:ph type="body" sz="quarter" idx="28" hasCustomPrompt="1"/>
          </p:nvPr>
        </p:nvSpPr>
        <p:spPr>
          <a:xfrm>
            <a:off x="1504336" y="2153655"/>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12" name="Text Placeholder 3">
            <a:extLst>
              <a:ext uri="{FF2B5EF4-FFF2-40B4-BE49-F238E27FC236}">
                <a16:creationId xmlns:a16="http://schemas.microsoft.com/office/drawing/2014/main" id="{22AA6DEA-CE35-2BD1-EBBA-95962FE616B3}"/>
              </a:ext>
            </a:extLst>
          </p:cNvPr>
          <p:cNvSpPr>
            <a:spLocks noGrp="1"/>
          </p:cNvSpPr>
          <p:nvPr>
            <p:ph type="body" sz="quarter" idx="29" hasCustomPrompt="1"/>
          </p:nvPr>
        </p:nvSpPr>
        <p:spPr>
          <a:xfrm>
            <a:off x="405001" y="2395769"/>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13" name="Text Placeholder 2">
            <a:extLst>
              <a:ext uri="{FF2B5EF4-FFF2-40B4-BE49-F238E27FC236}">
                <a16:creationId xmlns:a16="http://schemas.microsoft.com/office/drawing/2014/main" id="{A247C7B2-61E4-2C86-72F7-FF78FBAA842A}"/>
              </a:ext>
            </a:extLst>
          </p:cNvPr>
          <p:cNvSpPr>
            <a:spLocks noGrp="1"/>
          </p:cNvSpPr>
          <p:nvPr>
            <p:ph type="body" sz="quarter" idx="30" hasCustomPrompt="1"/>
          </p:nvPr>
        </p:nvSpPr>
        <p:spPr>
          <a:xfrm>
            <a:off x="1504336" y="2395769"/>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14" name="Text Placeholder 3">
            <a:extLst>
              <a:ext uri="{FF2B5EF4-FFF2-40B4-BE49-F238E27FC236}">
                <a16:creationId xmlns:a16="http://schemas.microsoft.com/office/drawing/2014/main" id="{A72E9A45-77BF-F658-3C6F-80E135F39A50}"/>
              </a:ext>
            </a:extLst>
          </p:cNvPr>
          <p:cNvSpPr>
            <a:spLocks noGrp="1"/>
          </p:cNvSpPr>
          <p:nvPr>
            <p:ph type="body" sz="quarter" idx="31" hasCustomPrompt="1"/>
          </p:nvPr>
        </p:nvSpPr>
        <p:spPr>
          <a:xfrm>
            <a:off x="405001" y="2637884"/>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15" name="Text Placeholder 2">
            <a:extLst>
              <a:ext uri="{FF2B5EF4-FFF2-40B4-BE49-F238E27FC236}">
                <a16:creationId xmlns:a16="http://schemas.microsoft.com/office/drawing/2014/main" id="{0A370F86-C541-2615-969D-1113F8E0FAE1}"/>
              </a:ext>
            </a:extLst>
          </p:cNvPr>
          <p:cNvSpPr>
            <a:spLocks noGrp="1"/>
          </p:cNvSpPr>
          <p:nvPr>
            <p:ph type="body" sz="quarter" idx="32" hasCustomPrompt="1"/>
          </p:nvPr>
        </p:nvSpPr>
        <p:spPr>
          <a:xfrm>
            <a:off x="1504336" y="2637884"/>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16" name="Text Placeholder 3">
            <a:extLst>
              <a:ext uri="{FF2B5EF4-FFF2-40B4-BE49-F238E27FC236}">
                <a16:creationId xmlns:a16="http://schemas.microsoft.com/office/drawing/2014/main" id="{9330035C-3D92-C58B-EE33-2C8F820E3C35}"/>
              </a:ext>
            </a:extLst>
          </p:cNvPr>
          <p:cNvSpPr>
            <a:spLocks noGrp="1"/>
          </p:cNvSpPr>
          <p:nvPr>
            <p:ph type="body" sz="quarter" idx="33" hasCustomPrompt="1"/>
          </p:nvPr>
        </p:nvSpPr>
        <p:spPr>
          <a:xfrm>
            <a:off x="405001" y="2879998"/>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21" name="Text Placeholder 2">
            <a:extLst>
              <a:ext uri="{FF2B5EF4-FFF2-40B4-BE49-F238E27FC236}">
                <a16:creationId xmlns:a16="http://schemas.microsoft.com/office/drawing/2014/main" id="{4BE2CAA5-81DC-1BFD-15AD-FBB73CE63BDB}"/>
              </a:ext>
            </a:extLst>
          </p:cNvPr>
          <p:cNvSpPr>
            <a:spLocks noGrp="1"/>
          </p:cNvSpPr>
          <p:nvPr>
            <p:ph type="body" sz="quarter" idx="34" hasCustomPrompt="1"/>
          </p:nvPr>
        </p:nvSpPr>
        <p:spPr>
          <a:xfrm>
            <a:off x="1504336" y="2879998"/>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22" name="Text Placeholder 3">
            <a:extLst>
              <a:ext uri="{FF2B5EF4-FFF2-40B4-BE49-F238E27FC236}">
                <a16:creationId xmlns:a16="http://schemas.microsoft.com/office/drawing/2014/main" id="{0B362A37-46ED-1B0D-BC9B-3B0EC9DFFE4D}"/>
              </a:ext>
            </a:extLst>
          </p:cNvPr>
          <p:cNvSpPr>
            <a:spLocks noGrp="1"/>
          </p:cNvSpPr>
          <p:nvPr>
            <p:ph type="body" sz="quarter" idx="35" hasCustomPrompt="1"/>
          </p:nvPr>
        </p:nvSpPr>
        <p:spPr>
          <a:xfrm>
            <a:off x="405001" y="3122112"/>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23" name="Text Placeholder 2">
            <a:extLst>
              <a:ext uri="{FF2B5EF4-FFF2-40B4-BE49-F238E27FC236}">
                <a16:creationId xmlns:a16="http://schemas.microsoft.com/office/drawing/2014/main" id="{D5647980-A93E-1AC6-840C-368550CB53CE}"/>
              </a:ext>
            </a:extLst>
          </p:cNvPr>
          <p:cNvSpPr>
            <a:spLocks noGrp="1"/>
          </p:cNvSpPr>
          <p:nvPr>
            <p:ph type="body" sz="quarter" idx="36" hasCustomPrompt="1"/>
          </p:nvPr>
        </p:nvSpPr>
        <p:spPr>
          <a:xfrm>
            <a:off x="1504336" y="3122112"/>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24" name="Text Placeholder 3">
            <a:extLst>
              <a:ext uri="{FF2B5EF4-FFF2-40B4-BE49-F238E27FC236}">
                <a16:creationId xmlns:a16="http://schemas.microsoft.com/office/drawing/2014/main" id="{EAE8C977-1FD8-034D-E650-852D3E2FE055}"/>
              </a:ext>
            </a:extLst>
          </p:cNvPr>
          <p:cNvSpPr>
            <a:spLocks noGrp="1"/>
          </p:cNvSpPr>
          <p:nvPr>
            <p:ph type="body" sz="quarter" idx="37" hasCustomPrompt="1"/>
          </p:nvPr>
        </p:nvSpPr>
        <p:spPr>
          <a:xfrm>
            <a:off x="405001" y="3364226"/>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25" name="Text Placeholder 2">
            <a:extLst>
              <a:ext uri="{FF2B5EF4-FFF2-40B4-BE49-F238E27FC236}">
                <a16:creationId xmlns:a16="http://schemas.microsoft.com/office/drawing/2014/main" id="{0F85F41F-AA32-02A8-0380-14BB99877E39}"/>
              </a:ext>
            </a:extLst>
          </p:cNvPr>
          <p:cNvSpPr>
            <a:spLocks noGrp="1"/>
          </p:cNvSpPr>
          <p:nvPr>
            <p:ph type="body" sz="quarter" idx="38" hasCustomPrompt="1"/>
          </p:nvPr>
        </p:nvSpPr>
        <p:spPr>
          <a:xfrm>
            <a:off x="1504336" y="3364226"/>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26" name="Text Placeholder 3">
            <a:extLst>
              <a:ext uri="{FF2B5EF4-FFF2-40B4-BE49-F238E27FC236}">
                <a16:creationId xmlns:a16="http://schemas.microsoft.com/office/drawing/2014/main" id="{FF7579E1-E1D2-2C92-B973-02C8367ADF05}"/>
              </a:ext>
            </a:extLst>
          </p:cNvPr>
          <p:cNvSpPr>
            <a:spLocks noGrp="1"/>
          </p:cNvSpPr>
          <p:nvPr>
            <p:ph type="body" sz="quarter" idx="39" hasCustomPrompt="1"/>
          </p:nvPr>
        </p:nvSpPr>
        <p:spPr>
          <a:xfrm>
            <a:off x="404813" y="3606341"/>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27" name="Text Placeholder 2">
            <a:extLst>
              <a:ext uri="{FF2B5EF4-FFF2-40B4-BE49-F238E27FC236}">
                <a16:creationId xmlns:a16="http://schemas.microsoft.com/office/drawing/2014/main" id="{0BFCA0F8-4D43-B885-5CCF-6D8DE9BB8569}"/>
              </a:ext>
            </a:extLst>
          </p:cNvPr>
          <p:cNvSpPr>
            <a:spLocks noGrp="1"/>
          </p:cNvSpPr>
          <p:nvPr>
            <p:ph type="body" sz="quarter" idx="40" hasCustomPrompt="1"/>
          </p:nvPr>
        </p:nvSpPr>
        <p:spPr>
          <a:xfrm>
            <a:off x="1504149" y="3606341"/>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28" name="Text Placeholder 3">
            <a:extLst>
              <a:ext uri="{FF2B5EF4-FFF2-40B4-BE49-F238E27FC236}">
                <a16:creationId xmlns:a16="http://schemas.microsoft.com/office/drawing/2014/main" id="{13445456-3D5F-029B-66C6-A4A1B1BFF24A}"/>
              </a:ext>
            </a:extLst>
          </p:cNvPr>
          <p:cNvSpPr>
            <a:spLocks noGrp="1"/>
          </p:cNvSpPr>
          <p:nvPr>
            <p:ph type="body" sz="quarter" idx="41" hasCustomPrompt="1"/>
          </p:nvPr>
        </p:nvSpPr>
        <p:spPr>
          <a:xfrm>
            <a:off x="404813" y="3846611"/>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29" name="Text Placeholder 2">
            <a:extLst>
              <a:ext uri="{FF2B5EF4-FFF2-40B4-BE49-F238E27FC236}">
                <a16:creationId xmlns:a16="http://schemas.microsoft.com/office/drawing/2014/main" id="{ED9F227C-D535-16DC-B072-6C593218EEFF}"/>
              </a:ext>
            </a:extLst>
          </p:cNvPr>
          <p:cNvSpPr>
            <a:spLocks noGrp="1"/>
          </p:cNvSpPr>
          <p:nvPr>
            <p:ph type="body" sz="quarter" idx="42" hasCustomPrompt="1"/>
          </p:nvPr>
        </p:nvSpPr>
        <p:spPr>
          <a:xfrm>
            <a:off x="1504149" y="3846611"/>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30" name="Text Placeholder 3">
            <a:extLst>
              <a:ext uri="{FF2B5EF4-FFF2-40B4-BE49-F238E27FC236}">
                <a16:creationId xmlns:a16="http://schemas.microsoft.com/office/drawing/2014/main" id="{FFFDFB50-EA28-356B-1836-AB82D0EF1DA7}"/>
              </a:ext>
            </a:extLst>
          </p:cNvPr>
          <p:cNvSpPr>
            <a:spLocks noGrp="1"/>
          </p:cNvSpPr>
          <p:nvPr>
            <p:ph type="body" sz="quarter" idx="43" hasCustomPrompt="1"/>
          </p:nvPr>
        </p:nvSpPr>
        <p:spPr>
          <a:xfrm>
            <a:off x="405001" y="4086882"/>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31" name="Text Placeholder 2">
            <a:extLst>
              <a:ext uri="{FF2B5EF4-FFF2-40B4-BE49-F238E27FC236}">
                <a16:creationId xmlns:a16="http://schemas.microsoft.com/office/drawing/2014/main" id="{F107735D-BBBC-268A-222C-3D2AAB40DD4A}"/>
              </a:ext>
            </a:extLst>
          </p:cNvPr>
          <p:cNvSpPr>
            <a:spLocks noGrp="1"/>
          </p:cNvSpPr>
          <p:nvPr>
            <p:ph type="body" sz="quarter" idx="44" hasCustomPrompt="1"/>
          </p:nvPr>
        </p:nvSpPr>
        <p:spPr>
          <a:xfrm>
            <a:off x="1504336" y="4086882"/>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32" name="Text Placeholder 3">
            <a:extLst>
              <a:ext uri="{FF2B5EF4-FFF2-40B4-BE49-F238E27FC236}">
                <a16:creationId xmlns:a16="http://schemas.microsoft.com/office/drawing/2014/main" id="{F7043270-8723-1AAE-8870-F4F44748F238}"/>
              </a:ext>
            </a:extLst>
          </p:cNvPr>
          <p:cNvSpPr>
            <a:spLocks noGrp="1"/>
          </p:cNvSpPr>
          <p:nvPr>
            <p:ph type="body" sz="quarter" idx="45" hasCustomPrompt="1"/>
          </p:nvPr>
        </p:nvSpPr>
        <p:spPr>
          <a:xfrm>
            <a:off x="405001" y="4327153"/>
            <a:ext cx="964982" cy="189000"/>
          </a:xfrm>
        </p:spPr>
        <p:txBody>
          <a:bodyPr/>
          <a:lstStyle>
            <a:lvl1pPr marL="0" indent="0">
              <a:lnSpc>
                <a:spcPct val="100000"/>
              </a:lnSpc>
              <a:spcBef>
                <a:spcPts val="0"/>
              </a:spcBef>
              <a:spcAft>
                <a:spcPts val="0"/>
              </a:spcAft>
              <a:buFontTx/>
              <a:buNone/>
              <a:defRPr sz="1200" b="0">
                <a:latin typeface="Franklin Gothic Medium" panose="020B0603020102020204" pitchFamily="34" charset="0"/>
              </a:defRPr>
            </a:lvl1pPr>
            <a:lvl2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2pPr>
            <a:lvl3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3pPr>
            <a:lvl4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4pPr>
            <a:lvl5pPr>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5pPr>
            <a:lvl6pPr marL="0" indent="0">
              <a:lnSpc>
                <a:spcPts val="1440"/>
              </a:lnSpc>
              <a:spcBef>
                <a:spcPts val="0"/>
              </a:spcBef>
              <a:spcAft>
                <a:spcPts val="0"/>
              </a:spcAft>
              <a:buFont typeface="Arial" panose="020B0604020202020204" pitchFamily="34" charset="0"/>
              <a:buChar char="​"/>
              <a:defRPr sz="1200" b="0">
                <a:latin typeface="Franklin Gothic Medium" panose="020B0603020102020204" pitchFamily="34" charset="0"/>
              </a:defRPr>
            </a:lvl6pPr>
            <a:lvl7pPr>
              <a:lnSpc>
                <a:spcPts val="1440"/>
              </a:lnSpc>
              <a:spcBef>
                <a:spcPts val="0"/>
              </a:spcBef>
              <a:spcAft>
                <a:spcPts val="0"/>
              </a:spcAft>
              <a:defRPr sz="1200" b="0">
                <a:latin typeface="Franklin Gothic Medium" panose="020B0603020102020204" pitchFamily="34" charset="0"/>
              </a:defRPr>
            </a:lvl7pPr>
            <a:lvl8pPr>
              <a:lnSpc>
                <a:spcPts val="1440"/>
              </a:lnSpc>
              <a:spcBef>
                <a:spcPts val="0"/>
              </a:spcBef>
              <a:spcAft>
                <a:spcPts val="0"/>
              </a:spcAft>
              <a:defRPr sz="1200" b="0">
                <a:latin typeface="Franklin Gothic Medium" panose="020B0603020102020204" pitchFamily="34" charset="0"/>
              </a:defRPr>
            </a:lvl8pPr>
            <a:lvl9pPr>
              <a:lnSpc>
                <a:spcPts val="1440"/>
              </a:lnSpc>
              <a:spcBef>
                <a:spcPts val="0"/>
              </a:spcBef>
              <a:spcAft>
                <a:spcPts val="0"/>
              </a:spcAft>
              <a:defRPr sz="1200" b="0">
                <a:latin typeface="Franklin Gothic Medium" panose="020B0603020102020204" pitchFamily="34" charset="0"/>
              </a:defRPr>
            </a:lvl9pPr>
          </a:lstStyle>
          <a:p>
            <a:pPr lvl="0"/>
            <a:r>
              <a:rPr lang="da-DK" dirty="0"/>
              <a:t>00.00 - 00.00</a:t>
            </a:r>
          </a:p>
        </p:txBody>
      </p:sp>
      <p:sp>
        <p:nvSpPr>
          <p:cNvPr id="33" name="Text Placeholder 2">
            <a:extLst>
              <a:ext uri="{FF2B5EF4-FFF2-40B4-BE49-F238E27FC236}">
                <a16:creationId xmlns:a16="http://schemas.microsoft.com/office/drawing/2014/main" id="{A577FDEF-4EBE-2020-3985-73E776177D5A}"/>
              </a:ext>
            </a:extLst>
          </p:cNvPr>
          <p:cNvSpPr>
            <a:spLocks noGrp="1"/>
          </p:cNvSpPr>
          <p:nvPr>
            <p:ph type="body" sz="quarter" idx="46" hasCustomPrompt="1"/>
          </p:nvPr>
        </p:nvSpPr>
        <p:spPr>
          <a:xfrm>
            <a:off x="1504336" y="4327153"/>
            <a:ext cx="4410689" cy="189000"/>
          </a:xfrm>
        </p:spPr>
        <p:txBody>
          <a:bodyPr/>
          <a:lstStyle>
            <a:lvl1pPr marL="0" indent="0">
              <a:lnSpc>
                <a:spcPct val="100000"/>
              </a:lnSpc>
              <a:spcAft>
                <a:spcPts val="0"/>
              </a:spcAft>
              <a:buFontTx/>
              <a:buNone/>
              <a:defRPr sz="1200" b="0">
                <a:latin typeface="+mn-lt"/>
              </a:defRPr>
            </a:lvl1pPr>
            <a:lvl2pPr marL="0" indent="0">
              <a:lnSpc>
                <a:spcPct val="100000"/>
              </a:lnSpc>
              <a:spcBef>
                <a:spcPts val="0"/>
              </a:spcBef>
              <a:spcAft>
                <a:spcPts val="0"/>
              </a:spcAft>
              <a:buFontTx/>
              <a:buNone/>
              <a:defRPr sz="1200" b="0">
                <a:latin typeface="+mn-lt"/>
              </a:defRPr>
            </a:lvl2pPr>
            <a:lvl3pPr marL="0" indent="0">
              <a:lnSpc>
                <a:spcPts val="1440"/>
              </a:lnSpc>
              <a:spcBef>
                <a:spcPts val="0"/>
              </a:spcBef>
              <a:spcAft>
                <a:spcPts val="0"/>
              </a:spcAft>
              <a:buFont typeface="Arial" panose="020B0604020202020204" pitchFamily="34" charset="0"/>
              <a:buChar char="​"/>
              <a:defRPr sz="1200" b="0">
                <a:latin typeface="+mn-lt"/>
              </a:defRPr>
            </a:lvl3pPr>
            <a:lvl4pPr marL="0" indent="0">
              <a:lnSpc>
                <a:spcPts val="1440"/>
              </a:lnSpc>
              <a:spcBef>
                <a:spcPts val="0"/>
              </a:spcBef>
              <a:spcAft>
                <a:spcPts val="0"/>
              </a:spcAft>
              <a:buFont typeface="Arial" panose="020B0604020202020204" pitchFamily="34" charset="0"/>
              <a:buChar char="​"/>
              <a:defRPr sz="1200" b="0">
                <a:latin typeface="+mn-lt"/>
              </a:defRPr>
            </a:lvl4pPr>
            <a:lvl5pPr marL="0" indent="0">
              <a:lnSpc>
                <a:spcPts val="1440"/>
              </a:lnSpc>
              <a:spcBef>
                <a:spcPts val="0"/>
              </a:spcBef>
              <a:spcAft>
                <a:spcPts val="0"/>
              </a:spcAft>
              <a:buFont typeface="Arial" panose="020B0604020202020204" pitchFamily="34" charset="0"/>
              <a:buChar char="​"/>
              <a:defRPr sz="1200" b="0">
                <a:latin typeface="+mn-lt"/>
              </a:defRPr>
            </a:lvl5pPr>
            <a:lvl6pPr marL="0" indent="0">
              <a:lnSpc>
                <a:spcPts val="1440"/>
              </a:lnSpc>
              <a:spcBef>
                <a:spcPts val="0"/>
              </a:spcBef>
              <a:spcAft>
                <a:spcPts val="0"/>
              </a:spcAft>
              <a:buFont typeface="Arial" panose="020B0604020202020204" pitchFamily="34" charset="0"/>
              <a:buChar char="​"/>
              <a:defRPr sz="1200" b="0">
                <a:latin typeface="+mn-lt"/>
              </a:defRPr>
            </a:lvl6pPr>
            <a:lvl7pPr marL="0" indent="0">
              <a:lnSpc>
                <a:spcPts val="1440"/>
              </a:lnSpc>
              <a:spcBef>
                <a:spcPts val="0"/>
              </a:spcBef>
              <a:spcAft>
                <a:spcPts val="0"/>
              </a:spcAft>
              <a:buFont typeface="Arial" panose="020B0604020202020204" pitchFamily="34" charset="0"/>
              <a:buChar char="​"/>
              <a:defRPr sz="1200" b="0">
                <a:latin typeface="+mn-lt"/>
              </a:defRPr>
            </a:lvl7pPr>
            <a:lvl8pPr marL="0" indent="0">
              <a:lnSpc>
                <a:spcPts val="1440"/>
              </a:lnSpc>
              <a:spcBef>
                <a:spcPts val="0"/>
              </a:spcBef>
              <a:spcAft>
                <a:spcPts val="0"/>
              </a:spcAft>
              <a:buFont typeface="Arial" panose="020B0604020202020204" pitchFamily="34" charset="0"/>
              <a:buChar char="​"/>
              <a:defRPr sz="1200" b="0">
                <a:latin typeface="+mn-lt"/>
              </a:defRPr>
            </a:lvl8pPr>
            <a:lvl9pPr marL="0" indent="0">
              <a:lnSpc>
                <a:spcPts val="1440"/>
              </a:lnSpc>
              <a:spcBef>
                <a:spcPts val="0"/>
              </a:spcBef>
              <a:buFont typeface="Arial" panose="020B0604020202020204" pitchFamily="34" charset="0"/>
              <a:buChar char="​"/>
              <a:defRPr sz="1200" b="0">
                <a:latin typeface="+mn-lt"/>
              </a:defRPr>
            </a:lvl9pPr>
          </a:lstStyle>
          <a:p>
            <a:pPr lvl="0"/>
            <a:r>
              <a:rPr lang="da-DK" noProof="0" dirty="0"/>
              <a:t>Klik for at tilføje agendapunkt</a:t>
            </a:r>
          </a:p>
          <a:p>
            <a:pPr lvl="1"/>
            <a:endParaRPr lang="da-DK" noProof="0" dirty="0"/>
          </a:p>
        </p:txBody>
      </p:sp>
      <p:sp>
        <p:nvSpPr>
          <p:cNvPr id="34" name="Makro grafik 1">
            <a:extLst>
              <a:ext uri="{FF2B5EF4-FFF2-40B4-BE49-F238E27FC236}">
                <a16:creationId xmlns:a16="http://schemas.microsoft.com/office/drawing/2014/main" id="{E9B99943-DF38-DC92-F8E1-DD5EE41779FC}"/>
              </a:ext>
            </a:extLst>
          </p:cNvPr>
          <p:cNvSpPr>
            <a:spLocks noGrp="1" noChangeAspect="1"/>
          </p:cNvSpPr>
          <p:nvPr>
            <p:ph type="body" sz="quarter" idx="19" hasCustomPrompt="1"/>
          </p:nvPr>
        </p:nvSpPr>
        <p:spPr>
          <a:xfrm>
            <a:off x="6550365" y="661589"/>
            <a:ext cx="2202509" cy="3163673"/>
          </a:xfrm>
          <a:custGeom>
            <a:avLst/>
            <a:gdLst>
              <a:gd name="connsiteX0" fmla="*/ 2328828 w 2936679"/>
              <a:gd name="connsiteY0" fmla="*/ 3048117 h 4218230"/>
              <a:gd name="connsiteX1" fmla="*/ 2444319 w 2936679"/>
              <a:gd name="connsiteY1" fmla="*/ 3048117 h 4218230"/>
              <a:gd name="connsiteX2" fmla="*/ 2441280 w 2936679"/>
              <a:gd name="connsiteY2" fmla="*/ 3561751 h 4218230"/>
              <a:gd name="connsiteX3" fmla="*/ 2878933 w 2936679"/>
              <a:gd name="connsiteY3" fmla="*/ 3303414 h 4218230"/>
              <a:gd name="connsiteX4" fmla="*/ 2936679 w 2936679"/>
              <a:gd name="connsiteY4" fmla="*/ 3397630 h 4218230"/>
              <a:gd name="connsiteX5" fmla="*/ 2495987 w 2936679"/>
              <a:gd name="connsiteY5" fmla="*/ 3649889 h 4218230"/>
              <a:gd name="connsiteX6" fmla="*/ 2936679 w 2936679"/>
              <a:gd name="connsiteY6" fmla="*/ 3896069 h 4218230"/>
              <a:gd name="connsiteX7" fmla="*/ 2878933 w 2936679"/>
              <a:gd name="connsiteY7" fmla="*/ 3990286 h 4218230"/>
              <a:gd name="connsiteX8" fmla="*/ 2441280 w 2936679"/>
              <a:gd name="connsiteY8" fmla="*/ 3731949 h 4218230"/>
              <a:gd name="connsiteX9" fmla="*/ 2444319 w 2936679"/>
              <a:gd name="connsiteY9" fmla="*/ 4218230 h 4218230"/>
              <a:gd name="connsiteX10" fmla="*/ 2328828 w 2936679"/>
              <a:gd name="connsiteY10" fmla="*/ 4218230 h 4218230"/>
              <a:gd name="connsiteX11" fmla="*/ 2334907 w 2936679"/>
              <a:gd name="connsiteY11" fmla="*/ 3731949 h 4218230"/>
              <a:gd name="connsiteX12" fmla="*/ 1897254 w 2936679"/>
              <a:gd name="connsiteY12" fmla="*/ 3990286 h 4218230"/>
              <a:gd name="connsiteX13" fmla="*/ 1836469 w 2936679"/>
              <a:gd name="connsiteY13" fmla="*/ 3896069 h 4218230"/>
              <a:gd name="connsiteX14" fmla="*/ 2283239 w 2936679"/>
              <a:gd name="connsiteY14" fmla="*/ 3649889 h 4218230"/>
              <a:gd name="connsiteX15" fmla="*/ 1836469 w 2936679"/>
              <a:gd name="connsiteY15" fmla="*/ 3397630 h 4218230"/>
              <a:gd name="connsiteX16" fmla="*/ 1897254 w 2936679"/>
              <a:gd name="connsiteY16" fmla="*/ 3303414 h 4218230"/>
              <a:gd name="connsiteX17" fmla="*/ 2334907 w 2936679"/>
              <a:gd name="connsiteY17" fmla="*/ 3561751 h 4218230"/>
              <a:gd name="connsiteX18" fmla="*/ 1134304 w 2936679"/>
              <a:gd name="connsiteY18" fmla="*/ 15545 h 4218230"/>
              <a:gd name="connsiteX19" fmla="*/ 1802941 w 2936679"/>
              <a:gd name="connsiteY19" fmla="*/ 15545 h 4218230"/>
              <a:gd name="connsiteX20" fmla="*/ 1802941 w 2936679"/>
              <a:gd name="connsiteY20" fmla="*/ 121525 h 4218230"/>
              <a:gd name="connsiteX21" fmla="*/ 1258915 w 2936679"/>
              <a:gd name="connsiteY21" fmla="*/ 121525 h 4218230"/>
              <a:gd name="connsiteX22" fmla="*/ 1258915 w 2936679"/>
              <a:gd name="connsiteY22" fmla="*/ 2254955 h 4218230"/>
              <a:gd name="connsiteX23" fmla="*/ 1802941 w 2936679"/>
              <a:gd name="connsiteY23" fmla="*/ 2254955 h 4218230"/>
              <a:gd name="connsiteX24" fmla="*/ 1802941 w 2936679"/>
              <a:gd name="connsiteY24" fmla="*/ 2361703 h 4218230"/>
              <a:gd name="connsiteX25" fmla="*/ 1134304 w 2936679"/>
              <a:gd name="connsiteY25" fmla="*/ 2361703 h 4218230"/>
              <a:gd name="connsiteX26" fmla="*/ 1134304 w 2936679"/>
              <a:gd name="connsiteY26" fmla="*/ 2254955 h 4218230"/>
              <a:gd name="connsiteX27" fmla="*/ 1134304 w 2936679"/>
              <a:gd name="connsiteY27" fmla="*/ 121525 h 4218230"/>
              <a:gd name="connsiteX28" fmla="*/ 823637 w 2936679"/>
              <a:gd name="connsiteY28" fmla="*/ 0 h 4218230"/>
              <a:gd name="connsiteX29" fmla="*/ 823637 w 2936679"/>
              <a:gd name="connsiteY29" fmla="*/ 106373 h 4218230"/>
              <a:gd name="connsiteX30" fmla="*/ 792508 w 2936679"/>
              <a:gd name="connsiteY30" fmla="*/ 106798 h 4218230"/>
              <a:gd name="connsiteX31" fmla="*/ 762262 w 2936679"/>
              <a:gd name="connsiteY31" fmla="*/ 108067 h 4218230"/>
              <a:gd name="connsiteX32" fmla="*/ 732886 w 2936679"/>
              <a:gd name="connsiteY32" fmla="*/ 110173 h 4218230"/>
              <a:gd name="connsiteX33" fmla="*/ 704371 w 2936679"/>
              <a:gd name="connsiteY33" fmla="*/ 113111 h 4218230"/>
              <a:gd name="connsiteX34" fmla="*/ 676705 w 2936679"/>
              <a:gd name="connsiteY34" fmla="*/ 116875 h 4218230"/>
              <a:gd name="connsiteX35" fmla="*/ 649874 w 2936679"/>
              <a:gd name="connsiteY35" fmla="*/ 121457 h 4218230"/>
              <a:gd name="connsiteX36" fmla="*/ 623870 w 2936679"/>
              <a:gd name="connsiteY36" fmla="*/ 126853 h 4218230"/>
              <a:gd name="connsiteX37" fmla="*/ 598680 w 2936679"/>
              <a:gd name="connsiteY37" fmla="*/ 133056 h 4218230"/>
              <a:gd name="connsiteX38" fmla="*/ 574292 w 2936679"/>
              <a:gd name="connsiteY38" fmla="*/ 140058 h 4218230"/>
              <a:gd name="connsiteX39" fmla="*/ 550695 w 2936679"/>
              <a:gd name="connsiteY39" fmla="*/ 147856 h 4218230"/>
              <a:gd name="connsiteX40" fmla="*/ 527878 w 2936679"/>
              <a:gd name="connsiteY40" fmla="*/ 156441 h 4218230"/>
              <a:gd name="connsiteX41" fmla="*/ 505829 w 2936679"/>
              <a:gd name="connsiteY41" fmla="*/ 165808 h 4218230"/>
              <a:gd name="connsiteX42" fmla="*/ 484537 w 2936679"/>
              <a:gd name="connsiteY42" fmla="*/ 175950 h 4218230"/>
              <a:gd name="connsiteX43" fmla="*/ 463989 w 2936679"/>
              <a:gd name="connsiteY43" fmla="*/ 186862 h 4218230"/>
              <a:gd name="connsiteX44" fmla="*/ 425085 w 2936679"/>
              <a:gd name="connsiteY44" fmla="*/ 210967 h 4218230"/>
              <a:gd name="connsiteX45" fmla="*/ 389024 w 2936679"/>
              <a:gd name="connsiteY45" fmla="*/ 238075 h 4218230"/>
              <a:gd name="connsiteX46" fmla="*/ 355715 w 2936679"/>
              <a:gd name="connsiteY46" fmla="*/ 268133 h 4218230"/>
              <a:gd name="connsiteX47" fmla="*/ 325065 w 2936679"/>
              <a:gd name="connsiteY47" fmla="*/ 301094 h 4218230"/>
              <a:gd name="connsiteX48" fmla="*/ 296984 w 2936679"/>
              <a:gd name="connsiteY48" fmla="*/ 336907 h 4218230"/>
              <a:gd name="connsiteX49" fmla="*/ 283877 w 2936679"/>
              <a:gd name="connsiteY49" fmla="*/ 355867 h 4218230"/>
              <a:gd name="connsiteX50" fmla="*/ 271379 w 2936679"/>
              <a:gd name="connsiteY50" fmla="*/ 375521 h 4218230"/>
              <a:gd name="connsiteX51" fmla="*/ 259476 w 2936679"/>
              <a:gd name="connsiteY51" fmla="*/ 395862 h 4218230"/>
              <a:gd name="connsiteX52" fmla="*/ 248158 w 2936679"/>
              <a:gd name="connsiteY52" fmla="*/ 416886 h 4218230"/>
              <a:gd name="connsiteX53" fmla="*/ 237414 w 2936679"/>
              <a:gd name="connsiteY53" fmla="*/ 438585 h 4218230"/>
              <a:gd name="connsiteX54" fmla="*/ 227231 w 2936679"/>
              <a:gd name="connsiteY54" fmla="*/ 460953 h 4218230"/>
              <a:gd name="connsiteX55" fmla="*/ 217598 w 2936679"/>
              <a:gd name="connsiteY55" fmla="*/ 483984 h 4218230"/>
              <a:gd name="connsiteX56" fmla="*/ 208505 w 2936679"/>
              <a:gd name="connsiteY56" fmla="*/ 507672 h 4218230"/>
              <a:gd name="connsiteX57" fmla="*/ 199938 w 2936679"/>
              <a:gd name="connsiteY57" fmla="*/ 532010 h 4218230"/>
              <a:gd name="connsiteX58" fmla="*/ 191888 w 2936679"/>
              <a:gd name="connsiteY58" fmla="*/ 556992 h 4218230"/>
              <a:gd name="connsiteX59" fmla="*/ 184343 w 2936679"/>
              <a:gd name="connsiteY59" fmla="*/ 582612 h 4218230"/>
              <a:gd name="connsiteX60" fmla="*/ 177289 w 2936679"/>
              <a:gd name="connsiteY60" fmla="*/ 608864 h 4218230"/>
              <a:gd name="connsiteX61" fmla="*/ 170718 w 2936679"/>
              <a:gd name="connsiteY61" fmla="*/ 635740 h 4218230"/>
              <a:gd name="connsiteX62" fmla="*/ 164617 w 2936679"/>
              <a:gd name="connsiteY62" fmla="*/ 663237 h 4218230"/>
              <a:gd name="connsiteX63" fmla="*/ 158974 w 2936679"/>
              <a:gd name="connsiteY63" fmla="*/ 691346 h 4218230"/>
              <a:gd name="connsiteX64" fmla="*/ 153778 w 2936679"/>
              <a:gd name="connsiteY64" fmla="*/ 720061 h 4218230"/>
              <a:gd name="connsiteX65" fmla="*/ 149019 w 2936679"/>
              <a:gd name="connsiteY65" fmla="*/ 749377 h 4218230"/>
              <a:gd name="connsiteX66" fmla="*/ 144683 w 2936679"/>
              <a:gd name="connsiteY66" fmla="*/ 779287 h 4218230"/>
              <a:gd name="connsiteX67" fmla="*/ 140760 w 2936679"/>
              <a:gd name="connsiteY67" fmla="*/ 809785 h 4218230"/>
              <a:gd name="connsiteX68" fmla="*/ 137239 w 2936679"/>
              <a:gd name="connsiteY68" fmla="*/ 840864 h 4218230"/>
              <a:gd name="connsiteX69" fmla="*/ 134107 w 2936679"/>
              <a:gd name="connsiteY69" fmla="*/ 872519 h 4218230"/>
              <a:gd name="connsiteX70" fmla="*/ 131353 w 2936679"/>
              <a:gd name="connsiteY70" fmla="*/ 904742 h 4218230"/>
              <a:gd name="connsiteX71" fmla="*/ 128967 w 2936679"/>
              <a:gd name="connsiteY71" fmla="*/ 937529 h 4218230"/>
              <a:gd name="connsiteX72" fmla="*/ 126936 w 2936679"/>
              <a:gd name="connsiteY72" fmla="*/ 970872 h 4218230"/>
              <a:gd name="connsiteX73" fmla="*/ 125248 w 2936679"/>
              <a:gd name="connsiteY73" fmla="*/ 1004766 h 4218230"/>
              <a:gd name="connsiteX74" fmla="*/ 123893 w 2936679"/>
              <a:gd name="connsiteY74" fmla="*/ 1039204 h 4218230"/>
              <a:gd name="connsiteX75" fmla="*/ 122859 w 2936679"/>
              <a:gd name="connsiteY75" fmla="*/ 1074179 h 4218230"/>
              <a:gd name="connsiteX76" fmla="*/ 122136 w 2936679"/>
              <a:gd name="connsiteY76" fmla="*/ 1109686 h 4218230"/>
              <a:gd name="connsiteX77" fmla="*/ 121709 w 2936679"/>
              <a:gd name="connsiteY77" fmla="*/ 1145718 h 4218230"/>
              <a:gd name="connsiteX78" fmla="*/ 121570 w 2936679"/>
              <a:gd name="connsiteY78" fmla="*/ 1182269 h 4218230"/>
              <a:gd name="connsiteX79" fmla="*/ 121698 w 2936679"/>
              <a:gd name="connsiteY79" fmla="*/ 1218646 h 4218230"/>
              <a:gd name="connsiteX80" fmla="*/ 122091 w 2936679"/>
              <a:gd name="connsiteY80" fmla="*/ 1254499 h 4218230"/>
              <a:gd name="connsiteX81" fmla="*/ 122761 w 2936679"/>
              <a:gd name="connsiteY81" fmla="*/ 1289823 h 4218230"/>
              <a:gd name="connsiteX82" fmla="*/ 123718 w 2936679"/>
              <a:gd name="connsiteY82" fmla="*/ 1324612 h 4218230"/>
              <a:gd name="connsiteX83" fmla="*/ 124975 w 2936679"/>
              <a:gd name="connsiteY83" fmla="*/ 1358861 h 4218230"/>
              <a:gd name="connsiteX84" fmla="*/ 126541 w 2936679"/>
              <a:gd name="connsiteY84" fmla="*/ 1392565 h 4218230"/>
              <a:gd name="connsiteX85" fmla="*/ 128431 w 2936679"/>
              <a:gd name="connsiteY85" fmla="*/ 1425718 h 4218230"/>
              <a:gd name="connsiteX86" fmla="*/ 130654 w 2936679"/>
              <a:gd name="connsiteY86" fmla="*/ 1458315 h 4218230"/>
              <a:gd name="connsiteX87" fmla="*/ 133222 w 2936679"/>
              <a:gd name="connsiteY87" fmla="*/ 1490351 h 4218230"/>
              <a:gd name="connsiteX88" fmla="*/ 136147 w 2936679"/>
              <a:gd name="connsiteY88" fmla="*/ 1521821 h 4218230"/>
              <a:gd name="connsiteX89" fmla="*/ 139441 w 2936679"/>
              <a:gd name="connsiteY89" fmla="*/ 1552717 h 4218230"/>
              <a:gd name="connsiteX90" fmla="*/ 143114 w 2936679"/>
              <a:gd name="connsiteY90" fmla="*/ 1583037 h 4218230"/>
              <a:gd name="connsiteX91" fmla="*/ 147178 w 2936679"/>
              <a:gd name="connsiteY91" fmla="*/ 1612774 h 4218230"/>
              <a:gd name="connsiteX92" fmla="*/ 151646 w 2936679"/>
              <a:gd name="connsiteY92" fmla="*/ 1641922 h 4218230"/>
              <a:gd name="connsiteX93" fmla="*/ 156527 w 2936679"/>
              <a:gd name="connsiteY93" fmla="*/ 1670477 h 4218230"/>
              <a:gd name="connsiteX94" fmla="*/ 161834 w 2936679"/>
              <a:gd name="connsiteY94" fmla="*/ 1698433 h 4218230"/>
              <a:gd name="connsiteX95" fmla="*/ 167579 w 2936679"/>
              <a:gd name="connsiteY95" fmla="*/ 1725784 h 4218230"/>
              <a:gd name="connsiteX96" fmla="*/ 173772 w 2936679"/>
              <a:gd name="connsiteY96" fmla="*/ 1752526 h 4218230"/>
              <a:gd name="connsiteX97" fmla="*/ 180426 w 2936679"/>
              <a:gd name="connsiteY97" fmla="*/ 1778652 h 4218230"/>
              <a:gd name="connsiteX98" fmla="*/ 187552 w 2936679"/>
              <a:gd name="connsiteY98" fmla="*/ 1804159 h 4218230"/>
              <a:gd name="connsiteX99" fmla="*/ 195161 w 2936679"/>
              <a:gd name="connsiteY99" fmla="*/ 1829038 h 4218230"/>
              <a:gd name="connsiteX100" fmla="*/ 203265 w 2936679"/>
              <a:gd name="connsiteY100" fmla="*/ 1853288 h 4218230"/>
              <a:gd name="connsiteX101" fmla="*/ 211875 w 2936679"/>
              <a:gd name="connsiteY101" fmla="*/ 1876900 h 4218230"/>
              <a:gd name="connsiteX102" fmla="*/ 221003 w 2936679"/>
              <a:gd name="connsiteY102" fmla="*/ 1899870 h 4218230"/>
              <a:gd name="connsiteX103" fmla="*/ 230661 w 2936679"/>
              <a:gd name="connsiteY103" fmla="*/ 1922194 h 4218230"/>
              <a:gd name="connsiteX104" fmla="*/ 240859 w 2936679"/>
              <a:gd name="connsiteY104" fmla="*/ 1943864 h 4218230"/>
              <a:gd name="connsiteX105" fmla="*/ 251610 w 2936679"/>
              <a:gd name="connsiteY105" fmla="*/ 1964877 h 4218230"/>
              <a:gd name="connsiteX106" fmla="*/ 262925 w 2936679"/>
              <a:gd name="connsiteY106" fmla="*/ 1985225 h 4218230"/>
              <a:gd name="connsiteX107" fmla="*/ 287293 w 2936679"/>
              <a:gd name="connsiteY107" fmla="*/ 2023912 h 4218230"/>
              <a:gd name="connsiteX108" fmla="*/ 314054 w 2936679"/>
              <a:gd name="connsiteY108" fmla="*/ 2059880 h 4218230"/>
              <a:gd name="connsiteX109" fmla="*/ 343301 w 2936679"/>
              <a:gd name="connsiteY109" fmla="*/ 2093086 h 4218230"/>
              <a:gd name="connsiteX110" fmla="*/ 375125 w 2936679"/>
              <a:gd name="connsiteY110" fmla="*/ 2123489 h 4218230"/>
              <a:gd name="connsiteX111" fmla="*/ 409620 w 2936679"/>
              <a:gd name="connsiteY111" fmla="*/ 2151045 h 4218230"/>
              <a:gd name="connsiteX112" fmla="*/ 446877 w 2936679"/>
              <a:gd name="connsiteY112" fmla="*/ 2175710 h 4218230"/>
              <a:gd name="connsiteX113" fmla="*/ 486988 w 2936679"/>
              <a:gd name="connsiteY113" fmla="*/ 2197442 h 4218230"/>
              <a:gd name="connsiteX114" fmla="*/ 508143 w 2936679"/>
              <a:gd name="connsiteY114" fmla="*/ 2207196 h 4218230"/>
              <a:gd name="connsiteX115" fmla="*/ 530045 w 2936679"/>
              <a:gd name="connsiteY115" fmla="*/ 2216199 h 4218230"/>
              <a:gd name="connsiteX116" fmla="*/ 552708 w 2936679"/>
              <a:gd name="connsiteY116" fmla="*/ 2224448 h 4218230"/>
              <a:gd name="connsiteX117" fmla="*/ 576141 w 2936679"/>
              <a:gd name="connsiteY117" fmla="*/ 2231937 h 4218230"/>
              <a:gd name="connsiteX118" fmla="*/ 600357 w 2936679"/>
              <a:gd name="connsiteY118" fmla="*/ 2238660 h 4218230"/>
              <a:gd name="connsiteX119" fmla="*/ 625366 w 2936679"/>
              <a:gd name="connsiteY119" fmla="*/ 2244612 h 4218230"/>
              <a:gd name="connsiteX120" fmla="*/ 651182 w 2936679"/>
              <a:gd name="connsiteY120" fmla="*/ 2249788 h 4218230"/>
              <a:gd name="connsiteX121" fmla="*/ 677815 w 2936679"/>
              <a:gd name="connsiteY121" fmla="*/ 2254182 h 4218230"/>
              <a:gd name="connsiteX122" fmla="*/ 705276 w 2936679"/>
              <a:gd name="connsiteY122" fmla="*/ 2257790 h 4218230"/>
              <a:gd name="connsiteX123" fmla="*/ 733577 w 2936679"/>
              <a:gd name="connsiteY123" fmla="*/ 2260606 h 4218230"/>
              <a:gd name="connsiteX124" fmla="*/ 762730 w 2936679"/>
              <a:gd name="connsiteY124" fmla="*/ 2262623 h 4218230"/>
              <a:gd name="connsiteX125" fmla="*/ 792746 w 2936679"/>
              <a:gd name="connsiteY125" fmla="*/ 2263838 h 4218230"/>
              <a:gd name="connsiteX126" fmla="*/ 823637 w 2936679"/>
              <a:gd name="connsiteY126" fmla="*/ 2264243 h 4218230"/>
              <a:gd name="connsiteX127" fmla="*/ 823637 w 2936679"/>
              <a:gd name="connsiteY127" fmla="*/ 2370617 h 4218230"/>
              <a:gd name="connsiteX128" fmla="*/ 791600 w 2936679"/>
              <a:gd name="connsiteY128" fmla="*/ 2370244 h 4218230"/>
              <a:gd name="connsiteX129" fmla="*/ 760353 w 2936679"/>
              <a:gd name="connsiteY129" fmla="*/ 2369125 h 4218230"/>
              <a:gd name="connsiteX130" fmla="*/ 729886 w 2936679"/>
              <a:gd name="connsiteY130" fmla="*/ 2367268 h 4218230"/>
              <a:gd name="connsiteX131" fmla="*/ 700193 w 2936679"/>
              <a:gd name="connsiteY131" fmla="*/ 2364677 h 4218230"/>
              <a:gd name="connsiteX132" fmla="*/ 671263 w 2936679"/>
              <a:gd name="connsiteY132" fmla="*/ 2361359 h 4218230"/>
              <a:gd name="connsiteX133" fmla="*/ 643089 w 2936679"/>
              <a:gd name="connsiteY133" fmla="*/ 2357318 h 4218230"/>
              <a:gd name="connsiteX134" fmla="*/ 615660 w 2936679"/>
              <a:gd name="connsiteY134" fmla="*/ 2352559 h 4218230"/>
              <a:gd name="connsiteX135" fmla="*/ 588969 w 2936679"/>
              <a:gd name="connsiteY135" fmla="*/ 2347090 h 4218230"/>
              <a:gd name="connsiteX136" fmla="*/ 563008 w 2936679"/>
              <a:gd name="connsiteY136" fmla="*/ 2340914 h 4218230"/>
              <a:gd name="connsiteX137" fmla="*/ 537765 w 2936679"/>
              <a:gd name="connsiteY137" fmla="*/ 2334038 h 4218230"/>
              <a:gd name="connsiteX138" fmla="*/ 513235 w 2936679"/>
              <a:gd name="connsiteY138" fmla="*/ 2326466 h 4218230"/>
              <a:gd name="connsiteX139" fmla="*/ 489406 w 2936679"/>
              <a:gd name="connsiteY139" fmla="*/ 2318205 h 4218230"/>
              <a:gd name="connsiteX140" fmla="*/ 466271 w 2936679"/>
              <a:gd name="connsiteY140" fmla="*/ 2309259 h 4218230"/>
              <a:gd name="connsiteX141" fmla="*/ 443822 w 2936679"/>
              <a:gd name="connsiteY141" fmla="*/ 2299635 h 4218230"/>
              <a:gd name="connsiteX142" fmla="*/ 422048 w 2936679"/>
              <a:gd name="connsiteY142" fmla="*/ 2289337 h 4218230"/>
              <a:gd name="connsiteX143" fmla="*/ 400942 w 2936679"/>
              <a:gd name="connsiteY143" fmla="*/ 2278372 h 4218230"/>
              <a:gd name="connsiteX144" fmla="*/ 380496 w 2936679"/>
              <a:gd name="connsiteY144" fmla="*/ 2266743 h 4218230"/>
              <a:gd name="connsiteX145" fmla="*/ 360698 w 2936679"/>
              <a:gd name="connsiteY145" fmla="*/ 2254459 h 4218230"/>
              <a:gd name="connsiteX146" fmla="*/ 341542 w 2936679"/>
              <a:gd name="connsiteY146" fmla="*/ 2241522 h 4218230"/>
              <a:gd name="connsiteX147" fmla="*/ 305118 w 2936679"/>
              <a:gd name="connsiteY147" fmla="*/ 2213717 h 4218230"/>
              <a:gd name="connsiteX148" fmla="*/ 271154 w 2936679"/>
              <a:gd name="connsiteY148" fmla="*/ 2183372 h 4218230"/>
              <a:gd name="connsiteX149" fmla="*/ 239580 w 2936679"/>
              <a:gd name="connsiteY149" fmla="*/ 2150529 h 4218230"/>
              <a:gd name="connsiteX150" fmla="*/ 210325 w 2936679"/>
              <a:gd name="connsiteY150" fmla="*/ 2115234 h 4218230"/>
              <a:gd name="connsiteX151" fmla="*/ 196545 w 2936679"/>
              <a:gd name="connsiteY151" fmla="*/ 2096680 h 4218230"/>
              <a:gd name="connsiteX152" fmla="*/ 183319 w 2936679"/>
              <a:gd name="connsiteY152" fmla="*/ 2077530 h 4218230"/>
              <a:gd name="connsiteX153" fmla="*/ 170638 w 2936679"/>
              <a:gd name="connsiteY153" fmla="*/ 2057787 h 4218230"/>
              <a:gd name="connsiteX154" fmla="*/ 158493 w 2936679"/>
              <a:gd name="connsiteY154" fmla="*/ 2037460 h 4218230"/>
              <a:gd name="connsiteX155" fmla="*/ 146876 w 2936679"/>
              <a:gd name="connsiteY155" fmla="*/ 2016551 h 4218230"/>
              <a:gd name="connsiteX156" fmla="*/ 135777 w 2936679"/>
              <a:gd name="connsiteY156" fmla="*/ 1995068 h 4218230"/>
              <a:gd name="connsiteX157" fmla="*/ 125187 w 2936679"/>
              <a:gd name="connsiteY157" fmla="*/ 1973015 h 4218230"/>
              <a:gd name="connsiteX158" fmla="*/ 115100 w 2936679"/>
              <a:gd name="connsiteY158" fmla="*/ 1950398 h 4218230"/>
              <a:gd name="connsiteX159" fmla="*/ 105504 w 2936679"/>
              <a:gd name="connsiteY159" fmla="*/ 1927223 h 4218230"/>
              <a:gd name="connsiteX160" fmla="*/ 96391 w 2936679"/>
              <a:gd name="connsiteY160" fmla="*/ 1903494 h 4218230"/>
              <a:gd name="connsiteX161" fmla="*/ 87754 w 2936679"/>
              <a:gd name="connsiteY161" fmla="*/ 1879218 h 4218230"/>
              <a:gd name="connsiteX162" fmla="*/ 79583 w 2936679"/>
              <a:gd name="connsiteY162" fmla="*/ 1854399 h 4218230"/>
              <a:gd name="connsiteX163" fmla="*/ 71869 w 2936679"/>
              <a:gd name="connsiteY163" fmla="*/ 1829044 h 4218230"/>
              <a:gd name="connsiteX164" fmla="*/ 64603 w 2936679"/>
              <a:gd name="connsiteY164" fmla="*/ 1803157 h 4218230"/>
              <a:gd name="connsiteX165" fmla="*/ 57778 w 2936679"/>
              <a:gd name="connsiteY165" fmla="*/ 1776745 h 4218230"/>
              <a:gd name="connsiteX166" fmla="*/ 51383 w 2936679"/>
              <a:gd name="connsiteY166" fmla="*/ 1749812 h 4218230"/>
              <a:gd name="connsiteX167" fmla="*/ 45410 w 2936679"/>
              <a:gd name="connsiteY167" fmla="*/ 1722365 h 4218230"/>
              <a:gd name="connsiteX168" fmla="*/ 39852 w 2936679"/>
              <a:gd name="connsiteY168" fmla="*/ 1694407 h 4218230"/>
              <a:gd name="connsiteX169" fmla="*/ 34697 w 2936679"/>
              <a:gd name="connsiteY169" fmla="*/ 1665946 h 4218230"/>
              <a:gd name="connsiteX170" fmla="*/ 29939 w 2936679"/>
              <a:gd name="connsiteY170" fmla="*/ 1636987 h 4218230"/>
              <a:gd name="connsiteX171" fmla="*/ 25568 w 2936679"/>
              <a:gd name="connsiteY171" fmla="*/ 1607534 h 4218230"/>
              <a:gd name="connsiteX172" fmla="*/ 21576 w 2936679"/>
              <a:gd name="connsiteY172" fmla="*/ 1577594 h 4218230"/>
              <a:gd name="connsiteX173" fmla="*/ 17953 w 2936679"/>
              <a:gd name="connsiteY173" fmla="*/ 1547172 h 4218230"/>
              <a:gd name="connsiteX174" fmla="*/ 14691 w 2936679"/>
              <a:gd name="connsiteY174" fmla="*/ 1516273 h 4218230"/>
              <a:gd name="connsiteX175" fmla="*/ 11781 w 2936679"/>
              <a:gd name="connsiteY175" fmla="*/ 1484902 h 4218230"/>
              <a:gd name="connsiteX176" fmla="*/ 9216 w 2936679"/>
              <a:gd name="connsiteY176" fmla="*/ 1453067 h 4218230"/>
              <a:gd name="connsiteX177" fmla="*/ 6984 w 2936679"/>
              <a:gd name="connsiteY177" fmla="*/ 1420771 h 4218230"/>
              <a:gd name="connsiteX178" fmla="*/ 5078 w 2936679"/>
              <a:gd name="connsiteY178" fmla="*/ 1388020 h 4218230"/>
              <a:gd name="connsiteX179" fmla="*/ 3490 w 2936679"/>
              <a:gd name="connsiteY179" fmla="*/ 1354819 h 4218230"/>
              <a:gd name="connsiteX180" fmla="*/ 2210 w 2936679"/>
              <a:gd name="connsiteY180" fmla="*/ 1321175 h 4218230"/>
              <a:gd name="connsiteX181" fmla="*/ 1230 w 2936679"/>
              <a:gd name="connsiteY181" fmla="*/ 1287093 h 4218230"/>
              <a:gd name="connsiteX182" fmla="*/ 541 w 2936679"/>
              <a:gd name="connsiteY182" fmla="*/ 1252577 h 4218230"/>
              <a:gd name="connsiteX183" fmla="*/ 134 w 2936679"/>
              <a:gd name="connsiteY183" fmla="*/ 1217634 h 4218230"/>
              <a:gd name="connsiteX184" fmla="*/ 0 w 2936679"/>
              <a:gd name="connsiteY184" fmla="*/ 1182269 h 4218230"/>
              <a:gd name="connsiteX185" fmla="*/ 136 w 2936679"/>
              <a:gd name="connsiteY185" fmla="*/ 1147054 h 4218230"/>
              <a:gd name="connsiteX186" fmla="*/ 550 w 2936679"/>
              <a:gd name="connsiteY186" fmla="*/ 1112260 h 4218230"/>
              <a:gd name="connsiteX187" fmla="*/ 1251 w 2936679"/>
              <a:gd name="connsiteY187" fmla="*/ 1077894 h 4218230"/>
              <a:gd name="connsiteX188" fmla="*/ 2247 w 2936679"/>
              <a:gd name="connsiteY188" fmla="*/ 1043960 h 4218230"/>
              <a:gd name="connsiteX189" fmla="*/ 3547 w 2936679"/>
              <a:gd name="connsiteY189" fmla="*/ 1010465 h 4218230"/>
              <a:gd name="connsiteX190" fmla="*/ 5158 w 2936679"/>
              <a:gd name="connsiteY190" fmla="*/ 977413 h 4218230"/>
              <a:gd name="connsiteX191" fmla="*/ 7090 w 2936679"/>
              <a:gd name="connsiteY191" fmla="*/ 944809 h 4218230"/>
              <a:gd name="connsiteX192" fmla="*/ 9352 w 2936679"/>
              <a:gd name="connsiteY192" fmla="*/ 912661 h 4218230"/>
              <a:gd name="connsiteX193" fmla="*/ 11951 w 2936679"/>
              <a:gd name="connsiteY193" fmla="*/ 880972 h 4218230"/>
              <a:gd name="connsiteX194" fmla="*/ 14896 w 2936679"/>
              <a:gd name="connsiteY194" fmla="*/ 849747 h 4218230"/>
              <a:gd name="connsiteX195" fmla="*/ 18196 w 2936679"/>
              <a:gd name="connsiteY195" fmla="*/ 818993 h 4218230"/>
              <a:gd name="connsiteX196" fmla="*/ 21859 w 2936679"/>
              <a:gd name="connsiteY196" fmla="*/ 788715 h 4218230"/>
              <a:gd name="connsiteX197" fmla="*/ 25894 w 2936679"/>
              <a:gd name="connsiteY197" fmla="*/ 758918 h 4218230"/>
              <a:gd name="connsiteX198" fmla="*/ 30309 w 2936679"/>
              <a:gd name="connsiteY198" fmla="*/ 729608 h 4218230"/>
              <a:gd name="connsiteX199" fmla="*/ 35113 w 2936679"/>
              <a:gd name="connsiteY199" fmla="*/ 700789 h 4218230"/>
              <a:gd name="connsiteX200" fmla="*/ 40314 w 2936679"/>
              <a:gd name="connsiteY200" fmla="*/ 672468 h 4218230"/>
              <a:gd name="connsiteX201" fmla="*/ 45921 w 2936679"/>
              <a:gd name="connsiteY201" fmla="*/ 644649 h 4218230"/>
              <a:gd name="connsiteX202" fmla="*/ 51943 w 2936679"/>
              <a:gd name="connsiteY202" fmla="*/ 617338 h 4218230"/>
              <a:gd name="connsiteX203" fmla="*/ 58387 w 2936679"/>
              <a:gd name="connsiteY203" fmla="*/ 590542 h 4218230"/>
              <a:gd name="connsiteX204" fmla="*/ 65262 w 2936679"/>
              <a:gd name="connsiteY204" fmla="*/ 564264 h 4218230"/>
              <a:gd name="connsiteX205" fmla="*/ 72578 w 2936679"/>
              <a:gd name="connsiteY205" fmla="*/ 538509 h 4218230"/>
              <a:gd name="connsiteX206" fmla="*/ 80341 w 2936679"/>
              <a:gd name="connsiteY206" fmla="*/ 513285 h 4218230"/>
              <a:gd name="connsiteX207" fmla="*/ 88562 w 2936679"/>
              <a:gd name="connsiteY207" fmla="*/ 488595 h 4218230"/>
              <a:gd name="connsiteX208" fmla="*/ 97248 w 2936679"/>
              <a:gd name="connsiteY208" fmla="*/ 464446 h 4218230"/>
              <a:gd name="connsiteX209" fmla="*/ 106408 w 2936679"/>
              <a:gd name="connsiteY209" fmla="*/ 440843 h 4218230"/>
              <a:gd name="connsiteX210" fmla="*/ 116050 w 2936679"/>
              <a:gd name="connsiteY210" fmla="*/ 417791 h 4218230"/>
              <a:gd name="connsiteX211" fmla="*/ 126183 w 2936679"/>
              <a:gd name="connsiteY211" fmla="*/ 395296 h 4218230"/>
              <a:gd name="connsiteX212" fmla="*/ 136816 w 2936679"/>
              <a:gd name="connsiteY212" fmla="*/ 373362 h 4218230"/>
              <a:gd name="connsiteX213" fmla="*/ 147957 w 2936679"/>
              <a:gd name="connsiteY213" fmla="*/ 351995 h 4218230"/>
              <a:gd name="connsiteX214" fmla="*/ 159614 w 2936679"/>
              <a:gd name="connsiteY214" fmla="*/ 331201 h 4218230"/>
              <a:gd name="connsiteX215" fmla="*/ 171796 w 2936679"/>
              <a:gd name="connsiteY215" fmla="*/ 310985 h 4218230"/>
              <a:gd name="connsiteX216" fmla="*/ 184512 w 2936679"/>
              <a:gd name="connsiteY216" fmla="*/ 291353 h 4218230"/>
              <a:gd name="connsiteX217" fmla="*/ 197770 w 2936679"/>
              <a:gd name="connsiteY217" fmla="*/ 272309 h 4218230"/>
              <a:gd name="connsiteX218" fmla="*/ 211578 w 2936679"/>
              <a:gd name="connsiteY218" fmla="*/ 253861 h 4218230"/>
              <a:gd name="connsiteX219" fmla="*/ 240881 w 2936679"/>
              <a:gd name="connsiteY219" fmla="*/ 218766 h 4218230"/>
              <a:gd name="connsiteX220" fmla="*/ 272488 w 2936679"/>
              <a:gd name="connsiteY220" fmla="*/ 186113 h 4218230"/>
              <a:gd name="connsiteX221" fmla="*/ 306468 w 2936679"/>
              <a:gd name="connsiteY221" fmla="*/ 155943 h 4218230"/>
              <a:gd name="connsiteX222" fmla="*/ 342888 w 2936679"/>
              <a:gd name="connsiteY222" fmla="*/ 128302 h 4218230"/>
              <a:gd name="connsiteX223" fmla="*/ 362035 w 2936679"/>
              <a:gd name="connsiteY223" fmla="*/ 115443 h 4218230"/>
              <a:gd name="connsiteX224" fmla="*/ 381817 w 2936679"/>
              <a:gd name="connsiteY224" fmla="*/ 103231 h 4218230"/>
              <a:gd name="connsiteX225" fmla="*/ 402244 w 2936679"/>
              <a:gd name="connsiteY225" fmla="*/ 91673 h 4218230"/>
              <a:gd name="connsiteX226" fmla="*/ 423324 w 2936679"/>
              <a:gd name="connsiteY226" fmla="*/ 80774 h 4218230"/>
              <a:gd name="connsiteX227" fmla="*/ 445065 w 2936679"/>
              <a:gd name="connsiteY227" fmla="*/ 70539 h 4218230"/>
              <a:gd name="connsiteX228" fmla="*/ 467475 w 2936679"/>
              <a:gd name="connsiteY228" fmla="*/ 60973 h 4218230"/>
              <a:gd name="connsiteX229" fmla="*/ 490564 w 2936679"/>
              <a:gd name="connsiteY229" fmla="*/ 52083 h 4218230"/>
              <a:gd name="connsiteX230" fmla="*/ 514339 w 2936679"/>
              <a:gd name="connsiteY230" fmla="*/ 43872 h 4218230"/>
              <a:gd name="connsiteX231" fmla="*/ 538810 w 2936679"/>
              <a:gd name="connsiteY231" fmla="*/ 36348 h 4218230"/>
              <a:gd name="connsiteX232" fmla="*/ 563985 w 2936679"/>
              <a:gd name="connsiteY232" fmla="*/ 29514 h 4218230"/>
              <a:gd name="connsiteX233" fmla="*/ 589872 w 2936679"/>
              <a:gd name="connsiteY233" fmla="*/ 23377 h 4218230"/>
              <a:gd name="connsiteX234" fmla="*/ 616480 w 2936679"/>
              <a:gd name="connsiteY234" fmla="*/ 17942 h 4218230"/>
              <a:gd name="connsiteX235" fmla="*/ 643818 w 2936679"/>
              <a:gd name="connsiteY235" fmla="*/ 13214 h 4218230"/>
              <a:gd name="connsiteX236" fmla="*/ 671893 w 2936679"/>
              <a:gd name="connsiteY236" fmla="*/ 9199 h 4218230"/>
              <a:gd name="connsiteX237" fmla="*/ 700715 w 2936679"/>
              <a:gd name="connsiteY237" fmla="*/ 5901 h 4218230"/>
              <a:gd name="connsiteX238" fmla="*/ 730292 w 2936679"/>
              <a:gd name="connsiteY238" fmla="*/ 3328 h 4218230"/>
              <a:gd name="connsiteX239" fmla="*/ 760633 w 2936679"/>
              <a:gd name="connsiteY239" fmla="*/ 1482 h 4218230"/>
              <a:gd name="connsiteX240" fmla="*/ 791744 w 2936679"/>
              <a:gd name="connsiteY240" fmla="*/ 371 h 4218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2936679" h="4218230">
                <a:moveTo>
                  <a:pt x="2328828" y="3048117"/>
                </a:moveTo>
                <a:lnTo>
                  <a:pt x="2444319" y="3048117"/>
                </a:lnTo>
                <a:lnTo>
                  <a:pt x="2441280" y="3561751"/>
                </a:lnTo>
                <a:lnTo>
                  <a:pt x="2878933" y="3303414"/>
                </a:lnTo>
                <a:lnTo>
                  <a:pt x="2936679" y="3397630"/>
                </a:lnTo>
                <a:lnTo>
                  <a:pt x="2495987" y="3649889"/>
                </a:lnTo>
                <a:lnTo>
                  <a:pt x="2936679" y="3896069"/>
                </a:lnTo>
                <a:lnTo>
                  <a:pt x="2878933" y="3990286"/>
                </a:lnTo>
                <a:lnTo>
                  <a:pt x="2441280" y="3731949"/>
                </a:lnTo>
                <a:lnTo>
                  <a:pt x="2444319" y="4218230"/>
                </a:lnTo>
                <a:lnTo>
                  <a:pt x="2328828" y="4218230"/>
                </a:lnTo>
                <a:lnTo>
                  <a:pt x="2334907" y="3731949"/>
                </a:lnTo>
                <a:lnTo>
                  <a:pt x="1897254" y="3990286"/>
                </a:lnTo>
                <a:lnTo>
                  <a:pt x="1836469" y="3896069"/>
                </a:lnTo>
                <a:lnTo>
                  <a:pt x="2283239" y="3649889"/>
                </a:lnTo>
                <a:lnTo>
                  <a:pt x="1836469" y="3397630"/>
                </a:lnTo>
                <a:lnTo>
                  <a:pt x="1897254" y="3303414"/>
                </a:lnTo>
                <a:lnTo>
                  <a:pt x="2334907" y="3561751"/>
                </a:lnTo>
                <a:close/>
                <a:moveTo>
                  <a:pt x="1134304" y="15545"/>
                </a:moveTo>
                <a:lnTo>
                  <a:pt x="1802941" y="15545"/>
                </a:lnTo>
                <a:lnTo>
                  <a:pt x="1802941" y="121525"/>
                </a:lnTo>
                <a:lnTo>
                  <a:pt x="1258915" y="121525"/>
                </a:lnTo>
                <a:lnTo>
                  <a:pt x="1258915" y="2254955"/>
                </a:lnTo>
                <a:lnTo>
                  <a:pt x="1802941" y="2254955"/>
                </a:lnTo>
                <a:lnTo>
                  <a:pt x="1802941" y="2361703"/>
                </a:lnTo>
                <a:lnTo>
                  <a:pt x="1134304" y="2361703"/>
                </a:lnTo>
                <a:lnTo>
                  <a:pt x="1134304" y="2254955"/>
                </a:lnTo>
                <a:lnTo>
                  <a:pt x="1134304" y="121525"/>
                </a:lnTo>
                <a:close/>
                <a:moveTo>
                  <a:pt x="823637" y="0"/>
                </a:moveTo>
                <a:lnTo>
                  <a:pt x="823637" y="106373"/>
                </a:lnTo>
                <a:lnTo>
                  <a:pt x="792508" y="106798"/>
                </a:lnTo>
                <a:lnTo>
                  <a:pt x="762262" y="108067"/>
                </a:lnTo>
                <a:lnTo>
                  <a:pt x="732886" y="110173"/>
                </a:lnTo>
                <a:lnTo>
                  <a:pt x="704371" y="113111"/>
                </a:lnTo>
                <a:lnTo>
                  <a:pt x="676705" y="116875"/>
                </a:lnTo>
                <a:lnTo>
                  <a:pt x="649874" y="121457"/>
                </a:lnTo>
                <a:lnTo>
                  <a:pt x="623870" y="126853"/>
                </a:lnTo>
                <a:lnTo>
                  <a:pt x="598680" y="133056"/>
                </a:lnTo>
                <a:lnTo>
                  <a:pt x="574292" y="140058"/>
                </a:lnTo>
                <a:lnTo>
                  <a:pt x="550695" y="147856"/>
                </a:lnTo>
                <a:lnTo>
                  <a:pt x="527878" y="156441"/>
                </a:lnTo>
                <a:lnTo>
                  <a:pt x="505829" y="165808"/>
                </a:lnTo>
                <a:lnTo>
                  <a:pt x="484537" y="175950"/>
                </a:lnTo>
                <a:lnTo>
                  <a:pt x="463989" y="186862"/>
                </a:lnTo>
                <a:lnTo>
                  <a:pt x="425085" y="210967"/>
                </a:lnTo>
                <a:lnTo>
                  <a:pt x="389024" y="238075"/>
                </a:lnTo>
                <a:lnTo>
                  <a:pt x="355715" y="268133"/>
                </a:lnTo>
                <a:lnTo>
                  <a:pt x="325065" y="301094"/>
                </a:lnTo>
                <a:lnTo>
                  <a:pt x="296984" y="336907"/>
                </a:lnTo>
                <a:lnTo>
                  <a:pt x="283877" y="355867"/>
                </a:lnTo>
                <a:lnTo>
                  <a:pt x="271379" y="375521"/>
                </a:lnTo>
                <a:lnTo>
                  <a:pt x="259476" y="395862"/>
                </a:lnTo>
                <a:lnTo>
                  <a:pt x="248158" y="416886"/>
                </a:lnTo>
                <a:lnTo>
                  <a:pt x="237414" y="438585"/>
                </a:lnTo>
                <a:lnTo>
                  <a:pt x="227231" y="460953"/>
                </a:lnTo>
                <a:lnTo>
                  <a:pt x="217598" y="483984"/>
                </a:lnTo>
                <a:lnTo>
                  <a:pt x="208505" y="507672"/>
                </a:lnTo>
                <a:lnTo>
                  <a:pt x="199938" y="532010"/>
                </a:lnTo>
                <a:lnTo>
                  <a:pt x="191888" y="556992"/>
                </a:lnTo>
                <a:lnTo>
                  <a:pt x="184343" y="582612"/>
                </a:lnTo>
                <a:lnTo>
                  <a:pt x="177289" y="608864"/>
                </a:lnTo>
                <a:lnTo>
                  <a:pt x="170718" y="635740"/>
                </a:lnTo>
                <a:lnTo>
                  <a:pt x="164617" y="663237"/>
                </a:lnTo>
                <a:lnTo>
                  <a:pt x="158974" y="691346"/>
                </a:lnTo>
                <a:lnTo>
                  <a:pt x="153778" y="720061"/>
                </a:lnTo>
                <a:lnTo>
                  <a:pt x="149019" y="749377"/>
                </a:lnTo>
                <a:lnTo>
                  <a:pt x="144683" y="779287"/>
                </a:lnTo>
                <a:lnTo>
                  <a:pt x="140760" y="809785"/>
                </a:lnTo>
                <a:lnTo>
                  <a:pt x="137239" y="840864"/>
                </a:lnTo>
                <a:lnTo>
                  <a:pt x="134107" y="872519"/>
                </a:lnTo>
                <a:lnTo>
                  <a:pt x="131353" y="904742"/>
                </a:lnTo>
                <a:lnTo>
                  <a:pt x="128967" y="937529"/>
                </a:lnTo>
                <a:lnTo>
                  <a:pt x="126936" y="970872"/>
                </a:lnTo>
                <a:lnTo>
                  <a:pt x="125248" y="1004766"/>
                </a:lnTo>
                <a:lnTo>
                  <a:pt x="123893" y="1039204"/>
                </a:lnTo>
                <a:lnTo>
                  <a:pt x="122859" y="1074179"/>
                </a:lnTo>
                <a:lnTo>
                  <a:pt x="122136" y="1109686"/>
                </a:lnTo>
                <a:lnTo>
                  <a:pt x="121709" y="1145718"/>
                </a:lnTo>
                <a:lnTo>
                  <a:pt x="121570" y="1182269"/>
                </a:lnTo>
                <a:lnTo>
                  <a:pt x="121698" y="1218646"/>
                </a:lnTo>
                <a:lnTo>
                  <a:pt x="122091" y="1254499"/>
                </a:lnTo>
                <a:lnTo>
                  <a:pt x="122761" y="1289823"/>
                </a:lnTo>
                <a:lnTo>
                  <a:pt x="123718" y="1324612"/>
                </a:lnTo>
                <a:lnTo>
                  <a:pt x="124975" y="1358861"/>
                </a:lnTo>
                <a:lnTo>
                  <a:pt x="126541" y="1392565"/>
                </a:lnTo>
                <a:lnTo>
                  <a:pt x="128431" y="1425718"/>
                </a:lnTo>
                <a:lnTo>
                  <a:pt x="130654" y="1458315"/>
                </a:lnTo>
                <a:lnTo>
                  <a:pt x="133222" y="1490351"/>
                </a:lnTo>
                <a:lnTo>
                  <a:pt x="136147" y="1521821"/>
                </a:lnTo>
                <a:lnTo>
                  <a:pt x="139441" y="1552717"/>
                </a:lnTo>
                <a:lnTo>
                  <a:pt x="143114" y="1583037"/>
                </a:lnTo>
                <a:lnTo>
                  <a:pt x="147178" y="1612774"/>
                </a:lnTo>
                <a:lnTo>
                  <a:pt x="151646" y="1641922"/>
                </a:lnTo>
                <a:lnTo>
                  <a:pt x="156527" y="1670477"/>
                </a:lnTo>
                <a:lnTo>
                  <a:pt x="161834" y="1698433"/>
                </a:lnTo>
                <a:lnTo>
                  <a:pt x="167579" y="1725784"/>
                </a:lnTo>
                <a:lnTo>
                  <a:pt x="173772" y="1752526"/>
                </a:lnTo>
                <a:lnTo>
                  <a:pt x="180426" y="1778652"/>
                </a:lnTo>
                <a:lnTo>
                  <a:pt x="187552" y="1804159"/>
                </a:lnTo>
                <a:lnTo>
                  <a:pt x="195161" y="1829038"/>
                </a:lnTo>
                <a:lnTo>
                  <a:pt x="203265" y="1853288"/>
                </a:lnTo>
                <a:lnTo>
                  <a:pt x="211875" y="1876900"/>
                </a:lnTo>
                <a:lnTo>
                  <a:pt x="221003" y="1899870"/>
                </a:lnTo>
                <a:lnTo>
                  <a:pt x="230661" y="1922194"/>
                </a:lnTo>
                <a:lnTo>
                  <a:pt x="240859" y="1943864"/>
                </a:lnTo>
                <a:lnTo>
                  <a:pt x="251610" y="1964877"/>
                </a:lnTo>
                <a:lnTo>
                  <a:pt x="262925" y="1985225"/>
                </a:lnTo>
                <a:lnTo>
                  <a:pt x="287293" y="2023912"/>
                </a:lnTo>
                <a:lnTo>
                  <a:pt x="314054" y="2059880"/>
                </a:lnTo>
                <a:lnTo>
                  <a:pt x="343301" y="2093086"/>
                </a:lnTo>
                <a:lnTo>
                  <a:pt x="375125" y="2123489"/>
                </a:lnTo>
                <a:lnTo>
                  <a:pt x="409620" y="2151045"/>
                </a:lnTo>
                <a:lnTo>
                  <a:pt x="446877" y="2175710"/>
                </a:lnTo>
                <a:lnTo>
                  <a:pt x="486988" y="2197442"/>
                </a:lnTo>
                <a:lnTo>
                  <a:pt x="508143" y="2207196"/>
                </a:lnTo>
                <a:lnTo>
                  <a:pt x="530045" y="2216199"/>
                </a:lnTo>
                <a:lnTo>
                  <a:pt x="552708" y="2224448"/>
                </a:lnTo>
                <a:lnTo>
                  <a:pt x="576141" y="2231937"/>
                </a:lnTo>
                <a:lnTo>
                  <a:pt x="600357" y="2238660"/>
                </a:lnTo>
                <a:lnTo>
                  <a:pt x="625366" y="2244612"/>
                </a:lnTo>
                <a:lnTo>
                  <a:pt x="651182" y="2249788"/>
                </a:lnTo>
                <a:lnTo>
                  <a:pt x="677815" y="2254182"/>
                </a:lnTo>
                <a:lnTo>
                  <a:pt x="705276" y="2257790"/>
                </a:lnTo>
                <a:lnTo>
                  <a:pt x="733577" y="2260606"/>
                </a:lnTo>
                <a:lnTo>
                  <a:pt x="762730" y="2262623"/>
                </a:lnTo>
                <a:lnTo>
                  <a:pt x="792746" y="2263838"/>
                </a:lnTo>
                <a:lnTo>
                  <a:pt x="823637" y="2264243"/>
                </a:lnTo>
                <a:lnTo>
                  <a:pt x="823637" y="2370617"/>
                </a:lnTo>
                <a:lnTo>
                  <a:pt x="791600" y="2370244"/>
                </a:lnTo>
                <a:lnTo>
                  <a:pt x="760353" y="2369125"/>
                </a:lnTo>
                <a:lnTo>
                  <a:pt x="729886" y="2367268"/>
                </a:lnTo>
                <a:lnTo>
                  <a:pt x="700193" y="2364677"/>
                </a:lnTo>
                <a:lnTo>
                  <a:pt x="671263" y="2361359"/>
                </a:lnTo>
                <a:lnTo>
                  <a:pt x="643089" y="2357318"/>
                </a:lnTo>
                <a:lnTo>
                  <a:pt x="615660" y="2352559"/>
                </a:lnTo>
                <a:lnTo>
                  <a:pt x="588969" y="2347090"/>
                </a:lnTo>
                <a:lnTo>
                  <a:pt x="563008" y="2340914"/>
                </a:lnTo>
                <a:lnTo>
                  <a:pt x="537765" y="2334038"/>
                </a:lnTo>
                <a:lnTo>
                  <a:pt x="513235" y="2326466"/>
                </a:lnTo>
                <a:lnTo>
                  <a:pt x="489406" y="2318205"/>
                </a:lnTo>
                <a:lnTo>
                  <a:pt x="466271" y="2309259"/>
                </a:lnTo>
                <a:lnTo>
                  <a:pt x="443822" y="2299635"/>
                </a:lnTo>
                <a:lnTo>
                  <a:pt x="422048" y="2289337"/>
                </a:lnTo>
                <a:lnTo>
                  <a:pt x="400942" y="2278372"/>
                </a:lnTo>
                <a:lnTo>
                  <a:pt x="380496" y="2266743"/>
                </a:lnTo>
                <a:lnTo>
                  <a:pt x="360698" y="2254459"/>
                </a:lnTo>
                <a:lnTo>
                  <a:pt x="341542" y="2241522"/>
                </a:lnTo>
                <a:lnTo>
                  <a:pt x="305118" y="2213717"/>
                </a:lnTo>
                <a:lnTo>
                  <a:pt x="271154" y="2183372"/>
                </a:lnTo>
                <a:lnTo>
                  <a:pt x="239580" y="2150529"/>
                </a:lnTo>
                <a:lnTo>
                  <a:pt x="210325" y="2115234"/>
                </a:lnTo>
                <a:lnTo>
                  <a:pt x="196545" y="2096680"/>
                </a:lnTo>
                <a:lnTo>
                  <a:pt x="183319" y="2077530"/>
                </a:lnTo>
                <a:lnTo>
                  <a:pt x="170638" y="2057787"/>
                </a:lnTo>
                <a:lnTo>
                  <a:pt x="158493" y="2037460"/>
                </a:lnTo>
                <a:lnTo>
                  <a:pt x="146876" y="2016551"/>
                </a:lnTo>
                <a:lnTo>
                  <a:pt x="135777" y="1995068"/>
                </a:lnTo>
                <a:lnTo>
                  <a:pt x="125187" y="1973015"/>
                </a:lnTo>
                <a:lnTo>
                  <a:pt x="115100" y="1950398"/>
                </a:lnTo>
                <a:lnTo>
                  <a:pt x="105504" y="1927223"/>
                </a:lnTo>
                <a:lnTo>
                  <a:pt x="96391" y="1903494"/>
                </a:lnTo>
                <a:lnTo>
                  <a:pt x="87754" y="1879218"/>
                </a:lnTo>
                <a:lnTo>
                  <a:pt x="79583" y="1854399"/>
                </a:lnTo>
                <a:lnTo>
                  <a:pt x="71869" y="1829044"/>
                </a:lnTo>
                <a:lnTo>
                  <a:pt x="64603" y="1803157"/>
                </a:lnTo>
                <a:lnTo>
                  <a:pt x="57778" y="1776745"/>
                </a:lnTo>
                <a:lnTo>
                  <a:pt x="51383" y="1749812"/>
                </a:lnTo>
                <a:lnTo>
                  <a:pt x="45410" y="1722365"/>
                </a:lnTo>
                <a:lnTo>
                  <a:pt x="39852" y="1694407"/>
                </a:lnTo>
                <a:lnTo>
                  <a:pt x="34697" y="1665946"/>
                </a:lnTo>
                <a:lnTo>
                  <a:pt x="29939" y="1636987"/>
                </a:lnTo>
                <a:lnTo>
                  <a:pt x="25568" y="1607534"/>
                </a:lnTo>
                <a:lnTo>
                  <a:pt x="21576" y="1577594"/>
                </a:lnTo>
                <a:lnTo>
                  <a:pt x="17953" y="1547172"/>
                </a:lnTo>
                <a:lnTo>
                  <a:pt x="14691" y="1516273"/>
                </a:lnTo>
                <a:lnTo>
                  <a:pt x="11781" y="1484902"/>
                </a:lnTo>
                <a:lnTo>
                  <a:pt x="9216" y="1453067"/>
                </a:lnTo>
                <a:lnTo>
                  <a:pt x="6984" y="1420771"/>
                </a:lnTo>
                <a:lnTo>
                  <a:pt x="5078" y="1388020"/>
                </a:lnTo>
                <a:lnTo>
                  <a:pt x="3490" y="1354819"/>
                </a:lnTo>
                <a:lnTo>
                  <a:pt x="2210" y="1321175"/>
                </a:lnTo>
                <a:lnTo>
                  <a:pt x="1230" y="1287093"/>
                </a:lnTo>
                <a:lnTo>
                  <a:pt x="541" y="1252577"/>
                </a:lnTo>
                <a:lnTo>
                  <a:pt x="134" y="1217634"/>
                </a:lnTo>
                <a:lnTo>
                  <a:pt x="0" y="1182269"/>
                </a:lnTo>
                <a:lnTo>
                  <a:pt x="136" y="1147054"/>
                </a:lnTo>
                <a:lnTo>
                  <a:pt x="550" y="1112260"/>
                </a:lnTo>
                <a:lnTo>
                  <a:pt x="1251" y="1077894"/>
                </a:lnTo>
                <a:lnTo>
                  <a:pt x="2247" y="1043960"/>
                </a:lnTo>
                <a:lnTo>
                  <a:pt x="3547" y="1010465"/>
                </a:lnTo>
                <a:lnTo>
                  <a:pt x="5158" y="977413"/>
                </a:lnTo>
                <a:lnTo>
                  <a:pt x="7090" y="944809"/>
                </a:lnTo>
                <a:lnTo>
                  <a:pt x="9352" y="912661"/>
                </a:lnTo>
                <a:lnTo>
                  <a:pt x="11951" y="880972"/>
                </a:lnTo>
                <a:lnTo>
                  <a:pt x="14896" y="849747"/>
                </a:lnTo>
                <a:lnTo>
                  <a:pt x="18196" y="818993"/>
                </a:lnTo>
                <a:lnTo>
                  <a:pt x="21859" y="788715"/>
                </a:lnTo>
                <a:lnTo>
                  <a:pt x="25894" y="758918"/>
                </a:lnTo>
                <a:lnTo>
                  <a:pt x="30309" y="729608"/>
                </a:lnTo>
                <a:lnTo>
                  <a:pt x="35113" y="700789"/>
                </a:lnTo>
                <a:lnTo>
                  <a:pt x="40314" y="672468"/>
                </a:lnTo>
                <a:lnTo>
                  <a:pt x="45921" y="644649"/>
                </a:lnTo>
                <a:lnTo>
                  <a:pt x="51943" y="617338"/>
                </a:lnTo>
                <a:lnTo>
                  <a:pt x="58387" y="590542"/>
                </a:lnTo>
                <a:lnTo>
                  <a:pt x="65262" y="564264"/>
                </a:lnTo>
                <a:lnTo>
                  <a:pt x="72578" y="538509"/>
                </a:lnTo>
                <a:lnTo>
                  <a:pt x="80341" y="513285"/>
                </a:lnTo>
                <a:lnTo>
                  <a:pt x="88562" y="488595"/>
                </a:lnTo>
                <a:lnTo>
                  <a:pt x="97248" y="464446"/>
                </a:lnTo>
                <a:lnTo>
                  <a:pt x="106408" y="440843"/>
                </a:lnTo>
                <a:lnTo>
                  <a:pt x="116050" y="417791"/>
                </a:lnTo>
                <a:lnTo>
                  <a:pt x="126183" y="395296"/>
                </a:lnTo>
                <a:lnTo>
                  <a:pt x="136816" y="373362"/>
                </a:lnTo>
                <a:lnTo>
                  <a:pt x="147957" y="351995"/>
                </a:lnTo>
                <a:lnTo>
                  <a:pt x="159614" y="331201"/>
                </a:lnTo>
                <a:lnTo>
                  <a:pt x="171796" y="310985"/>
                </a:lnTo>
                <a:lnTo>
                  <a:pt x="184512" y="291353"/>
                </a:lnTo>
                <a:lnTo>
                  <a:pt x="197770" y="272309"/>
                </a:lnTo>
                <a:lnTo>
                  <a:pt x="211578" y="253861"/>
                </a:lnTo>
                <a:lnTo>
                  <a:pt x="240881" y="218766"/>
                </a:lnTo>
                <a:lnTo>
                  <a:pt x="272488" y="186113"/>
                </a:lnTo>
                <a:lnTo>
                  <a:pt x="306468" y="155943"/>
                </a:lnTo>
                <a:lnTo>
                  <a:pt x="342888" y="128302"/>
                </a:lnTo>
                <a:lnTo>
                  <a:pt x="362035" y="115443"/>
                </a:lnTo>
                <a:lnTo>
                  <a:pt x="381817" y="103231"/>
                </a:lnTo>
                <a:lnTo>
                  <a:pt x="402244" y="91673"/>
                </a:lnTo>
                <a:lnTo>
                  <a:pt x="423324" y="80774"/>
                </a:lnTo>
                <a:lnTo>
                  <a:pt x="445065" y="70539"/>
                </a:lnTo>
                <a:lnTo>
                  <a:pt x="467475" y="60973"/>
                </a:lnTo>
                <a:lnTo>
                  <a:pt x="490564" y="52083"/>
                </a:lnTo>
                <a:lnTo>
                  <a:pt x="514339" y="43872"/>
                </a:lnTo>
                <a:lnTo>
                  <a:pt x="538810" y="36348"/>
                </a:lnTo>
                <a:lnTo>
                  <a:pt x="563985" y="29514"/>
                </a:lnTo>
                <a:lnTo>
                  <a:pt x="589872" y="23377"/>
                </a:lnTo>
                <a:lnTo>
                  <a:pt x="616480" y="17942"/>
                </a:lnTo>
                <a:lnTo>
                  <a:pt x="643818" y="13214"/>
                </a:lnTo>
                <a:lnTo>
                  <a:pt x="671893" y="9199"/>
                </a:lnTo>
                <a:lnTo>
                  <a:pt x="700715" y="5901"/>
                </a:lnTo>
                <a:lnTo>
                  <a:pt x="730292" y="3328"/>
                </a:lnTo>
                <a:lnTo>
                  <a:pt x="760633" y="1482"/>
                </a:lnTo>
                <a:lnTo>
                  <a:pt x="791744" y="371"/>
                </a:lnTo>
                <a:close/>
              </a:path>
            </a:pathLst>
          </a:custGeom>
          <a:solidFill>
            <a:srgbClr val="4C61D1"/>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dirty="0"/>
              <a:t>.</a:t>
            </a:r>
          </a:p>
        </p:txBody>
      </p:sp>
      <p:sp>
        <p:nvSpPr>
          <p:cNvPr id="18" name="Pladsholder til dato 17">
            <a:extLst>
              <a:ext uri="{FF2B5EF4-FFF2-40B4-BE49-F238E27FC236}">
                <a16:creationId xmlns:a16="http://schemas.microsoft.com/office/drawing/2014/main" id="{CD90634D-8101-F6C4-83E7-B23E68904390}"/>
              </a:ext>
            </a:extLst>
          </p:cNvPr>
          <p:cNvSpPr>
            <a:spLocks noGrp="1"/>
          </p:cNvSpPr>
          <p:nvPr>
            <p:ph type="dt" sz="half" idx="20"/>
          </p:nvPr>
        </p:nvSpPr>
        <p:spPr/>
        <p:txBody>
          <a:bodyPr/>
          <a:lstStyle/>
          <a:p>
            <a:fld id="{2A9E7E65-270D-4F3F-848C-98E95A93B5E1}" type="datetime2">
              <a:rPr lang="da-DK" smtClean="0"/>
              <a:t>11. december 2025</a:t>
            </a:fld>
            <a:endParaRPr lang="da-DK" dirty="0"/>
          </a:p>
        </p:txBody>
      </p:sp>
      <p:sp>
        <p:nvSpPr>
          <p:cNvPr id="19" name="Pladsholder til sidefod 18">
            <a:extLst>
              <a:ext uri="{FF2B5EF4-FFF2-40B4-BE49-F238E27FC236}">
                <a16:creationId xmlns:a16="http://schemas.microsoft.com/office/drawing/2014/main" id="{FAD3D5B6-58B2-9664-F0BC-1DEF32B0772B}"/>
              </a:ext>
            </a:extLst>
          </p:cNvPr>
          <p:cNvSpPr>
            <a:spLocks noGrp="1"/>
          </p:cNvSpPr>
          <p:nvPr>
            <p:ph type="ftr" sz="quarter" idx="21"/>
          </p:nvPr>
        </p:nvSpPr>
        <p:spPr/>
        <p:txBody>
          <a:bodyPr/>
          <a:lstStyle/>
          <a:p>
            <a:r>
              <a:rPr lang="da-DK" dirty="0"/>
              <a:t>Digitaliseringsstyrelsen</a:t>
            </a:r>
          </a:p>
        </p:txBody>
      </p:sp>
      <p:sp>
        <p:nvSpPr>
          <p:cNvPr id="20" name="Pladsholder til slidenummer 19">
            <a:extLst>
              <a:ext uri="{FF2B5EF4-FFF2-40B4-BE49-F238E27FC236}">
                <a16:creationId xmlns:a16="http://schemas.microsoft.com/office/drawing/2014/main" id="{DFAA6004-F3B1-3667-5F85-60651A0B7444}"/>
              </a:ext>
            </a:extLst>
          </p:cNvPr>
          <p:cNvSpPr>
            <a:spLocks noGrp="1"/>
          </p:cNvSpPr>
          <p:nvPr>
            <p:ph type="sldNum" sz="quarter" idx="22"/>
          </p:nvPr>
        </p:nvSpPr>
        <p:spPr/>
        <p:txBody>
          <a:bodyPr/>
          <a:lstStyle/>
          <a:p>
            <a:fld id="{24C8C45C-947F-4981-8B3F-4F32E973C901}" type="slidenum">
              <a:rPr lang="da-DK" smtClean="0"/>
              <a:pPr/>
              <a:t>‹nr.›</a:t>
            </a:fld>
            <a:endParaRPr lang="da-DK" dirty="0"/>
          </a:p>
        </p:txBody>
      </p:sp>
      <p:sp>
        <p:nvSpPr>
          <p:cNvPr id="2" name="TextBox 1">
            <a:extLst>
              <a:ext uri="{FF2B5EF4-FFF2-40B4-BE49-F238E27FC236}">
                <a16:creationId xmlns:a16="http://schemas.microsoft.com/office/drawing/2014/main" id="{78EFF3B7-EA0F-478E-89B8-57AF807C2C3D}"/>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n, klik på Fyldfarve til figur, vælg farve fra Brugerdefinerede farvers anden række. </a:t>
            </a:r>
          </a:p>
        </p:txBody>
      </p:sp>
    </p:spTree>
    <p:extLst>
      <p:ext uri="{BB962C8B-B14F-4D97-AF65-F5344CB8AC3E}">
        <p14:creationId xmlns:p14="http://schemas.microsoft.com/office/powerpoint/2010/main" val="1914253318"/>
      </p:ext>
    </p:extLst>
  </p:cSld>
  <p:clrMapOvr>
    <a:masterClrMapping/>
  </p:clrMapOvr>
  <p:extLst>
    <p:ext uri="{DCECCB84-F9BA-43D5-87BE-67443E8EF086}">
      <p15:sldGuideLst xmlns:p15="http://schemas.microsoft.com/office/powerpoint/2012/main">
        <p15:guide id="1" orient="horz" pos="566">
          <p15:clr>
            <a:srgbClr val="A4A3A4"/>
          </p15:clr>
        </p15:guide>
        <p15:guide id="2" orient="horz" pos="1201">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el og et indhold">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83349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dirty="0"/>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405000" y="1431000"/>
            <a:ext cx="8334900" cy="31725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 Niveau</a:t>
            </a:r>
          </a:p>
          <a:p>
            <a:pPr lvl="6"/>
            <a:r>
              <a:rPr lang="da-DK" noProof="0" dirty="0"/>
              <a:t>7 Niveau</a:t>
            </a:r>
          </a:p>
          <a:p>
            <a:pPr lvl="7"/>
            <a:r>
              <a:rPr lang="da-DK" noProof="0" dirty="0"/>
              <a:t>8 Niveau</a:t>
            </a:r>
          </a:p>
          <a:p>
            <a:pPr lvl="8"/>
            <a:r>
              <a:rPr lang="da-DK" noProof="0" dirty="0"/>
              <a:t>9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41969349-67F1-41F8-83EC-133BBA9F9E3B}" type="datetime2">
              <a:rPr lang="da-DK" smtClean="0"/>
              <a:t>11. december 2025</a:t>
            </a:fld>
            <a:endParaRPr lang="da-DK" dirty="0"/>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dirty="0"/>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680203205"/>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el og to indhold">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83349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dirty="0"/>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405000" y="1431000"/>
            <a:ext cx="4097306" cy="31725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 Niveau</a:t>
            </a:r>
          </a:p>
          <a:p>
            <a:pPr lvl="6"/>
            <a:r>
              <a:rPr lang="da-DK" noProof="0" dirty="0"/>
              <a:t>7 Niveau</a:t>
            </a:r>
          </a:p>
          <a:p>
            <a:pPr lvl="7"/>
            <a:r>
              <a:rPr lang="da-DK" noProof="0" dirty="0"/>
              <a:t>8 Niveau</a:t>
            </a:r>
          </a:p>
          <a:p>
            <a:pPr lvl="8"/>
            <a:r>
              <a:rPr lang="da-DK" noProof="0" dirty="0"/>
              <a:t>9 Niveau</a:t>
            </a:r>
          </a:p>
        </p:txBody>
      </p:sp>
      <p:sp>
        <p:nvSpPr>
          <p:cNvPr id="2" name="Content Placeholder 3">
            <a:extLst>
              <a:ext uri="{FF2B5EF4-FFF2-40B4-BE49-F238E27FC236}">
                <a16:creationId xmlns:a16="http://schemas.microsoft.com/office/drawing/2014/main" id="{B40077F1-D271-DC8F-912A-2105F80A1015}"/>
              </a:ext>
            </a:extLst>
          </p:cNvPr>
          <p:cNvSpPr>
            <a:spLocks noGrp="1"/>
          </p:cNvSpPr>
          <p:nvPr>
            <p:ph sz="half" idx="2" hasCustomPrompt="1"/>
          </p:nvPr>
        </p:nvSpPr>
        <p:spPr>
          <a:xfrm>
            <a:off x="4639500" y="1431000"/>
            <a:ext cx="4097306" cy="3172500"/>
          </a:xfrm>
        </p:spPr>
        <p:txBody>
          <a:bodyPr/>
          <a:lstStyle>
            <a:lvl1pPr>
              <a:defRPr/>
            </a:lvl1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 Niveau</a:t>
            </a:r>
          </a:p>
          <a:p>
            <a:pPr lvl="6"/>
            <a:r>
              <a:rPr lang="da-DK" noProof="0" dirty="0"/>
              <a:t>7 Niveau</a:t>
            </a:r>
          </a:p>
          <a:p>
            <a:pPr lvl="7"/>
            <a:r>
              <a:rPr lang="da-DK" noProof="0" dirty="0"/>
              <a:t>8 Niveau</a:t>
            </a:r>
          </a:p>
          <a:p>
            <a:pPr lvl="8"/>
            <a:r>
              <a:rPr lang="da-DK" noProof="0" dirty="0"/>
              <a:t>9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49E4CC4B-14E8-420D-9FEA-FB5E3520C699}" type="datetime2">
              <a:rPr lang="da-DK" smtClean="0"/>
              <a:t>11. december 2025</a:t>
            </a:fld>
            <a:endParaRPr lang="da-DK" dirty="0"/>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dirty="0"/>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668955793"/>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el og tre indhold">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83349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dirty="0"/>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405000" y="1431000"/>
            <a:ext cx="2686500" cy="31725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 Niveau</a:t>
            </a:r>
          </a:p>
          <a:p>
            <a:pPr lvl="6"/>
            <a:r>
              <a:rPr lang="da-DK" noProof="0" dirty="0"/>
              <a:t>7 Niveau</a:t>
            </a:r>
          </a:p>
          <a:p>
            <a:pPr lvl="7"/>
            <a:r>
              <a:rPr lang="da-DK" noProof="0" dirty="0"/>
              <a:t>8 Niveau</a:t>
            </a:r>
          </a:p>
        </p:txBody>
      </p:sp>
      <p:sp>
        <p:nvSpPr>
          <p:cNvPr id="2" name="Content Placeholder 3">
            <a:extLst>
              <a:ext uri="{FF2B5EF4-FFF2-40B4-BE49-F238E27FC236}">
                <a16:creationId xmlns:a16="http://schemas.microsoft.com/office/drawing/2014/main" id="{B40077F1-D271-DC8F-912A-2105F80A1015}"/>
              </a:ext>
            </a:extLst>
          </p:cNvPr>
          <p:cNvSpPr>
            <a:spLocks noGrp="1"/>
          </p:cNvSpPr>
          <p:nvPr>
            <p:ph sz="half" idx="2" hasCustomPrompt="1"/>
          </p:nvPr>
        </p:nvSpPr>
        <p:spPr>
          <a:xfrm>
            <a:off x="3227785" y="1431000"/>
            <a:ext cx="2686500" cy="3172500"/>
          </a:xfrm>
        </p:spPr>
        <p:txBody>
          <a:bodyPr/>
          <a:lstStyle>
            <a:lvl1pPr>
              <a:defRPr/>
            </a:lvl1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 Niveau</a:t>
            </a:r>
          </a:p>
          <a:p>
            <a:pPr lvl="6"/>
            <a:r>
              <a:rPr lang="da-DK" noProof="0" dirty="0"/>
              <a:t>7 Niveau</a:t>
            </a:r>
          </a:p>
          <a:p>
            <a:pPr lvl="7"/>
            <a:r>
              <a:rPr lang="da-DK" noProof="0" dirty="0"/>
              <a:t>8 Niveau</a:t>
            </a:r>
          </a:p>
        </p:txBody>
      </p:sp>
      <p:sp>
        <p:nvSpPr>
          <p:cNvPr id="8" name="Content Placeholder 4">
            <a:extLst>
              <a:ext uri="{FF2B5EF4-FFF2-40B4-BE49-F238E27FC236}">
                <a16:creationId xmlns:a16="http://schemas.microsoft.com/office/drawing/2014/main" id="{413F396F-50A0-F9A2-43DA-C2F0171D12AA}"/>
              </a:ext>
            </a:extLst>
          </p:cNvPr>
          <p:cNvSpPr>
            <a:spLocks noGrp="1"/>
          </p:cNvSpPr>
          <p:nvPr>
            <p:ph sz="half" idx="14" hasCustomPrompt="1"/>
          </p:nvPr>
        </p:nvSpPr>
        <p:spPr>
          <a:xfrm>
            <a:off x="6050756" y="1431000"/>
            <a:ext cx="2686500" cy="3172500"/>
          </a:xfrm>
        </p:spPr>
        <p:txBody>
          <a:bodyPr/>
          <a:lstStyle>
            <a:lvl1pPr>
              <a:defRPr/>
            </a:lvl1pPr>
            <a:lvl5pPr>
              <a:defRPr/>
            </a:lvl5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 Niveau</a:t>
            </a:r>
          </a:p>
          <a:p>
            <a:pPr lvl="6"/>
            <a:r>
              <a:rPr lang="da-DK" noProof="0" dirty="0"/>
              <a:t>7 Niveau</a:t>
            </a:r>
          </a:p>
          <a:p>
            <a:pPr lvl="7"/>
            <a:r>
              <a:rPr lang="da-DK" noProof="0" dirty="0"/>
              <a:t>8 Niveau</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1F1698FC-AA98-48BA-82F3-6D983747A4E6}" type="datetime2">
              <a:rPr lang="da-DK" smtClean="0"/>
              <a:t>11. december 2025</a:t>
            </a:fld>
            <a:endParaRPr lang="da-DK" dirty="0"/>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dirty="0"/>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929912653"/>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235BF3A8-2E3F-512B-39C1-DE92E2EDD9AA}"/>
              </a:ext>
            </a:extLst>
          </p:cNvPr>
          <p:cNvSpPr>
            <a:spLocks noGrp="1"/>
          </p:cNvSpPr>
          <p:nvPr>
            <p:ph type="subTitle" idx="13" hasCustomPrompt="1"/>
          </p:nvPr>
        </p:nvSpPr>
        <p:spPr>
          <a:xfrm>
            <a:off x="405000" y="270000"/>
            <a:ext cx="4098600" cy="337548"/>
          </a:xfrm>
        </p:spPr>
        <p:txBody>
          <a:bodyPr anchor="b" anchorCtr="0"/>
          <a:lstStyle>
            <a:lvl1pPr marL="0" indent="0" algn="l">
              <a:spcBef>
                <a:spcPts val="0"/>
              </a:spcBef>
              <a:buFont typeface="Arial" panose="020B0604020202020204" pitchFamily="34" charset="0"/>
              <a:buNone/>
              <a:defRPr sz="12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dirty="0"/>
              <a:t>Klik for at tilføje sektionstitel</a:t>
            </a:r>
          </a:p>
        </p:txBody>
      </p:sp>
      <p:sp>
        <p:nvSpPr>
          <p:cNvPr id="7" name="Titel 6">
            <a:extLst>
              <a:ext uri="{FF2B5EF4-FFF2-40B4-BE49-F238E27FC236}">
                <a16:creationId xmlns:a16="http://schemas.microsoft.com/office/drawing/2014/main" id="{65DF590C-C7E0-D865-71EC-36FFE2181F28}"/>
              </a:ext>
            </a:extLst>
          </p:cNvPr>
          <p:cNvSpPr>
            <a:spLocks noGrp="1"/>
          </p:cNvSpPr>
          <p:nvPr>
            <p:ph type="title" hasCustomPrompt="1"/>
          </p:nvPr>
        </p:nvSpPr>
        <p:spPr>
          <a:xfrm>
            <a:off x="405000" y="675000"/>
            <a:ext cx="4098600" cy="621000"/>
          </a:xfrm>
        </p:spPr>
        <p:txBody>
          <a:bodyPr/>
          <a:lstStyle/>
          <a:p>
            <a:r>
              <a:rPr lang="da-DK" dirty="0"/>
              <a:t>Klik for at tilføje titel</a:t>
            </a:r>
          </a:p>
        </p:txBody>
      </p:sp>
      <p:sp>
        <p:nvSpPr>
          <p:cNvPr id="3" name="Content Placeholder 2"/>
          <p:cNvSpPr>
            <a:spLocks noGrp="1"/>
          </p:cNvSpPr>
          <p:nvPr>
            <p:ph idx="1" hasCustomPrompt="1"/>
          </p:nvPr>
        </p:nvSpPr>
        <p:spPr>
          <a:xfrm>
            <a:off x="405000" y="1431000"/>
            <a:ext cx="4098600" cy="31725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 Niveau</a:t>
            </a:r>
          </a:p>
          <a:p>
            <a:pPr lvl="6"/>
            <a:r>
              <a:rPr lang="da-DK" noProof="0" dirty="0"/>
              <a:t>7 Niveau</a:t>
            </a:r>
          </a:p>
          <a:p>
            <a:pPr lvl="7"/>
            <a:r>
              <a:rPr lang="da-DK" noProof="0" dirty="0"/>
              <a:t>8 Niveau</a:t>
            </a:r>
          </a:p>
          <a:p>
            <a:pPr lvl="8"/>
            <a:r>
              <a:rPr lang="da-DK" noProof="0" dirty="0"/>
              <a:t>9 Niveau</a:t>
            </a:r>
          </a:p>
        </p:txBody>
      </p:sp>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5076000" y="0"/>
            <a:ext cx="3661997" cy="405765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23" name="Makro grafik 1">
            <a:extLst>
              <a:ext uri="{FF2B5EF4-FFF2-40B4-BE49-F238E27FC236}">
                <a16:creationId xmlns:a16="http://schemas.microsoft.com/office/drawing/2014/main" id="{EBA2552F-EC8F-624C-5264-AC2B088E31EF}"/>
              </a:ext>
            </a:extLst>
          </p:cNvPr>
          <p:cNvSpPr>
            <a:spLocks noGrp="1" noChangeAspect="1"/>
          </p:cNvSpPr>
          <p:nvPr>
            <p:ph type="body" sz="quarter" idx="18" hasCustomPrompt="1"/>
          </p:nvPr>
        </p:nvSpPr>
        <p:spPr>
          <a:xfrm>
            <a:off x="4774500" y="200901"/>
            <a:ext cx="810120" cy="265984"/>
          </a:xfrm>
          <a:custGeom>
            <a:avLst/>
            <a:gdLst>
              <a:gd name="connsiteX0" fmla="*/ 538722 w 1080160"/>
              <a:gd name="connsiteY0" fmla="*/ 0 h 354645"/>
              <a:gd name="connsiteX1" fmla="*/ 1080160 w 1080160"/>
              <a:gd name="connsiteY1" fmla="*/ 249062 h 354645"/>
              <a:gd name="connsiteX2" fmla="*/ 1080160 w 1080160"/>
              <a:gd name="connsiteY2" fmla="*/ 354645 h 354645"/>
              <a:gd name="connsiteX3" fmla="*/ 538722 w 1080160"/>
              <a:gd name="connsiteY3" fmla="*/ 102874 h 354645"/>
              <a:gd name="connsiteX4" fmla="*/ 0 w 1080160"/>
              <a:gd name="connsiteY4" fmla="*/ 354645 h 354645"/>
              <a:gd name="connsiteX5" fmla="*/ 0 w 1080160"/>
              <a:gd name="connsiteY5" fmla="*/ 249062 h 35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0160" h="354645">
                <a:moveTo>
                  <a:pt x="538722" y="0"/>
                </a:moveTo>
                <a:lnTo>
                  <a:pt x="1080160" y="249062"/>
                </a:lnTo>
                <a:lnTo>
                  <a:pt x="1080160" y="354645"/>
                </a:lnTo>
                <a:lnTo>
                  <a:pt x="538722" y="102874"/>
                </a:lnTo>
                <a:lnTo>
                  <a:pt x="0" y="354645"/>
                </a:lnTo>
                <a:lnTo>
                  <a:pt x="0" y="249062"/>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dirty="0"/>
              <a:t>.</a:t>
            </a:r>
          </a:p>
        </p:txBody>
      </p:sp>
      <p:sp>
        <p:nvSpPr>
          <p:cNvPr id="25" name="Makro grafik 2">
            <a:extLst>
              <a:ext uri="{FF2B5EF4-FFF2-40B4-BE49-F238E27FC236}">
                <a16:creationId xmlns:a16="http://schemas.microsoft.com/office/drawing/2014/main" id="{719BADAE-19E7-74F8-5098-F36C7712747B}"/>
              </a:ext>
            </a:extLst>
          </p:cNvPr>
          <p:cNvSpPr>
            <a:spLocks noGrp="1" noChangeAspect="1"/>
          </p:cNvSpPr>
          <p:nvPr>
            <p:ph type="body" sz="quarter" idx="19" hasCustomPrompt="1"/>
          </p:nvPr>
        </p:nvSpPr>
        <p:spPr>
          <a:xfrm>
            <a:off x="7927357" y="3104990"/>
            <a:ext cx="1009898" cy="1313123"/>
          </a:xfrm>
          <a:custGeom>
            <a:avLst/>
            <a:gdLst>
              <a:gd name="connsiteX0" fmla="*/ 1226161 w 1346531"/>
              <a:gd name="connsiteY0" fmla="*/ 0 h 1750830"/>
              <a:gd name="connsiteX1" fmla="*/ 1346531 w 1346531"/>
              <a:gd name="connsiteY1" fmla="*/ 0 h 1750830"/>
              <a:gd name="connsiteX2" fmla="*/ 782979 w 1346531"/>
              <a:gd name="connsiteY2" fmla="*/ 1750830 h 1750830"/>
              <a:gd name="connsiteX3" fmla="*/ 659872 w 1346531"/>
              <a:gd name="connsiteY3" fmla="*/ 1750830 h 1750830"/>
              <a:gd name="connsiteX4" fmla="*/ 566289 w 1346531"/>
              <a:gd name="connsiteY4" fmla="*/ 0 h 1750830"/>
              <a:gd name="connsiteX5" fmla="*/ 686658 w 1346531"/>
              <a:gd name="connsiteY5" fmla="*/ 0 h 1750830"/>
              <a:gd name="connsiteX6" fmla="*/ 123108 w 1346531"/>
              <a:gd name="connsiteY6" fmla="*/ 1750830 h 1750830"/>
              <a:gd name="connsiteX7" fmla="*/ 0 w 1346531"/>
              <a:gd name="connsiteY7" fmla="*/ 1750830 h 175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6531" h="1750830">
                <a:moveTo>
                  <a:pt x="1226161" y="0"/>
                </a:moveTo>
                <a:lnTo>
                  <a:pt x="1346531" y="0"/>
                </a:lnTo>
                <a:lnTo>
                  <a:pt x="782979" y="1750830"/>
                </a:lnTo>
                <a:lnTo>
                  <a:pt x="659872" y="1750830"/>
                </a:lnTo>
                <a:close/>
                <a:moveTo>
                  <a:pt x="566289" y="0"/>
                </a:moveTo>
                <a:lnTo>
                  <a:pt x="686658" y="0"/>
                </a:lnTo>
                <a:lnTo>
                  <a:pt x="123108" y="1750830"/>
                </a:lnTo>
                <a:lnTo>
                  <a:pt x="0" y="1750830"/>
                </a:lnTo>
                <a:close/>
              </a:path>
            </a:pathLst>
          </a:custGeom>
          <a:solidFill>
            <a:srgbClr val="FB7A5C"/>
          </a:solidFill>
        </p:spPr>
        <p:txBody>
          <a:bodyPr wrap="square">
            <a:noAutofit/>
          </a:bodyPr>
          <a:lstStyle>
            <a:lvl1pPr marL="0" indent="0">
              <a:lnSpc>
                <a:spcPct val="100000"/>
              </a:lnSpc>
              <a:spcBef>
                <a:spcPts val="0"/>
              </a:spcBef>
              <a:spcAft>
                <a:spcPts val="0"/>
              </a:spcAft>
              <a:buNone/>
              <a:defRPr sz="750">
                <a:noFill/>
                <a:latin typeface="+mn-lt"/>
              </a:defRPr>
            </a:lvl1pPr>
            <a:lvl2pPr marL="0" indent="0">
              <a:lnSpc>
                <a:spcPct val="100000"/>
              </a:lnSpc>
              <a:spcBef>
                <a:spcPts val="0"/>
              </a:spcBef>
              <a:spcAft>
                <a:spcPts val="0"/>
              </a:spcAft>
              <a:buNone/>
              <a:defRPr sz="750">
                <a:latin typeface="+mn-lt"/>
              </a:defRPr>
            </a:lvl2pPr>
            <a:lvl3pPr marL="0" indent="0">
              <a:lnSpc>
                <a:spcPct val="100000"/>
              </a:lnSpc>
              <a:spcBef>
                <a:spcPts val="0"/>
              </a:spcBef>
              <a:spcAft>
                <a:spcPts val="0"/>
              </a:spcAft>
              <a:buNone/>
              <a:defRPr sz="750">
                <a:latin typeface="+mn-lt"/>
              </a:defRPr>
            </a:lvl3pPr>
            <a:lvl4pPr marL="0" indent="0">
              <a:lnSpc>
                <a:spcPct val="100000"/>
              </a:lnSpc>
              <a:spcBef>
                <a:spcPts val="0"/>
              </a:spcBef>
              <a:spcAft>
                <a:spcPts val="0"/>
              </a:spcAft>
              <a:buNone/>
              <a:defRPr sz="750">
                <a:latin typeface="+mn-lt"/>
              </a:defRPr>
            </a:lvl4pPr>
            <a:lvl5pPr marL="0" indent="0">
              <a:lnSpc>
                <a:spcPct val="100000"/>
              </a:lnSpc>
              <a:spcBef>
                <a:spcPts val="0"/>
              </a:spcBef>
              <a:spcAft>
                <a:spcPts val="0"/>
              </a:spcAft>
              <a:buNone/>
              <a:defRPr sz="750">
                <a:latin typeface="+mn-lt"/>
              </a:defRPr>
            </a:lvl5pPr>
            <a:lvl6pPr marL="0" indent="0">
              <a:lnSpc>
                <a:spcPct val="100000"/>
              </a:lnSpc>
              <a:spcBef>
                <a:spcPts val="0"/>
              </a:spcBef>
              <a:spcAft>
                <a:spcPts val="0"/>
              </a:spcAft>
              <a:buNone/>
              <a:defRPr sz="750">
                <a:latin typeface="+mn-lt"/>
              </a:defRPr>
            </a:lvl6pPr>
            <a:lvl7pPr marL="0" indent="0">
              <a:lnSpc>
                <a:spcPct val="100000"/>
              </a:lnSpc>
              <a:spcBef>
                <a:spcPts val="0"/>
              </a:spcBef>
              <a:spcAft>
                <a:spcPts val="0"/>
              </a:spcAft>
              <a:buNone/>
              <a:defRPr sz="750">
                <a:latin typeface="+mn-lt"/>
              </a:defRPr>
            </a:lvl7pPr>
            <a:lvl8pPr marL="0" indent="0">
              <a:lnSpc>
                <a:spcPct val="100000"/>
              </a:lnSpc>
              <a:spcBef>
                <a:spcPts val="0"/>
              </a:spcBef>
              <a:spcAft>
                <a:spcPts val="0"/>
              </a:spcAft>
              <a:buNone/>
              <a:defRPr sz="750">
                <a:latin typeface="+mn-lt"/>
              </a:defRPr>
            </a:lvl8pPr>
            <a:lvl9pPr marL="0" indent="0">
              <a:lnSpc>
                <a:spcPct val="100000"/>
              </a:lnSpc>
              <a:spcBef>
                <a:spcPts val="0"/>
              </a:spcBef>
              <a:spcAft>
                <a:spcPts val="0"/>
              </a:spcAft>
              <a:buNone/>
              <a:defRPr sz="750">
                <a:latin typeface="+mn-lt"/>
              </a:defRPr>
            </a:lvl9pPr>
          </a:lstStyle>
          <a:p>
            <a:pPr lvl="0"/>
            <a:r>
              <a:rPr lang="da-DK" dirty="0"/>
              <a:t>.</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B8DC7334-5B00-458F-ACE6-F27E5084DF10}" type="datetime2">
              <a:rPr lang="da-DK" smtClean="0"/>
              <a:t>11. december 2025</a:t>
            </a:fld>
            <a:endParaRPr lang="da-DK" dirty="0"/>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dirty="0"/>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dirty="0"/>
          </a:p>
        </p:txBody>
      </p:sp>
      <p:sp>
        <p:nvSpPr>
          <p:cNvPr id="2" name="TextBox 1">
            <a:extLst>
              <a:ext uri="{FF2B5EF4-FFF2-40B4-BE49-F238E27FC236}">
                <a16:creationId xmlns:a16="http://schemas.microsoft.com/office/drawing/2014/main" id="{CF76C4F0-108A-36A6-2867-5F0CE0FBF488}"/>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spTree>
    <p:extLst>
      <p:ext uri="{BB962C8B-B14F-4D97-AF65-F5344CB8AC3E}">
        <p14:creationId xmlns:p14="http://schemas.microsoft.com/office/powerpoint/2010/main" val="2296881405"/>
      </p:ext>
    </p:extLst>
  </p:cSld>
  <p:clrMapOvr>
    <a:masterClrMapping/>
  </p:clrMapOvr>
  <p:extLst>
    <p:ext uri="{DCECCB84-F9BA-43D5-87BE-67443E8EF086}">
      <p15:sldGuideLst xmlns:p15="http://schemas.microsoft.com/office/powerpoint/2012/main">
        <p15:guide id="1" orient="horz" pos="510">
          <p15:clr>
            <a:srgbClr val="A4A3A4"/>
          </p15:clr>
        </p15:guide>
        <p15:guide id="2" orient="horz" pos="566">
          <p15:clr>
            <a:srgbClr val="A4A3A4"/>
          </p15:clr>
        </p15:guide>
        <p15:guide id="3" orient="horz" pos="1201">
          <p15:clr>
            <a:srgbClr val="A4A3A4"/>
          </p15:clr>
        </p15:guide>
        <p15:guide id="5" pos="4263">
          <p15:clr>
            <a:srgbClr val="A4A3A4"/>
          </p15:clr>
        </p15:guide>
        <p15:guide id="6" orient="horz" pos="3408">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o billeder og teks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404999" y="0"/>
            <a:ext cx="3393900" cy="31671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31" name="Picture Placeholder 3">
            <a:extLst>
              <a:ext uri="{FF2B5EF4-FFF2-40B4-BE49-F238E27FC236}">
                <a16:creationId xmlns:a16="http://schemas.microsoft.com/office/drawing/2014/main" id="{0C5AC296-1E96-EE8B-9C85-121FADCDAEEA}"/>
              </a:ext>
            </a:extLst>
          </p:cNvPr>
          <p:cNvSpPr>
            <a:spLocks noGrp="1"/>
          </p:cNvSpPr>
          <p:nvPr>
            <p:ph type="pic" sz="quarter" idx="26" hasCustomPrompt="1"/>
          </p:nvPr>
        </p:nvSpPr>
        <p:spPr>
          <a:xfrm>
            <a:off x="3938784" y="0"/>
            <a:ext cx="3393094" cy="31671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18" name="Pladsholder til tekst 17">
            <a:extLst>
              <a:ext uri="{FF2B5EF4-FFF2-40B4-BE49-F238E27FC236}">
                <a16:creationId xmlns:a16="http://schemas.microsoft.com/office/drawing/2014/main" id="{7A036220-52A4-5423-2E3D-CA9465DCF383}"/>
              </a:ext>
            </a:extLst>
          </p:cNvPr>
          <p:cNvSpPr>
            <a:spLocks noGrp="1"/>
          </p:cNvSpPr>
          <p:nvPr>
            <p:ph type="body" sz="quarter" idx="21" hasCustomPrompt="1"/>
          </p:nvPr>
        </p:nvSpPr>
        <p:spPr>
          <a:xfrm>
            <a:off x="404999" y="3302101"/>
            <a:ext cx="3393900" cy="1300856"/>
          </a:xfrm>
        </p:spPr>
        <p:txBody>
          <a:bodyPr/>
          <a:lstStyle>
            <a:lvl1pPr>
              <a:defRPr/>
            </a:lvl1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p:txBody>
      </p:sp>
      <p:sp>
        <p:nvSpPr>
          <p:cNvPr id="20" name="Pladsholder til tekst 19">
            <a:extLst>
              <a:ext uri="{FF2B5EF4-FFF2-40B4-BE49-F238E27FC236}">
                <a16:creationId xmlns:a16="http://schemas.microsoft.com/office/drawing/2014/main" id="{B8BFA8BA-84C0-F72E-A750-BA569C419DF9}"/>
              </a:ext>
            </a:extLst>
          </p:cNvPr>
          <p:cNvSpPr>
            <a:spLocks noGrp="1"/>
          </p:cNvSpPr>
          <p:nvPr>
            <p:ph type="body" sz="quarter" idx="22" hasCustomPrompt="1"/>
          </p:nvPr>
        </p:nvSpPr>
        <p:spPr>
          <a:xfrm>
            <a:off x="3939300" y="3302101"/>
            <a:ext cx="3393900" cy="1300856"/>
          </a:xfrm>
        </p:spPr>
        <p:txBody>
          <a:bodyPr/>
          <a:lstStyle>
            <a:lvl1pPr>
              <a:defRPr/>
            </a:lvl1pPr>
          </a:lstStyle>
          <a:p>
            <a:pPr lvl="0"/>
            <a:r>
              <a:rPr lang="da-DK" noProof="0" dirty="0"/>
              <a:t>Klik for at tilføje tekst                                            Klik ENTER og derefter TAB for at se næste tekstformat                                                             Klik SHIFT+TAB for at se foregående tekstformat</a:t>
            </a:r>
          </a:p>
          <a:p>
            <a:pPr lvl="1"/>
            <a:r>
              <a:rPr lang="da-DK" noProof="0" dirty="0"/>
              <a:t>Andet Niveau</a:t>
            </a:r>
          </a:p>
          <a:p>
            <a:pPr lvl="2"/>
            <a:r>
              <a:rPr lang="da-DK" noProof="0" dirty="0"/>
              <a:t>Tredje Niveau</a:t>
            </a:r>
          </a:p>
        </p:txBody>
      </p:sp>
      <p:sp>
        <p:nvSpPr>
          <p:cNvPr id="35" name="Makro grafik 1">
            <a:extLst>
              <a:ext uri="{FF2B5EF4-FFF2-40B4-BE49-F238E27FC236}">
                <a16:creationId xmlns:a16="http://schemas.microsoft.com/office/drawing/2014/main" id="{7C623DFE-050D-8EBF-2AB6-73D6BB690D9E}"/>
              </a:ext>
            </a:extLst>
          </p:cNvPr>
          <p:cNvSpPr>
            <a:spLocks noGrp="1" noChangeAspect="1"/>
          </p:cNvSpPr>
          <p:nvPr>
            <p:ph type="body" sz="quarter" idx="24" hasCustomPrompt="1"/>
          </p:nvPr>
        </p:nvSpPr>
        <p:spPr>
          <a:xfrm>
            <a:off x="3059924" y="508903"/>
            <a:ext cx="824373" cy="876750"/>
          </a:xfrm>
          <a:custGeom>
            <a:avLst/>
            <a:gdLst>
              <a:gd name="connsiteX0" fmla="*/ 491891 w 1099164"/>
              <a:gd name="connsiteY0" fmla="*/ 0 h 1169000"/>
              <a:gd name="connsiteX1" fmla="*/ 607273 w 1099164"/>
              <a:gd name="connsiteY1" fmla="*/ 0 h 1169000"/>
              <a:gd name="connsiteX2" fmla="*/ 604236 w 1099164"/>
              <a:gd name="connsiteY2" fmla="*/ 513145 h 1169000"/>
              <a:gd name="connsiteX3" fmla="*/ 1041473 w 1099164"/>
              <a:gd name="connsiteY3" fmla="*/ 255054 h 1169000"/>
              <a:gd name="connsiteX4" fmla="*/ 1099164 w 1099164"/>
              <a:gd name="connsiteY4" fmla="*/ 349181 h 1169000"/>
              <a:gd name="connsiteX5" fmla="*/ 658891 w 1099164"/>
              <a:gd name="connsiteY5" fmla="*/ 601199 h 1169000"/>
              <a:gd name="connsiteX6" fmla="*/ 1099164 w 1099164"/>
              <a:gd name="connsiteY6" fmla="*/ 847145 h 1169000"/>
              <a:gd name="connsiteX7" fmla="*/ 1041473 w 1099164"/>
              <a:gd name="connsiteY7" fmla="*/ 941272 h 1169000"/>
              <a:gd name="connsiteX8" fmla="*/ 604236 w 1099164"/>
              <a:gd name="connsiteY8" fmla="*/ 683181 h 1169000"/>
              <a:gd name="connsiteX9" fmla="*/ 607273 w 1099164"/>
              <a:gd name="connsiteY9" fmla="*/ 1169000 h 1169000"/>
              <a:gd name="connsiteX10" fmla="*/ 491891 w 1099164"/>
              <a:gd name="connsiteY10" fmla="*/ 1169000 h 1169000"/>
              <a:gd name="connsiteX11" fmla="*/ 497964 w 1099164"/>
              <a:gd name="connsiteY11" fmla="*/ 683181 h 1169000"/>
              <a:gd name="connsiteX12" fmla="*/ 60727 w 1099164"/>
              <a:gd name="connsiteY12" fmla="*/ 941272 h 1169000"/>
              <a:gd name="connsiteX13" fmla="*/ 0 w 1099164"/>
              <a:gd name="connsiteY13" fmla="*/ 847145 h 1169000"/>
              <a:gd name="connsiteX14" fmla="*/ 446346 w 1099164"/>
              <a:gd name="connsiteY14" fmla="*/ 601199 h 1169000"/>
              <a:gd name="connsiteX15" fmla="*/ 0 w 1099164"/>
              <a:gd name="connsiteY15" fmla="*/ 349181 h 1169000"/>
              <a:gd name="connsiteX16" fmla="*/ 60727 w 1099164"/>
              <a:gd name="connsiteY16" fmla="*/ 255054 h 1169000"/>
              <a:gd name="connsiteX17" fmla="*/ 497964 w 1099164"/>
              <a:gd name="connsiteY17" fmla="*/ 513145 h 116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99164" h="1169000">
                <a:moveTo>
                  <a:pt x="491891" y="0"/>
                </a:moveTo>
                <a:lnTo>
                  <a:pt x="607273" y="0"/>
                </a:lnTo>
                <a:lnTo>
                  <a:pt x="604236" y="513145"/>
                </a:lnTo>
                <a:lnTo>
                  <a:pt x="1041473" y="255054"/>
                </a:lnTo>
                <a:lnTo>
                  <a:pt x="1099164" y="349181"/>
                </a:lnTo>
                <a:lnTo>
                  <a:pt x="658891" y="601199"/>
                </a:lnTo>
                <a:lnTo>
                  <a:pt x="1099164" y="847145"/>
                </a:lnTo>
                <a:lnTo>
                  <a:pt x="1041473" y="941272"/>
                </a:lnTo>
                <a:lnTo>
                  <a:pt x="604236" y="683181"/>
                </a:lnTo>
                <a:lnTo>
                  <a:pt x="607273" y="1169000"/>
                </a:lnTo>
                <a:lnTo>
                  <a:pt x="491891" y="1169000"/>
                </a:lnTo>
                <a:lnTo>
                  <a:pt x="497964" y="683181"/>
                </a:lnTo>
                <a:lnTo>
                  <a:pt x="60727" y="941272"/>
                </a:lnTo>
                <a:lnTo>
                  <a:pt x="0" y="847145"/>
                </a:lnTo>
                <a:lnTo>
                  <a:pt x="446346" y="601199"/>
                </a:lnTo>
                <a:lnTo>
                  <a:pt x="0" y="349181"/>
                </a:lnTo>
                <a:lnTo>
                  <a:pt x="60727" y="255054"/>
                </a:lnTo>
                <a:lnTo>
                  <a:pt x="497964" y="513145"/>
                </a:lnTo>
                <a:close/>
              </a:path>
            </a:pathLst>
          </a:custGeom>
          <a:solidFill>
            <a:srgbClr val="B44280"/>
          </a:solid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
        <p:nvSpPr>
          <p:cNvPr id="37" name="Makro grafik 2">
            <a:extLst>
              <a:ext uri="{FF2B5EF4-FFF2-40B4-BE49-F238E27FC236}">
                <a16:creationId xmlns:a16="http://schemas.microsoft.com/office/drawing/2014/main" id="{B01E448D-548C-DEA9-6590-C279C5C3F197}"/>
              </a:ext>
            </a:extLst>
          </p:cNvPr>
          <p:cNvSpPr>
            <a:spLocks noGrp="1" noChangeAspect="1"/>
          </p:cNvSpPr>
          <p:nvPr>
            <p:ph type="body" sz="quarter" idx="25" hasCustomPrompt="1"/>
          </p:nvPr>
        </p:nvSpPr>
        <p:spPr>
          <a:xfrm>
            <a:off x="6627459" y="1161722"/>
            <a:ext cx="1239333" cy="1776272"/>
          </a:xfrm>
          <a:custGeom>
            <a:avLst/>
            <a:gdLst>
              <a:gd name="connsiteX0" fmla="*/ 984444 w 1652444"/>
              <a:gd name="connsiteY0" fmla="*/ 15381 h 2368363"/>
              <a:gd name="connsiteX1" fmla="*/ 1652444 w 1652444"/>
              <a:gd name="connsiteY1" fmla="*/ 15381 h 2368363"/>
              <a:gd name="connsiteX2" fmla="*/ 1652444 w 1652444"/>
              <a:gd name="connsiteY2" fmla="*/ 121261 h 2368363"/>
              <a:gd name="connsiteX3" fmla="*/ 1652444 w 1652444"/>
              <a:gd name="connsiteY3" fmla="*/ 2252660 h 2368363"/>
              <a:gd name="connsiteX4" fmla="*/ 1652444 w 1652444"/>
              <a:gd name="connsiteY4" fmla="*/ 2359307 h 2368363"/>
              <a:gd name="connsiteX5" fmla="*/ 984444 w 1652444"/>
              <a:gd name="connsiteY5" fmla="*/ 2359307 h 2368363"/>
              <a:gd name="connsiteX6" fmla="*/ 984444 w 1652444"/>
              <a:gd name="connsiteY6" fmla="*/ 2252660 h 2368363"/>
              <a:gd name="connsiteX7" fmla="*/ 1530989 w 1652444"/>
              <a:gd name="connsiteY7" fmla="*/ 2252660 h 2368363"/>
              <a:gd name="connsiteX8" fmla="*/ 1530989 w 1652444"/>
              <a:gd name="connsiteY8" fmla="*/ 121261 h 2368363"/>
              <a:gd name="connsiteX9" fmla="*/ 984444 w 1652444"/>
              <a:gd name="connsiteY9" fmla="*/ 121261 h 2368363"/>
              <a:gd name="connsiteX10" fmla="*/ 0 w 1652444"/>
              <a:gd name="connsiteY10" fmla="*/ 0 h 2368363"/>
              <a:gd name="connsiteX11" fmla="*/ 32009 w 1652444"/>
              <a:gd name="connsiteY11" fmla="*/ 371 h 2368363"/>
              <a:gd name="connsiteX12" fmla="*/ 63234 w 1652444"/>
              <a:gd name="connsiteY12" fmla="*/ 1481 h 2368363"/>
              <a:gd name="connsiteX13" fmla="*/ 93683 w 1652444"/>
              <a:gd name="connsiteY13" fmla="*/ 3325 h 2368363"/>
              <a:gd name="connsiteX14" fmla="*/ 123364 w 1652444"/>
              <a:gd name="connsiteY14" fmla="*/ 5896 h 2368363"/>
              <a:gd name="connsiteX15" fmla="*/ 152286 w 1652444"/>
              <a:gd name="connsiteY15" fmla="*/ 9190 h 2368363"/>
              <a:gd name="connsiteX16" fmla="*/ 180459 w 1652444"/>
              <a:gd name="connsiteY16" fmla="*/ 13201 h 2368363"/>
              <a:gd name="connsiteX17" fmla="*/ 207890 w 1652444"/>
              <a:gd name="connsiteY17" fmla="*/ 17925 h 2368363"/>
              <a:gd name="connsiteX18" fmla="*/ 234587 w 1652444"/>
              <a:gd name="connsiteY18" fmla="*/ 23355 h 2368363"/>
              <a:gd name="connsiteX19" fmla="*/ 260561 w 1652444"/>
              <a:gd name="connsiteY19" fmla="*/ 29486 h 2368363"/>
              <a:gd name="connsiteX20" fmla="*/ 285818 w 1652444"/>
              <a:gd name="connsiteY20" fmla="*/ 36314 h 2368363"/>
              <a:gd name="connsiteX21" fmla="*/ 310368 w 1652444"/>
              <a:gd name="connsiteY21" fmla="*/ 43831 h 2368363"/>
              <a:gd name="connsiteX22" fmla="*/ 334219 w 1652444"/>
              <a:gd name="connsiteY22" fmla="*/ 52033 h 2368363"/>
              <a:gd name="connsiteX23" fmla="*/ 357381 w 1652444"/>
              <a:gd name="connsiteY23" fmla="*/ 60916 h 2368363"/>
              <a:gd name="connsiteX24" fmla="*/ 379860 w 1652444"/>
              <a:gd name="connsiteY24" fmla="*/ 70472 h 2368363"/>
              <a:gd name="connsiteX25" fmla="*/ 401667 w 1652444"/>
              <a:gd name="connsiteY25" fmla="*/ 80697 h 2368363"/>
              <a:gd name="connsiteX26" fmla="*/ 422809 w 1652444"/>
              <a:gd name="connsiteY26" fmla="*/ 91586 h 2368363"/>
              <a:gd name="connsiteX27" fmla="*/ 443297 w 1652444"/>
              <a:gd name="connsiteY27" fmla="*/ 103133 h 2368363"/>
              <a:gd name="connsiteX28" fmla="*/ 463136 w 1652444"/>
              <a:gd name="connsiteY28" fmla="*/ 115333 h 2368363"/>
              <a:gd name="connsiteX29" fmla="*/ 482337 w 1652444"/>
              <a:gd name="connsiteY29" fmla="*/ 128180 h 2368363"/>
              <a:gd name="connsiteX30" fmla="*/ 518858 w 1652444"/>
              <a:gd name="connsiteY30" fmla="*/ 155795 h 2368363"/>
              <a:gd name="connsiteX31" fmla="*/ 552927 w 1652444"/>
              <a:gd name="connsiteY31" fmla="*/ 185936 h 2368363"/>
              <a:gd name="connsiteX32" fmla="*/ 584614 w 1652444"/>
              <a:gd name="connsiteY32" fmla="*/ 218558 h 2368363"/>
              <a:gd name="connsiteX33" fmla="*/ 613987 w 1652444"/>
              <a:gd name="connsiteY33" fmla="*/ 253619 h 2368363"/>
              <a:gd name="connsiteX34" fmla="*/ 627828 w 1652444"/>
              <a:gd name="connsiteY34" fmla="*/ 272050 h 2368363"/>
              <a:gd name="connsiteX35" fmla="*/ 641115 w 1652444"/>
              <a:gd name="connsiteY35" fmla="*/ 291076 h 2368363"/>
              <a:gd name="connsiteX36" fmla="*/ 653859 w 1652444"/>
              <a:gd name="connsiteY36" fmla="*/ 310690 h 2368363"/>
              <a:gd name="connsiteX37" fmla="*/ 666067 w 1652444"/>
              <a:gd name="connsiteY37" fmla="*/ 330886 h 2368363"/>
              <a:gd name="connsiteX38" fmla="*/ 677748 w 1652444"/>
              <a:gd name="connsiteY38" fmla="*/ 351661 h 2368363"/>
              <a:gd name="connsiteX39" fmla="*/ 688911 w 1652444"/>
              <a:gd name="connsiteY39" fmla="*/ 373007 h 2368363"/>
              <a:gd name="connsiteX40" fmla="*/ 699564 w 1652444"/>
              <a:gd name="connsiteY40" fmla="*/ 394920 h 2368363"/>
              <a:gd name="connsiteX41" fmla="*/ 709715 w 1652444"/>
              <a:gd name="connsiteY41" fmla="*/ 417394 h 2368363"/>
              <a:gd name="connsiteX42" fmla="*/ 719375 w 1652444"/>
              <a:gd name="connsiteY42" fmla="*/ 440424 h 2368363"/>
              <a:gd name="connsiteX43" fmla="*/ 728550 w 1652444"/>
              <a:gd name="connsiteY43" fmla="*/ 464005 h 2368363"/>
              <a:gd name="connsiteX44" fmla="*/ 737250 w 1652444"/>
              <a:gd name="connsiteY44" fmla="*/ 488131 h 2368363"/>
              <a:gd name="connsiteX45" fmla="*/ 745483 w 1652444"/>
              <a:gd name="connsiteY45" fmla="*/ 512797 h 2368363"/>
              <a:gd name="connsiteX46" fmla="*/ 753258 w 1652444"/>
              <a:gd name="connsiteY46" fmla="*/ 537997 h 2368363"/>
              <a:gd name="connsiteX47" fmla="*/ 760583 w 1652444"/>
              <a:gd name="connsiteY47" fmla="*/ 563727 h 2368363"/>
              <a:gd name="connsiteX48" fmla="*/ 767468 w 1652444"/>
              <a:gd name="connsiteY48" fmla="*/ 589980 h 2368363"/>
              <a:gd name="connsiteX49" fmla="*/ 773919 w 1652444"/>
              <a:gd name="connsiteY49" fmla="*/ 616751 h 2368363"/>
              <a:gd name="connsiteX50" fmla="*/ 779947 w 1652444"/>
              <a:gd name="connsiteY50" fmla="*/ 644036 h 2368363"/>
              <a:gd name="connsiteX51" fmla="*/ 785559 w 1652444"/>
              <a:gd name="connsiteY51" fmla="*/ 671828 h 2368363"/>
              <a:gd name="connsiteX52" fmla="*/ 790765 w 1652444"/>
              <a:gd name="connsiteY52" fmla="*/ 700122 h 2368363"/>
              <a:gd name="connsiteX53" fmla="*/ 795573 w 1652444"/>
              <a:gd name="connsiteY53" fmla="*/ 728914 h 2368363"/>
              <a:gd name="connsiteX54" fmla="*/ 799991 w 1652444"/>
              <a:gd name="connsiteY54" fmla="*/ 758196 h 2368363"/>
              <a:gd name="connsiteX55" fmla="*/ 804029 w 1652444"/>
              <a:gd name="connsiteY55" fmla="*/ 787965 h 2368363"/>
              <a:gd name="connsiteX56" fmla="*/ 807694 w 1652444"/>
              <a:gd name="connsiteY56" fmla="*/ 818214 h 2368363"/>
              <a:gd name="connsiteX57" fmla="*/ 810995 w 1652444"/>
              <a:gd name="connsiteY57" fmla="*/ 848939 h 2368363"/>
              <a:gd name="connsiteX58" fmla="*/ 813941 w 1652444"/>
              <a:gd name="connsiteY58" fmla="*/ 880134 h 2368363"/>
              <a:gd name="connsiteX59" fmla="*/ 816541 w 1652444"/>
              <a:gd name="connsiteY59" fmla="*/ 911793 h 2368363"/>
              <a:gd name="connsiteX60" fmla="*/ 818802 w 1652444"/>
              <a:gd name="connsiteY60" fmla="*/ 943911 h 2368363"/>
              <a:gd name="connsiteX61" fmla="*/ 820734 w 1652444"/>
              <a:gd name="connsiteY61" fmla="*/ 976483 h 2368363"/>
              <a:gd name="connsiteX62" fmla="*/ 822345 w 1652444"/>
              <a:gd name="connsiteY62" fmla="*/ 1009504 h 2368363"/>
              <a:gd name="connsiteX63" fmla="*/ 823645 w 1652444"/>
              <a:gd name="connsiteY63" fmla="*/ 1042967 h 2368363"/>
              <a:gd name="connsiteX64" fmla="*/ 824641 w 1652444"/>
              <a:gd name="connsiteY64" fmla="*/ 1076869 h 2368363"/>
              <a:gd name="connsiteX65" fmla="*/ 825341 w 1652444"/>
              <a:gd name="connsiteY65" fmla="*/ 1111203 h 2368363"/>
              <a:gd name="connsiteX66" fmla="*/ 825755 w 1652444"/>
              <a:gd name="connsiteY66" fmla="*/ 1145963 h 2368363"/>
              <a:gd name="connsiteX67" fmla="*/ 825891 w 1652444"/>
              <a:gd name="connsiteY67" fmla="*/ 1181145 h 2368363"/>
              <a:gd name="connsiteX68" fmla="*/ 825757 w 1652444"/>
              <a:gd name="connsiteY68" fmla="*/ 1216476 h 2368363"/>
              <a:gd name="connsiteX69" fmla="*/ 825350 w 1652444"/>
              <a:gd name="connsiteY69" fmla="*/ 1251386 h 2368363"/>
              <a:gd name="connsiteX70" fmla="*/ 824661 w 1652444"/>
              <a:gd name="connsiteY70" fmla="*/ 1285869 h 2368363"/>
              <a:gd name="connsiteX71" fmla="*/ 823681 w 1652444"/>
              <a:gd name="connsiteY71" fmla="*/ 1319919 h 2368363"/>
              <a:gd name="connsiteX72" fmla="*/ 822402 w 1652444"/>
              <a:gd name="connsiteY72" fmla="*/ 1353531 h 2368363"/>
              <a:gd name="connsiteX73" fmla="*/ 820814 w 1652444"/>
              <a:gd name="connsiteY73" fmla="*/ 1386700 h 2368363"/>
              <a:gd name="connsiteX74" fmla="*/ 818909 w 1652444"/>
              <a:gd name="connsiteY74" fmla="*/ 1419420 h 2368363"/>
              <a:gd name="connsiteX75" fmla="*/ 816677 w 1652444"/>
              <a:gd name="connsiteY75" fmla="*/ 1451685 h 2368363"/>
              <a:gd name="connsiteX76" fmla="*/ 814111 w 1652444"/>
              <a:gd name="connsiteY76" fmla="*/ 1483490 h 2368363"/>
              <a:gd name="connsiteX77" fmla="*/ 811200 w 1652444"/>
              <a:gd name="connsiteY77" fmla="*/ 1514831 h 2368363"/>
              <a:gd name="connsiteX78" fmla="*/ 807937 w 1652444"/>
              <a:gd name="connsiteY78" fmla="*/ 1545700 h 2368363"/>
              <a:gd name="connsiteX79" fmla="*/ 804312 w 1652444"/>
              <a:gd name="connsiteY79" fmla="*/ 1576094 h 2368363"/>
              <a:gd name="connsiteX80" fmla="*/ 800317 w 1652444"/>
              <a:gd name="connsiteY80" fmla="*/ 1606006 h 2368363"/>
              <a:gd name="connsiteX81" fmla="*/ 795943 w 1652444"/>
              <a:gd name="connsiteY81" fmla="*/ 1635430 h 2368363"/>
              <a:gd name="connsiteX82" fmla="*/ 791181 w 1652444"/>
              <a:gd name="connsiteY82" fmla="*/ 1664362 h 2368363"/>
              <a:gd name="connsiteX83" fmla="*/ 786022 w 1652444"/>
              <a:gd name="connsiteY83" fmla="*/ 1692796 h 2368363"/>
              <a:gd name="connsiteX84" fmla="*/ 780458 w 1652444"/>
              <a:gd name="connsiteY84" fmla="*/ 1720727 h 2368363"/>
              <a:gd name="connsiteX85" fmla="*/ 774479 w 1652444"/>
              <a:gd name="connsiteY85" fmla="*/ 1748148 h 2368363"/>
              <a:gd name="connsiteX86" fmla="*/ 768076 w 1652444"/>
              <a:gd name="connsiteY86" fmla="*/ 1775055 h 2368363"/>
              <a:gd name="connsiteX87" fmla="*/ 761241 w 1652444"/>
              <a:gd name="connsiteY87" fmla="*/ 1801442 h 2368363"/>
              <a:gd name="connsiteX88" fmla="*/ 753966 w 1652444"/>
              <a:gd name="connsiteY88" fmla="*/ 1827305 h 2368363"/>
              <a:gd name="connsiteX89" fmla="*/ 746241 w 1652444"/>
              <a:gd name="connsiteY89" fmla="*/ 1852636 h 2368363"/>
              <a:gd name="connsiteX90" fmla="*/ 738057 w 1652444"/>
              <a:gd name="connsiteY90" fmla="*/ 1877431 h 2368363"/>
              <a:gd name="connsiteX91" fmla="*/ 729406 w 1652444"/>
              <a:gd name="connsiteY91" fmla="*/ 1901684 h 2368363"/>
              <a:gd name="connsiteX92" fmla="*/ 720278 w 1652444"/>
              <a:gd name="connsiteY92" fmla="*/ 1925390 h 2368363"/>
              <a:gd name="connsiteX93" fmla="*/ 710665 w 1652444"/>
              <a:gd name="connsiteY93" fmla="*/ 1948543 h 2368363"/>
              <a:gd name="connsiteX94" fmla="*/ 700559 w 1652444"/>
              <a:gd name="connsiteY94" fmla="*/ 1971139 h 2368363"/>
              <a:gd name="connsiteX95" fmla="*/ 689949 w 1652444"/>
              <a:gd name="connsiteY95" fmla="*/ 1993171 h 2368363"/>
              <a:gd name="connsiteX96" fmla="*/ 678828 w 1652444"/>
              <a:gd name="connsiteY96" fmla="*/ 2014634 h 2368363"/>
              <a:gd name="connsiteX97" fmla="*/ 667187 w 1652444"/>
              <a:gd name="connsiteY97" fmla="*/ 2035522 h 2368363"/>
              <a:gd name="connsiteX98" fmla="*/ 655016 w 1652444"/>
              <a:gd name="connsiteY98" fmla="*/ 2055830 h 2368363"/>
              <a:gd name="connsiteX99" fmla="*/ 642307 w 1652444"/>
              <a:gd name="connsiteY99" fmla="*/ 2075554 h 2368363"/>
              <a:gd name="connsiteX100" fmla="*/ 629052 w 1652444"/>
              <a:gd name="connsiteY100" fmla="*/ 2094686 h 2368363"/>
              <a:gd name="connsiteX101" fmla="*/ 615240 w 1652444"/>
              <a:gd name="connsiteY101" fmla="*/ 2113223 h 2368363"/>
              <a:gd name="connsiteX102" fmla="*/ 585914 w 1652444"/>
              <a:gd name="connsiteY102" fmla="*/ 2148484 h 2368363"/>
              <a:gd name="connsiteX103" fmla="*/ 554260 w 1652444"/>
              <a:gd name="connsiteY103" fmla="*/ 2181295 h 2368363"/>
              <a:gd name="connsiteX104" fmla="*/ 520206 w 1652444"/>
              <a:gd name="connsiteY104" fmla="*/ 2211611 h 2368363"/>
              <a:gd name="connsiteX105" fmla="*/ 483682 w 1652444"/>
              <a:gd name="connsiteY105" fmla="*/ 2239390 h 2368363"/>
              <a:gd name="connsiteX106" fmla="*/ 464472 w 1652444"/>
              <a:gd name="connsiteY106" fmla="*/ 2252315 h 2368363"/>
              <a:gd name="connsiteX107" fmla="*/ 444617 w 1652444"/>
              <a:gd name="connsiteY107" fmla="*/ 2264587 h 2368363"/>
              <a:gd name="connsiteX108" fmla="*/ 424110 w 1652444"/>
              <a:gd name="connsiteY108" fmla="*/ 2276205 h 2368363"/>
              <a:gd name="connsiteX109" fmla="*/ 402941 w 1652444"/>
              <a:gd name="connsiteY109" fmla="*/ 2287159 h 2368363"/>
              <a:gd name="connsiteX110" fmla="*/ 381102 w 1652444"/>
              <a:gd name="connsiteY110" fmla="*/ 2297448 h 2368363"/>
              <a:gd name="connsiteX111" fmla="*/ 358583 w 1652444"/>
              <a:gd name="connsiteY111" fmla="*/ 2307062 h 2368363"/>
              <a:gd name="connsiteX112" fmla="*/ 335376 w 1652444"/>
              <a:gd name="connsiteY112" fmla="*/ 2316000 h 2368363"/>
              <a:gd name="connsiteX113" fmla="*/ 311472 w 1652444"/>
              <a:gd name="connsiteY113" fmla="*/ 2324254 h 2368363"/>
              <a:gd name="connsiteX114" fmla="*/ 286862 w 1652444"/>
              <a:gd name="connsiteY114" fmla="*/ 2331818 h 2368363"/>
              <a:gd name="connsiteX115" fmla="*/ 261537 w 1652444"/>
              <a:gd name="connsiteY115" fmla="*/ 2338687 h 2368363"/>
              <a:gd name="connsiteX116" fmla="*/ 235489 w 1652444"/>
              <a:gd name="connsiteY116" fmla="*/ 2344857 h 2368363"/>
              <a:gd name="connsiteX117" fmla="*/ 208709 w 1652444"/>
              <a:gd name="connsiteY117" fmla="*/ 2350322 h 2368363"/>
              <a:gd name="connsiteX118" fmla="*/ 181187 w 1652444"/>
              <a:gd name="connsiteY118" fmla="*/ 2355076 h 2368363"/>
              <a:gd name="connsiteX119" fmla="*/ 152916 w 1652444"/>
              <a:gd name="connsiteY119" fmla="*/ 2359113 h 2368363"/>
              <a:gd name="connsiteX120" fmla="*/ 123886 w 1652444"/>
              <a:gd name="connsiteY120" fmla="*/ 2362428 h 2368363"/>
              <a:gd name="connsiteX121" fmla="*/ 94088 w 1652444"/>
              <a:gd name="connsiteY121" fmla="*/ 2365016 h 2368363"/>
              <a:gd name="connsiteX122" fmla="*/ 63513 w 1652444"/>
              <a:gd name="connsiteY122" fmla="*/ 2366872 h 2368363"/>
              <a:gd name="connsiteX123" fmla="*/ 32154 w 1652444"/>
              <a:gd name="connsiteY123" fmla="*/ 2367989 h 2368363"/>
              <a:gd name="connsiteX124" fmla="*/ 0 w 1652444"/>
              <a:gd name="connsiteY124" fmla="*/ 2368363 h 2368363"/>
              <a:gd name="connsiteX125" fmla="*/ 0 w 1652444"/>
              <a:gd name="connsiteY125" fmla="*/ 2262090 h 2368363"/>
              <a:gd name="connsiteX126" fmla="*/ 30867 w 1652444"/>
              <a:gd name="connsiteY126" fmla="*/ 2261685 h 2368363"/>
              <a:gd name="connsiteX127" fmla="*/ 60872 w 1652444"/>
              <a:gd name="connsiteY127" fmla="*/ 2260471 h 2368363"/>
              <a:gd name="connsiteX128" fmla="*/ 90026 w 1652444"/>
              <a:gd name="connsiteY128" fmla="*/ 2258456 h 2368363"/>
              <a:gd name="connsiteX129" fmla="*/ 118340 w 1652444"/>
              <a:gd name="connsiteY129" fmla="*/ 2255643 h 2368363"/>
              <a:gd name="connsiteX130" fmla="*/ 145825 w 1652444"/>
              <a:gd name="connsiteY130" fmla="*/ 2252038 h 2368363"/>
              <a:gd name="connsiteX131" fmla="*/ 172492 w 1652444"/>
              <a:gd name="connsiteY131" fmla="*/ 2247648 h 2368363"/>
              <a:gd name="connsiteX132" fmla="*/ 198352 w 1652444"/>
              <a:gd name="connsiteY132" fmla="*/ 2242477 h 2368363"/>
              <a:gd name="connsiteX133" fmla="*/ 223416 w 1652444"/>
              <a:gd name="connsiteY133" fmla="*/ 2236531 h 2368363"/>
              <a:gd name="connsiteX134" fmla="*/ 247696 w 1652444"/>
              <a:gd name="connsiteY134" fmla="*/ 2229814 h 2368363"/>
              <a:gd name="connsiteX135" fmla="*/ 271201 w 1652444"/>
              <a:gd name="connsiteY135" fmla="*/ 2222332 h 2368363"/>
              <a:gd name="connsiteX136" fmla="*/ 293944 w 1652444"/>
              <a:gd name="connsiteY136" fmla="*/ 2214091 h 2368363"/>
              <a:gd name="connsiteX137" fmla="*/ 315936 w 1652444"/>
              <a:gd name="connsiteY137" fmla="*/ 2205097 h 2368363"/>
              <a:gd name="connsiteX138" fmla="*/ 337186 w 1652444"/>
              <a:gd name="connsiteY138" fmla="*/ 2195353 h 2368363"/>
              <a:gd name="connsiteX139" fmla="*/ 357707 w 1652444"/>
              <a:gd name="connsiteY139" fmla="*/ 2184865 h 2368363"/>
              <a:gd name="connsiteX140" fmla="*/ 396606 w 1652444"/>
              <a:gd name="connsiteY140" fmla="*/ 2161683 h 2368363"/>
              <a:gd name="connsiteX141" fmla="*/ 432719 w 1652444"/>
              <a:gd name="connsiteY141" fmla="*/ 2135592 h 2368363"/>
              <a:gd name="connsiteX142" fmla="*/ 466135 w 1652444"/>
              <a:gd name="connsiteY142" fmla="*/ 2106636 h 2368363"/>
              <a:gd name="connsiteX143" fmla="*/ 496943 w 1652444"/>
              <a:gd name="connsiteY143" fmla="*/ 2074856 h 2368363"/>
              <a:gd name="connsiteX144" fmla="*/ 525232 w 1652444"/>
              <a:gd name="connsiteY144" fmla="*/ 2040296 h 2368363"/>
              <a:gd name="connsiteX145" fmla="*/ 551088 w 1652444"/>
              <a:gd name="connsiteY145" fmla="*/ 2002999 h 2368363"/>
              <a:gd name="connsiteX146" fmla="*/ 563132 w 1652444"/>
              <a:gd name="connsiteY146" fmla="*/ 1983337 h 2368363"/>
              <a:gd name="connsiteX147" fmla="*/ 574602 w 1652444"/>
              <a:gd name="connsiteY147" fmla="*/ 1963008 h 2368363"/>
              <a:gd name="connsiteX148" fmla="*/ 585508 w 1652444"/>
              <a:gd name="connsiteY148" fmla="*/ 1942016 h 2368363"/>
              <a:gd name="connsiteX149" fmla="*/ 595861 w 1652444"/>
              <a:gd name="connsiteY149" fmla="*/ 1920366 h 2368363"/>
              <a:gd name="connsiteX150" fmla="*/ 605674 w 1652444"/>
              <a:gd name="connsiteY150" fmla="*/ 1898064 h 2368363"/>
              <a:gd name="connsiteX151" fmla="*/ 614955 w 1652444"/>
              <a:gd name="connsiteY151" fmla="*/ 1875115 h 2368363"/>
              <a:gd name="connsiteX152" fmla="*/ 623717 w 1652444"/>
              <a:gd name="connsiteY152" fmla="*/ 1851525 h 2368363"/>
              <a:gd name="connsiteX153" fmla="*/ 631971 w 1652444"/>
              <a:gd name="connsiteY153" fmla="*/ 1827299 h 2368363"/>
              <a:gd name="connsiteX154" fmla="*/ 639728 w 1652444"/>
              <a:gd name="connsiteY154" fmla="*/ 1802443 h 2368363"/>
              <a:gd name="connsiteX155" fmla="*/ 646998 w 1652444"/>
              <a:gd name="connsiteY155" fmla="*/ 1776961 h 2368363"/>
              <a:gd name="connsiteX156" fmla="*/ 653794 w 1652444"/>
              <a:gd name="connsiteY156" fmla="*/ 1750859 h 2368363"/>
              <a:gd name="connsiteX157" fmla="*/ 660125 w 1652444"/>
              <a:gd name="connsiteY157" fmla="*/ 1724143 h 2368363"/>
              <a:gd name="connsiteX158" fmla="*/ 666004 w 1652444"/>
              <a:gd name="connsiteY158" fmla="*/ 1696818 h 2368363"/>
              <a:gd name="connsiteX159" fmla="*/ 671440 w 1652444"/>
              <a:gd name="connsiteY159" fmla="*/ 1668888 h 2368363"/>
              <a:gd name="connsiteX160" fmla="*/ 676445 w 1652444"/>
              <a:gd name="connsiteY160" fmla="*/ 1640361 h 2368363"/>
              <a:gd name="connsiteX161" fmla="*/ 681031 w 1652444"/>
              <a:gd name="connsiteY161" fmla="*/ 1611240 h 2368363"/>
              <a:gd name="connsiteX162" fmla="*/ 685208 w 1652444"/>
              <a:gd name="connsiteY162" fmla="*/ 1581532 h 2368363"/>
              <a:gd name="connsiteX163" fmla="*/ 688987 w 1652444"/>
              <a:gd name="connsiteY163" fmla="*/ 1551241 h 2368363"/>
              <a:gd name="connsiteX164" fmla="*/ 692379 w 1652444"/>
              <a:gd name="connsiteY164" fmla="*/ 1520374 h 2368363"/>
              <a:gd name="connsiteX165" fmla="*/ 695396 w 1652444"/>
              <a:gd name="connsiteY165" fmla="*/ 1488934 h 2368363"/>
              <a:gd name="connsiteX166" fmla="*/ 698049 w 1652444"/>
              <a:gd name="connsiteY166" fmla="*/ 1456929 h 2368363"/>
              <a:gd name="connsiteX167" fmla="*/ 700348 w 1652444"/>
              <a:gd name="connsiteY167" fmla="*/ 1424363 h 2368363"/>
              <a:gd name="connsiteX168" fmla="*/ 702305 w 1652444"/>
              <a:gd name="connsiteY168" fmla="*/ 1391241 h 2368363"/>
              <a:gd name="connsiteX169" fmla="*/ 703930 w 1652444"/>
              <a:gd name="connsiteY169" fmla="*/ 1357569 h 2368363"/>
              <a:gd name="connsiteX170" fmla="*/ 705235 w 1652444"/>
              <a:gd name="connsiteY170" fmla="*/ 1323352 h 2368363"/>
              <a:gd name="connsiteX171" fmla="*/ 706230 w 1652444"/>
              <a:gd name="connsiteY171" fmla="*/ 1288596 h 2368363"/>
              <a:gd name="connsiteX172" fmla="*/ 706928 w 1652444"/>
              <a:gd name="connsiteY172" fmla="*/ 1253306 h 2368363"/>
              <a:gd name="connsiteX173" fmla="*/ 707338 w 1652444"/>
              <a:gd name="connsiteY173" fmla="*/ 1217487 h 2368363"/>
              <a:gd name="connsiteX174" fmla="*/ 707472 w 1652444"/>
              <a:gd name="connsiteY174" fmla="*/ 1181145 h 2368363"/>
              <a:gd name="connsiteX175" fmla="*/ 707330 w 1652444"/>
              <a:gd name="connsiteY175" fmla="*/ 1144628 h 2368363"/>
              <a:gd name="connsiteX176" fmla="*/ 706895 w 1652444"/>
              <a:gd name="connsiteY176" fmla="*/ 1108631 h 2368363"/>
              <a:gd name="connsiteX177" fmla="*/ 706157 w 1652444"/>
              <a:gd name="connsiteY177" fmla="*/ 1073158 h 2368363"/>
              <a:gd name="connsiteX178" fmla="*/ 705102 w 1652444"/>
              <a:gd name="connsiteY178" fmla="*/ 1038215 h 2368363"/>
              <a:gd name="connsiteX179" fmla="*/ 703722 w 1652444"/>
              <a:gd name="connsiteY179" fmla="*/ 1003810 h 2368363"/>
              <a:gd name="connsiteX180" fmla="*/ 702004 w 1652444"/>
              <a:gd name="connsiteY180" fmla="*/ 969949 h 2368363"/>
              <a:gd name="connsiteX181" fmla="*/ 699936 w 1652444"/>
              <a:gd name="connsiteY181" fmla="*/ 936637 h 2368363"/>
              <a:gd name="connsiteX182" fmla="*/ 697508 w 1652444"/>
              <a:gd name="connsiteY182" fmla="*/ 903882 h 2368363"/>
              <a:gd name="connsiteX183" fmla="*/ 694708 w 1652444"/>
              <a:gd name="connsiteY183" fmla="*/ 871689 h 2368363"/>
              <a:gd name="connsiteX184" fmla="*/ 691526 w 1652444"/>
              <a:gd name="connsiteY184" fmla="*/ 840064 h 2368363"/>
              <a:gd name="connsiteX185" fmla="*/ 687948 w 1652444"/>
              <a:gd name="connsiteY185" fmla="*/ 809015 h 2368363"/>
              <a:gd name="connsiteX186" fmla="*/ 683964 w 1652444"/>
              <a:gd name="connsiteY186" fmla="*/ 778546 h 2368363"/>
              <a:gd name="connsiteX187" fmla="*/ 679564 w 1652444"/>
              <a:gd name="connsiteY187" fmla="*/ 748664 h 2368363"/>
              <a:gd name="connsiteX188" fmla="*/ 674735 w 1652444"/>
              <a:gd name="connsiteY188" fmla="*/ 719377 h 2368363"/>
              <a:gd name="connsiteX189" fmla="*/ 669466 w 1652444"/>
              <a:gd name="connsiteY189" fmla="*/ 690688 h 2368363"/>
              <a:gd name="connsiteX190" fmla="*/ 663745 w 1652444"/>
              <a:gd name="connsiteY190" fmla="*/ 662606 h 2368363"/>
              <a:gd name="connsiteX191" fmla="*/ 657563 w 1652444"/>
              <a:gd name="connsiteY191" fmla="*/ 635136 h 2368363"/>
              <a:gd name="connsiteX192" fmla="*/ 650906 w 1652444"/>
              <a:gd name="connsiteY192" fmla="*/ 608285 h 2368363"/>
              <a:gd name="connsiteX193" fmla="*/ 643764 w 1652444"/>
              <a:gd name="connsiteY193" fmla="*/ 582058 h 2368363"/>
              <a:gd name="connsiteX194" fmla="*/ 636126 w 1652444"/>
              <a:gd name="connsiteY194" fmla="*/ 556463 h 2368363"/>
              <a:gd name="connsiteX195" fmla="*/ 627979 w 1652444"/>
              <a:gd name="connsiteY195" fmla="*/ 531504 h 2368363"/>
              <a:gd name="connsiteX196" fmla="*/ 619314 w 1652444"/>
              <a:gd name="connsiteY196" fmla="*/ 507189 h 2368363"/>
              <a:gd name="connsiteX197" fmla="*/ 610118 w 1652444"/>
              <a:gd name="connsiteY197" fmla="*/ 483524 h 2368363"/>
              <a:gd name="connsiteX198" fmla="*/ 600379 w 1652444"/>
              <a:gd name="connsiteY198" fmla="*/ 460515 h 2368363"/>
              <a:gd name="connsiteX199" fmla="*/ 590088 w 1652444"/>
              <a:gd name="connsiteY199" fmla="*/ 438168 h 2368363"/>
              <a:gd name="connsiteX200" fmla="*/ 579232 w 1652444"/>
              <a:gd name="connsiteY200" fmla="*/ 416490 h 2368363"/>
              <a:gd name="connsiteX201" fmla="*/ 567800 w 1652444"/>
              <a:gd name="connsiteY201" fmla="*/ 395486 h 2368363"/>
              <a:gd name="connsiteX202" fmla="*/ 555781 w 1652444"/>
              <a:gd name="connsiteY202" fmla="*/ 375164 h 2368363"/>
              <a:gd name="connsiteX203" fmla="*/ 543163 w 1652444"/>
              <a:gd name="connsiteY203" fmla="*/ 355528 h 2368363"/>
              <a:gd name="connsiteX204" fmla="*/ 516086 w 1652444"/>
              <a:gd name="connsiteY204" fmla="*/ 318344 h 2368363"/>
              <a:gd name="connsiteX205" fmla="*/ 486478 w 1652444"/>
              <a:gd name="connsiteY205" fmla="*/ 283984 h 2368363"/>
              <a:gd name="connsiteX206" fmla="*/ 454249 w 1652444"/>
              <a:gd name="connsiteY206" fmla="*/ 252498 h 2368363"/>
              <a:gd name="connsiteX207" fmla="*/ 419309 w 1652444"/>
              <a:gd name="connsiteY207" fmla="*/ 223936 h 2368363"/>
              <a:gd name="connsiteX208" fmla="*/ 381565 w 1652444"/>
              <a:gd name="connsiteY208" fmla="*/ 198347 h 2368363"/>
              <a:gd name="connsiteX209" fmla="*/ 361614 w 1652444"/>
              <a:gd name="connsiteY209" fmla="*/ 186684 h 2368363"/>
              <a:gd name="connsiteX210" fmla="*/ 340928 w 1652444"/>
              <a:gd name="connsiteY210" fmla="*/ 175783 h 2368363"/>
              <a:gd name="connsiteX211" fmla="*/ 319497 w 1652444"/>
              <a:gd name="connsiteY211" fmla="*/ 165650 h 2368363"/>
              <a:gd name="connsiteX212" fmla="*/ 297308 w 1652444"/>
              <a:gd name="connsiteY212" fmla="*/ 156292 h 2368363"/>
              <a:gd name="connsiteX213" fmla="*/ 274350 w 1652444"/>
              <a:gd name="connsiteY213" fmla="*/ 147715 h 2368363"/>
              <a:gd name="connsiteX214" fmla="*/ 250612 w 1652444"/>
              <a:gd name="connsiteY214" fmla="*/ 139925 h 2368363"/>
              <a:gd name="connsiteX215" fmla="*/ 226083 w 1652444"/>
              <a:gd name="connsiteY215" fmla="*/ 132929 h 2368363"/>
              <a:gd name="connsiteX216" fmla="*/ 200751 w 1652444"/>
              <a:gd name="connsiteY216" fmla="*/ 126732 h 2368363"/>
              <a:gd name="connsiteX217" fmla="*/ 174605 w 1652444"/>
              <a:gd name="connsiteY217" fmla="*/ 121342 h 2368363"/>
              <a:gd name="connsiteX218" fmla="*/ 147634 w 1652444"/>
              <a:gd name="connsiteY218" fmla="*/ 116764 h 2368363"/>
              <a:gd name="connsiteX219" fmla="*/ 119826 w 1652444"/>
              <a:gd name="connsiteY219" fmla="*/ 113003 h 2368363"/>
              <a:gd name="connsiteX220" fmla="*/ 91170 w 1652444"/>
              <a:gd name="connsiteY220" fmla="*/ 110068 h 2368363"/>
              <a:gd name="connsiteX221" fmla="*/ 61654 w 1652444"/>
              <a:gd name="connsiteY221" fmla="*/ 107964 h 2368363"/>
              <a:gd name="connsiteX222" fmla="*/ 31268 w 1652444"/>
              <a:gd name="connsiteY222" fmla="*/ 106696 h 2368363"/>
              <a:gd name="connsiteX223" fmla="*/ 0 w 1652444"/>
              <a:gd name="connsiteY223" fmla="*/ 106272 h 2368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1652444" h="2368363">
                <a:moveTo>
                  <a:pt x="984444" y="15381"/>
                </a:moveTo>
                <a:lnTo>
                  <a:pt x="1652444" y="15381"/>
                </a:lnTo>
                <a:lnTo>
                  <a:pt x="1652444" y="121261"/>
                </a:lnTo>
                <a:lnTo>
                  <a:pt x="1652444" y="2252660"/>
                </a:lnTo>
                <a:lnTo>
                  <a:pt x="1652444" y="2359307"/>
                </a:lnTo>
                <a:lnTo>
                  <a:pt x="984444" y="2359307"/>
                </a:lnTo>
                <a:lnTo>
                  <a:pt x="984444" y="2252660"/>
                </a:lnTo>
                <a:lnTo>
                  <a:pt x="1530989" y="2252660"/>
                </a:lnTo>
                <a:lnTo>
                  <a:pt x="1530989" y="121261"/>
                </a:lnTo>
                <a:lnTo>
                  <a:pt x="984444" y="121261"/>
                </a:lnTo>
                <a:close/>
                <a:moveTo>
                  <a:pt x="0" y="0"/>
                </a:moveTo>
                <a:lnTo>
                  <a:pt x="32009" y="371"/>
                </a:lnTo>
                <a:lnTo>
                  <a:pt x="63234" y="1481"/>
                </a:lnTo>
                <a:lnTo>
                  <a:pt x="93683" y="3325"/>
                </a:lnTo>
                <a:lnTo>
                  <a:pt x="123364" y="5896"/>
                </a:lnTo>
                <a:lnTo>
                  <a:pt x="152286" y="9190"/>
                </a:lnTo>
                <a:lnTo>
                  <a:pt x="180459" y="13201"/>
                </a:lnTo>
                <a:lnTo>
                  <a:pt x="207890" y="17925"/>
                </a:lnTo>
                <a:lnTo>
                  <a:pt x="234587" y="23355"/>
                </a:lnTo>
                <a:lnTo>
                  <a:pt x="260561" y="29486"/>
                </a:lnTo>
                <a:lnTo>
                  <a:pt x="285818" y="36314"/>
                </a:lnTo>
                <a:lnTo>
                  <a:pt x="310368" y="43831"/>
                </a:lnTo>
                <a:lnTo>
                  <a:pt x="334219" y="52033"/>
                </a:lnTo>
                <a:lnTo>
                  <a:pt x="357381" y="60916"/>
                </a:lnTo>
                <a:lnTo>
                  <a:pt x="379860" y="70472"/>
                </a:lnTo>
                <a:lnTo>
                  <a:pt x="401667" y="80697"/>
                </a:lnTo>
                <a:lnTo>
                  <a:pt x="422809" y="91586"/>
                </a:lnTo>
                <a:lnTo>
                  <a:pt x="443297" y="103133"/>
                </a:lnTo>
                <a:lnTo>
                  <a:pt x="463136" y="115333"/>
                </a:lnTo>
                <a:lnTo>
                  <a:pt x="482337" y="128180"/>
                </a:lnTo>
                <a:lnTo>
                  <a:pt x="518858" y="155795"/>
                </a:lnTo>
                <a:lnTo>
                  <a:pt x="552927" y="185936"/>
                </a:lnTo>
                <a:lnTo>
                  <a:pt x="584614" y="218558"/>
                </a:lnTo>
                <a:lnTo>
                  <a:pt x="613987" y="253619"/>
                </a:lnTo>
                <a:lnTo>
                  <a:pt x="627828" y="272050"/>
                </a:lnTo>
                <a:lnTo>
                  <a:pt x="641115" y="291076"/>
                </a:lnTo>
                <a:lnTo>
                  <a:pt x="653859" y="310690"/>
                </a:lnTo>
                <a:lnTo>
                  <a:pt x="666067" y="330886"/>
                </a:lnTo>
                <a:lnTo>
                  <a:pt x="677748" y="351661"/>
                </a:lnTo>
                <a:lnTo>
                  <a:pt x="688911" y="373007"/>
                </a:lnTo>
                <a:lnTo>
                  <a:pt x="699564" y="394920"/>
                </a:lnTo>
                <a:lnTo>
                  <a:pt x="709715" y="417394"/>
                </a:lnTo>
                <a:lnTo>
                  <a:pt x="719375" y="440424"/>
                </a:lnTo>
                <a:lnTo>
                  <a:pt x="728550" y="464005"/>
                </a:lnTo>
                <a:lnTo>
                  <a:pt x="737250" y="488131"/>
                </a:lnTo>
                <a:lnTo>
                  <a:pt x="745483" y="512797"/>
                </a:lnTo>
                <a:lnTo>
                  <a:pt x="753258" y="537997"/>
                </a:lnTo>
                <a:lnTo>
                  <a:pt x="760583" y="563727"/>
                </a:lnTo>
                <a:lnTo>
                  <a:pt x="767468" y="589980"/>
                </a:lnTo>
                <a:lnTo>
                  <a:pt x="773919" y="616751"/>
                </a:lnTo>
                <a:lnTo>
                  <a:pt x="779947" y="644036"/>
                </a:lnTo>
                <a:lnTo>
                  <a:pt x="785559" y="671828"/>
                </a:lnTo>
                <a:lnTo>
                  <a:pt x="790765" y="700122"/>
                </a:lnTo>
                <a:lnTo>
                  <a:pt x="795573" y="728914"/>
                </a:lnTo>
                <a:lnTo>
                  <a:pt x="799991" y="758196"/>
                </a:lnTo>
                <a:lnTo>
                  <a:pt x="804029" y="787965"/>
                </a:lnTo>
                <a:lnTo>
                  <a:pt x="807694" y="818214"/>
                </a:lnTo>
                <a:lnTo>
                  <a:pt x="810995" y="848939"/>
                </a:lnTo>
                <a:lnTo>
                  <a:pt x="813941" y="880134"/>
                </a:lnTo>
                <a:lnTo>
                  <a:pt x="816541" y="911793"/>
                </a:lnTo>
                <a:lnTo>
                  <a:pt x="818802" y="943911"/>
                </a:lnTo>
                <a:lnTo>
                  <a:pt x="820734" y="976483"/>
                </a:lnTo>
                <a:lnTo>
                  <a:pt x="822345" y="1009504"/>
                </a:lnTo>
                <a:lnTo>
                  <a:pt x="823645" y="1042967"/>
                </a:lnTo>
                <a:lnTo>
                  <a:pt x="824641" y="1076869"/>
                </a:lnTo>
                <a:lnTo>
                  <a:pt x="825341" y="1111203"/>
                </a:lnTo>
                <a:lnTo>
                  <a:pt x="825755" y="1145963"/>
                </a:lnTo>
                <a:lnTo>
                  <a:pt x="825891" y="1181145"/>
                </a:lnTo>
                <a:lnTo>
                  <a:pt x="825757" y="1216476"/>
                </a:lnTo>
                <a:lnTo>
                  <a:pt x="825350" y="1251386"/>
                </a:lnTo>
                <a:lnTo>
                  <a:pt x="824661" y="1285869"/>
                </a:lnTo>
                <a:lnTo>
                  <a:pt x="823681" y="1319919"/>
                </a:lnTo>
                <a:lnTo>
                  <a:pt x="822402" y="1353531"/>
                </a:lnTo>
                <a:lnTo>
                  <a:pt x="820814" y="1386700"/>
                </a:lnTo>
                <a:lnTo>
                  <a:pt x="818909" y="1419420"/>
                </a:lnTo>
                <a:lnTo>
                  <a:pt x="816677" y="1451685"/>
                </a:lnTo>
                <a:lnTo>
                  <a:pt x="814111" y="1483490"/>
                </a:lnTo>
                <a:lnTo>
                  <a:pt x="811200" y="1514831"/>
                </a:lnTo>
                <a:lnTo>
                  <a:pt x="807937" y="1545700"/>
                </a:lnTo>
                <a:lnTo>
                  <a:pt x="804312" y="1576094"/>
                </a:lnTo>
                <a:lnTo>
                  <a:pt x="800317" y="1606006"/>
                </a:lnTo>
                <a:lnTo>
                  <a:pt x="795943" y="1635430"/>
                </a:lnTo>
                <a:lnTo>
                  <a:pt x="791181" y="1664362"/>
                </a:lnTo>
                <a:lnTo>
                  <a:pt x="786022" y="1692796"/>
                </a:lnTo>
                <a:lnTo>
                  <a:pt x="780458" y="1720727"/>
                </a:lnTo>
                <a:lnTo>
                  <a:pt x="774479" y="1748148"/>
                </a:lnTo>
                <a:lnTo>
                  <a:pt x="768076" y="1775055"/>
                </a:lnTo>
                <a:lnTo>
                  <a:pt x="761241" y="1801442"/>
                </a:lnTo>
                <a:lnTo>
                  <a:pt x="753966" y="1827305"/>
                </a:lnTo>
                <a:lnTo>
                  <a:pt x="746241" y="1852636"/>
                </a:lnTo>
                <a:lnTo>
                  <a:pt x="738057" y="1877431"/>
                </a:lnTo>
                <a:lnTo>
                  <a:pt x="729406" y="1901684"/>
                </a:lnTo>
                <a:lnTo>
                  <a:pt x="720278" y="1925390"/>
                </a:lnTo>
                <a:lnTo>
                  <a:pt x="710665" y="1948543"/>
                </a:lnTo>
                <a:lnTo>
                  <a:pt x="700559" y="1971139"/>
                </a:lnTo>
                <a:lnTo>
                  <a:pt x="689949" y="1993171"/>
                </a:lnTo>
                <a:lnTo>
                  <a:pt x="678828" y="2014634"/>
                </a:lnTo>
                <a:lnTo>
                  <a:pt x="667187" y="2035522"/>
                </a:lnTo>
                <a:lnTo>
                  <a:pt x="655016" y="2055830"/>
                </a:lnTo>
                <a:lnTo>
                  <a:pt x="642307" y="2075554"/>
                </a:lnTo>
                <a:lnTo>
                  <a:pt x="629052" y="2094686"/>
                </a:lnTo>
                <a:lnTo>
                  <a:pt x="615240" y="2113223"/>
                </a:lnTo>
                <a:lnTo>
                  <a:pt x="585914" y="2148484"/>
                </a:lnTo>
                <a:lnTo>
                  <a:pt x="554260" y="2181295"/>
                </a:lnTo>
                <a:lnTo>
                  <a:pt x="520206" y="2211611"/>
                </a:lnTo>
                <a:lnTo>
                  <a:pt x="483682" y="2239390"/>
                </a:lnTo>
                <a:lnTo>
                  <a:pt x="464472" y="2252315"/>
                </a:lnTo>
                <a:lnTo>
                  <a:pt x="444617" y="2264587"/>
                </a:lnTo>
                <a:lnTo>
                  <a:pt x="424110" y="2276205"/>
                </a:lnTo>
                <a:lnTo>
                  <a:pt x="402941" y="2287159"/>
                </a:lnTo>
                <a:lnTo>
                  <a:pt x="381102" y="2297448"/>
                </a:lnTo>
                <a:lnTo>
                  <a:pt x="358583" y="2307062"/>
                </a:lnTo>
                <a:lnTo>
                  <a:pt x="335376" y="2316000"/>
                </a:lnTo>
                <a:lnTo>
                  <a:pt x="311472" y="2324254"/>
                </a:lnTo>
                <a:lnTo>
                  <a:pt x="286862" y="2331818"/>
                </a:lnTo>
                <a:lnTo>
                  <a:pt x="261537" y="2338687"/>
                </a:lnTo>
                <a:lnTo>
                  <a:pt x="235489" y="2344857"/>
                </a:lnTo>
                <a:lnTo>
                  <a:pt x="208709" y="2350322"/>
                </a:lnTo>
                <a:lnTo>
                  <a:pt x="181187" y="2355076"/>
                </a:lnTo>
                <a:lnTo>
                  <a:pt x="152916" y="2359113"/>
                </a:lnTo>
                <a:lnTo>
                  <a:pt x="123886" y="2362428"/>
                </a:lnTo>
                <a:lnTo>
                  <a:pt x="94088" y="2365016"/>
                </a:lnTo>
                <a:lnTo>
                  <a:pt x="63513" y="2366872"/>
                </a:lnTo>
                <a:lnTo>
                  <a:pt x="32154" y="2367989"/>
                </a:lnTo>
                <a:lnTo>
                  <a:pt x="0" y="2368363"/>
                </a:lnTo>
                <a:lnTo>
                  <a:pt x="0" y="2262090"/>
                </a:lnTo>
                <a:lnTo>
                  <a:pt x="30867" y="2261685"/>
                </a:lnTo>
                <a:lnTo>
                  <a:pt x="60872" y="2260471"/>
                </a:lnTo>
                <a:lnTo>
                  <a:pt x="90026" y="2258456"/>
                </a:lnTo>
                <a:lnTo>
                  <a:pt x="118340" y="2255643"/>
                </a:lnTo>
                <a:lnTo>
                  <a:pt x="145825" y="2252038"/>
                </a:lnTo>
                <a:lnTo>
                  <a:pt x="172492" y="2247648"/>
                </a:lnTo>
                <a:lnTo>
                  <a:pt x="198352" y="2242477"/>
                </a:lnTo>
                <a:lnTo>
                  <a:pt x="223416" y="2236531"/>
                </a:lnTo>
                <a:lnTo>
                  <a:pt x="247696" y="2229814"/>
                </a:lnTo>
                <a:lnTo>
                  <a:pt x="271201" y="2222332"/>
                </a:lnTo>
                <a:lnTo>
                  <a:pt x="293944" y="2214091"/>
                </a:lnTo>
                <a:lnTo>
                  <a:pt x="315936" y="2205097"/>
                </a:lnTo>
                <a:lnTo>
                  <a:pt x="337186" y="2195353"/>
                </a:lnTo>
                <a:lnTo>
                  <a:pt x="357707" y="2184865"/>
                </a:lnTo>
                <a:lnTo>
                  <a:pt x="396606" y="2161683"/>
                </a:lnTo>
                <a:lnTo>
                  <a:pt x="432719" y="2135592"/>
                </a:lnTo>
                <a:lnTo>
                  <a:pt x="466135" y="2106636"/>
                </a:lnTo>
                <a:lnTo>
                  <a:pt x="496943" y="2074856"/>
                </a:lnTo>
                <a:lnTo>
                  <a:pt x="525232" y="2040296"/>
                </a:lnTo>
                <a:lnTo>
                  <a:pt x="551088" y="2002999"/>
                </a:lnTo>
                <a:lnTo>
                  <a:pt x="563132" y="1983337"/>
                </a:lnTo>
                <a:lnTo>
                  <a:pt x="574602" y="1963008"/>
                </a:lnTo>
                <a:lnTo>
                  <a:pt x="585508" y="1942016"/>
                </a:lnTo>
                <a:lnTo>
                  <a:pt x="595861" y="1920366"/>
                </a:lnTo>
                <a:lnTo>
                  <a:pt x="605674" y="1898064"/>
                </a:lnTo>
                <a:lnTo>
                  <a:pt x="614955" y="1875115"/>
                </a:lnTo>
                <a:lnTo>
                  <a:pt x="623717" y="1851525"/>
                </a:lnTo>
                <a:lnTo>
                  <a:pt x="631971" y="1827299"/>
                </a:lnTo>
                <a:lnTo>
                  <a:pt x="639728" y="1802443"/>
                </a:lnTo>
                <a:lnTo>
                  <a:pt x="646998" y="1776961"/>
                </a:lnTo>
                <a:lnTo>
                  <a:pt x="653794" y="1750859"/>
                </a:lnTo>
                <a:lnTo>
                  <a:pt x="660125" y="1724143"/>
                </a:lnTo>
                <a:lnTo>
                  <a:pt x="666004" y="1696818"/>
                </a:lnTo>
                <a:lnTo>
                  <a:pt x="671440" y="1668888"/>
                </a:lnTo>
                <a:lnTo>
                  <a:pt x="676445" y="1640361"/>
                </a:lnTo>
                <a:lnTo>
                  <a:pt x="681031" y="1611240"/>
                </a:lnTo>
                <a:lnTo>
                  <a:pt x="685208" y="1581532"/>
                </a:lnTo>
                <a:lnTo>
                  <a:pt x="688987" y="1551241"/>
                </a:lnTo>
                <a:lnTo>
                  <a:pt x="692379" y="1520374"/>
                </a:lnTo>
                <a:lnTo>
                  <a:pt x="695396" y="1488934"/>
                </a:lnTo>
                <a:lnTo>
                  <a:pt x="698049" y="1456929"/>
                </a:lnTo>
                <a:lnTo>
                  <a:pt x="700348" y="1424363"/>
                </a:lnTo>
                <a:lnTo>
                  <a:pt x="702305" y="1391241"/>
                </a:lnTo>
                <a:lnTo>
                  <a:pt x="703930" y="1357569"/>
                </a:lnTo>
                <a:lnTo>
                  <a:pt x="705235" y="1323352"/>
                </a:lnTo>
                <a:lnTo>
                  <a:pt x="706230" y="1288596"/>
                </a:lnTo>
                <a:lnTo>
                  <a:pt x="706928" y="1253306"/>
                </a:lnTo>
                <a:lnTo>
                  <a:pt x="707338" y="1217487"/>
                </a:lnTo>
                <a:lnTo>
                  <a:pt x="707472" y="1181145"/>
                </a:lnTo>
                <a:lnTo>
                  <a:pt x="707330" y="1144628"/>
                </a:lnTo>
                <a:lnTo>
                  <a:pt x="706895" y="1108631"/>
                </a:lnTo>
                <a:lnTo>
                  <a:pt x="706157" y="1073158"/>
                </a:lnTo>
                <a:lnTo>
                  <a:pt x="705102" y="1038215"/>
                </a:lnTo>
                <a:lnTo>
                  <a:pt x="703722" y="1003810"/>
                </a:lnTo>
                <a:lnTo>
                  <a:pt x="702004" y="969949"/>
                </a:lnTo>
                <a:lnTo>
                  <a:pt x="699936" y="936637"/>
                </a:lnTo>
                <a:lnTo>
                  <a:pt x="697508" y="903882"/>
                </a:lnTo>
                <a:lnTo>
                  <a:pt x="694708" y="871689"/>
                </a:lnTo>
                <a:lnTo>
                  <a:pt x="691526" y="840064"/>
                </a:lnTo>
                <a:lnTo>
                  <a:pt x="687948" y="809015"/>
                </a:lnTo>
                <a:lnTo>
                  <a:pt x="683964" y="778546"/>
                </a:lnTo>
                <a:lnTo>
                  <a:pt x="679564" y="748664"/>
                </a:lnTo>
                <a:lnTo>
                  <a:pt x="674735" y="719377"/>
                </a:lnTo>
                <a:lnTo>
                  <a:pt x="669466" y="690688"/>
                </a:lnTo>
                <a:lnTo>
                  <a:pt x="663745" y="662606"/>
                </a:lnTo>
                <a:lnTo>
                  <a:pt x="657563" y="635136"/>
                </a:lnTo>
                <a:lnTo>
                  <a:pt x="650906" y="608285"/>
                </a:lnTo>
                <a:lnTo>
                  <a:pt x="643764" y="582058"/>
                </a:lnTo>
                <a:lnTo>
                  <a:pt x="636126" y="556463"/>
                </a:lnTo>
                <a:lnTo>
                  <a:pt x="627979" y="531504"/>
                </a:lnTo>
                <a:lnTo>
                  <a:pt x="619314" y="507189"/>
                </a:lnTo>
                <a:lnTo>
                  <a:pt x="610118" y="483524"/>
                </a:lnTo>
                <a:lnTo>
                  <a:pt x="600379" y="460515"/>
                </a:lnTo>
                <a:lnTo>
                  <a:pt x="590088" y="438168"/>
                </a:lnTo>
                <a:lnTo>
                  <a:pt x="579232" y="416490"/>
                </a:lnTo>
                <a:lnTo>
                  <a:pt x="567800" y="395486"/>
                </a:lnTo>
                <a:lnTo>
                  <a:pt x="555781" y="375164"/>
                </a:lnTo>
                <a:lnTo>
                  <a:pt x="543163" y="355528"/>
                </a:lnTo>
                <a:lnTo>
                  <a:pt x="516086" y="318344"/>
                </a:lnTo>
                <a:lnTo>
                  <a:pt x="486478" y="283984"/>
                </a:lnTo>
                <a:lnTo>
                  <a:pt x="454249" y="252498"/>
                </a:lnTo>
                <a:lnTo>
                  <a:pt x="419309" y="223936"/>
                </a:lnTo>
                <a:lnTo>
                  <a:pt x="381565" y="198347"/>
                </a:lnTo>
                <a:lnTo>
                  <a:pt x="361614" y="186684"/>
                </a:lnTo>
                <a:lnTo>
                  <a:pt x="340928" y="175783"/>
                </a:lnTo>
                <a:lnTo>
                  <a:pt x="319497" y="165650"/>
                </a:lnTo>
                <a:lnTo>
                  <a:pt x="297308" y="156292"/>
                </a:lnTo>
                <a:lnTo>
                  <a:pt x="274350" y="147715"/>
                </a:lnTo>
                <a:lnTo>
                  <a:pt x="250612" y="139925"/>
                </a:lnTo>
                <a:lnTo>
                  <a:pt x="226083" y="132929"/>
                </a:lnTo>
                <a:lnTo>
                  <a:pt x="200751" y="126732"/>
                </a:lnTo>
                <a:lnTo>
                  <a:pt x="174605" y="121342"/>
                </a:lnTo>
                <a:lnTo>
                  <a:pt x="147634" y="116764"/>
                </a:lnTo>
                <a:lnTo>
                  <a:pt x="119826" y="113003"/>
                </a:lnTo>
                <a:lnTo>
                  <a:pt x="91170" y="110068"/>
                </a:lnTo>
                <a:lnTo>
                  <a:pt x="61654" y="107964"/>
                </a:lnTo>
                <a:lnTo>
                  <a:pt x="31268" y="106696"/>
                </a:lnTo>
                <a:lnTo>
                  <a:pt x="0" y="106272"/>
                </a:lnTo>
                <a:close/>
              </a:path>
            </a:pathLst>
          </a:custGeom>
          <a:solidFill>
            <a:srgbClr val="B44280"/>
          </a:solid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6EE1813C-833F-4B00-8AC7-CD62351492B7}" type="datetime2">
              <a:rPr lang="da-DK" smtClean="0"/>
              <a:t>11. december 2025</a:t>
            </a:fld>
            <a:endParaRPr lang="da-DK" dirty="0"/>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dirty="0"/>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dirty="0"/>
          </a:p>
        </p:txBody>
      </p:sp>
      <p:sp>
        <p:nvSpPr>
          <p:cNvPr id="2" name="TextBox 1">
            <a:extLst>
              <a:ext uri="{FF2B5EF4-FFF2-40B4-BE49-F238E27FC236}">
                <a16:creationId xmlns:a16="http://schemas.microsoft.com/office/drawing/2014/main" id="{460C2035-2239-2E22-ADCE-03BC89FA205F}"/>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spTree>
    <p:extLst>
      <p:ext uri="{BB962C8B-B14F-4D97-AF65-F5344CB8AC3E}">
        <p14:creationId xmlns:p14="http://schemas.microsoft.com/office/powerpoint/2010/main" val="2081235040"/>
      </p:ext>
    </p:extLst>
  </p:cSld>
  <p:clrMapOvr>
    <a:masterClrMapping/>
  </p:clrMapOvr>
  <p:extLst>
    <p:ext uri="{DCECCB84-F9BA-43D5-87BE-67443E8EF086}">
      <p15:sldGuideLst xmlns:p15="http://schemas.microsoft.com/office/powerpoint/2012/main">
        <p15:guide id="6" orient="horz" pos="2660">
          <p15:clr>
            <a:srgbClr val="A4A3A4"/>
          </p15:clr>
        </p15:guide>
        <p15:guide id="7" orient="horz" pos="2773">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re billeder og teks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7AEED892-4D6B-5AD6-3AEE-884EC0332F62}"/>
              </a:ext>
            </a:extLst>
          </p:cNvPr>
          <p:cNvSpPr>
            <a:spLocks noGrp="1"/>
          </p:cNvSpPr>
          <p:nvPr>
            <p:ph type="pic" sz="quarter" idx="14" hasCustomPrompt="1"/>
          </p:nvPr>
        </p:nvSpPr>
        <p:spPr>
          <a:xfrm>
            <a:off x="405001" y="0"/>
            <a:ext cx="2686500" cy="31671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31" name="Picture Placeholder 3">
            <a:extLst>
              <a:ext uri="{FF2B5EF4-FFF2-40B4-BE49-F238E27FC236}">
                <a16:creationId xmlns:a16="http://schemas.microsoft.com/office/drawing/2014/main" id="{0C5AC296-1E96-EE8B-9C85-121FADCDAEEA}"/>
              </a:ext>
            </a:extLst>
          </p:cNvPr>
          <p:cNvSpPr>
            <a:spLocks noGrp="1"/>
          </p:cNvSpPr>
          <p:nvPr>
            <p:ph type="pic" sz="quarter" idx="26" hasCustomPrompt="1"/>
          </p:nvPr>
        </p:nvSpPr>
        <p:spPr>
          <a:xfrm>
            <a:off x="3229200" y="0"/>
            <a:ext cx="2686500" cy="31671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3" name="Picture Placeholder 3">
            <a:extLst>
              <a:ext uri="{FF2B5EF4-FFF2-40B4-BE49-F238E27FC236}">
                <a16:creationId xmlns:a16="http://schemas.microsoft.com/office/drawing/2014/main" id="{5F2C9F80-9D2C-1AE1-46B6-2D3A7D8A6976}"/>
              </a:ext>
            </a:extLst>
          </p:cNvPr>
          <p:cNvSpPr>
            <a:spLocks noGrp="1"/>
          </p:cNvSpPr>
          <p:nvPr>
            <p:ph type="pic" sz="quarter" idx="27" hasCustomPrompt="1"/>
          </p:nvPr>
        </p:nvSpPr>
        <p:spPr>
          <a:xfrm>
            <a:off x="6050570" y="0"/>
            <a:ext cx="2686500" cy="3167100"/>
          </a:xfrm>
          <a:solidFill>
            <a:schemeClr val="bg1"/>
          </a:solidFill>
        </p:spPr>
        <p:txBody>
          <a:bodyPr tIns="648000" anchor="ctr" anchorCtr="0"/>
          <a:lstStyle>
            <a:lvl1pPr marL="0" indent="0" algn="ctr">
              <a:buNone/>
              <a:defRPr sz="1200"/>
            </a:lvl1pPr>
          </a:lstStyle>
          <a:p>
            <a:r>
              <a:rPr lang="da-DK" noProof="0" dirty="0"/>
              <a:t>Klik for at indsætte billede</a:t>
            </a:r>
          </a:p>
        </p:txBody>
      </p:sp>
      <p:sp>
        <p:nvSpPr>
          <p:cNvPr id="18" name="Pladsholder til tekst 17">
            <a:extLst>
              <a:ext uri="{FF2B5EF4-FFF2-40B4-BE49-F238E27FC236}">
                <a16:creationId xmlns:a16="http://schemas.microsoft.com/office/drawing/2014/main" id="{7A036220-52A4-5423-2E3D-CA9465DCF383}"/>
              </a:ext>
            </a:extLst>
          </p:cNvPr>
          <p:cNvSpPr>
            <a:spLocks noGrp="1"/>
          </p:cNvSpPr>
          <p:nvPr>
            <p:ph type="body" sz="quarter" idx="21" hasCustomPrompt="1"/>
          </p:nvPr>
        </p:nvSpPr>
        <p:spPr>
          <a:xfrm>
            <a:off x="405001" y="3302100"/>
            <a:ext cx="2686500" cy="1301400"/>
          </a:xfrm>
        </p:spPr>
        <p:txBody>
          <a:bodyPr/>
          <a:lstStyle>
            <a:lvl1pPr>
              <a:defRPr/>
            </a:lvl1pPr>
          </a:lstStyle>
          <a:p>
            <a:pPr lvl="0"/>
            <a:r>
              <a:rPr lang="da-DK" noProof="0" dirty="0"/>
              <a:t>Klik for at tilføje tekst                             Klik ENTER og derefter TAB for at se næste tekstformat                              Klik SHIFT+TAB for at se foregående tekstformat</a:t>
            </a:r>
          </a:p>
          <a:p>
            <a:pPr lvl="1"/>
            <a:r>
              <a:rPr lang="da-DK" noProof="0" dirty="0"/>
              <a:t>Andet Niveau</a:t>
            </a:r>
          </a:p>
        </p:txBody>
      </p:sp>
      <p:sp>
        <p:nvSpPr>
          <p:cNvPr id="20" name="Pladsholder til tekst 19">
            <a:extLst>
              <a:ext uri="{FF2B5EF4-FFF2-40B4-BE49-F238E27FC236}">
                <a16:creationId xmlns:a16="http://schemas.microsoft.com/office/drawing/2014/main" id="{B8BFA8BA-84C0-F72E-A750-BA569C419DF9}"/>
              </a:ext>
            </a:extLst>
          </p:cNvPr>
          <p:cNvSpPr>
            <a:spLocks noGrp="1"/>
          </p:cNvSpPr>
          <p:nvPr>
            <p:ph type="body" sz="quarter" idx="22" hasCustomPrompt="1"/>
          </p:nvPr>
        </p:nvSpPr>
        <p:spPr>
          <a:xfrm>
            <a:off x="3229200" y="3302100"/>
            <a:ext cx="2686500" cy="1301400"/>
          </a:xfrm>
        </p:spPr>
        <p:txBody>
          <a:bodyPr/>
          <a:lstStyle>
            <a:lvl1pPr>
              <a:defRPr/>
            </a:lvl1pPr>
          </a:lstStyle>
          <a:p>
            <a:pPr lvl="0"/>
            <a:r>
              <a:rPr lang="da-DK" noProof="0" dirty="0"/>
              <a:t>Klik for at tilføje tekst                         Klik ENTER og derefter TAB for at se næste tekstformat                                Klik SHIFT+TAB for at se foregående tekstformat</a:t>
            </a:r>
          </a:p>
          <a:p>
            <a:pPr lvl="1"/>
            <a:r>
              <a:rPr lang="da-DK" noProof="0" dirty="0"/>
              <a:t>Andet Niveau</a:t>
            </a:r>
          </a:p>
        </p:txBody>
      </p:sp>
      <p:sp>
        <p:nvSpPr>
          <p:cNvPr id="2" name="Pladsholder til tekst 21">
            <a:extLst>
              <a:ext uri="{FF2B5EF4-FFF2-40B4-BE49-F238E27FC236}">
                <a16:creationId xmlns:a16="http://schemas.microsoft.com/office/drawing/2014/main" id="{B9E2D20B-4753-F312-1E3D-2FCF85F1B474}"/>
              </a:ext>
            </a:extLst>
          </p:cNvPr>
          <p:cNvSpPr>
            <a:spLocks noGrp="1"/>
          </p:cNvSpPr>
          <p:nvPr>
            <p:ph type="body" sz="quarter" idx="23" hasCustomPrompt="1"/>
          </p:nvPr>
        </p:nvSpPr>
        <p:spPr>
          <a:xfrm>
            <a:off x="6050570" y="3302100"/>
            <a:ext cx="2686500" cy="1301400"/>
          </a:xfrm>
        </p:spPr>
        <p:txBody>
          <a:bodyPr/>
          <a:lstStyle/>
          <a:p>
            <a:pPr lvl="0"/>
            <a:r>
              <a:rPr lang="da-DK" noProof="0" dirty="0"/>
              <a:t>Klik for at tilføje tekst                         Klik ENTER og derefter TAB for at se næste tekstformat                                Klik SHIFT+TAB for at se foregående tekstformat</a:t>
            </a:r>
          </a:p>
          <a:p>
            <a:pPr lvl="1"/>
            <a:r>
              <a:rPr lang="da-DK" noProof="0" dirty="0"/>
              <a:t>Andet Niveau</a:t>
            </a:r>
          </a:p>
        </p:txBody>
      </p:sp>
      <p:sp>
        <p:nvSpPr>
          <p:cNvPr id="35" name="Makro grafik 1">
            <a:extLst>
              <a:ext uri="{FF2B5EF4-FFF2-40B4-BE49-F238E27FC236}">
                <a16:creationId xmlns:a16="http://schemas.microsoft.com/office/drawing/2014/main" id="{7C623DFE-050D-8EBF-2AB6-73D6BB690D9E}"/>
              </a:ext>
            </a:extLst>
          </p:cNvPr>
          <p:cNvSpPr>
            <a:spLocks noGrp="1" noChangeAspect="1"/>
          </p:cNvSpPr>
          <p:nvPr>
            <p:ph type="body" sz="quarter" idx="24" hasCustomPrompt="1"/>
          </p:nvPr>
        </p:nvSpPr>
        <p:spPr>
          <a:xfrm>
            <a:off x="2395552" y="507021"/>
            <a:ext cx="824373" cy="876750"/>
          </a:xfrm>
          <a:custGeom>
            <a:avLst/>
            <a:gdLst>
              <a:gd name="connsiteX0" fmla="*/ 491891 w 1099164"/>
              <a:gd name="connsiteY0" fmla="*/ 0 h 1169000"/>
              <a:gd name="connsiteX1" fmla="*/ 607273 w 1099164"/>
              <a:gd name="connsiteY1" fmla="*/ 0 h 1169000"/>
              <a:gd name="connsiteX2" fmla="*/ 604236 w 1099164"/>
              <a:gd name="connsiteY2" fmla="*/ 513145 h 1169000"/>
              <a:gd name="connsiteX3" fmla="*/ 1041473 w 1099164"/>
              <a:gd name="connsiteY3" fmla="*/ 255054 h 1169000"/>
              <a:gd name="connsiteX4" fmla="*/ 1099164 w 1099164"/>
              <a:gd name="connsiteY4" fmla="*/ 349181 h 1169000"/>
              <a:gd name="connsiteX5" fmla="*/ 658891 w 1099164"/>
              <a:gd name="connsiteY5" fmla="*/ 601199 h 1169000"/>
              <a:gd name="connsiteX6" fmla="*/ 1099164 w 1099164"/>
              <a:gd name="connsiteY6" fmla="*/ 847145 h 1169000"/>
              <a:gd name="connsiteX7" fmla="*/ 1041473 w 1099164"/>
              <a:gd name="connsiteY7" fmla="*/ 941272 h 1169000"/>
              <a:gd name="connsiteX8" fmla="*/ 604236 w 1099164"/>
              <a:gd name="connsiteY8" fmla="*/ 683181 h 1169000"/>
              <a:gd name="connsiteX9" fmla="*/ 607273 w 1099164"/>
              <a:gd name="connsiteY9" fmla="*/ 1169000 h 1169000"/>
              <a:gd name="connsiteX10" fmla="*/ 491891 w 1099164"/>
              <a:gd name="connsiteY10" fmla="*/ 1169000 h 1169000"/>
              <a:gd name="connsiteX11" fmla="*/ 497964 w 1099164"/>
              <a:gd name="connsiteY11" fmla="*/ 683181 h 1169000"/>
              <a:gd name="connsiteX12" fmla="*/ 60727 w 1099164"/>
              <a:gd name="connsiteY12" fmla="*/ 941272 h 1169000"/>
              <a:gd name="connsiteX13" fmla="*/ 0 w 1099164"/>
              <a:gd name="connsiteY13" fmla="*/ 847145 h 1169000"/>
              <a:gd name="connsiteX14" fmla="*/ 446346 w 1099164"/>
              <a:gd name="connsiteY14" fmla="*/ 601199 h 1169000"/>
              <a:gd name="connsiteX15" fmla="*/ 0 w 1099164"/>
              <a:gd name="connsiteY15" fmla="*/ 349181 h 1169000"/>
              <a:gd name="connsiteX16" fmla="*/ 60727 w 1099164"/>
              <a:gd name="connsiteY16" fmla="*/ 255054 h 1169000"/>
              <a:gd name="connsiteX17" fmla="*/ 497964 w 1099164"/>
              <a:gd name="connsiteY17" fmla="*/ 513145 h 116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99164" h="1169000">
                <a:moveTo>
                  <a:pt x="491891" y="0"/>
                </a:moveTo>
                <a:lnTo>
                  <a:pt x="607273" y="0"/>
                </a:lnTo>
                <a:lnTo>
                  <a:pt x="604236" y="513145"/>
                </a:lnTo>
                <a:lnTo>
                  <a:pt x="1041473" y="255054"/>
                </a:lnTo>
                <a:lnTo>
                  <a:pt x="1099164" y="349181"/>
                </a:lnTo>
                <a:lnTo>
                  <a:pt x="658891" y="601199"/>
                </a:lnTo>
                <a:lnTo>
                  <a:pt x="1099164" y="847145"/>
                </a:lnTo>
                <a:lnTo>
                  <a:pt x="1041473" y="941272"/>
                </a:lnTo>
                <a:lnTo>
                  <a:pt x="604236" y="683181"/>
                </a:lnTo>
                <a:lnTo>
                  <a:pt x="607273" y="1169000"/>
                </a:lnTo>
                <a:lnTo>
                  <a:pt x="491891" y="1169000"/>
                </a:lnTo>
                <a:lnTo>
                  <a:pt x="497964" y="683181"/>
                </a:lnTo>
                <a:lnTo>
                  <a:pt x="60727" y="941272"/>
                </a:lnTo>
                <a:lnTo>
                  <a:pt x="0" y="847145"/>
                </a:lnTo>
                <a:lnTo>
                  <a:pt x="446346" y="601199"/>
                </a:lnTo>
                <a:lnTo>
                  <a:pt x="0" y="349181"/>
                </a:lnTo>
                <a:lnTo>
                  <a:pt x="60727" y="255054"/>
                </a:lnTo>
                <a:lnTo>
                  <a:pt x="497964" y="513145"/>
                </a:lnTo>
                <a:close/>
              </a:path>
            </a:pathLst>
          </a:custGeom>
          <a:solidFill>
            <a:srgbClr val="88C66D"/>
          </a:solid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
        <p:nvSpPr>
          <p:cNvPr id="37" name="Makro grafik 2">
            <a:extLst>
              <a:ext uri="{FF2B5EF4-FFF2-40B4-BE49-F238E27FC236}">
                <a16:creationId xmlns:a16="http://schemas.microsoft.com/office/drawing/2014/main" id="{B01E448D-548C-DEA9-6590-C279C5C3F197}"/>
              </a:ext>
            </a:extLst>
          </p:cNvPr>
          <p:cNvSpPr>
            <a:spLocks noGrp="1" noChangeAspect="1"/>
          </p:cNvSpPr>
          <p:nvPr>
            <p:ph type="body" sz="quarter" idx="25" hasCustomPrompt="1"/>
          </p:nvPr>
        </p:nvSpPr>
        <p:spPr>
          <a:xfrm>
            <a:off x="5678484" y="1161722"/>
            <a:ext cx="1239333" cy="1776272"/>
          </a:xfrm>
          <a:custGeom>
            <a:avLst/>
            <a:gdLst>
              <a:gd name="connsiteX0" fmla="*/ 984444 w 1652444"/>
              <a:gd name="connsiteY0" fmla="*/ 15381 h 2368363"/>
              <a:gd name="connsiteX1" fmla="*/ 1652444 w 1652444"/>
              <a:gd name="connsiteY1" fmla="*/ 15381 h 2368363"/>
              <a:gd name="connsiteX2" fmla="*/ 1652444 w 1652444"/>
              <a:gd name="connsiteY2" fmla="*/ 121261 h 2368363"/>
              <a:gd name="connsiteX3" fmla="*/ 1652444 w 1652444"/>
              <a:gd name="connsiteY3" fmla="*/ 2252660 h 2368363"/>
              <a:gd name="connsiteX4" fmla="*/ 1652444 w 1652444"/>
              <a:gd name="connsiteY4" fmla="*/ 2359307 h 2368363"/>
              <a:gd name="connsiteX5" fmla="*/ 984444 w 1652444"/>
              <a:gd name="connsiteY5" fmla="*/ 2359307 h 2368363"/>
              <a:gd name="connsiteX6" fmla="*/ 984444 w 1652444"/>
              <a:gd name="connsiteY6" fmla="*/ 2252660 h 2368363"/>
              <a:gd name="connsiteX7" fmla="*/ 1530989 w 1652444"/>
              <a:gd name="connsiteY7" fmla="*/ 2252660 h 2368363"/>
              <a:gd name="connsiteX8" fmla="*/ 1530989 w 1652444"/>
              <a:gd name="connsiteY8" fmla="*/ 121261 h 2368363"/>
              <a:gd name="connsiteX9" fmla="*/ 984444 w 1652444"/>
              <a:gd name="connsiteY9" fmla="*/ 121261 h 2368363"/>
              <a:gd name="connsiteX10" fmla="*/ 0 w 1652444"/>
              <a:gd name="connsiteY10" fmla="*/ 0 h 2368363"/>
              <a:gd name="connsiteX11" fmla="*/ 32009 w 1652444"/>
              <a:gd name="connsiteY11" fmla="*/ 371 h 2368363"/>
              <a:gd name="connsiteX12" fmla="*/ 63234 w 1652444"/>
              <a:gd name="connsiteY12" fmla="*/ 1481 h 2368363"/>
              <a:gd name="connsiteX13" fmla="*/ 93683 w 1652444"/>
              <a:gd name="connsiteY13" fmla="*/ 3325 h 2368363"/>
              <a:gd name="connsiteX14" fmla="*/ 123364 w 1652444"/>
              <a:gd name="connsiteY14" fmla="*/ 5896 h 2368363"/>
              <a:gd name="connsiteX15" fmla="*/ 152286 w 1652444"/>
              <a:gd name="connsiteY15" fmla="*/ 9190 h 2368363"/>
              <a:gd name="connsiteX16" fmla="*/ 180459 w 1652444"/>
              <a:gd name="connsiteY16" fmla="*/ 13201 h 2368363"/>
              <a:gd name="connsiteX17" fmla="*/ 207890 w 1652444"/>
              <a:gd name="connsiteY17" fmla="*/ 17925 h 2368363"/>
              <a:gd name="connsiteX18" fmla="*/ 234587 w 1652444"/>
              <a:gd name="connsiteY18" fmla="*/ 23355 h 2368363"/>
              <a:gd name="connsiteX19" fmla="*/ 260561 w 1652444"/>
              <a:gd name="connsiteY19" fmla="*/ 29486 h 2368363"/>
              <a:gd name="connsiteX20" fmla="*/ 285818 w 1652444"/>
              <a:gd name="connsiteY20" fmla="*/ 36314 h 2368363"/>
              <a:gd name="connsiteX21" fmla="*/ 310368 w 1652444"/>
              <a:gd name="connsiteY21" fmla="*/ 43831 h 2368363"/>
              <a:gd name="connsiteX22" fmla="*/ 334219 w 1652444"/>
              <a:gd name="connsiteY22" fmla="*/ 52033 h 2368363"/>
              <a:gd name="connsiteX23" fmla="*/ 357381 w 1652444"/>
              <a:gd name="connsiteY23" fmla="*/ 60916 h 2368363"/>
              <a:gd name="connsiteX24" fmla="*/ 379860 w 1652444"/>
              <a:gd name="connsiteY24" fmla="*/ 70472 h 2368363"/>
              <a:gd name="connsiteX25" fmla="*/ 401667 w 1652444"/>
              <a:gd name="connsiteY25" fmla="*/ 80697 h 2368363"/>
              <a:gd name="connsiteX26" fmla="*/ 422809 w 1652444"/>
              <a:gd name="connsiteY26" fmla="*/ 91586 h 2368363"/>
              <a:gd name="connsiteX27" fmla="*/ 443297 w 1652444"/>
              <a:gd name="connsiteY27" fmla="*/ 103133 h 2368363"/>
              <a:gd name="connsiteX28" fmla="*/ 463136 w 1652444"/>
              <a:gd name="connsiteY28" fmla="*/ 115333 h 2368363"/>
              <a:gd name="connsiteX29" fmla="*/ 482337 w 1652444"/>
              <a:gd name="connsiteY29" fmla="*/ 128180 h 2368363"/>
              <a:gd name="connsiteX30" fmla="*/ 518858 w 1652444"/>
              <a:gd name="connsiteY30" fmla="*/ 155795 h 2368363"/>
              <a:gd name="connsiteX31" fmla="*/ 552927 w 1652444"/>
              <a:gd name="connsiteY31" fmla="*/ 185936 h 2368363"/>
              <a:gd name="connsiteX32" fmla="*/ 584614 w 1652444"/>
              <a:gd name="connsiteY32" fmla="*/ 218558 h 2368363"/>
              <a:gd name="connsiteX33" fmla="*/ 613987 w 1652444"/>
              <a:gd name="connsiteY33" fmla="*/ 253619 h 2368363"/>
              <a:gd name="connsiteX34" fmla="*/ 627828 w 1652444"/>
              <a:gd name="connsiteY34" fmla="*/ 272050 h 2368363"/>
              <a:gd name="connsiteX35" fmla="*/ 641115 w 1652444"/>
              <a:gd name="connsiteY35" fmla="*/ 291076 h 2368363"/>
              <a:gd name="connsiteX36" fmla="*/ 653859 w 1652444"/>
              <a:gd name="connsiteY36" fmla="*/ 310690 h 2368363"/>
              <a:gd name="connsiteX37" fmla="*/ 666067 w 1652444"/>
              <a:gd name="connsiteY37" fmla="*/ 330886 h 2368363"/>
              <a:gd name="connsiteX38" fmla="*/ 677748 w 1652444"/>
              <a:gd name="connsiteY38" fmla="*/ 351661 h 2368363"/>
              <a:gd name="connsiteX39" fmla="*/ 688911 w 1652444"/>
              <a:gd name="connsiteY39" fmla="*/ 373007 h 2368363"/>
              <a:gd name="connsiteX40" fmla="*/ 699564 w 1652444"/>
              <a:gd name="connsiteY40" fmla="*/ 394920 h 2368363"/>
              <a:gd name="connsiteX41" fmla="*/ 709715 w 1652444"/>
              <a:gd name="connsiteY41" fmla="*/ 417394 h 2368363"/>
              <a:gd name="connsiteX42" fmla="*/ 719375 w 1652444"/>
              <a:gd name="connsiteY42" fmla="*/ 440424 h 2368363"/>
              <a:gd name="connsiteX43" fmla="*/ 728550 w 1652444"/>
              <a:gd name="connsiteY43" fmla="*/ 464005 h 2368363"/>
              <a:gd name="connsiteX44" fmla="*/ 737250 w 1652444"/>
              <a:gd name="connsiteY44" fmla="*/ 488131 h 2368363"/>
              <a:gd name="connsiteX45" fmla="*/ 745483 w 1652444"/>
              <a:gd name="connsiteY45" fmla="*/ 512797 h 2368363"/>
              <a:gd name="connsiteX46" fmla="*/ 753258 w 1652444"/>
              <a:gd name="connsiteY46" fmla="*/ 537997 h 2368363"/>
              <a:gd name="connsiteX47" fmla="*/ 760583 w 1652444"/>
              <a:gd name="connsiteY47" fmla="*/ 563727 h 2368363"/>
              <a:gd name="connsiteX48" fmla="*/ 767468 w 1652444"/>
              <a:gd name="connsiteY48" fmla="*/ 589980 h 2368363"/>
              <a:gd name="connsiteX49" fmla="*/ 773919 w 1652444"/>
              <a:gd name="connsiteY49" fmla="*/ 616751 h 2368363"/>
              <a:gd name="connsiteX50" fmla="*/ 779947 w 1652444"/>
              <a:gd name="connsiteY50" fmla="*/ 644036 h 2368363"/>
              <a:gd name="connsiteX51" fmla="*/ 785559 w 1652444"/>
              <a:gd name="connsiteY51" fmla="*/ 671828 h 2368363"/>
              <a:gd name="connsiteX52" fmla="*/ 790765 w 1652444"/>
              <a:gd name="connsiteY52" fmla="*/ 700122 h 2368363"/>
              <a:gd name="connsiteX53" fmla="*/ 795573 w 1652444"/>
              <a:gd name="connsiteY53" fmla="*/ 728914 h 2368363"/>
              <a:gd name="connsiteX54" fmla="*/ 799991 w 1652444"/>
              <a:gd name="connsiteY54" fmla="*/ 758196 h 2368363"/>
              <a:gd name="connsiteX55" fmla="*/ 804029 w 1652444"/>
              <a:gd name="connsiteY55" fmla="*/ 787965 h 2368363"/>
              <a:gd name="connsiteX56" fmla="*/ 807694 w 1652444"/>
              <a:gd name="connsiteY56" fmla="*/ 818214 h 2368363"/>
              <a:gd name="connsiteX57" fmla="*/ 810995 w 1652444"/>
              <a:gd name="connsiteY57" fmla="*/ 848939 h 2368363"/>
              <a:gd name="connsiteX58" fmla="*/ 813941 w 1652444"/>
              <a:gd name="connsiteY58" fmla="*/ 880134 h 2368363"/>
              <a:gd name="connsiteX59" fmla="*/ 816541 w 1652444"/>
              <a:gd name="connsiteY59" fmla="*/ 911793 h 2368363"/>
              <a:gd name="connsiteX60" fmla="*/ 818802 w 1652444"/>
              <a:gd name="connsiteY60" fmla="*/ 943911 h 2368363"/>
              <a:gd name="connsiteX61" fmla="*/ 820734 w 1652444"/>
              <a:gd name="connsiteY61" fmla="*/ 976483 h 2368363"/>
              <a:gd name="connsiteX62" fmla="*/ 822345 w 1652444"/>
              <a:gd name="connsiteY62" fmla="*/ 1009504 h 2368363"/>
              <a:gd name="connsiteX63" fmla="*/ 823645 w 1652444"/>
              <a:gd name="connsiteY63" fmla="*/ 1042967 h 2368363"/>
              <a:gd name="connsiteX64" fmla="*/ 824641 w 1652444"/>
              <a:gd name="connsiteY64" fmla="*/ 1076869 h 2368363"/>
              <a:gd name="connsiteX65" fmla="*/ 825341 w 1652444"/>
              <a:gd name="connsiteY65" fmla="*/ 1111203 h 2368363"/>
              <a:gd name="connsiteX66" fmla="*/ 825755 w 1652444"/>
              <a:gd name="connsiteY66" fmla="*/ 1145963 h 2368363"/>
              <a:gd name="connsiteX67" fmla="*/ 825891 w 1652444"/>
              <a:gd name="connsiteY67" fmla="*/ 1181145 h 2368363"/>
              <a:gd name="connsiteX68" fmla="*/ 825757 w 1652444"/>
              <a:gd name="connsiteY68" fmla="*/ 1216476 h 2368363"/>
              <a:gd name="connsiteX69" fmla="*/ 825350 w 1652444"/>
              <a:gd name="connsiteY69" fmla="*/ 1251386 h 2368363"/>
              <a:gd name="connsiteX70" fmla="*/ 824661 w 1652444"/>
              <a:gd name="connsiteY70" fmla="*/ 1285869 h 2368363"/>
              <a:gd name="connsiteX71" fmla="*/ 823681 w 1652444"/>
              <a:gd name="connsiteY71" fmla="*/ 1319919 h 2368363"/>
              <a:gd name="connsiteX72" fmla="*/ 822402 w 1652444"/>
              <a:gd name="connsiteY72" fmla="*/ 1353531 h 2368363"/>
              <a:gd name="connsiteX73" fmla="*/ 820814 w 1652444"/>
              <a:gd name="connsiteY73" fmla="*/ 1386700 h 2368363"/>
              <a:gd name="connsiteX74" fmla="*/ 818909 w 1652444"/>
              <a:gd name="connsiteY74" fmla="*/ 1419420 h 2368363"/>
              <a:gd name="connsiteX75" fmla="*/ 816677 w 1652444"/>
              <a:gd name="connsiteY75" fmla="*/ 1451685 h 2368363"/>
              <a:gd name="connsiteX76" fmla="*/ 814111 w 1652444"/>
              <a:gd name="connsiteY76" fmla="*/ 1483490 h 2368363"/>
              <a:gd name="connsiteX77" fmla="*/ 811200 w 1652444"/>
              <a:gd name="connsiteY77" fmla="*/ 1514831 h 2368363"/>
              <a:gd name="connsiteX78" fmla="*/ 807937 w 1652444"/>
              <a:gd name="connsiteY78" fmla="*/ 1545700 h 2368363"/>
              <a:gd name="connsiteX79" fmla="*/ 804312 w 1652444"/>
              <a:gd name="connsiteY79" fmla="*/ 1576094 h 2368363"/>
              <a:gd name="connsiteX80" fmla="*/ 800317 w 1652444"/>
              <a:gd name="connsiteY80" fmla="*/ 1606006 h 2368363"/>
              <a:gd name="connsiteX81" fmla="*/ 795943 w 1652444"/>
              <a:gd name="connsiteY81" fmla="*/ 1635430 h 2368363"/>
              <a:gd name="connsiteX82" fmla="*/ 791181 w 1652444"/>
              <a:gd name="connsiteY82" fmla="*/ 1664362 h 2368363"/>
              <a:gd name="connsiteX83" fmla="*/ 786022 w 1652444"/>
              <a:gd name="connsiteY83" fmla="*/ 1692796 h 2368363"/>
              <a:gd name="connsiteX84" fmla="*/ 780458 w 1652444"/>
              <a:gd name="connsiteY84" fmla="*/ 1720727 h 2368363"/>
              <a:gd name="connsiteX85" fmla="*/ 774479 w 1652444"/>
              <a:gd name="connsiteY85" fmla="*/ 1748148 h 2368363"/>
              <a:gd name="connsiteX86" fmla="*/ 768076 w 1652444"/>
              <a:gd name="connsiteY86" fmla="*/ 1775055 h 2368363"/>
              <a:gd name="connsiteX87" fmla="*/ 761241 w 1652444"/>
              <a:gd name="connsiteY87" fmla="*/ 1801442 h 2368363"/>
              <a:gd name="connsiteX88" fmla="*/ 753966 w 1652444"/>
              <a:gd name="connsiteY88" fmla="*/ 1827305 h 2368363"/>
              <a:gd name="connsiteX89" fmla="*/ 746241 w 1652444"/>
              <a:gd name="connsiteY89" fmla="*/ 1852636 h 2368363"/>
              <a:gd name="connsiteX90" fmla="*/ 738057 w 1652444"/>
              <a:gd name="connsiteY90" fmla="*/ 1877431 h 2368363"/>
              <a:gd name="connsiteX91" fmla="*/ 729406 w 1652444"/>
              <a:gd name="connsiteY91" fmla="*/ 1901684 h 2368363"/>
              <a:gd name="connsiteX92" fmla="*/ 720278 w 1652444"/>
              <a:gd name="connsiteY92" fmla="*/ 1925390 h 2368363"/>
              <a:gd name="connsiteX93" fmla="*/ 710665 w 1652444"/>
              <a:gd name="connsiteY93" fmla="*/ 1948543 h 2368363"/>
              <a:gd name="connsiteX94" fmla="*/ 700559 w 1652444"/>
              <a:gd name="connsiteY94" fmla="*/ 1971139 h 2368363"/>
              <a:gd name="connsiteX95" fmla="*/ 689949 w 1652444"/>
              <a:gd name="connsiteY95" fmla="*/ 1993171 h 2368363"/>
              <a:gd name="connsiteX96" fmla="*/ 678828 w 1652444"/>
              <a:gd name="connsiteY96" fmla="*/ 2014634 h 2368363"/>
              <a:gd name="connsiteX97" fmla="*/ 667187 w 1652444"/>
              <a:gd name="connsiteY97" fmla="*/ 2035522 h 2368363"/>
              <a:gd name="connsiteX98" fmla="*/ 655016 w 1652444"/>
              <a:gd name="connsiteY98" fmla="*/ 2055830 h 2368363"/>
              <a:gd name="connsiteX99" fmla="*/ 642307 w 1652444"/>
              <a:gd name="connsiteY99" fmla="*/ 2075554 h 2368363"/>
              <a:gd name="connsiteX100" fmla="*/ 629052 w 1652444"/>
              <a:gd name="connsiteY100" fmla="*/ 2094686 h 2368363"/>
              <a:gd name="connsiteX101" fmla="*/ 615240 w 1652444"/>
              <a:gd name="connsiteY101" fmla="*/ 2113223 h 2368363"/>
              <a:gd name="connsiteX102" fmla="*/ 585914 w 1652444"/>
              <a:gd name="connsiteY102" fmla="*/ 2148484 h 2368363"/>
              <a:gd name="connsiteX103" fmla="*/ 554260 w 1652444"/>
              <a:gd name="connsiteY103" fmla="*/ 2181295 h 2368363"/>
              <a:gd name="connsiteX104" fmla="*/ 520206 w 1652444"/>
              <a:gd name="connsiteY104" fmla="*/ 2211611 h 2368363"/>
              <a:gd name="connsiteX105" fmla="*/ 483682 w 1652444"/>
              <a:gd name="connsiteY105" fmla="*/ 2239390 h 2368363"/>
              <a:gd name="connsiteX106" fmla="*/ 464472 w 1652444"/>
              <a:gd name="connsiteY106" fmla="*/ 2252315 h 2368363"/>
              <a:gd name="connsiteX107" fmla="*/ 444617 w 1652444"/>
              <a:gd name="connsiteY107" fmla="*/ 2264587 h 2368363"/>
              <a:gd name="connsiteX108" fmla="*/ 424110 w 1652444"/>
              <a:gd name="connsiteY108" fmla="*/ 2276205 h 2368363"/>
              <a:gd name="connsiteX109" fmla="*/ 402941 w 1652444"/>
              <a:gd name="connsiteY109" fmla="*/ 2287159 h 2368363"/>
              <a:gd name="connsiteX110" fmla="*/ 381102 w 1652444"/>
              <a:gd name="connsiteY110" fmla="*/ 2297448 h 2368363"/>
              <a:gd name="connsiteX111" fmla="*/ 358583 w 1652444"/>
              <a:gd name="connsiteY111" fmla="*/ 2307062 h 2368363"/>
              <a:gd name="connsiteX112" fmla="*/ 335376 w 1652444"/>
              <a:gd name="connsiteY112" fmla="*/ 2316000 h 2368363"/>
              <a:gd name="connsiteX113" fmla="*/ 311472 w 1652444"/>
              <a:gd name="connsiteY113" fmla="*/ 2324254 h 2368363"/>
              <a:gd name="connsiteX114" fmla="*/ 286862 w 1652444"/>
              <a:gd name="connsiteY114" fmla="*/ 2331818 h 2368363"/>
              <a:gd name="connsiteX115" fmla="*/ 261537 w 1652444"/>
              <a:gd name="connsiteY115" fmla="*/ 2338687 h 2368363"/>
              <a:gd name="connsiteX116" fmla="*/ 235489 w 1652444"/>
              <a:gd name="connsiteY116" fmla="*/ 2344857 h 2368363"/>
              <a:gd name="connsiteX117" fmla="*/ 208709 w 1652444"/>
              <a:gd name="connsiteY117" fmla="*/ 2350322 h 2368363"/>
              <a:gd name="connsiteX118" fmla="*/ 181187 w 1652444"/>
              <a:gd name="connsiteY118" fmla="*/ 2355076 h 2368363"/>
              <a:gd name="connsiteX119" fmla="*/ 152916 w 1652444"/>
              <a:gd name="connsiteY119" fmla="*/ 2359113 h 2368363"/>
              <a:gd name="connsiteX120" fmla="*/ 123886 w 1652444"/>
              <a:gd name="connsiteY120" fmla="*/ 2362428 h 2368363"/>
              <a:gd name="connsiteX121" fmla="*/ 94088 w 1652444"/>
              <a:gd name="connsiteY121" fmla="*/ 2365016 h 2368363"/>
              <a:gd name="connsiteX122" fmla="*/ 63513 w 1652444"/>
              <a:gd name="connsiteY122" fmla="*/ 2366872 h 2368363"/>
              <a:gd name="connsiteX123" fmla="*/ 32154 w 1652444"/>
              <a:gd name="connsiteY123" fmla="*/ 2367989 h 2368363"/>
              <a:gd name="connsiteX124" fmla="*/ 0 w 1652444"/>
              <a:gd name="connsiteY124" fmla="*/ 2368363 h 2368363"/>
              <a:gd name="connsiteX125" fmla="*/ 0 w 1652444"/>
              <a:gd name="connsiteY125" fmla="*/ 2262090 h 2368363"/>
              <a:gd name="connsiteX126" fmla="*/ 30867 w 1652444"/>
              <a:gd name="connsiteY126" fmla="*/ 2261685 h 2368363"/>
              <a:gd name="connsiteX127" fmla="*/ 60872 w 1652444"/>
              <a:gd name="connsiteY127" fmla="*/ 2260471 h 2368363"/>
              <a:gd name="connsiteX128" fmla="*/ 90026 w 1652444"/>
              <a:gd name="connsiteY128" fmla="*/ 2258456 h 2368363"/>
              <a:gd name="connsiteX129" fmla="*/ 118340 w 1652444"/>
              <a:gd name="connsiteY129" fmla="*/ 2255643 h 2368363"/>
              <a:gd name="connsiteX130" fmla="*/ 145825 w 1652444"/>
              <a:gd name="connsiteY130" fmla="*/ 2252038 h 2368363"/>
              <a:gd name="connsiteX131" fmla="*/ 172492 w 1652444"/>
              <a:gd name="connsiteY131" fmla="*/ 2247648 h 2368363"/>
              <a:gd name="connsiteX132" fmla="*/ 198352 w 1652444"/>
              <a:gd name="connsiteY132" fmla="*/ 2242477 h 2368363"/>
              <a:gd name="connsiteX133" fmla="*/ 223416 w 1652444"/>
              <a:gd name="connsiteY133" fmla="*/ 2236531 h 2368363"/>
              <a:gd name="connsiteX134" fmla="*/ 247696 w 1652444"/>
              <a:gd name="connsiteY134" fmla="*/ 2229814 h 2368363"/>
              <a:gd name="connsiteX135" fmla="*/ 271201 w 1652444"/>
              <a:gd name="connsiteY135" fmla="*/ 2222332 h 2368363"/>
              <a:gd name="connsiteX136" fmla="*/ 293944 w 1652444"/>
              <a:gd name="connsiteY136" fmla="*/ 2214091 h 2368363"/>
              <a:gd name="connsiteX137" fmla="*/ 315936 w 1652444"/>
              <a:gd name="connsiteY137" fmla="*/ 2205097 h 2368363"/>
              <a:gd name="connsiteX138" fmla="*/ 337186 w 1652444"/>
              <a:gd name="connsiteY138" fmla="*/ 2195353 h 2368363"/>
              <a:gd name="connsiteX139" fmla="*/ 357707 w 1652444"/>
              <a:gd name="connsiteY139" fmla="*/ 2184865 h 2368363"/>
              <a:gd name="connsiteX140" fmla="*/ 396606 w 1652444"/>
              <a:gd name="connsiteY140" fmla="*/ 2161683 h 2368363"/>
              <a:gd name="connsiteX141" fmla="*/ 432719 w 1652444"/>
              <a:gd name="connsiteY141" fmla="*/ 2135592 h 2368363"/>
              <a:gd name="connsiteX142" fmla="*/ 466135 w 1652444"/>
              <a:gd name="connsiteY142" fmla="*/ 2106636 h 2368363"/>
              <a:gd name="connsiteX143" fmla="*/ 496943 w 1652444"/>
              <a:gd name="connsiteY143" fmla="*/ 2074856 h 2368363"/>
              <a:gd name="connsiteX144" fmla="*/ 525232 w 1652444"/>
              <a:gd name="connsiteY144" fmla="*/ 2040296 h 2368363"/>
              <a:gd name="connsiteX145" fmla="*/ 551088 w 1652444"/>
              <a:gd name="connsiteY145" fmla="*/ 2002999 h 2368363"/>
              <a:gd name="connsiteX146" fmla="*/ 563132 w 1652444"/>
              <a:gd name="connsiteY146" fmla="*/ 1983337 h 2368363"/>
              <a:gd name="connsiteX147" fmla="*/ 574602 w 1652444"/>
              <a:gd name="connsiteY147" fmla="*/ 1963008 h 2368363"/>
              <a:gd name="connsiteX148" fmla="*/ 585508 w 1652444"/>
              <a:gd name="connsiteY148" fmla="*/ 1942016 h 2368363"/>
              <a:gd name="connsiteX149" fmla="*/ 595861 w 1652444"/>
              <a:gd name="connsiteY149" fmla="*/ 1920366 h 2368363"/>
              <a:gd name="connsiteX150" fmla="*/ 605674 w 1652444"/>
              <a:gd name="connsiteY150" fmla="*/ 1898064 h 2368363"/>
              <a:gd name="connsiteX151" fmla="*/ 614955 w 1652444"/>
              <a:gd name="connsiteY151" fmla="*/ 1875115 h 2368363"/>
              <a:gd name="connsiteX152" fmla="*/ 623717 w 1652444"/>
              <a:gd name="connsiteY152" fmla="*/ 1851525 h 2368363"/>
              <a:gd name="connsiteX153" fmla="*/ 631971 w 1652444"/>
              <a:gd name="connsiteY153" fmla="*/ 1827299 h 2368363"/>
              <a:gd name="connsiteX154" fmla="*/ 639728 w 1652444"/>
              <a:gd name="connsiteY154" fmla="*/ 1802443 h 2368363"/>
              <a:gd name="connsiteX155" fmla="*/ 646998 w 1652444"/>
              <a:gd name="connsiteY155" fmla="*/ 1776961 h 2368363"/>
              <a:gd name="connsiteX156" fmla="*/ 653794 w 1652444"/>
              <a:gd name="connsiteY156" fmla="*/ 1750859 h 2368363"/>
              <a:gd name="connsiteX157" fmla="*/ 660125 w 1652444"/>
              <a:gd name="connsiteY157" fmla="*/ 1724143 h 2368363"/>
              <a:gd name="connsiteX158" fmla="*/ 666004 w 1652444"/>
              <a:gd name="connsiteY158" fmla="*/ 1696818 h 2368363"/>
              <a:gd name="connsiteX159" fmla="*/ 671440 w 1652444"/>
              <a:gd name="connsiteY159" fmla="*/ 1668888 h 2368363"/>
              <a:gd name="connsiteX160" fmla="*/ 676445 w 1652444"/>
              <a:gd name="connsiteY160" fmla="*/ 1640361 h 2368363"/>
              <a:gd name="connsiteX161" fmla="*/ 681031 w 1652444"/>
              <a:gd name="connsiteY161" fmla="*/ 1611240 h 2368363"/>
              <a:gd name="connsiteX162" fmla="*/ 685208 w 1652444"/>
              <a:gd name="connsiteY162" fmla="*/ 1581532 h 2368363"/>
              <a:gd name="connsiteX163" fmla="*/ 688987 w 1652444"/>
              <a:gd name="connsiteY163" fmla="*/ 1551241 h 2368363"/>
              <a:gd name="connsiteX164" fmla="*/ 692379 w 1652444"/>
              <a:gd name="connsiteY164" fmla="*/ 1520374 h 2368363"/>
              <a:gd name="connsiteX165" fmla="*/ 695396 w 1652444"/>
              <a:gd name="connsiteY165" fmla="*/ 1488934 h 2368363"/>
              <a:gd name="connsiteX166" fmla="*/ 698049 w 1652444"/>
              <a:gd name="connsiteY166" fmla="*/ 1456929 h 2368363"/>
              <a:gd name="connsiteX167" fmla="*/ 700348 w 1652444"/>
              <a:gd name="connsiteY167" fmla="*/ 1424363 h 2368363"/>
              <a:gd name="connsiteX168" fmla="*/ 702305 w 1652444"/>
              <a:gd name="connsiteY168" fmla="*/ 1391241 h 2368363"/>
              <a:gd name="connsiteX169" fmla="*/ 703930 w 1652444"/>
              <a:gd name="connsiteY169" fmla="*/ 1357569 h 2368363"/>
              <a:gd name="connsiteX170" fmla="*/ 705235 w 1652444"/>
              <a:gd name="connsiteY170" fmla="*/ 1323352 h 2368363"/>
              <a:gd name="connsiteX171" fmla="*/ 706230 w 1652444"/>
              <a:gd name="connsiteY171" fmla="*/ 1288596 h 2368363"/>
              <a:gd name="connsiteX172" fmla="*/ 706928 w 1652444"/>
              <a:gd name="connsiteY172" fmla="*/ 1253306 h 2368363"/>
              <a:gd name="connsiteX173" fmla="*/ 707338 w 1652444"/>
              <a:gd name="connsiteY173" fmla="*/ 1217487 h 2368363"/>
              <a:gd name="connsiteX174" fmla="*/ 707472 w 1652444"/>
              <a:gd name="connsiteY174" fmla="*/ 1181145 h 2368363"/>
              <a:gd name="connsiteX175" fmla="*/ 707330 w 1652444"/>
              <a:gd name="connsiteY175" fmla="*/ 1144628 h 2368363"/>
              <a:gd name="connsiteX176" fmla="*/ 706895 w 1652444"/>
              <a:gd name="connsiteY176" fmla="*/ 1108631 h 2368363"/>
              <a:gd name="connsiteX177" fmla="*/ 706157 w 1652444"/>
              <a:gd name="connsiteY177" fmla="*/ 1073158 h 2368363"/>
              <a:gd name="connsiteX178" fmla="*/ 705102 w 1652444"/>
              <a:gd name="connsiteY178" fmla="*/ 1038215 h 2368363"/>
              <a:gd name="connsiteX179" fmla="*/ 703722 w 1652444"/>
              <a:gd name="connsiteY179" fmla="*/ 1003810 h 2368363"/>
              <a:gd name="connsiteX180" fmla="*/ 702004 w 1652444"/>
              <a:gd name="connsiteY180" fmla="*/ 969949 h 2368363"/>
              <a:gd name="connsiteX181" fmla="*/ 699936 w 1652444"/>
              <a:gd name="connsiteY181" fmla="*/ 936637 h 2368363"/>
              <a:gd name="connsiteX182" fmla="*/ 697508 w 1652444"/>
              <a:gd name="connsiteY182" fmla="*/ 903882 h 2368363"/>
              <a:gd name="connsiteX183" fmla="*/ 694708 w 1652444"/>
              <a:gd name="connsiteY183" fmla="*/ 871689 h 2368363"/>
              <a:gd name="connsiteX184" fmla="*/ 691526 w 1652444"/>
              <a:gd name="connsiteY184" fmla="*/ 840064 h 2368363"/>
              <a:gd name="connsiteX185" fmla="*/ 687948 w 1652444"/>
              <a:gd name="connsiteY185" fmla="*/ 809015 h 2368363"/>
              <a:gd name="connsiteX186" fmla="*/ 683964 w 1652444"/>
              <a:gd name="connsiteY186" fmla="*/ 778546 h 2368363"/>
              <a:gd name="connsiteX187" fmla="*/ 679564 w 1652444"/>
              <a:gd name="connsiteY187" fmla="*/ 748664 h 2368363"/>
              <a:gd name="connsiteX188" fmla="*/ 674735 w 1652444"/>
              <a:gd name="connsiteY188" fmla="*/ 719377 h 2368363"/>
              <a:gd name="connsiteX189" fmla="*/ 669466 w 1652444"/>
              <a:gd name="connsiteY189" fmla="*/ 690688 h 2368363"/>
              <a:gd name="connsiteX190" fmla="*/ 663745 w 1652444"/>
              <a:gd name="connsiteY190" fmla="*/ 662606 h 2368363"/>
              <a:gd name="connsiteX191" fmla="*/ 657563 w 1652444"/>
              <a:gd name="connsiteY191" fmla="*/ 635136 h 2368363"/>
              <a:gd name="connsiteX192" fmla="*/ 650906 w 1652444"/>
              <a:gd name="connsiteY192" fmla="*/ 608285 h 2368363"/>
              <a:gd name="connsiteX193" fmla="*/ 643764 w 1652444"/>
              <a:gd name="connsiteY193" fmla="*/ 582058 h 2368363"/>
              <a:gd name="connsiteX194" fmla="*/ 636126 w 1652444"/>
              <a:gd name="connsiteY194" fmla="*/ 556463 h 2368363"/>
              <a:gd name="connsiteX195" fmla="*/ 627979 w 1652444"/>
              <a:gd name="connsiteY195" fmla="*/ 531504 h 2368363"/>
              <a:gd name="connsiteX196" fmla="*/ 619314 w 1652444"/>
              <a:gd name="connsiteY196" fmla="*/ 507189 h 2368363"/>
              <a:gd name="connsiteX197" fmla="*/ 610118 w 1652444"/>
              <a:gd name="connsiteY197" fmla="*/ 483524 h 2368363"/>
              <a:gd name="connsiteX198" fmla="*/ 600379 w 1652444"/>
              <a:gd name="connsiteY198" fmla="*/ 460515 h 2368363"/>
              <a:gd name="connsiteX199" fmla="*/ 590088 w 1652444"/>
              <a:gd name="connsiteY199" fmla="*/ 438168 h 2368363"/>
              <a:gd name="connsiteX200" fmla="*/ 579232 w 1652444"/>
              <a:gd name="connsiteY200" fmla="*/ 416490 h 2368363"/>
              <a:gd name="connsiteX201" fmla="*/ 567800 w 1652444"/>
              <a:gd name="connsiteY201" fmla="*/ 395486 h 2368363"/>
              <a:gd name="connsiteX202" fmla="*/ 555781 w 1652444"/>
              <a:gd name="connsiteY202" fmla="*/ 375164 h 2368363"/>
              <a:gd name="connsiteX203" fmla="*/ 543163 w 1652444"/>
              <a:gd name="connsiteY203" fmla="*/ 355528 h 2368363"/>
              <a:gd name="connsiteX204" fmla="*/ 516086 w 1652444"/>
              <a:gd name="connsiteY204" fmla="*/ 318344 h 2368363"/>
              <a:gd name="connsiteX205" fmla="*/ 486478 w 1652444"/>
              <a:gd name="connsiteY205" fmla="*/ 283984 h 2368363"/>
              <a:gd name="connsiteX206" fmla="*/ 454249 w 1652444"/>
              <a:gd name="connsiteY206" fmla="*/ 252498 h 2368363"/>
              <a:gd name="connsiteX207" fmla="*/ 419309 w 1652444"/>
              <a:gd name="connsiteY207" fmla="*/ 223936 h 2368363"/>
              <a:gd name="connsiteX208" fmla="*/ 381565 w 1652444"/>
              <a:gd name="connsiteY208" fmla="*/ 198347 h 2368363"/>
              <a:gd name="connsiteX209" fmla="*/ 361614 w 1652444"/>
              <a:gd name="connsiteY209" fmla="*/ 186684 h 2368363"/>
              <a:gd name="connsiteX210" fmla="*/ 340928 w 1652444"/>
              <a:gd name="connsiteY210" fmla="*/ 175783 h 2368363"/>
              <a:gd name="connsiteX211" fmla="*/ 319497 w 1652444"/>
              <a:gd name="connsiteY211" fmla="*/ 165650 h 2368363"/>
              <a:gd name="connsiteX212" fmla="*/ 297308 w 1652444"/>
              <a:gd name="connsiteY212" fmla="*/ 156292 h 2368363"/>
              <a:gd name="connsiteX213" fmla="*/ 274350 w 1652444"/>
              <a:gd name="connsiteY213" fmla="*/ 147715 h 2368363"/>
              <a:gd name="connsiteX214" fmla="*/ 250612 w 1652444"/>
              <a:gd name="connsiteY214" fmla="*/ 139925 h 2368363"/>
              <a:gd name="connsiteX215" fmla="*/ 226083 w 1652444"/>
              <a:gd name="connsiteY215" fmla="*/ 132929 h 2368363"/>
              <a:gd name="connsiteX216" fmla="*/ 200751 w 1652444"/>
              <a:gd name="connsiteY216" fmla="*/ 126732 h 2368363"/>
              <a:gd name="connsiteX217" fmla="*/ 174605 w 1652444"/>
              <a:gd name="connsiteY217" fmla="*/ 121342 h 2368363"/>
              <a:gd name="connsiteX218" fmla="*/ 147634 w 1652444"/>
              <a:gd name="connsiteY218" fmla="*/ 116764 h 2368363"/>
              <a:gd name="connsiteX219" fmla="*/ 119826 w 1652444"/>
              <a:gd name="connsiteY219" fmla="*/ 113003 h 2368363"/>
              <a:gd name="connsiteX220" fmla="*/ 91170 w 1652444"/>
              <a:gd name="connsiteY220" fmla="*/ 110068 h 2368363"/>
              <a:gd name="connsiteX221" fmla="*/ 61654 w 1652444"/>
              <a:gd name="connsiteY221" fmla="*/ 107964 h 2368363"/>
              <a:gd name="connsiteX222" fmla="*/ 31268 w 1652444"/>
              <a:gd name="connsiteY222" fmla="*/ 106696 h 2368363"/>
              <a:gd name="connsiteX223" fmla="*/ 0 w 1652444"/>
              <a:gd name="connsiteY223" fmla="*/ 106272 h 2368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1652444" h="2368363">
                <a:moveTo>
                  <a:pt x="984444" y="15381"/>
                </a:moveTo>
                <a:lnTo>
                  <a:pt x="1652444" y="15381"/>
                </a:lnTo>
                <a:lnTo>
                  <a:pt x="1652444" y="121261"/>
                </a:lnTo>
                <a:lnTo>
                  <a:pt x="1652444" y="2252660"/>
                </a:lnTo>
                <a:lnTo>
                  <a:pt x="1652444" y="2359307"/>
                </a:lnTo>
                <a:lnTo>
                  <a:pt x="984444" y="2359307"/>
                </a:lnTo>
                <a:lnTo>
                  <a:pt x="984444" y="2252660"/>
                </a:lnTo>
                <a:lnTo>
                  <a:pt x="1530989" y="2252660"/>
                </a:lnTo>
                <a:lnTo>
                  <a:pt x="1530989" y="121261"/>
                </a:lnTo>
                <a:lnTo>
                  <a:pt x="984444" y="121261"/>
                </a:lnTo>
                <a:close/>
                <a:moveTo>
                  <a:pt x="0" y="0"/>
                </a:moveTo>
                <a:lnTo>
                  <a:pt x="32009" y="371"/>
                </a:lnTo>
                <a:lnTo>
                  <a:pt x="63234" y="1481"/>
                </a:lnTo>
                <a:lnTo>
                  <a:pt x="93683" y="3325"/>
                </a:lnTo>
                <a:lnTo>
                  <a:pt x="123364" y="5896"/>
                </a:lnTo>
                <a:lnTo>
                  <a:pt x="152286" y="9190"/>
                </a:lnTo>
                <a:lnTo>
                  <a:pt x="180459" y="13201"/>
                </a:lnTo>
                <a:lnTo>
                  <a:pt x="207890" y="17925"/>
                </a:lnTo>
                <a:lnTo>
                  <a:pt x="234587" y="23355"/>
                </a:lnTo>
                <a:lnTo>
                  <a:pt x="260561" y="29486"/>
                </a:lnTo>
                <a:lnTo>
                  <a:pt x="285818" y="36314"/>
                </a:lnTo>
                <a:lnTo>
                  <a:pt x="310368" y="43831"/>
                </a:lnTo>
                <a:lnTo>
                  <a:pt x="334219" y="52033"/>
                </a:lnTo>
                <a:lnTo>
                  <a:pt x="357381" y="60916"/>
                </a:lnTo>
                <a:lnTo>
                  <a:pt x="379860" y="70472"/>
                </a:lnTo>
                <a:lnTo>
                  <a:pt x="401667" y="80697"/>
                </a:lnTo>
                <a:lnTo>
                  <a:pt x="422809" y="91586"/>
                </a:lnTo>
                <a:lnTo>
                  <a:pt x="443297" y="103133"/>
                </a:lnTo>
                <a:lnTo>
                  <a:pt x="463136" y="115333"/>
                </a:lnTo>
                <a:lnTo>
                  <a:pt x="482337" y="128180"/>
                </a:lnTo>
                <a:lnTo>
                  <a:pt x="518858" y="155795"/>
                </a:lnTo>
                <a:lnTo>
                  <a:pt x="552927" y="185936"/>
                </a:lnTo>
                <a:lnTo>
                  <a:pt x="584614" y="218558"/>
                </a:lnTo>
                <a:lnTo>
                  <a:pt x="613987" y="253619"/>
                </a:lnTo>
                <a:lnTo>
                  <a:pt x="627828" y="272050"/>
                </a:lnTo>
                <a:lnTo>
                  <a:pt x="641115" y="291076"/>
                </a:lnTo>
                <a:lnTo>
                  <a:pt x="653859" y="310690"/>
                </a:lnTo>
                <a:lnTo>
                  <a:pt x="666067" y="330886"/>
                </a:lnTo>
                <a:lnTo>
                  <a:pt x="677748" y="351661"/>
                </a:lnTo>
                <a:lnTo>
                  <a:pt x="688911" y="373007"/>
                </a:lnTo>
                <a:lnTo>
                  <a:pt x="699564" y="394920"/>
                </a:lnTo>
                <a:lnTo>
                  <a:pt x="709715" y="417394"/>
                </a:lnTo>
                <a:lnTo>
                  <a:pt x="719375" y="440424"/>
                </a:lnTo>
                <a:lnTo>
                  <a:pt x="728550" y="464005"/>
                </a:lnTo>
                <a:lnTo>
                  <a:pt x="737250" y="488131"/>
                </a:lnTo>
                <a:lnTo>
                  <a:pt x="745483" y="512797"/>
                </a:lnTo>
                <a:lnTo>
                  <a:pt x="753258" y="537997"/>
                </a:lnTo>
                <a:lnTo>
                  <a:pt x="760583" y="563727"/>
                </a:lnTo>
                <a:lnTo>
                  <a:pt x="767468" y="589980"/>
                </a:lnTo>
                <a:lnTo>
                  <a:pt x="773919" y="616751"/>
                </a:lnTo>
                <a:lnTo>
                  <a:pt x="779947" y="644036"/>
                </a:lnTo>
                <a:lnTo>
                  <a:pt x="785559" y="671828"/>
                </a:lnTo>
                <a:lnTo>
                  <a:pt x="790765" y="700122"/>
                </a:lnTo>
                <a:lnTo>
                  <a:pt x="795573" y="728914"/>
                </a:lnTo>
                <a:lnTo>
                  <a:pt x="799991" y="758196"/>
                </a:lnTo>
                <a:lnTo>
                  <a:pt x="804029" y="787965"/>
                </a:lnTo>
                <a:lnTo>
                  <a:pt x="807694" y="818214"/>
                </a:lnTo>
                <a:lnTo>
                  <a:pt x="810995" y="848939"/>
                </a:lnTo>
                <a:lnTo>
                  <a:pt x="813941" y="880134"/>
                </a:lnTo>
                <a:lnTo>
                  <a:pt x="816541" y="911793"/>
                </a:lnTo>
                <a:lnTo>
                  <a:pt x="818802" y="943911"/>
                </a:lnTo>
                <a:lnTo>
                  <a:pt x="820734" y="976483"/>
                </a:lnTo>
                <a:lnTo>
                  <a:pt x="822345" y="1009504"/>
                </a:lnTo>
                <a:lnTo>
                  <a:pt x="823645" y="1042967"/>
                </a:lnTo>
                <a:lnTo>
                  <a:pt x="824641" y="1076869"/>
                </a:lnTo>
                <a:lnTo>
                  <a:pt x="825341" y="1111203"/>
                </a:lnTo>
                <a:lnTo>
                  <a:pt x="825755" y="1145963"/>
                </a:lnTo>
                <a:lnTo>
                  <a:pt x="825891" y="1181145"/>
                </a:lnTo>
                <a:lnTo>
                  <a:pt x="825757" y="1216476"/>
                </a:lnTo>
                <a:lnTo>
                  <a:pt x="825350" y="1251386"/>
                </a:lnTo>
                <a:lnTo>
                  <a:pt x="824661" y="1285869"/>
                </a:lnTo>
                <a:lnTo>
                  <a:pt x="823681" y="1319919"/>
                </a:lnTo>
                <a:lnTo>
                  <a:pt x="822402" y="1353531"/>
                </a:lnTo>
                <a:lnTo>
                  <a:pt x="820814" y="1386700"/>
                </a:lnTo>
                <a:lnTo>
                  <a:pt x="818909" y="1419420"/>
                </a:lnTo>
                <a:lnTo>
                  <a:pt x="816677" y="1451685"/>
                </a:lnTo>
                <a:lnTo>
                  <a:pt x="814111" y="1483490"/>
                </a:lnTo>
                <a:lnTo>
                  <a:pt x="811200" y="1514831"/>
                </a:lnTo>
                <a:lnTo>
                  <a:pt x="807937" y="1545700"/>
                </a:lnTo>
                <a:lnTo>
                  <a:pt x="804312" y="1576094"/>
                </a:lnTo>
                <a:lnTo>
                  <a:pt x="800317" y="1606006"/>
                </a:lnTo>
                <a:lnTo>
                  <a:pt x="795943" y="1635430"/>
                </a:lnTo>
                <a:lnTo>
                  <a:pt x="791181" y="1664362"/>
                </a:lnTo>
                <a:lnTo>
                  <a:pt x="786022" y="1692796"/>
                </a:lnTo>
                <a:lnTo>
                  <a:pt x="780458" y="1720727"/>
                </a:lnTo>
                <a:lnTo>
                  <a:pt x="774479" y="1748148"/>
                </a:lnTo>
                <a:lnTo>
                  <a:pt x="768076" y="1775055"/>
                </a:lnTo>
                <a:lnTo>
                  <a:pt x="761241" y="1801442"/>
                </a:lnTo>
                <a:lnTo>
                  <a:pt x="753966" y="1827305"/>
                </a:lnTo>
                <a:lnTo>
                  <a:pt x="746241" y="1852636"/>
                </a:lnTo>
                <a:lnTo>
                  <a:pt x="738057" y="1877431"/>
                </a:lnTo>
                <a:lnTo>
                  <a:pt x="729406" y="1901684"/>
                </a:lnTo>
                <a:lnTo>
                  <a:pt x="720278" y="1925390"/>
                </a:lnTo>
                <a:lnTo>
                  <a:pt x="710665" y="1948543"/>
                </a:lnTo>
                <a:lnTo>
                  <a:pt x="700559" y="1971139"/>
                </a:lnTo>
                <a:lnTo>
                  <a:pt x="689949" y="1993171"/>
                </a:lnTo>
                <a:lnTo>
                  <a:pt x="678828" y="2014634"/>
                </a:lnTo>
                <a:lnTo>
                  <a:pt x="667187" y="2035522"/>
                </a:lnTo>
                <a:lnTo>
                  <a:pt x="655016" y="2055830"/>
                </a:lnTo>
                <a:lnTo>
                  <a:pt x="642307" y="2075554"/>
                </a:lnTo>
                <a:lnTo>
                  <a:pt x="629052" y="2094686"/>
                </a:lnTo>
                <a:lnTo>
                  <a:pt x="615240" y="2113223"/>
                </a:lnTo>
                <a:lnTo>
                  <a:pt x="585914" y="2148484"/>
                </a:lnTo>
                <a:lnTo>
                  <a:pt x="554260" y="2181295"/>
                </a:lnTo>
                <a:lnTo>
                  <a:pt x="520206" y="2211611"/>
                </a:lnTo>
                <a:lnTo>
                  <a:pt x="483682" y="2239390"/>
                </a:lnTo>
                <a:lnTo>
                  <a:pt x="464472" y="2252315"/>
                </a:lnTo>
                <a:lnTo>
                  <a:pt x="444617" y="2264587"/>
                </a:lnTo>
                <a:lnTo>
                  <a:pt x="424110" y="2276205"/>
                </a:lnTo>
                <a:lnTo>
                  <a:pt x="402941" y="2287159"/>
                </a:lnTo>
                <a:lnTo>
                  <a:pt x="381102" y="2297448"/>
                </a:lnTo>
                <a:lnTo>
                  <a:pt x="358583" y="2307062"/>
                </a:lnTo>
                <a:lnTo>
                  <a:pt x="335376" y="2316000"/>
                </a:lnTo>
                <a:lnTo>
                  <a:pt x="311472" y="2324254"/>
                </a:lnTo>
                <a:lnTo>
                  <a:pt x="286862" y="2331818"/>
                </a:lnTo>
                <a:lnTo>
                  <a:pt x="261537" y="2338687"/>
                </a:lnTo>
                <a:lnTo>
                  <a:pt x="235489" y="2344857"/>
                </a:lnTo>
                <a:lnTo>
                  <a:pt x="208709" y="2350322"/>
                </a:lnTo>
                <a:lnTo>
                  <a:pt x="181187" y="2355076"/>
                </a:lnTo>
                <a:lnTo>
                  <a:pt x="152916" y="2359113"/>
                </a:lnTo>
                <a:lnTo>
                  <a:pt x="123886" y="2362428"/>
                </a:lnTo>
                <a:lnTo>
                  <a:pt x="94088" y="2365016"/>
                </a:lnTo>
                <a:lnTo>
                  <a:pt x="63513" y="2366872"/>
                </a:lnTo>
                <a:lnTo>
                  <a:pt x="32154" y="2367989"/>
                </a:lnTo>
                <a:lnTo>
                  <a:pt x="0" y="2368363"/>
                </a:lnTo>
                <a:lnTo>
                  <a:pt x="0" y="2262090"/>
                </a:lnTo>
                <a:lnTo>
                  <a:pt x="30867" y="2261685"/>
                </a:lnTo>
                <a:lnTo>
                  <a:pt x="60872" y="2260471"/>
                </a:lnTo>
                <a:lnTo>
                  <a:pt x="90026" y="2258456"/>
                </a:lnTo>
                <a:lnTo>
                  <a:pt x="118340" y="2255643"/>
                </a:lnTo>
                <a:lnTo>
                  <a:pt x="145825" y="2252038"/>
                </a:lnTo>
                <a:lnTo>
                  <a:pt x="172492" y="2247648"/>
                </a:lnTo>
                <a:lnTo>
                  <a:pt x="198352" y="2242477"/>
                </a:lnTo>
                <a:lnTo>
                  <a:pt x="223416" y="2236531"/>
                </a:lnTo>
                <a:lnTo>
                  <a:pt x="247696" y="2229814"/>
                </a:lnTo>
                <a:lnTo>
                  <a:pt x="271201" y="2222332"/>
                </a:lnTo>
                <a:lnTo>
                  <a:pt x="293944" y="2214091"/>
                </a:lnTo>
                <a:lnTo>
                  <a:pt x="315936" y="2205097"/>
                </a:lnTo>
                <a:lnTo>
                  <a:pt x="337186" y="2195353"/>
                </a:lnTo>
                <a:lnTo>
                  <a:pt x="357707" y="2184865"/>
                </a:lnTo>
                <a:lnTo>
                  <a:pt x="396606" y="2161683"/>
                </a:lnTo>
                <a:lnTo>
                  <a:pt x="432719" y="2135592"/>
                </a:lnTo>
                <a:lnTo>
                  <a:pt x="466135" y="2106636"/>
                </a:lnTo>
                <a:lnTo>
                  <a:pt x="496943" y="2074856"/>
                </a:lnTo>
                <a:lnTo>
                  <a:pt x="525232" y="2040296"/>
                </a:lnTo>
                <a:lnTo>
                  <a:pt x="551088" y="2002999"/>
                </a:lnTo>
                <a:lnTo>
                  <a:pt x="563132" y="1983337"/>
                </a:lnTo>
                <a:lnTo>
                  <a:pt x="574602" y="1963008"/>
                </a:lnTo>
                <a:lnTo>
                  <a:pt x="585508" y="1942016"/>
                </a:lnTo>
                <a:lnTo>
                  <a:pt x="595861" y="1920366"/>
                </a:lnTo>
                <a:lnTo>
                  <a:pt x="605674" y="1898064"/>
                </a:lnTo>
                <a:lnTo>
                  <a:pt x="614955" y="1875115"/>
                </a:lnTo>
                <a:lnTo>
                  <a:pt x="623717" y="1851525"/>
                </a:lnTo>
                <a:lnTo>
                  <a:pt x="631971" y="1827299"/>
                </a:lnTo>
                <a:lnTo>
                  <a:pt x="639728" y="1802443"/>
                </a:lnTo>
                <a:lnTo>
                  <a:pt x="646998" y="1776961"/>
                </a:lnTo>
                <a:lnTo>
                  <a:pt x="653794" y="1750859"/>
                </a:lnTo>
                <a:lnTo>
                  <a:pt x="660125" y="1724143"/>
                </a:lnTo>
                <a:lnTo>
                  <a:pt x="666004" y="1696818"/>
                </a:lnTo>
                <a:lnTo>
                  <a:pt x="671440" y="1668888"/>
                </a:lnTo>
                <a:lnTo>
                  <a:pt x="676445" y="1640361"/>
                </a:lnTo>
                <a:lnTo>
                  <a:pt x="681031" y="1611240"/>
                </a:lnTo>
                <a:lnTo>
                  <a:pt x="685208" y="1581532"/>
                </a:lnTo>
                <a:lnTo>
                  <a:pt x="688987" y="1551241"/>
                </a:lnTo>
                <a:lnTo>
                  <a:pt x="692379" y="1520374"/>
                </a:lnTo>
                <a:lnTo>
                  <a:pt x="695396" y="1488934"/>
                </a:lnTo>
                <a:lnTo>
                  <a:pt x="698049" y="1456929"/>
                </a:lnTo>
                <a:lnTo>
                  <a:pt x="700348" y="1424363"/>
                </a:lnTo>
                <a:lnTo>
                  <a:pt x="702305" y="1391241"/>
                </a:lnTo>
                <a:lnTo>
                  <a:pt x="703930" y="1357569"/>
                </a:lnTo>
                <a:lnTo>
                  <a:pt x="705235" y="1323352"/>
                </a:lnTo>
                <a:lnTo>
                  <a:pt x="706230" y="1288596"/>
                </a:lnTo>
                <a:lnTo>
                  <a:pt x="706928" y="1253306"/>
                </a:lnTo>
                <a:lnTo>
                  <a:pt x="707338" y="1217487"/>
                </a:lnTo>
                <a:lnTo>
                  <a:pt x="707472" y="1181145"/>
                </a:lnTo>
                <a:lnTo>
                  <a:pt x="707330" y="1144628"/>
                </a:lnTo>
                <a:lnTo>
                  <a:pt x="706895" y="1108631"/>
                </a:lnTo>
                <a:lnTo>
                  <a:pt x="706157" y="1073158"/>
                </a:lnTo>
                <a:lnTo>
                  <a:pt x="705102" y="1038215"/>
                </a:lnTo>
                <a:lnTo>
                  <a:pt x="703722" y="1003810"/>
                </a:lnTo>
                <a:lnTo>
                  <a:pt x="702004" y="969949"/>
                </a:lnTo>
                <a:lnTo>
                  <a:pt x="699936" y="936637"/>
                </a:lnTo>
                <a:lnTo>
                  <a:pt x="697508" y="903882"/>
                </a:lnTo>
                <a:lnTo>
                  <a:pt x="694708" y="871689"/>
                </a:lnTo>
                <a:lnTo>
                  <a:pt x="691526" y="840064"/>
                </a:lnTo>
                <a:lnTo>
                  <a:pt x="687948" y="809015"/>
                </a:lnTo>
                <a:lnTo>
                  <a:pt x="683964" y="778546"/>
                </a:lnTo>
                <a:lnTo>
                  <a:pt x="679564" y="748664"/>
                </a:lnTo>
                <a:lnTo>
                  <a:pt x="674735" y="719377"/>
                </a:lnTo>
                <a:lnTo>
                  <a:pt x="669466" y="690688"/>
                </a:lnTo>
                <a:lnTo>
                  <a:pt x="663745" y="662606"/>
                </a:lnTo>
                <a:lnTo>
                  <a:pt x="657563" y="635136"/>
                </a:lnTo>
                <a:lnTo>
                  <a:pt x="650906" y="608285"/>
                </a:lnTo>
                <a:lnTo>
                  <a:pt x="643764" y="582058"/>
                </a:lnTo>
                <a:lnTo>
                  <a:pt x="636126" y="556463"/>
                </a:lnTo>
                <a:lnTo>
                  <a:pt x="627979" y="531504"/>
                </a:lnTo>
                <a:lnTo>
                  <a:pt x="619314" y="507189"/>
                </a:lnTo>
                <a:lnTo>
                  <a:pt x="610118" y="483524"/>
                </a:lnTo>
                <a:lnTo>
                  <a:pt x="600379" y="460515"/>
                </a:lnTo>
                <a:lnTo>
                  <a:pt x="590088" y="438168"/>
                </a:lnTo>
                <a:lnTo>
                  <a:pt x="579232" y="416490"/>
                </a:lnTo>
                <a:lnTo>
                  <a:pt x="567800" y="395486"/>
                </a:lnTo>
                <a:lnTo>
                  <a:pt x="555781" y="375164"/>
                </a:lnTo>
                <a:lnTo>
                  <a:pt x="543163" y="355528"/>
                </a:lnTo>
                <a:lnTo>
                  <a:pt x="516086" y="318344"/>
                </a:lnTo>
                <a:lnTo>
                  <a:pt x="486478" y="283984"/>
                </a:lnTo>
                <a:lnTo>
                  <a:pt x="454249" y="252498"/>
                </a:lnTo>
                <a:lnTo>
                  <a:pt x="419309" y="223936"/>
                </a:lnTo>
                <a:lnTo>
                  <a:pt x="381565" y="198347"/>
                </a:lnTo>
                <a:lnTo>
                  <a:pt x="361614" y="186684"/>
                </a:lnTo>
                <a:lnTo>
                  <a:pt x="340928" y="175783"/>
                </a:lnTo>
                <a:lnTo>
                  <a:pt x="319497" y="165650"/>
                </a:lnTo>
                <a:lnTo>
                  <a:pt x="297308" y="156292"/>
                </a:lnTo>
                <a:lnTo>
                  <a:pt x="274350" y="147715"/>
                </a:lnTo>
                <a:lnTo>
                  <a:pt x="250612" y="139925"/>
                </a:lnTo>
                <a:lnTo>
                  <a:pt x="226083" y="132929"/>
                </a:lnTo>
                <a:lnTo>
                  <a:pt x="200751" y="126732"/>
                </a:lnTo>
                <a:lnTo>
                  <a:pt x="174605" y="121342"/>
                </a:lnTo>
                <a:lnTo>
                  <a:pt x="147634" y="116764"/>
                </a:lnTo>
                <a:lnTo>
                  <a:pt x="119826" y="113003"/>
                </a:lnTo>
                <a:lnTo>
                  <a:pt x="91170" y="110068"/>
                </a:lnTo>
                <a:lnTo>
                  <a:pt x="61654" y="107964"/>
                </a:lnTo>
                <a:lnTo>
                  <a:pt x="31268" y="106696"/>
                </a:lnTo>
                <a:lnTo>
                  <a:pt x="0" y="106272"/>
                </a:lnTo>
                <a:close/>
              </a:path>
            </a:pathLst>
          </a:custGeom>
          <a:solidFill>
            <a:srgbClr val="88C66D"/>
          </a:solidFill>
        </p:spPr>
        <p:txBody>
          <a:bodyPr wrap="square">
            <a:noAutofit/>
          </a:bodyPr>
          <a:lstStyle>
            <a:lvl1pPr marL="0" indent="0">
              <a:lnSpc>
                <a:spcPct val="100000"/>
              </a:lnSpc>
              <a:spcBef>
                <a:spcPts val="0"/>
              </a:spcBef>
              <a:spcAft>
                <a:spcPts val="0"/>
              </a:spcAft>
              <a:buFontTx/>
              <a:buNone/>
              <a:defRPr sz="750">
                <a:noFill/>
                <a:latin typeface="+mn-lt"/>
              </a:defRPr>
            </a:lvl1pPr>
            <a:lvl2pPr marL="0" indent="0">
              <a:lnSpc>
                <a:spcPct val="100000"/>
              </a:lnSpc>
              <a:spcBef>
                <a:spcPts val="0"/>
              </a:spcBef>
              <a:spcAft>
                <a:spcPts val="0"/>
              </a:spcAft>
              <a:buFontTx/>
              <a:buNone/>
              <a:defRPr sz="750">
                <a:noFill/>
                <a:latin typeface="+mn-lt"/>
              </a:defRPr>
            </a:lvl2pPr>
            <a:lvl3pPr marL="0" indent="0">
              <a:lnSpc>
                <a:spcPct val="100000"/>
              </a:lnSpc>
              <a:spcBef>
                <a:spcPts val="0"/>
              </a:spcBef>
              <a:spcAft>
                <a:spcPts val="0"/>
              </a:spcAft>
              <a:buFontTx/>
              <a:buNone/>
              <a:defRPr sz="750">
                <a:noFill/>
                <a:latin typeface="+mn-lt"/>
              </a:defRPr>
            </a:lvl3pPr>
            <a:lvl4pPr marL="0" indent="0">
              <a:lnSpc>
                <a:spcPct val="100000"/>
              </a:lnSpc>
              <a:spcBef>
                <a:spcPts val="0"/>
              </a:spcBef>
              <a:spcAft>
                <a:spcPts val="0"/>
              </a:spcAft>
              <a:buFontTx/>
              <a:buNone/>
              <a:defRPr sz="750">
                <a:noFill/>
                <a:latin typeface="+mn-lt"/>
              </a:defRPr>
            </a:lvl4pPr>
            <a:lvl5pPr marL="0" indent="0">
              <a:lnSpc>
                <a:spcPct val="100000"/>
              </a:lnSpc>
              <a:spcBef>
                <a:spcPts val="0"/>
              </a:spcBef>
              <a:spcAft>
                <a:spcPts val="0"/>
              </a:spcAft>
              <a:buFontTx/>
              <a:buNone/>
              <a:defRPr sz="750">
                <a:noFill/>
                <a:latin typeface="+mn-lt"/>
              </a:defRPr>
            </a:lvl5pPr>
            <a:lvl6pPr marL="0" indent="0">
              <a:lnSpc>
                <a:spcPct val="100000"/>
              </a:lnSpc>
              <a:spcBef>
                <a:spcPts val="0"/>
              </a:spcBef>
              <a:spcAft>
                <a:spcPts val="0"/>
              </a:spcAft>
              <a:buFontTx/>
              <a:buNone/>
              <a:defRPr sz="750">
                <a:noFill/>
                <a:latin typeface="+mn-lt"/>
              </a:defRPr>
            </a:lvl6pPr>
            <a:lvl7pPr marL="0" indent="0">
              <a:lnSpc>
                <a:spcPct val="100000"/>
              </a:lnSpc>
              <a:spcBef>
                <a:spcPts val="0"/>
              </a:spcBef>
              <a:spcAft>
                <a:spcPts val="0"/>
              </a:spcAft>
              <a:buFontTx/>
              <a:buNone/>
              <a:defRPr sz="750">
                <a:noFill/>
                <a:latin typeface="+mn-lt"/>
              </a:defRPr>
            </a:lvl7pPr>
            <a:lvl8pPr marL="0" indent="0">
              <a:lnSpc>
                <a:spcPct val="100000"/>
              </a:lnSpc>
              <a:spcBef>
                <a:spcPts val="0"/>
              </a:spcBef>
              <a:spcAft>
                <a:spcPts val="0"/>
              </a:spcAft>
              <a:buFontTx/>
              <a:buNone/>
              <a:defRPr sz="750">
                <a:noFill/>
                <a:latin typeface="+mn-lt"/>
              </a:defRPr>
            </a:lvl8pPr>
            <a:lvl9pPr marL="0" indent="0">
              <a:lnSpc>
                <a:spcPct val="100000"/>
              </a:lnSpc>
              <a:spcBef>
                <a:spcPts val="0"/>
              </a:spcBef>
              <a:spcAft>
                <a:spcPts val="0"/>
              </a:spcAft>
              <a:buFontTx/>
              <a:buNone/>
              <a:defRPr sz="750">
                <a:noFill/>
                <a:latin typeface="+mn-lt"/>
              </a:defRPr>
            </a:lvl9pPr>
          </a:lstStyle>
          <a:p>
            <a:pPr lvl="0"/>
            <a:r>
              <a:rPr lang="da-DK" dirty="0"/>
              <a:t>.</a:t>
            </a:r>
          </a:p>
        </p:txBody>
      </p:sp>
      <p:sp>
        <p:nvSpPr>
          <p:cNvPr id="4" name="Date Placeholder 3">
            <a:extLst>
              <a:ext uri="{FF2B5EF4-FFF2-40B4-BE49-F238E27FC236}">
                <a16:creationId xmlns:a16="http://schemas.microsoft.com/office/drawing/2014/main" id="{A8D7B535-415A-41F4-AFE0-6FFBBBD7631B}"/>
              </a:ext>
            </a:extLst>
          </p:cNvPr>
          <p:cNvSpPr>
            <a:spLocks noGrp="1"/>
          </p:cNvSpPr>
          <p:nvPr>
            <p:ph type="dt" sz="half" idx="10"/>
          </p:nvPr>
        </p:nvSpPr>
        <p:spPr/>
        <p:txBody>
          <a:bodyPr anchor="t" anchorCtr="0"/>
          <a:lstStyle/>
          <a:p>
            <a:fld id="{97661291-5352-4918-9316-2BC4EAD39735}" type="datetime2">
              <a:rPr lang="da-DK" smtClean="0"/>
              <a:t>11. december 2025</a:t>
            </a:fld>
            <a:endParaRPr lang="da-DK" dirty="0"/>
          </a:p>
        </p:txBody>
      </p:sp>
      <p:sp>
        <p:nvSpPr>
          <p:cNvPr id="5" name="Footer Placeholder 4">
            <a:extLst>
              <a:ext uri="{FF2B5EF4-FFF2-40B4-BE49-F238E27FC236}">
                <a16:creationId xmlns:a16="http://schemas.microsoft.com/office/drawing/2014/main" id="{12CFB2E6-561D-40B3-AC0C-DD0BE409F019}"/>
              </a:ext>
            </a:extLst>
          </p:cNvPr>
          <p:cNvSpPr>
            <a:spLocks noGrp="1"/>
          </p:cNvSpPr>
          <p:nvPr>
            <p:ph type="ftr" sz="quarter" idx="11"/>
          </p:nvPr>
        </p:nvSpPr>
        <p:spPr/>
        <p:txBody>
          <a:bodyPr anchor="t" anchorCtr="0"/>
          <a:lstStyle/>
          <a:p>
            <a:r>
              <a:rPr lang="da-DK" dirty="0"/>
              <a:t>Digitaliseringsstyrelsen</a:t>
            </a:r>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nchor="t" anchorCtr="0"/>
          <a:lstStyle/>
          <a:p>
            <a:fld id="{24C8C45C-947F-4981-8B3F-4F32E973C901}" type="slidenum">
              <a:rPr lang="da-DK" smtClean="0"/>
              <a:pPr/>
              <a:t>‹nr.›</a:t>
            </a:fld>
            <a:endParaRPr lang="da-DK" dirty="0"/>
          </a:p>
        </p:txBody>
      </p:sp>
      <p:sp>
        <p:nvSpPr>
          <p:cNvPr id="7" name="TextBox 1">
            <a:extLst>
              <a:ext uri="{FF2B5EF4-FFF2-40B4-BE49-F238E27FC236}">
                <a16:creationId xmlns:a16="http://schemas.microsoft.com/office/drawing/2014/main" id="{775C7E5B-0D47-B921-DDF7-AA7BE4343971}"/>
              </a:ext>
            </a:extLst>
          </p:cNvPr>
          <p:cNvSpPr txBox="1"/>
          <p:nvPr userDrawn="1"/>
        </p:nvSpPr>
        <p:spPr>
          <a:xfrm>
            <a:off x="0" y="-191688"/>
            <a:ext cx="91440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900" noProof="0" dirty="0"/>
              <a:t>Skift farve på Makro grafikker: Klik på Makro grafikkerne, klik på Fyldfarve til figur, vælg farve fra Brugerdefinerede farvers anden række. Samme farve på begge grafikker.</a:t>
            </a:r>
          </a:p>
        </p:txBody>
      </p:sp>
    </p:spTree>
    <p:extLst>
      <p:ext uri="{BB962C8B-B14F-4D97-AF65-F5344CB8AC3E}">
        <p14:creationId xmlns:p14="http://schemas.microsoft.com/office/powerpoint/2010/main" val="734734398"/>
      </p:ext>
    </p:extLst>
  </p:cSld>
  <p:clrMapOvr>
    <a:masterClrMapping/>
  </p:clrMapOvr>
  <p:extLst>
    <p:ext uri="{DCECCB84-F9BA-43D5-87BE-67443E8EF086}">
      <p15:sldGuideLst xmlns:p15="http://schemas.microsoft.com/office/powerpoint/2012/main">
        <p15:guide id="6" orient="horz" pos="2660">
          <p15:clr>
            <a:srgbClr val="A4A3A4"/>
          </p15:clr>
        </p15:guide>
        <p15:guide id="7" orient="horz" pos="2773">
          <p15:clr>
            <a:srgbClr val="A4A3A4"/>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41" Type="http://schemas.openxmlformats.org/officeDocument/2006/relationships/slideLayout" Target="../slideLayouts/slideLayout7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theme" Target="../theme/theme2.xml"/><Relationship Id="rId8" Type="http://schemas.openxmlformats.org/officeDocument/2006/relationships/slideLayout" Target="../slideLayouts/slideLayout41.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34" Type="http://schemas.openxmlformats.org/officeDocument/2006/relationships/slideLayout" Target="../slideLayouts/slideLayout109.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slideLayout" Target="../slideLayouts/slideLayout104.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theme" Target="../theme/theme3.xml"/><Relationship Id="rId8" Type="http://schemas.openxmlformats.org/officeDocument/2006/relationships/slideLayout" Target="../slideLayouts/slideLayout8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9" Type="http://schemas.openxmlformats.org/officeDocument/2006/relationships/slideLayout" Target="../slideLayouts/slideLayout148.xml"/><Relationship Id="rId21" Type="http://schemas.openxmlformats.org/officeDocument/2006/relationships/slideLayout" Target="../slideLayouts/slideLayout130.xml"/><Relationship Id="rId34" Type="http://schemas.openxmlformats.org/officeDocument/2006/relationships/slideLayout" Target="../slideLayouts/slideLayout143.xml"/><Relationship Id="rId42" Type="http://schemas.openxmlformats.org/officeDocument/2006/relationships/slideLayout" Target="../slideLayouts/slideLayout151.xml"/><Relationship Id="rId7" Type="http://schemas.openxmlformats.org/officeDocument/2006/relationships/slideLayout" Target="../slideLayouts/slideLayout11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41" Type="http://schemas.openxmlformats.org/officeDocument/2006/relationships/slideLayout" Target="../slideLayouts/slideLayout150.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37" Type="http://schemas.openxmlformats.org/officeDocument/2006/relationships/slideLayout" Target="../slideLayouts/slideLayout146.xml"/><Relationship Id="rId40" Type="http://schemas.openxmlformats.org/officeDocument/2006/relationships/slideLayout" Target="../slideLayouts/slideLayout149.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slideLayout" Target="../slideLayouts/slideLayout145.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4" Type="http://schemas.openxmlformats.org/officeDocument/2006/relationships/theme" Target="../theme/theme4.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slideLayout" Target="../slideLayouts/slideLayout144.xml"/><Relationship Id="rId43" Type="http://schemas.openxmlformats.org/officeDocument/2006/relationships/slideLayout" Target="../slideLayouts/slideLayout152.xml"/><Relationship Id="rId8" Type="http://schemas.openxmlformats.org/officeDocument/2006/relationships/slideLayout" Target="../slideLayouts/slideLayout117.xml"/><Relationship Id="rId3" Type="http://schemas.openxmlformats.org/officeDocument/2006/relationships/slideLayout" Target="../slideLayouts/slideLayout112.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38" Type="http://schemas.openxmlformats.org/officeDocument/2006/relationships/slideLayout" Target="../slideLayouts/slideLayout14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9" Type="http://schemas.openxmlformats.org/officeDocument/2006/relationships/slideLayout" Target="../slideLayouts/slideLayout191.xml"/><Relationship Id="rId21" Type="http://schemas.openxmlformats.org/officeDocument/2006/relationships/slideLayout" Target="../slideLayouts/slideLayout173.xml"/><Relationship Id="rId34" Type="http://schemas.openxmlformats.org/officeDocument/2006/relationships/slideLayout" Target="../slideLayouts/slideLayout186.xml"/><Relationship Id="rId42" Type="http://schemas.openxmlformats.org/officeDocument/2006/relationships/slideLayout" Target="../slideLayouts/slideLayout194.xml"/><Relationship Id="rId7" Type="http://schemas.openxmlformats.org/officeDocument/2006/relationships/slideLayout" Target="../slideLayouts/slideLayout15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9" Type="http://schemas.openxmlformats.org/officeDocument/2006/relationships/slideLayout" Target="../slideLayouts/slideLayout181.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slideLayout" Target="../slideLayouts/slideLayout189.xml"/><Relationship Id="rId40" Type="http://schemas.openxmlformats.org/officeDocument/2006/relationships/slideLayout" Target="../slideLayouts/slideLayout192.xml"/><Relationship Id="rId45" Type="http://schemas.openxmlformats.org/officeDocument/2006/relationships/slideLayout" Target="../slideLayouts/slideLayout197.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slideLayout" Target="../slideLayouts/slideLayout188.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4" Type="http://schemas.openxmlformats.org/officeDocument/2006/relationships/slideLayout" Target="../slideLayouts/slideLayout196.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 Id="rId43" Type="http://schemas.openxmlformats.org/officeDocument/2006/relationships/slideLayout" Target="../slideLayouts/slideLayout195.xml"/><Relationship Id="rId8" Type="http://schemas.openxmlformats.org/officeDocument/2006/relationships/slideLayout" Target="../slideLayouts/slideLayout160.xml"/><Relationship Id="rId3" Type="http://schemas.openxmlformats.org/officeDocument/2006/relationships/slideLayout" Target="../slideLayouts/slideLayout155.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slideLayout" Target="../slideLayouts/slideLayout190.xml"/><Relationship Id="rId46" Type="http://schemas.openxmlformats.org/officeDocument/2006/relationships/theme" Target="../theme/theme5.xml"/><Relationship Id="rId20" Type="http://schemas.openxmlformats.org/officeDocument/2006/relationships/slideLayout" Target="../slideLayouts/slideLayout172.xml"/><Relationship Id="rId41" Type="http://schemas.openxmlformats.org/officeDocument/2006/relationships/slideLayout" Target="../slideLayouts/slideLayout1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468313" y="555625"/>
            <a:ext cx="8207375" cy="647973"/>
          </a:xfrm>
          <a:prstGeom prst="rect">
            <a:avLst/>
          </a:prstGeom>
        </p:spPr>
        <p:txBody>
          <a:bodyPr vert="horz" lIns="0" tIns="0" rIns="0" bIns="0" rtlCol="0" anchor="t">
            <a:noAutofit/>
          </a:bodyPr>
          <a:lstStyle/>
          <a:p>
            <a:r>
              <a:rPr lang="da-DK" noProof="0" err="1"/>
              <a:t>Lorem</a:t>
            </a:r>
            <a:r>
              <a:rPr lang="da-DK" noProof="0"/>
              <a:t> </a:t>
            </a:r>
            <a:r>
              <a:rPr lang="da-DK" noProof="0" err="1"/>
              <a:t>ipsum</a:t>
            </a:r>
            <a:r>
              <a:rPr lang="da-DK" noProof="0"/>
              <a:t> </a:t>
            </a:r>
            <a:r>
              <a:rPr lang="da-DK" noProof="0" err="1"/>
              <a:t>dolor</a:t>
            </a:r>
            <a:br>
              <a:rPr lang="da-DK" noProof="0"/>
            </a:br>
            <a:r>
              <a:rPr lang="da-DK" noProof="0" err="1"/>
              <a:t>lorem</a:t>
            </a:r>
            <a:endParaRPr lang="da-DK" noProof="0"/>
          </a:p>
        </p:txBody>
      </p:sp>
      <p:sp>
        <p:nvSpPr>
          <p:cNvPr id="3" name="Pladsholder til tekst 2">
            <a:extLst>
              <a:ext uri="{FF2B5EF4-FFF2-40B4-BE49-F238E27FC236}">
                <a16:creationId xmlns:a16="http://schemas.microsoft.com/office/drawing/2014/main" id="{3BDB83AA-26AC-624A-BEA8-DE70D09ADF59}"/>
              </a:ext>
            </a:extLst>
          </p:cNvPr>
          <p:cNvSpPr>
            <a:spLocks noGrp="1"/>
          </p:cNvSpPr>
          <p:nvPr>
            <p:ph type="body" idx="1"/>
          </p:nvPr>
        </p:nvSpPr>
        <p:spPr>
          <a:xfrm>
            <a:off x="468313" y="1419225"/>
            <a:ext cx="8207375" cy="3168650"/>
          </a:xfrm>
          <a:prstGeom prst="rect">
            <a:avLst/>
          </a:prstGeom>
        </p:spPr>
        <p:txBody>
          <a:bodyPr vert="horz" lIns="0" tIns="0" rIns="91440" bIns="0" rtlCol="0">
            <a:noAutofit/>
          </a:bodyPr>
          <a:lstStyle/>
          <a:p>
            <a:pPr lvl="0"/>
            <a:r>
              <a:rPr lang="da-DK" noProof="0"/>
              <a:t>Klik for at redigere teksttypografierne i masteren</a:t>
            </a:r>
          </a:p>
          <a:p>
            <a:pPr lvl="1"/>
            <a:r>
              <a:rPr lang="da-DK" noProof="0"/>
              <a:t>Andet niveau</a:t>
            </a:r>
          </a:p>
          <a:p>
            <a:pPr lvl="2"/>
            <a:r>
              <a:rPr lang="da-DK" noProof="0"/>
              <a:t>Tredje niveau </a:t>
            </a:r>
          </a:p>
          <a:p>
            <a:pPr lvl="3"/>
            <a:r>
              <a:rPr lang="da-DK" noProof="0"/>
              <a:t>Fjerde niveau</a:t>
            </a:r>
          </a:p>
        </p:txBody>
      </p:sp>
      <p:pic>
        <p:nvPicPr>
          <p:cNvPr id="5" name="Billede 4">
            <a:extLst>
              <a:ext uri="{FF2B5EF4-FFF2-40B4-BE49-F238E27FC236}">
                <a16:creationId xmlns:a16="http://schemas.microsoft.com/office/drawing/2014/main" id="{21B46BE0-2749-43F6-F1C5-7A80EC23DDD4}"/>
              </a:ext>
            </a:extLst>
          </p:cNvPr>
          <p:cNvPicPr>
            <a:picLocks noChangeAspect="1"/>
          </p:cNvPicPr>
          <p:nvPr userDrawn="1"/>
        </p:nvPicPr>
        <p:blipFill>
          <a:blip r:embed="rId35"/>
          <a:stretch>
            <a:fillRect/>
          </a:stretch>
        </p:blipFill>
        <p:spPr>
          <a:xfrm>
            <a:off x="187181" y="4728661"/>
            <a:ext cx="219577" cy="219577"/>
          </a:xfrm>
          <a:prstGeom prst="rect">
            <a:avLst/>
          </a:prstGeom>
        </p:spPr>
      </p:pic>
    </p:spTree>
    <p:extLst>
      <p:ext uri="{BB962C8B-B14F-4D97-AF65-F5344CB8AC3E}">
        <p14:creationId xmlns:p14="http://schemas.microsoft.com/office/powerpoint/2010/main" val="2982967271"/>
      </p:ext>
    </p:extLst>
  </p:cSld>
  <p:clrMap bg1="lt1" tx1="dk1" bg2="lt2" tx2="dk2" accent1="accent1" accent2="accent2" accent3="accent3" accent4="accent4" accent5="accent5" accent6="accent6" hlink="hlink" folHlink="folHlink"/>
  <p:sldLayoutIdLst>
    <p:sldLayoutId id="2147484114" r:id="rId1"/>
    <p:sldLayoutId id="2147483842" r:id="rId2"/>
    <p:sldLayoutId id="2147483818" r:id="rId3"/>
    <p:sldLayoutId id="2147483817" r:id="rId4"/>
    <p:sldLayoutId id="2147483825" r:id="rId5"/>
    <p:sldLayoutId id="2147483816" r:id="rId6"/>
    <p:sldLayoutId id="2147483824" r:id="rId7"/>
    <p:sldLayoutId id="2147483820" r:id="rId8"/>
    <p:sldLayoutId id="2147483829" r:id="rId9"/>
    <p:sldLayoutId id="2147483828" r:id="rId10"/>
    <p:sldLayoutId id="2147483841" r:id="rId11"/>
    <p:sldLayoutId id="2147483832" r:id="rId12"/>
    <p:sldLayoutId id="2147483833" r:id="rId13"/>
    <p:sldLayoutId id="2147483837" r:id="rId14"/>
    <p:sldLayoutId id="2147483838" r:id="rId15"/>
    <p:sldLayoutId id="2147483839" r:id="rId16"/>
    <p:sldLayoutId id="2147483840" r:id="rId17"/>
    <p:sldLayoutId id="2147483830" r:id="rId18"/>
    <p:sldLayoutId id="2147483819" r:id="rId19"/>
    <p:sldLayoutId id="2147483834" r:id="rId20"/>
    <p:sldLayoutId id="2147483835" r:id="rId21"/>
    <p:sldLayoutId id="2147483836" r:id="rId22"/>
    <p:sldLayoutId id="2147483822" r:id="rId23"/>
    <p:sldLayoutId id="2147483831" r:id="rId24"/>
    <p:sldLayoutId id="2147483914" r:id="rId25"/>
    <p:sldLayoutId id="2147483915" r:id="rId26"/>
    <p:sldLayoutId id="2147483916" r:id="rId27"/>
    <p:sldLayoutId id="2147484028" r:id="rId28"/>
    <p:sldLayoutId id="2147484041" r:id="rId29"/>
    <p:sldLayoutId id="2147484043" r:id="rId30"/>
    <p:sldLayoutId id="2147484292" r:id="rId31"/>
    <p:sldLayoutId id="2147484296" r:id="rId32"/>
    <p:sldLayoutId id="2147484322" r:id="rId33"/>
  </p:sldLayoutIdLst>
  <p:hf hdr="0" ftr="0"/>
  <p:txStyles>
    <p:titleStyle>
      <a:lvl1pPr algn="l" defTabSz="457200" rtl="0" eaLnBrk="1" latinLnBrk="0" hangingPunct="1">
        <a:lnSpc>
          <a:spcPct val="80000"/>
        </a:lnSpc>
        <a:spcBef>
          <a:spcPct val="0"/>
        </a:spcBef>
        <a:buNone/>
        <a:defRPr lang="da-DK" sz="2400" b="1" i="0" kern="0" spc="0" baseline="0" noProof="0" dirty="0">
          <a:solidFill>
            <a:schemeClr val="tx1"/>
          </a:solidFill>
          <a:latin typeface="Neue Haas Grotesk Text Pro" panose="020B0504020202020204" pitchFamily="34" charset="77"/>
          <a:ea typeface="+mj-ea"/>
          <a:cs typeface="Arial"/>
        </a:defRPr>
      </a:lvl1pPr>
    </p:titleStyle>
    <p:bodyStyle>
      <a:lvl1pPr marL="252000" indent="-252000" algn="l" defTabSz="457200" rtl="0" eaLnBrk="1" latinLnBrk="0" hangingPunct="1">
        <a:spcBef>
          <a:spcPts val="300"/>
        </a:spcBef>
        <a:spcAft>
          <a:spcPts val="600"/>
        </a:spcAft>
        <a:buClr>
          <a:srgbClr val="EB052F"/>
        </a:buClr>
        <a:buFont typeface="Wingdings" pitchFamily="2" charset="2"/>
        <a:buChar char="§"/>
        <a:defRPr lang="da-DK" sz="1400" b="0" i="0" kern="0" baseline="0" dirty="0">
          <a:solidFill>
            <a:schemeClr val="tx1"/>
          </a:solidFill>
          <a:latin typeface="Neue Haas Grotesk Text Pro" panose="020B0504020202020204" pitchFamily="34" charset="77"/>
          <a:ea typeface="+mn-ea"/>
          <a:cs typeface="Arial"/>
        </a:defRPr>
      </a:lvl1pPr>
      <a:lvl2pPr marL="252000" indent="-180000" algn="l" defTabSz="457200" rtl="0" eaLnBrk="1" latinLnBrk="0" hangingPunct="1">
        <a:spcBef>
          <a:spcPts val="300"/>
        </a:spcBef>
        <a:spcAft>
          <a:spcPts val="300"/>
        </a:spcAft>
        <a:buClr>
          <a:srgbClr val="EB052F"/>
        </a:buClr>
        <a:buFont typeface="Wingdings" pitchFamily="2" charset="2"/>
        <a:buChar char="§"/>
        <a:defRPr lang="da-DK" sz="1100" b="0" i="0" kern="0" dirty="0" smtClean="0">
          <a:solidFill>
            <a:schemeClr val="tx1"/>
          </a:solidFill>
          <a:latin typeface="Neue Haas Grotesk Text Pro" panose="020B0504020202020204" pitchFamily="34" charset="77"/>
          <a:ea typeface="+mn-ea"/>
          <a:cs typeface="Arial"/>
        </a:defRPr>
      </a:lvl2pPr>
      <a:lvl3pPr marL="432000" marR="0" indent="-180000" algn="l" defTabSz="457200" rtl="0" eaLnBrk="1" fontAlgn="auto" latinLnBrk="0" hangingPunct="1">
        <a:lnSpc>
          <a:spcPct val="100000"/>
        </a:lnSpc>
        <a:spcBef>
          <a:spcPts val="0"/>
        </a:spcBef>
        <a:spcAft>
          <a:spcPts val="300"/>
        </a:spcAft>
        <a:buClr>
          <a:srgbClr val="EB052F"/>
        </a:buClr>
        <a:buSzTx/>
        <a:buFont typeface="Wingdings" pitchFamily="2" charset="2"/>
        <a:buChar char="§"/>
        <a:tabLst/>
        <a:defRPr lang="da-DK" sz="1000" b="0" i="0" kern="0" dirty="0">
          <a:solidFill>
            <a:schemeClr val="tx1"/>
          </a:solidFill>
          <a:latin typeface="Neue Haas Grotesk Text Pro" panose="020B0504020202020204" pitchFamily="34" charset="77"/>
          <a:ea typeface="+mn-ea"/>
          <a:cs typeface="+mn-cs"/>
        </a:defRPr>
      </a:lvl3pPr>
      <a:lvl4pPr marL="252000" indent="0" algn="l" defTabSz="457200" rtl="0" eaLnBrk="1" latinLnBrk="0" hangingPunct="1">
        <a:spcBef>
          <a:spcPts val="0"/>
        </a:spcBef>
        <a:buFont typeface="CambriaMath"/>
        <a:buNone/>
        <a:defRPr sz="1000" b="0" i="0" kern="0">
          <a:solidFill>
            <a:schemeClr val="tx1"/>
          </a:solidFill>
          <a:latin typeface="Neue Haas Grotesk Text Pro" panose="020B0504020202020204" pitchFamily="34" charset="77"/>
          <a:ea typeface="+mn-ea"/>
          <a:cs typeface="+mn-cs"/>
        </a:defRPr>
      </a:lvl4pPr>
      <a:lvl5pPr marL="378000" indent="-126000" algn="l" defTabSz="457200" rtl="0" eaLnBrk="1" latinLnBrk="0" hangingPunct="1">
        <a:spcBef>
          <a:spcPts val="0"/>
        </a:spcBef>
        <a:buFont typeface="CambriaMath"/>
        <a:buChar char="⎯"/>
        <a:defRPr sz="900" b="0" i="0" kern="1200">
          <a:solidFill>
            <a:schemeClr val="tx1"/>
          </a:solidFill>
          <a:latin typeface="Source Sans Pro Light" panose="020B0403030403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a-DK"/>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userDrawn="1">
          <p15:clr>
            <a:srgbClr val="F26B43"/>
          </p15:clr>
        </p15:guide>
        <p15:guide id="2" orient="horz" pos="2890" userDrawn="1">
          <p15:clr>
            <a:srgbClr val="F26B43"/>
          </p15:clr>
        </p15:guide>
        <p15:guide id="3" orient="horz" pos="169" userDrawn="1">
          <p15:clr>
            <a:srgbClr val="F26B43"/>
          </p15:clr>
        </p15:guide>
        <p15:guide id="4" pos="5465" userDrawn="1">
          <p15:clr>
            <a:srgbClr val="F26B43"/>
          </p15:clr>
        </p15:guide>
        <p15:guide id="7" pos="2880">
          <p15:clr>
            <a:srgbClr val="F26B43"/>
          </p15:clr>
        </p15:guide>
        <p15:guide id="8" orient="horz" pos="894" userDrawn="1">
          <p15:clr>
            <a:srgbClr val="F26B43"/>
          </p15:clr>
        </p15:guide>
        <p15:guide id="9" orient="horz" pos="1620">
          <p15:clr>
            <a:srgbClr val="F26B43"/>
          </p15:clr>
        </p15:guide>
        <p15:guide id="10" orient="horz" pos="3117">
          <p15:clr>
            <a:srgbClr val="F26B43"/>
          </p15:clr>
        </p15:guide>
        <p15:guide id="11" orient="horz" pos="350" userDrawn="1">
          <p15:clr>
            <a:srgbClr val="F26B43"/>
          </p15:clr>
        </p15:guide>
        <p15:guide id="12" pos="113" userDrawn="1">
          <p15:clr>
            <a:srgbClr val="F26B43"/>
          </p15:clr>
        </p15:guide>
        <p15:guide id="13" pos="5647" userDrawn="1">
          <p15:clr>
            <a:srgbClr val="F26B43"/>
          </p15:clr>
        </p15:guide>
        <p15:guide id="14" orient="horz" pos="123" userDrawn="1">
          <p15:clr>
            <a:srgbClr val="F26B43"/>
          </p15:clr>
        </p15:guide>
        <p15:guide id="15" orient="horz" pos="214" userDrawn="1">
          <p15:clr>
            <a:srgbClr val="F26B43"/>
          </p15:clr>
        </p15:guide>
        <p15:guide id="16" orient="horz" pos="305" userDrawn="1">
          <p15:clr>
            <a:srgbClr val="F26B43"/>
          </p15:clr>
        </p15:guide>
        <p15:guide id="17" pos="324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Baggrund">
            <a:extLst>
              <a:ext uri="{FF2B5EF4-FFF2-40B4-BE49-F238E27FC236}">
                <a16:creationId xmlns:a16="http://schemas.microsoft.com/office/drawing/2014/main" id="{038F5932-4DDF-A787-C9B1-F551B530C07A}"/>
              </a:ext>
            </a:extLst>
          </p:cNvPr>
          <p:cNvSpPr/>
          <p:nvPr userDrawn="1"/>
        </p:nvSpPr>
        <p:spPr>
          <a:xfrm>
            <a:off x="0" y="0"/>
            <a:ext cx="91449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05000" y="675000"/>
            <a:ext cx="8334900" cy="621000"/>
          </a:xfrm>
          <a:prstGeom prst="rect">
            <a:avLst/>
          </a:prstGeom>
        </p:spPr>
        <p:txBody>
          <a:bodyPr vert="horz" lIns="0" tIns="0" rIns="0" bIns="0" rtlCol="0" anchor="t" anchorCtr="0">
            <a:noAutofit/>
          </a:bodyPr>
          <a:lstStyle/>
          <a:p>
            <a:r>
              <a:rPr lang="da-DK" dirty="0"/>
              <a:t>Klik for at tilføje titel</a:t>
            </a:r>
          </a:p>
        </p:txBody>
      </p:sp>
      <p:sp>
        <p:nvSpPr>
          <p:cNvPr id="3" name="Text Placeholder 2"/>
          <p:cNvSpPr>
            <a:spLocks noGrp="1"/>
          </p:cNvSpPr>
          <p:nvPr>
            <p:ph type="body" idx="1"/>
          </p:nvPr>
        </p:nvSpPr>
        <p:spPr>
          <a:xfrm>
            <a:off x="405000" y="1431000"/>
            <a:ext cx="8334900" cy="3167100"/>
          </a:xfrm>
          <a:prstGeom prst="rect">
            <a:avLst/>
          </a:prstGeom>
        </p:spPr>
        <p:txBody>
          <a:bodyPr vert="horz" lIns="0" tIns="0" rIns="0" bIns="0" rtlCol="0">
            <a:noAutofit/>
          </a:bodyPr>
          <a:lstStyle/>
          <a:p>
            <a:pPr lvl="0"/>
            <a:r>
              <a:rPr lang="da-DK" noProof="0" dirty="0"/>
              <a:t>Niveau 1                                                                                                                                                                                                  Klik ENTER og derefter TAB for at se næste tekstformat                                                                                                                     Klik SHIFT+TAB for at se foregående tekstformat</a:t>
            </a:r>
          </a:p>
          <a:p>
            <a:pPr lvl="1"/>
            <a:r>
              <a:rPr lang="da-DK" noProof="0" dirty="0"/>
              <a:t>Niveau 2</a:t>
            </a:r>
          </a:p>
          <a:p>
            <a:pPr lvl="2"/>
            <a:r>
              <a:rPr lang="da-DK" noProof="0" dirty="0"/>
              <a:t>Niveau 3</a:t>
            </a:r>
          </a:p>
          <a:p>
            <a:pPr lvl="3"/>
            <a:r>
              <a:rPr lang="da-DK" noProof="0" dirty="0"/>
              <a:t>Niveau 4, Overskrift</a:t>
            </a:r>
          </a:p>
          <a:p>
            <a:pPr lvl="4"/>
            <a:r>
              <a:rPr lang="da-DK" noProof="0" dirty="0"/>
              <a:t>Niveau 5, Brødtekst</a:t>
            </a:r>
          </a:p>
          <a:p>
            <a:pPr lvl="5"/>
            <a:r>
              <a:rPr lang="da-DK" noProof="0" dirty="0"/>
              <a:t>Niveau 6</a:t>
            </a:r>
          </a:p>
          <a:p>
            <a:pPr lvl="6"/>
            <a:r>
              <a:rPr lang="da-DK" noProof="0" dirty="0"/>
              <a:t>Niveau 7, lille overskrift</a:t>
            </a:r>
          </a:p>
          <a:p>
            <a:pPr lvl="7"/>
            <a:r>
              <a:rPr lang="da-DK" noProof="0" dirty="0"/>
              <a:t>Niveau 8, lille brødtekst</a:t>
            </a:r>
          </a:p>
          <a:p>
            <a:pPr lvl="8"/>
            <a:r>
              <a:rPr lang="da-DK" noProof="0" dirty="0"/>
              <a:t>Niveau 9, Infografik</a:t>
            </a:r>
          </a:p>
        </p:txBody>
      </p:sp>
      <p:sp>
        <p:nvSpPr>
          <p:cNvPr id="6" name="Slide Number Placeholder 5"/>
          <p:cNvSpPr>
            <a:spLocks noGrp="1"/>
          </p:cNvSpPr>
          <p:nvPr>
            <p:ph type="sldNum" sz="quarter" idx="4"/>
          </p:nvPr>
        </p:nvSpPr>
        <p:spPr>
          <a:xfrm>
            <a:off x="404999" y="4738500"/>
            <a:ext cx="226800" cy="135000"/>
          </a:xfrm>
          <a:prstGeom prst="rect">
            <a:avLst/>
          </a:prstGeom>
        </p:spPr>
        <p:txBody>
          <a:bodyPr vert="horz" lIns="0" tIns="0" rIns="0" bIns="0" rtlCol="0" anchor="t" anchorCtr="0"/>
          <a:lstStyle>
            <a:lvl1pPr algn="l">
              <a:defRPr sz="600">
                <a:solidFill>
                  <a:schemeClr val="accent1"/>
                </a:solidFill>
              </a:defRPr>
            </a:lvl1pPr>
          </a:lstStyle>
          <a:p>
            <a:fld id="{24C8C45C-947F-4981-8B3F-4F32E973C901}" type="slidenum">
              <a:rPr lang="da-DK" smtClean="0"/>
              <a:pPr/>
              <a:t>‹nr.›</a:t>
            </a:fld>
            <a:endParaRPr lang="da-DK" dirty="0"/>
          </a:p>
        </p:txBody>
      </p:sp>
      <p:sp>
        <p:nvSpPr>
          <p:cNvPr id="2" name="Date Placeholder 1">
            <a:extLst>
              <a:ext uri="{FF2B5EF4-FFF2-40B4-BE49-F238E27FC236}">
                <a16:creationId xmlns:a16="http://schemas.microsoft.com/office/drawing/2014/main" id="{6DAF2562-DFA4-49A4-9C2A-FBAD02376BBC}"/>
              </a:ext>
            </a:extLst>
          </p:cNvPr>
          <p:cNvSpPr>
            <a:spLocks noGrp="1"/>
          </p:cNvSpPr>
          <p:nvPr>
            <p:ph type="dt" sz="half" idx="2"/>
          </p:nvPr>
        </p:nvSpPr>
        <p:spPr>
          <a:xfrm>
            <a:off x="758700" y="4738500"/>
            <a:ext cx="923400" cy="135000"/>
          </a:xfrm>
          <a:prstGeom prst="rect">
            <a:avLst/>
          </a:prstGeom>
        </p:spPr>
        <p:txBody>
          <a:bodyPr vert="horz" lIns="0" tIns="0" rIns="0" bIns="0" rtlCol="0" anchor="t" anchorCtr="0"/>
          <a:lstStyle>
            <a:lvl1pPr algn="l">
              <a:defRPr sz="600">
                <a:solidFill>
                  <a:schemeClr val="accent1"/>
                </a:solidFill>
              </a:defRPr>
            </a:lvl1pPr>
          </a:lstStyle>
          <a:p>
            <a:fld id="{A2446D3D-F608-46B7-8E05-81FCF9BDF507}" type="datetime2">
              <a:rPr lang="da-DK" smtClean="0"/>
              <a:t>11. december 2025</a:t>
            </a:fld>
            <a:endParaRPr lang="da-DK" dirty="0"/>
          </a:p>
        </p:txBody>
      </p:sp>
      <p:sp>
        <p:nvSpPr>
          <p:cNvPr id="8" name="Footer Placeholder 7">
            <a:extLst>
              <a:ext uri="{FF2B5EF4-FFF2-40B4-BE49-F238E27FC236}">
                <a16:creationId xmlns:a16="http://schemas.microsoft.com/office/drawing/2014/main" id="{3D397FDF-4480-4092-8EF3-23AF214F4831}"/>
              </a:ext>
            </a:extLst>
          </p:cNvPr>
          <p:cNvSpPr>
            <a:spLocks noGrp="1"/>
          </p:cNvSpPr>
          <p:nvPr>
            <p:ph type="ftr" sz="quarter" idx="3"/>
          </p:nvPr>
        </p:nvSpPr>
        <p:spPr>
          <a:xfrm>
            <a:off x="5344717" y="4738500"/>
            <a:ext cx="3395183" cy="135000"/>
          </a:xfrm>
          <a:prstGeom prst="rect">
            <a:avLst/>
          </a:prstGeom>
        </p:spPr>
        <p:txBody>
          <a:bodyPr vert="horz" lIns="0" tIns="0" rIns="0" bIns="0" rtlCol="0" anchor="t" anchorCtr="0"/>
          <a:lstStyle>
            <a:lvl1pPr algn="r">
              <a:defRPr sz="600">
                <a:solidFill>
                  <a:schemeClr val="accent1"/>
                </a:solidFill>
              </a:defRPr>
            </a:lvl1pPr>
          </a:lstStyle>
          <a:p>
            <a:r>
              <a:rPr lang="da-DK" dirty="0"/>
              <a:t>Digitaliseringsstyrelsen</a:t>
            </a:r>
          </a:p>
        </p:txBody>
      </p:sp>
    </p:spTree>
    <p:extLst>
      <p:ext uri="{BB962C8B-B14F-4D97-AF65-F5344CB8AC3E}">
        <p14:creationId xmlns:p14="http://schemas.microsoft.com/office/powerpoint/2010/main" val="1418167065"/>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 id="2147483930" r:id="rId12"/>
    <p:sldLayoutId id="2147483931" r:id="rId13"/>
    <p:sldLayoutId id="2147483932" r:id="rId14"/>
    <p:sldLayoutId id="2147483933" r:id="rId15"/>
    <p:sldLayoutId id="2147483934" r:id="rId16"/>
    <p:sldLayoutId id="2147483935" r:id="rId17"/>
    <p:sldLayoutId id="2147483936" r:id="rId18"/>
    <p:sldLayoutId id="2147483937" r:id="rId19"/>
    <p:sldLayoutId id="2147483938" r:id="rId20"/>
    <p:sldLayoutId id="2147483939" r:id="rId21"/>
    <p:sldLayoutId id="2147483940" r:id="rId22"/>
    <p:sldLayoutId id="2147483941" r:id="rId23"/>
    <p:sldLayoutId id="2147483942" r:id="rId24"/>
    <p:sldLayoutId id="2147483943" r:id="rId25"/>
    <p:sldLayoutId id="2147483944" r:id="rId26"/>
    <p:sldLayoutId id="2147483945" r:id="rId27"/>
    <p:sldLayoutId id="2147483946" r:id="rId28"/>
    <p:sldLayoutId id="2147483947" r:id="rId29"/>
    <p:sldLayoutId id="2147483948" r:id="rId30"/>
    <p:sldLayoutId id="2147483949" r:id="rId31"/>
    <p:sldLayoutId id="2147483950" r:id="rId32"/>
    <p:sldLayoutId id="2147483951" r:id="rId33"/>
    <p:sldLayoutId id="2147483952" r:id="rId34"/>
    <p:sldLayoutId id="2147483953" r:id="rId35"/>
    <p:sldLayoutId id="2147483954" r:id="rId36"/>
    <p:sldLayoutId id="2147483955" r:id="rId37"/>
    <p:sldLayoutId id="2147483956" r:id="rId38"/>
    <p:sldLayoutId id="2147483957" r:id="rId39"/>
    <p:sldLayoutId id="2147483958" r:id="rId40"/>
    <p:sldLayoutId id="2147483959" r:id="rId41"/>
    <p:sldLayoutId id="2147483960" r:id="rId42"/>
  </p:sldLayoutIdLst>
  <p:hf hdr="0"/>
  <p:txStyles>
    <p:titleStyle>
      <a:lvl1pPr algn="l" defTabSz="685800" rtl="0" eaLnBrk="1" latinLnBrk="0" hangingPunct="1">
        <a:lnSpc>
          <a:spcPct val="83000"/>
        </a:lnSpc>
        <a:spcBef>
          <a:spcPct val="0"/>
        </a:spcBef>
        <a:buNone/>
        <a:defRPr sz="2400" kern="1200">
          <a:solidFill>
            <a:schemeClr val="accent1"/>
          </a:solidFill>
          <a:latin typeface="+mj-lt"/>
          <a:ea typeface="+mj-ea"/>
          <a:cs typeface="+mj-cs"/>
        </a:defRPr>
      </a:lvl1pPr>
    </p:titleStyle>
    <p:bodyStyle>
      <a:lvl1pPr marL="135000" indent="-135000" algn="l" defTabSz="685800" rtl="0" eaLnBrk="1" latinLnBrk="0" hangingPunct="1">
        <a:lnSpc>
          <a:spcPct val="100000"/>
        </a:lnSpc>
        <a:spcBef>
          <a:spcPts val="0"/>
        </a:spcBef>
        <a:spcAft>
          <a:spcPts val="900"/>
        </a:spcAft>
        <a:buFont typeface="Arial" panose="020B0604020202020204" pitchFamily="34" charset="0"/>
        <a:buChar char="•"/>
        <a:defRPr sz="1200" kern="1200">
          <a:solidFill>
            <a:schemeClr val="accent1"/>
          </a:solidFill>
          <a:latin typeface="+mn-lt"/>
          <a:ea typeface="+mn-ea"/>
          <a:cs typeface="+mn-cs"/>
        </a:defRPr>
      </a:lvl1pPr>
      <a:lvl2pPr marL="270000" indent="-135000" algn="l" defTabSz="685800" rtl="0" eaLnBrk="1" latinLnBrk="0" hangingPunct="1">
        <a:lnSpc>
          <a:spcPct val="100000"/>
        </a:lnSpc>
        <a:spcBef>
          <a:spcPts val="0"/>
        </a:spcBef>
        <a:spcAft>
          <a:spcPts val="900"/>
        </a:spcAft>
        <a:buFont typeface="Arial" panose="020B0604020202020204" pitchFamily="34" charset="0"/>
        <a:buChar char="•"/>
        <a:defRPr sz="1200" kern="1200">
          <a:solidFill>
            <a:schemeClr val="accent1"/>
          </a:solidFill>
          <a:latin typeface="+mn-lt"/>
          <a:ea typeface="+mn-ea"/>
          <a:cs typeface="+mn-cs"/>
        </a:defRPr>
      </a:lvl2pPr>
      <a:lvl3pPr marL="405000" indent="-135000" algn="l" defTabSz="685800" rtl="0" eaLnBrk="1" latinLnBrk="0" hangingPunct="1">
        <a:lnSpc>
          <a:spcPct val="100000"/>
        </a:lnSpc>
        <a:spcBef>
          <a:spcPts val="0"/>
        </a:spcBef>
        <a:spcAft>
          <a:spcPts val="900"/>
        </a:spcAft>
        <a:buFont typeface="Arial" panose="020B0604020202020204" pitchFamily="34" charset="0"/>
        <a:buChar char="•"/>
        <a:defRPr sz="1200" kern="1200">
          <a:solidFill>
            <a:schemeClr val="accent1"/>
          </a:solidFill>
          <a:latin typeface="+mn-lt"/>
          <a:ea typeface="+mn-ea"/>
          <a:cs typeface="+mn-cs"/>
        </a:defRPr>
      </a:lvl3pPr>
      <a:lvl4pPr marL="0" indent="0" algn="l" defTabSz="685800" rtl="0" eaLnBrk="1" latinLnBrk="0" hangingPunct="1">
        <a:lnSpc>
          <a:spcPct val="100000"/>
        </a:lnSpc>
        <a:spcBef>
          <a:spcPts val="450"/>
        </a:spcBef>
        <a:spcAft>
          <a:spcPts val="450"/>
        </a:spcAft>
        <a:buFont typeface="Arial" panose="020B0604020202020204" pitchFamily="34" charset="0"/>
        <a:buChar char="​"/>
        <a:defRPr sz="1200" b="0" kern="1200">
          <a:solidFill>
            <a:schemeClr val="accent1"/>
          </a:solidFill>
          <a:latin typeface="Franklin Gothic Medium" panose="020B0603020102020204" pitchFamily="34" charset="0"/>
          <a:ea typeface="+mn-ea"/>
          <a:cs typeface="+mn-cs"/>
        </a:defRPr>
      </a:lvl4pPr>
      <a:lvl5pPr marL="0" indent="0" algn="l" defTabSz="685800" rtl="0" eaLnBrk="1" latinLnBrk="0" hangingPunct="1">
        <a:lnSpc>
          <a:spcPct val="100000"/>
        </a:lnSpc>
        <a:spcBef>
          <a:spcPts val="0"/>
        </a:spcBef>
        <a:spcAft>
          <a:spcPts val="900"/>
        </a:spcAft>
        <a:buFont typeface="Arial" panose="020B0604020202020204" pitchFamily="34" charset="0"/>
        <a:buChar char="​"/>
        <a:tabLst/>
        <a:defRPr sz="1200" kern="1200">
          <a:solidFill>
            <a:schemeClr val="accent1"/>
          </a:solidFill>
          <a:latin typeface="+mn-lt"/>
          <a:ea typeface="+mn-ea"/>
          <a:cs typeface="+mn-cs"/>
        </a:defRPr>
      </a:lvl5pPr>
      <a:lvl6pPr marL="67500" indent="-67500" algn="l" defTabSz="685800" rtl="0" eaLnBrk="1" latinLnBrk="0" hangingPunct="1">
        <a:lnSpc>
          <a:spcPct val="100000"/>
        </a:lnSpc>
        <a:spcBef>
          <a:spcPts val="0"/>
        </a:spcBef>
        <a:spcAft>
          <a:spcPts val="450"/>
        </a:spcAft>
        <a:buFont typeface="Arial" panose="020B0604020202020204" pitchFamily="34" charset="0"/>
        <a:buChar char="•"/>
        <a:defRPr sz="750" kern="1200">
          <a:solidFill>
            <a:schemeClr val="accent1"/>
          </a:solidFill>
          <a:latin typeface="+mn-lt"/>
          <a:ea typeface="+mn-ea"/>
          <a:cs typeface="+mn-cs"/>
        </a:defRPr>
      </a:lvl6pPr>
      <a:lvl7pPr marL="0" indent="0" algn="l" defTabSz="685800" rtl="0" eaLnBrk="1" latinLnBrk="0" hangingPunct="1">
        <a:lnSpc>
          <a:spcPct val="100000"/>
        </a:lnSpc>
        <a:spcBef>
          <a:spcPts val="450"/>
        </a:spcBef>
        <a:spcAft>
          <a:spcPts val="450"/>
        </a:spcAft>
        <a:buFont typeface="Arial" panose="020B0604020202020204" pitchFamily="34" charset="0"/>
        <a:buChar char="​"/>
        <a:defRPr sz="750" b="0" kern="1200" baseline="0">
          <a:solidFill>
            <a:schemeClr val="accent1"/>
          </a:solidFill>
          <a:latin typeface="Franklin Gothic Medium" panose="020B0603020102020204" pitchFamily="34" charset="0"/>
          <a:ea typeface="+mn-ea"/>
          <a:cs typeface="+mn-cs"/>
        </a:defRPr>
      </a:lvl7pPr>
      <a:lvl8pPr marL="0" indent="0" algn="l" defTabSz="685800" rtl="0" eaLnBrk="1" latinLnBrk="0" hangingPunct="1">
        <a:lnSpc>
          <a:spcPct val="100000"/>
        </a:lnSpc>
        <a:spcBef>
          <a:spcPts val="0"/>
        </a:spcBef>
        <a:spcAft>
          <a:spcPts val="450"/>
        </a:spcAft>
        <a:buFont typeface="Arial" panose="020B0604020202020204" pitchFamily="34" charset="0"/>
        <a:buChar char="​"/>
        <a:defRPr sz="750" kern="1200">
          <a:solidFill>
            <a:schemeClr val="accent1"/>
          </a:solidFill>
          <a:latin typeface="+mn-lt"/>
          <a:ea typeface="+mn-ea"/>
          <a:cs typeface="+mn-cs"/>
        </a:defRPr>
      </a:lvl8pPr>
      <a:lvl9pPr marL="0" indent="0" algn="l" defTabSz="685800" rtl="0" eaLnBrk="1" latinLnBrk="0" hangingPunct="1">
        <a:lnSpc>
          <a:spcPct val="83000"/>
        </a:lnSpc>
        <a:spcBef>
          <a:spcPts val="900"/>
        </a:spcBef>
        <a:spcAft>
          <a:spcPts val="0"/>
        </a:spcAft>
        <a:buFont typeface="Arial" panose="020B0604020202020204" pitchFamily="34" charset="0"/>
        <a:buChar char="​"/>
        <a:defRPr sz="4500" kern="1200" baseline="0">
          <a:solidFill>
            <a:schemeClr val="accent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p15:clr>
            <a:srgbClr val="A4A4A4"/>
          </p15:clr>
        </p15:guide>
        <p15:guide id="2" pos="819">
          <p15:clr>
            <a:srgbClr val="A4A4A4"/>
          </p15:clr>
        </p15:guide>
        <p15:guide id="3" orient="horz" pos="226">
          <p15:clr>
            <a:srgbClr val="A4A4A4"/>
          </p15:clr>
        </p15:guide>
        <p15:guide id="4" orient="horz" pos="4093">
          <p15:clr>
            <a:srgbClr val="A4A4A4"/>
          </p15:clr>
        </p15:guide>
        <p15:guide id="5" pos="932">
          <p15:clr>
            <a:srgbClr val="A4A4A4"/>
          </p15:clr>
        </p15:guide>
        <p15:guide id="6" pos="1412">
          <p15:clr>
            <a:srgbClr val="A4A4A4"/>
          </p15:clr>
        </p15:guide>
        <p15:guide id="7" pos="1525">
          <p15:clr>
            <a:srgbClr val="A4A4A4"/>
          </p15:clr>
        </p15:guide>
        <p15:guide id="8" pos="2005">
          <p15:clr>
            <a:srgbClr val="A4A4A4"/>
          </p15:clr>
        </p15:guide>
        <p15:guide id="9" pos="2118">
          <p15:clr>
            <a:srgbClr val="A4A4A4"/>
          </p15:clr>
        </p15:guide>
        <p15:guide id="10" pos="2597">
          <p15:clr>
            <a:srgbClr val="A4A4A4"/>
          </p15:clr>
        </p15:guide>
        <p15:guide id="11" pos="2711">
          <p15:clr>
            <a:srgbClr val="A4A4A4"/>
          </p15:clr>
        </p15:guide>
        <p15:guide id="12" pos="3190">
          <p15:clr>
            <a:srgbClr val="A4A4A4"/>
          </p15:clr>
        </p15:guide>
        <p15:guide id="13" pos="3303">
          <p15:clr>
            <a:srgbClr val="A4A4A4"/>
          </p15:clr>
        </p15:guide>
        <p15:guide id="14" pos="3783">
          <p15:clr>
            <a:srgbClr val="A4A4A4"/>
          </p15:clr>
        </p15:guide>
        <p15:guide id="15" pos="3896">
          <p15:clr>
            <a:srgbClr val="A4A4A4"/>
          </p15:clr>
        </p15:guide>
        <p15:guide id="16" pos="4376">
          <p15:clr>
            <a:srgbClr val="A4A4A4"/>
          </p15:clr>
        </p15:guide>
        <p15:guide id="17" pos="4489">
          <p15:clr>
            <a:srgbClr val="A4A4A4"/>
          </p15:clr>
        </p15:guide>
        <p15:guide id="18" pos="4968">
          <p15:clr>
            <a:srgbClr val="A4A4A4"/>
          </p15:clr>
        </p15:guide>
        <p15:guide id="19" pos="5082">
          <p15:clr>
            <a:srgbClr val="A4A4A4"/>
          </p15:clr>
        </p15:guide>
        <p15:guide id="20" pos="5561">
          <p15:clr>
            <a:srgbClr val="A4A4A4"/>
          </p15:clr>
        </p15:guide>
        <p15:guide id="21" pos="5674">
          <p15:clr>
            <a:srgbClr val="A4A4A4"/>
          </p15:clr>
        </p15:guide>
        <p15:guide id="22" pos="6154">
          <p15:clr>
            <a:srgbClr val="A4A4A4"/>
          </p15:clr>
        </p15:guide>
        <p15:guide id="23" pos="6267">
          <p15:clr>
            <a:srgbClr val="A4A4A4"/>
          </p15:clr>
        </p15:guide>
        <p15:guide id="24" pos="6747">
          <p15:clr>
            <a:srgbClr val="A4A4A4"/>
          </p15:clr>
        </p15:guide>
        <p15:guide id="25" pos="6860">
          <p15:clr>
            <a:srgbClr val="A4A4A4"/>
          </p15:clr>
        </p15:guide>
        <p15:guide id="26" pos="7339">
          <p15:clr>
            <a:srgbClr val="A4A4A4"/>
          </p15:clr>
        </p15:guide>
        <p15:guide id="27" orient="horz" pos="3866">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Baggrund">
            <a:extLst>
              <a:ext uri="{FF2B5EF4-FFF2-40B4-BE49-F238E27FC236}">
                <a16:creationId xmlns:a16="http://schemas.microsoft.com/office/drawing/2014/main" id="{038F5932-4DDF-A787-C9B1-F551B530C07A}"/>
              </a:ext>
            </a:extLst>
          </p:cNvPr>
          <p:cNvSpPr/>
          <p:nvPr userDrawn="1"/>
        </p:nvSpPr>
        <p:spPr>
          <a:xfrm>
            <a:off x="0" y="0"/>
            <a:ext cx="91449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05000" y="675000"/>
            <a:ext cx="8334900" cy="621000"/>
          </a:xfrm>
          <a:prstGeom prst="rect">
            <a:avLst/>
          </a:prstGeom>
        </p:spPr>
        <p:txBody>
          <a:bodyPr vert="horz" lIns="0" tIns="0" rIns="0" bIns="0" rtlCol="0" anchor="t" anchorCtr="0">
            <a:noAutofit/>
          </a:bodyPr>
          <a:lstStyle/>
          <a:p>
            <a:r>
              <a:rPr lang="da-DK" dirty="0"/>
              <a:t>Klik for at tilføje titel</a:t>
            </a:r>
          </a:p>
        </p:txBody>
      </p:sp>
      <p:sp>
        <p:nvSpPr>
          <p:cNvPr id="3" name="Text Placeholder 2"/>
          <p:cNvSpPr>
            <a:spLocks noGrp="1"/>
          </p:cNvSpPr>
          <p:nvPr>
            <p:ph type="body" idx="1"/>
          </p:nvPr>
        </p:nvSpPr>
        <p:spPr>
          <a:xfrm>
            <a:off x="405000" y="1431000"/>
            <a:ext cx="8334900" cy="3167100"/>
          </a:xfrm>
          <a:prstGeom prst="rect">
            <a:avLst/>
          </a:prstGeom>
        </p:spPr>
        <p:txBody>
          <a:bodyPr vert="horz" lIns="0" tIns="0" rIns="0" bIns="0" rtlCol="0">
            <a:noAutofit/>
          </a:bodyPr>
          <a:lstStyle/>
          <a:p>
            <a:pPr lvl="0"/>
            <a:r>
              <a:rPr lang="da-DK" noProof="0" dirty="0"/>
              <a:t>Niveau 1                                                                                                                                                                                                  Klik ENTER og derefter TAB for at se næste tekstformat                                                                                                                     Klik SHIFT+TAB for at se foregående tekstformat</a:t>
            </a:r>
          </a:p>
          <a:p>
            <a:pPr lvl="1"/>
            <a:r>
              <a:rPr lang="da-DK" noProof="0" dirty="0"/>
              <a:t>Niveau 2</a:t>
            </a:r>
          </a:p>
          <a:p>
            <a:pPr lvl="2"/>
            <a:r>
              <a:rPr lang="da-DK" noProof="0" dirty="0"/>
              <a:t>Niveau 3</a:t>
            </a:r>
          </a:p>
          <a:p>
            <a:pPr lvl="3"/>
            <a:r>
              <a:rPr lang="da-DK" noProof="0" dirty="0"/>
              <a:t>Niveau 4, Overskrift</a:t>
            </a:r>
          </a:p>
          <a:p>
            <a:pPr lvl="4"/>
            <a:r>
              <a:rPr lang="da-DK" noProof="0" dirty="0"/>
              <a:t>Niveau 5, Brødtekst</a:t>
            </a:r>
          </a:p>
          <a:p>
            <a:pPr lvl="5"/>
            <a:r>
              <a:rPr lang="da-DK" noProof="0" dirty="0"/>
              <a:t>Niveau 6</a:t>
            </a:r>
          </a:p>
          <a:p>
            <a:pPr lvl="6"/>
            <a:r>
              <a:rPr lang="da-DK" noProof="0" dirty="0"/>
              <a:t>Niveau 7, lille overskrift</a:t>
            </a:r>
          </a:p>
          <a:p>
            <a:pPr lvl="7"/>
            <a:r>
              <a:rPr lang="da-DK" noProof="0" dirty="0"/>
              <a:t>Niveau 8, lille brødtekst</a:t>
            </a:r>
          </a:p>
          <a:p>
            <a:pPr lvl="8"/>
            <a:r>
              <a:rPr lang="da-DK" noProof="0" dirty="0"/>
              <a:t>Niveau 9, Infografik</a:t>
            </a:r>
          </a:p>
        </p:txBody>
      </p:sp>
      <p:sp>
        <p:nvSpPr>
          <p:cNvPr id="6" name="Slide Number Placeholder 5"/>
          <p:cNvSpPr>
            <a:spLocks noGrp="1"/>
          </p:cNvSpPr>
          <p:nvPr>
            <p:ph type="sldNum" sz="quarter" idx="4"/>
          </p:nvPr>
        </p:nvSpPr>
        <p:spPr>
          <a:xfrm>
            <a:off x="404999" y="4738500"/>
            <a:ext cx="226800" cy="135000"/>
          </a:xfrm>
          <a:prstGeom prst="rect">
            <a:avLst/>
          </a:prstGeom>
        </p:spPr>
        <p:txBody>
          <a:bodyPr vert="horz" lIns="0" tIns="0" rIns="0" bIns="0" rtlCol="0" anchor="t" anchorCtr="0"/>
          <a:lstStyle>
            <a:lvl1pPr algn="l">
              <a:defRPr sz="600">
                <a:solidFill>
                  <a:schemeClr val="accent1"/>
                </a:solidFill>
              </a:defRPr>
            </a:lvl1pPr>
          </a:lstStyle>
          <a:p>
            <a:fld id="{24C8C45C-947F-4981-8B3F-4F32E973C901}" type="slidenum">
              <a:rPr lang="da-DK" smtClean="0"/>
              <a:pPr/>
              <a:t>‹nr.›</a:t>
            </a:fld>
            <a:endParaRPr lang="da-DK" dirty="0"/>
          </a:p>
        </p:txBody>
      </p:sp>
      <p:sp>
        <p:nvSpPr>
          <p:cNvPr id="2" name="Date Placeholder 1">
            <a:extLst>
              <a:ext uri="{FF2B5EF4-FFF2-40B4-BE49-F238E27FC236}">
                <a16:creationId xmlns:a16="http://schemas.microsoft.com/office/drawing/2014/main" id="{6DAF2562-DFA4-49A4-9C2A-FBAD02376BBC}"/>
              </a:ext>
            </a:extLst>
          </p:cNvPr>
          <p:cNvSpPr>
            <a:spLocks noGrp="1"/>
          </p:cNvSpPr>
          <p:nvPr>
            <p:ph type="dt" sz="half" idx="2"/>
          </p:nvPr>
        </p:nvSpPr>
        <p:spPr>
          <a:xfrm>
            <a:off x="758700" y="4738500"/>
            <a:ext cx="923400" cy="135000"/>
          </a:xfrm>
          <a:prstGeom prst="rect">
            <a:avLst/>
          </a:prstGeom>
        </p:spPr>
        <p:txBody>
          <a:bodyPr vert="horz" lIns="0" tIns="0" rIns="0" bIns="0" rtlCol="0" anchor="t" anchorCtr="0"/>
          <a:lstStyle>
            <a:lvl1pPr algn="l">
              <a:defRPr sz="600">
                <a:solidFill>
                  <a:schemeClr val="accent1"/>
                </a:solidFill>
              </a:defRPr>
            </a:lvl1pPr>
          </a:lstStyle>
          <a:p>
            <a:fld id="{A2446D3D-F608-46B7-8E05-81FCF9BDF507}" type="datetime2">
              <a:rPr lang="da-DK" smtClean="0"/>
              <a:t>11. december 2025</a:t>
            </a:fld>
            <a:endParaRPr lang="da-DK" dirty="0"/>
          </a:p>
        </p:txBody>
      </p:sp>
      <p:sp>
        <p:nvSpPr>
          <p:cNvPr id="8" name="Footer Placeholder 7">
            <a:extLst>
              <a:ext uri="{FF2B5EF4-FFF2-40B4-BE49-F238E27FC236}">
                <a16:creationId xmlns:a16="http://schemas.microsoft.com/office/drawing/2014/main" id="{3D397FDF-4480-4092-8EF3-23AF214F4831}"/>
              </a:ext>
            </a:extLst>
          </p:cNvPr>
          <p:cNvSpPr>
            <a:spLocks noGrp="1"/>
          </p:cNvSpPr>
          <p:nvPr>
            <p:ph type="ftr" sz="quarter" idx="3"/>
          </p:nvPr>
        </p:nvSpPr>
        <p:spPr>
          <a:xfrm>
            <a:off x="5344717" y="4738500"/>
            <a:ext cx="3395183" cy="135000"/>
          </a:xfrm>
          <a:prstGeom prst="rect">
            <a:avLst/>
          </a:prstGeom>
        </p:spPr>
        <p:txBody>
          <a:bodyPr vert="horz" lIns="0" tIns="0" rIns="0" bIns="0" rtlCol="0" anchor="t" anchorCtr="0"/>
          <a:lstStyle>
            <a:lvl1pPr algn="r">
              <a:defRPr sz="600">
                <a:solidFill>
                  <a:schemeClr val="accent1"/>
                </a:solidFill>
              </a:defRPr>
            </a:lvl1pPr>
          </a:lstStyle>
          <a:p>
            <a:r>
              <a:rPr lang="da-DK" dirty="0"/>
              <a:t>Digitaliseringsstyrelsen</a:t>
            </a:r>
          </a:p>
        </p:txBody>
      </p:sp>
    </p:spTree>
    <p:extLst>
      <p:ext uri="{BB962C8B-B14F-4D97-AF65-F5344CB8AC3E}">
        <p14:creationId xmlns:p14="http://schemas.microsoft.com/office/powerpoint/2010/main" val="2305787243"/>
      </p:ext>
    </p:extLst>
  </p:cSld>
  <p:clrMap bg1="lt1" tx1="dk1" bg2="lt2" tx2="dk2" accent1="accent1" accent2="accent2" accent3="accent3" accent4="accent4" accent5="accent5" accent6="accent6" hlink="hlink" folHlink="folHlink"/>
  <p:sldLayoutIdLst>
    <p:sldLayoutId id="2147484324" r:id="rId1"/>
    <p:sldLayoutId id="2147484325" r:id="rId2"/>
    <p:sldLayoutId id="2147484326" r:id="rId3"/>
    <p:sldLayoutId id="2147484327" r:id="rId4"/>
    <p:sldLayoutId id="2147484328" r:id="rId5"/>
    <p:sldLayoutId id="2147484329" r:id="rId6"/>
    <p:sldLayoutId id="2147484330" r:id="rId7"/>
    <p:sldLayoutId id="2147484331" r:id="rId8"/>
    <p:sldLayoutId id="2147484332" r:id="rId9"/>
    <p:sldLayoutId id="2147484333" r:id="rId10"/>
    <p:sldLayoutId id="2147484334" r:id="rId11"/>
    <p:sldLayoutId id="2147484335" r:id="rId12"/>
    <p:sldLayoutId id="2147484336" r:id="rId13"/>
    <p:sldLayoutId id="2147484337" r:id="rId14"/>
    <p:sldLayoutId id="2147484338" r:id="rId15"/>
    <p:sldLayoutId id="2147484339" r:id="rId16"/>
    <p:sldLayoutId id="2147484340" r:id="rId17"/>
    <p:sldLayoutId id="2147484341" r:id="rId18"/>
    <p:sldLayoutId id="2147484342" r:id="rId19"/>
    <p:sldLayoutId id="2147484343" r:id="rId20"/>
    <p:sldLayoutId id="2147484344" r:id="rId21"/>
    <p:sldLayoutId id="2147484345" r:id="rId22"/>
    <p:sldLayoutId id="2147484346" r:id="rId23"/>
    <p:sldLayoutId id="2147484347" r:id="rId24"/>
    <p:sldLayoutId id="2147484348" r:id="rId25"/>
    <p:sldLayoutId id="2147484349" r:id="rId26"/>
    <p:sldLayoutId id="2147484350" r:id="rId27"/>
    <p:sldLayoutId id="2147484351" r:id="rId28"/>
    <p:sldLayoutId id="2147484352" r:id="rId29"/>
    <p:sldLayoutId id="2147484353" r:id="rId30"/>
    <p:sldLayoutId id="2147484354" r:id="rId31"/>
    <p:sldLayoutId id="2147484355" r:id="rId32"/>
    <p:sldLayoutId id="2147484356" r:id="rId33"/>
    <p:sldLayoutId id="2147484357" r:id="rId34"/>
  </p:sldLayoutIdLst>
  <p:hf hdr="0"/>
  <p:txStyles>
    <p:titleStyle>
      <a:lvl1pPr algn="l" defTabSz="685800" rtl="0" eaLnBrk="1" latinLnBrk="0" hangingPunct="1">
        <a:lnSpc>
          <a:spcPct val="83000"/>
        </a:lnSpc>
        <a:spcBef>
          <a:spcPct val="0"/>
        </a:spcBef>
        <a:buNone/>
        <a:defRPr sz="2400" kern="1200">
          <a:solidFill>
            <a:schemeClr val="accent1"/>
          </a:solidFill>
          <a:latin typeface="+mj-lt"/>
          <a:ea typeface="+mj-ea"/>
          <a:cs typeface="+mj-cs"/>
        </a:defRPr>
      </a:lvl1pPr>
    </p:titleStyle>
    <p:bodyStyle>
      <a:lvl1pPr marL="135000" indent="-135000" algn="l" defTabSz="685800" rtl="0" eaLnBrk="1" latinLnBrk="0" hangingPunct="1">
        <a:lnSpc>
          <a:spcPct val="100000"/>
        </a:lnSpc>
        <a:spcBef>
          <a:spcPts val="0"/>
        </a:spcBef>
        <a:spcAft>
          <a:spcPts val="900"/>
        </a:spcAft>
        <a:buFont typeface="Arial" panose="020B0604020202020204" pitchFamily="34" charset="0"/>
        <a:buChar char="•"/>
        <a:defRPr sz="1200" kern="1200">
          <a:solidFill>
            <a:schemeClr val="accent1"/>
          </a:solidFill>
          <a:latin typeface="+mn-lt"/>
          <a:ea typeface="+mn-ea"/>
          <a:cs typeface="+mn-cs"/>
        </a:defRPr>
      </a:lvl1pPr>
      <a:lvl2pPr marL="270000" indent="-135000" algn="l" defTabSz="685800" rtl="0" eaLnBrk="1" latinLnBrk="0" hangingPunct="1">
        <a:lnSpc>
          <a:spcPct val="100000"/>
        </a:lnSpc>
        <a:spcBef>
          <a:spcPts val="0"/>
        </a:spcBef>
        <a:spcAft>
          <a:spcPts val="900"/>
        </a:spcAft>
        <a:buFont typeface="Arial" panose="020B0604020202020204" pitchFamily="34" charset="0"/>
        <a:buChar char="•"/>
        <a:defRPr sz="1200" kern="1200">
          <a:solidFill>
            <a:schemeClr val="accent1"/>
          </a:solidFill>
          <a:latin typeface="+mn-lt"/>
          <a:ea typeface="+mn-ea"/>
          <a:cs typeface="+mn-cs"/>
        </a:defRPr>
      </a:lvl2pPr>
      <a:lvl3pPr marL="405000" indent="-135000" algn="l" defTabSz="685800" rtl="0" eaLnBrk="1" latinLnBrk="0" hangingPunct="1">
        <a:lnSpc>
          <a:spcPct val="100000"/>
        </a:lnSpc>
        <a:spcBef>
          <a:spcPts val="0"/>
        </a:spcBef>
        <a:spcAft>
          <a:spcPts val="900"/>
        </a:spcAft>
        <a:buFont typeface="Arial" panose="020B0604020202020204" pitchFamily="34" charset="0"/>
        <a:buChar char="•"/>
        <a:defRPr sz="1200" kern="1200">
          <a:solidFill>
            <a:schemeClr val="accent1"/>
          </a:solidFill>
          <a:latin typeface="+mn-lt"/>
          <a:ea typeface="+mn-ea"/>
          <a:cs typeface="+mn-cs"/>
        </a:defRPr>
      </a:lvl3pPr>
      <a:lvl4pPr marL="0" indent="0" algn="l" defTabSz="685800" rtl="0" eaLnBrk="1" latinLnBrk="0" hangingPunct="1">
        <a:lnSpc>
          <a:spcPct val="100000"/>
        </a:lnSpc>
        <a:spcBef>
          <a:spcPts val="450"/>
        </a:spcBef>
        <a:spcAft>
          <a:spcPts val="450"/>
        </a:spcAft>
        <a:buFont typeface="Arial" panose="020B0604020202020204" pitchFamily="34" charset="0"/>
        <a:buChar char="​"/>
        <a:defRPr sz="1200" b="0" kern="1200">
          <a:solidFill>
            <a:schemeClr val="accent1"/>
          </a:solidFill>
          <a:latin typeface="Franklin Gothic Medium" panose="020B0603020102020204" pitchFamily="34" charset="0"/>
          <a:ea typeface="+mn-ea"/>
          <a:cs typeface="+mn-cs"/>
        </a:defRPr>
      </a:lvl4pPr>
      <a:lvl5pPr marL="0" indent="0" algn="l" defTabSz="685800" rtl="0" eaLnBrk="1" latinLnBrk="0" hangingPunct="1">
        <a:lnSpc>
          <a:spcPct val="100000"/>
        </a:lnSpc>
        <a:spcBef>
          <a:spcPts val="0"/>
        </a:spcBef>
        <a:spcAft>
          <a:spcPts val="900"/>
        </a:spcAft>
        <a:buFont typeface="Arial" panose="020B0604020202020204" pitchFamily="34" charset="0"/>
        <a:buChar char="​"/>
        <a:tabLst/>
        <a:defRPr sz="1200" kern="1200">
          <a:solidFill>
            <a:schemeClr val="accent1"/>
          </a:solidFill>
          <a:latin typeface="+mn-lt"/>
          <a:ea typeface="+mn-ea"/>
          <a:cs typeface="+mn-cs"/>
        </a:defRPr>
      </a:lvl5pPr>
      <a:lvl6pPr marL="67500" indent="-67500" algn="l" defTabSz="685800" rtl="0" eaLnBrk="1" latinLnBrk="0" hangingPunct="1">
        <a:lnSpc>
          <a:spcPct val="100000"/>
        </a:lnSpc>
        <a:spcBef>
          <a:spcPts val="0"/>
        </a:spcBef>
        <a:spcAft>
          <a:spcPts val="450"/>
        </a:spcAft>
        <a:buFont typeface="Arial" panose="020B0604020202020204" pitchFamily="34" charset="0"/>
        <a:buChar char="•"/>
        <a:defRPr sz="750" kern="1200">
          <a:solidFill>
            <a:schemeClr val="accent1"/>
          </a:solidFill>
          <a:latin typeface="+mn-lt"/>
          <a:ea typeface="+mn-ea"/>
          <a:cs typeface="+mn-cs"/>
        </a:defRPr>
      </a:lvl6pPr>
      <a:lvl7pPr marL="0" indent="0" algn="l" defTabSz="685800" rtl="0" eaLnBrk="1" latinLnBrk="0" hangingPunct="1">
        <a:lnSpc>
          <a:spcPct val="100000"/>
        </a:lnSpc>
        <a:spcBef>
          <a:spcPts val="450"/>
        </a:spcBef>
        <a:spcAft>
          <a:spcPts val="450"/>
        </a:spcAft>
        <a:buFont typeface="Arial" panose="020B0604020202020204" pitchFamily="34" charset="0"/>
        <a:buChar char="​"/>
        <a:defRPr sz="750" b="0" kern="1200" baseline="0">
          <a:solidFill>
            <a:schemeClr val="accent1"/>
          </a:solidFill>
          <a:latin typeface="Franklin Gothic Medium" panose="020B0603020102020204" pitchFamily="34" charset="0"/>
          <a:ea typeface="+mn-ea"/>
          <a:cs typeface="+mn-cs"/>
        </a:defRPr>
      </a:lvl7pPr>
      <a:lvl8pPr marL="0" indent="0" algn="l" defTabSz="685800" rtl="0" eaLnBrk="1" latinLnBrk="0" hangingPunct="1">
        <a:lnSpc>
          <a:spcPct val="100000"/>
        </a:lnSpc>
        <a:spcBef>
          <a:spcPts val="0"/>
        </a:spcBef>
        <a:spcAft>
          <a:spcPts val="450"/>
        </a:spcAft>
        <a:buFont typeface="Arial" panose="020B0604020202020204" pitchFamily="34" charset="0"/>
        <a:buChar char="​"/>
        <a:defRPr sz="750" kern="1200">
          <a:solidFill>
            <a:schemeClr val="accent1"/>
          </a:solidFill>
          <a:latin typeface="+mn-lt"/>
          <a:ea typeface="+mn-ea"/>
          <a:cs typeface="+mn-cs"/>
        </a:defRPr>
      </a:lvl8pPr>
      <a:lvl9pPr marL="0" indent="0" algn="l" defTabSz="685800" rtl="0" eaLnBrk="1" latinLnBrk="0" hangingPunct="1">
        <a:lnSpc>
          <a:spcPct val="83000"/>
        </a:lnSpc>
        <a:spcBef>
          <a:spcPts val="900"/>
        </a:spcBef>
        <a:spcAft>
          <a:spcPts val="0"/>
        </a:spcAft>
        <a:buFont typeface="Arial" panose="020B0604020202020204" pitchFamily="34" charset="0"/>
        <a:buChar char="​"/>
        <a:defRPr sz="4500" kern="1200" baseline="0">
          <a:solidFill>
            <a:schemeClr val="accent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p15:clr>
            <a:srgbClr val="A4A4A4"/>
          </p15:clr>
        </p15:guide>
        <p15:guide id="2" pos="819">
          <p15:clr>
            <a:srgbClr val="A4A4A4"/>
          </p15:clr>
        </p15:guide>
        <p15:guide id="3" orient="horz" pos="226">
          <p15:clr>
            <a:srgbClr val="A4A4A4"/>
          </p15:clr>
        </p15:guide>
        <p15:guide id="4" orient="horz" pos="4093">
          <p15:clr>
            <a:srgbClr val="A4A4A4"/>
          </p15:clr>
        </p15:guide>
        <p15:guide id="5" pos="932">
          <p15:clr>
            <a:srgbClr val="A4A4A4"/>
          </p15:clr>
        </p15:guide>
        <p15:guide id="6" pos="1412">
          <p15:clr>
            <a:srgbClr val="A4A4A4"/>
          </p15:clr>
        </p15:guide>
        <p15:guide id="7" pos="1525">
          <p15:clr>
            <a:srgbClr val="A4A4A4"/>
          </p15:clr>
        </p15:guide>
        <p15:guide id="8" pos="2005">
          <p15:clr>
            <a:srgbClr val="A4A4A4"/>
          </p15:clr>
        </p15:guide>
        <p15:guide id="9" pos="2118">
          <p15:clr>
            <a:srgbClr val="A4A4A4"/>
          </p15:clr>
        </p15:guide>
        <p15:guide id="10" pos="2597">
          <p15:clr>
            <a:srgbClr val="A4A4A4"/>
          </p15:clr>
        </p15:guide>
        <p15:guide id="11" pos="2711">
          <p15:clr>
            <a:srgbClr val="A4A4A4"/>
          </p15:clr>
        </p15:guide>
        <p15:guide id="12" pos="3190">
          <p15:clr>
            <a:srgbClr val="A4A4A4"/>
          </p15:clr>
        </p15:guide>
        <p15:guide id="13" pos="3303">
          <p15:clr>
            <a:srgbClr val="A4A4A4"/>
          </p15:clr>
        </p15:guide>
        <p15:guide id="14" pos="3783">
          <p15:clr>
            <a:srgbClr val="A4A4A4"/>
          </p15:clr>
        </p15:guide>
        <p15:guide id="15" pos="3896">
          <p15:clr>
            <a:srgbClr val="A4A4A4"/>
          </p15:clr>
        </p15:guide>
        <p15:guide id="16" pos="4376">
          <p15:clr>
            <a:srgbClr val="A4A4A4"/>
          </p15:clr>
        </p15:guide>
        <p15:guide id="17" pos="4489">
          <p15:clr>
            <a:srgbClr val="A4A4A4"/>
          </p15:clr>
        </p15:guide>
        <p15:guide id="18" pos="4968">
          <p15:clr>
            <a:srgbClr val="A4A4A4"/>
          </p15:clr>
        </p15:guide>
        <p15:guide id="19" pos="5082">
          <p15:clr>
            <a:srgbClr val="A4A4A4"/>
          </p15:clr>
        </p15:guide>
        <p15:guide id="20" pos="5561">
          <p15:clr>
            <a:srgbClr val="A4A4A4"/>
          </p15:clr>
        </p15:guide>
        <p15:guide id="21" pos="5674">
          <p15:clr>
            <a:srgbClr val="A4A4A4"/>
          </p15:clr>
        </p15:guide>
        <p15:guide id="22" pos="6154">
          <p15:clr>
            <a:srgbClr val="A4A4A4"/>
          </p15:clr>
        </p15:guide>
        <p15:guide id="23" pos="6267">
          <p15:clr>
            <a:srgbClr val="A4A4A4"/>
          </p15:clr>
        </p15:guide>
        <p15:guide id="24" pos="6747">
          <p15:clr>
            <a:srgbClr val="A4A4A4"/>
          </p15:clr>
        </p15:guide>
        <p15:guide id="25" pos="6860">
          <p15:clr>
            <a:srgbClr val="A4A4A4"/>
          </p15:clr>
        </p15:guide>
        <p15:guide id="26" pos="7339">
          <p15:clr>
            <a:srgbClr val="A4A4A4"/>
          </p15:clr>
        </p15:guide>
        <p15:guide id="27" orient="horz" pos="3866">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Baggrund">
            <a:extLst>
              <a:ext uri="{FF2B5EF4-FFF2-40B4-BE49-F238E27FC236}">
                <a16:creationId xmlns:a16="http://schemas.microsoft.com/office/drawing/2014/main" id="{038F5932-4DDF-A787-C9B1-F551B530C07A}"/>
              </a:ext>
            </a:extLst>
          </p:cNvPr>
          <p:cNvSpPr/>
          <p:nvPr userDrawn="1"/>
        </p:nvSpPr>
        <p:spPr>
          <a:xfrm>
            <a:off x="0" y="0"/>
            <a:ext cx="91449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05000" y="675000"/>
            <a:ext cx="8334900" cy="621000"/>
          </a:xfrm>
          <a:prstGeom prst="rect">
            <a:avLst/>
          </a:prstGeom>
        </p:spPr>
        <p:txBody>
          <a:bodyPr vert="horz" lIns="0" tIns="0" rIns="0" bIns="0" rtlCol="0" anchor="t" anchorCtr="0">
            <a:noAutofit/>
          </a:bodyPr>
          <a:lstStyle/>
          <a:p>
            <a:r>
              <a:rPr lang="da-DK"/>
              <a:t>Klik for at tilføje titel</a:t>
            </a:r>
          </a:p>
        </p:txBody>
      </p:sp>
      <p:sp>
        <p:nvSpPr>
          <p:cNvPr id="3" name="Text Placeholder 2"/>
          <p:cNvSpPr>
            <a:spLocks noGrp="1"/>
          </p:cNvSpPr>
          <p:nvPr>
            <p:ph type="body" idx="1"/>
          </p:nvPr>
        </p:nvSpPr>
        <p:spPr>
          <a:xfrm>
            <a:off x="405000" y="1431000"/>
            <a:ext cx="8334900" cy="3167100"/>
          </a:xfrm>
          <a:prstGeom prst="rect">
            <a:avLst/>
          </a:prstGeom>
        </p:spPr>
        <p:txBody>
          <a:bodyPr vert="horz" lIns="0" tIns="0" rIns="0" bIns="0" rtlCol="0">
            <a:noAutofit/>
          </a:bodyPr>
          <a:lstStyle/>
          <a:p>
            <a:pPr lvl="0"/>
            <a:r>
              <a:rPr lang="da-DK" noProof="0"/>
              <a:t>Niveau 1                                                                                                                                                                                                  Klik ENTER og derefter TAB for at se næste tekstformat                                                                                                                     Klik SHIFT+TAB for at se foregående tekstformat</a:t>
            </a:r>
          </a:p>
          <a:p>
            <a:pPr lvl="1"/>
            <a:r>
              <a:rPr lang="da-DK" noProof="0"/>
              <a:t>Niveau 2</a:t>
            </a:r>
          </a:p>
          <a:p>
            <a:pPr lvl="2"/>
            <a:r>
              <a:rPr lang="da-DK" noProof="0"/>
              <a:t>Niveau 3</a:t>
            </a:r>
          </a:p>
          <a:p>
            <a:pPr lvl="3"/>
            <a:r>
              <a:rPr lang="da-DK" noProof="0"/>
              <a:t>Niveau 4, Overskrift</a:t>
            </a:r>
          </a:p>
          <a:p>
            <a:pPr lvl="4"/>
            <a:r>
              <a:rPr lang="da-DK" noProof="0"/>
              <a:t>Niveau 5, Brødtekst</a:t>
            </a:r>
          </a:p>
          <a:p>
            <a:pPr lvl="5"/>
            <a:r>
              <a:rPr lang="da-DK" noProof="0"/>
              <a:t>Niveau 6</a:t>
            </a:r>
          </a:p>
          <a:p>
            <a:pPr lvl="6"/>
            <a:r>
              <a:rPr lang="da-DK" noProof="0"/>
              <a:t>Niveau 7, lille overskrift</a:t>
            </a:r>
          </a:p>
          <a:p>
            <a:pPr lvl="7"/>
            <a:r>
              <a:rPr lang="da-DK" noProof="0"/>
              <a:t>Niveau 8, lille brødtekst</a:t>
            </a:r>
          </a:p>
          <a:p>
            <a:pPr lvl="8"/>
            <a:r>
              <a:rPr lang="da-DK" noProof="0"/>
              <a:t>Niveau 9, Infografik</a:t>
            </a:r>
          </a:p>
        </p:txBody>
      </p:sp>
      <p:sp>
        <p:nvSpPr>
          <p:cNvPr id="6" name="Slide Number Placeholder 5"/>
          <p:cNvSpPr>
            <a:spLocks noGrp="1"/>
          </p:cNvSpPr>
          <p:nvPr>
            <p:ph type="sldNum" sz="quarter" idx="4"/>
          </p:nvPr>
        </p:nvSpPr>
        <p:spPr>
          <a:xfrm>
            <a:off x="404999" y="4738500"/>
            <a:ext cx="226800" cy="135000"/>
          </a:xfrm>
          <a:prstGeom prst="rect">
            <a:avLst/>
          </a:prstGeom>
        </p:spPr>
        <p:txBody>
          <a:bodyPr vert="horz" lIns="0" tIns="0" rIns="0" bIns="0" rtlCol="0" anchor="t" anchorCtr="0"/>
          <a:lstStyle>
            <a:lvl1pPr algn="l">
              <a:defRPr sz="600">
                <a:solidFill>
                  <a:schemeClr val="accent1"/>
                </a:solidFill>
              </a:defRPr>
            </a:lvl1pPr>
          </a:lstStyle>
          <a:p>
            <a:fld id="{24C8C45C-947F-4981-8B3F-4F32E973C901}" type="slidenum">
              <a:rPr lang="da-DK" smtClean="0"/>
              <a:pPr/>
              <a:t>‹nr.›</a:t>
            </a:fld>
            <a:endParaRPr lang="da-DK"/>
          </a:p>
        </p:txBody>
      </p:sp>
      <p:sp>
        <p:nvSpPr>
          <p:cNvPr id="2" name="Date Placeholder 1">
            <a:extLst>
              <a:ext uri="{FF2B5EF4-FFF2-40B4-BE49-F238E27FC236}">
                <a16:creationId xmlns:a16="http://schemas.microsoft.com/office/drawing/2014/main" id="{6DAF2562-DFA4-49A4-9C2A-FBAD02376BBC}"/>
              </a:ext>
            </a:extLst>
          </p:cNvPr>
          <p:cNvSpPr>
            <a:spLocks noGrp="1"/>
          </p:cNvSpPr>
          <p:nvPr>
            <p:ph type="dt" sz="half" idx="2"/>
          </p:nvPr>
        </p:nvSpPr>
        <p:spPr>
          <a:xfrm>
            <a:off x="758700" y="4738500"/>
            <a:ext cx="923400" cy="135000"/>
          </a:xfrm>
          <a:prstGeom prst="rect">
            <a:avLst/>
          </a:prstGeom>
        </p:spPr>
        <p:txBody>
          <a:bodyPr vert="horz" lIns="0" tIns="0" rIns="0" bIns="0" rtlCol="0" anchor="t" anchorCtr="0"/>
          <a:lstStyle>
            <a:lvl1pPr algn="l">
              <a:defRPr sz="600">
                <a:solidFill>
                  <a:schemeClr val="accent1"/>
                </a:solidFill>
              </a:defRPr>
            </a:lvl1pPr>
          </a:lstStyle>
          <a:p>
            <a:fld id="{A2446D3D-F608-46B7-8E05-81FCF9BDF507}" type="datetime2">
              <a:rPr lang="da-DK" smtClean="0"/>
              <a:t>11. december 2025</a:t>
            </a:fld>
            <a:endParaRPr lang="da-DK"/>
          </a:p>
        </p:txBody>
      </p:sp>
      <p:sp>
        <p:nvSpPr>
          <p:cNvPr id="8" name="Footer Placeholder 7">
            <a:extLst>
              <a:ext uri="{FF2B5EF4-FFF2-40B4-BE49-F238E27FC236}">
                <a16:creationId xmlns:a16="http://schemas.microsoft.com/office/drawing/2014/main" id="{3D397FDF-4480-4092-8EF3-23AF214F4831}"/>
              </a:ext>
            </a:extLst>
          </p:cNvPr>
          <p:cNvSpPr>
            <a:spLocks noGrp="1"/>
          </p:cNvSpPr>
          <p:nvPr>
            <p:ph type="ftr" sz="quarter" idx="3"/>
          </p:nvPr>
        </p:nvSpPr>
        <p:spPr>
          <a:xfrm>
            <a:off x="5344717" y="4738500"/>
            <a:ext cx="3395183" cy="135000"/>
          </a:xfrm>
          <a:prstGeom prst="rect">
            <a:avLst/>
          </a:prstGeom>
        </p:spPr>
        <p:txBody>
          <a:bodyPr vert="horz" lIns="0" tIns="0" rIns="0" bIns="0" rtlCol="0" anchor="t" anchorCtr="0"/>
          <a:lstStyle>
            <a:lvl1pPr algn="r">
              <a:defRPr sz="600">
                <a:solidFill>
                  <a:schemeClr val="accent1"/>
                </a:solidFill>
              </a:defRPr>
            </a:lvl1pPr>
          </a:lstStyle>
          <a:p>
            <a:r>
              <a:rPr lang="da-DK"/>
              <a:t>Digitaliseringsstyrelsen</a:t>
            </a:r>
          </a:p>
        </p:txBody>
      </p:sp>
    </p:spTree>
    <p:extLst>
      <p:ext uri="{BB962C8B-B14F-4D97-AF65-F5344CB8AC3E}">
        <p14:creationId xmlns:p14="http://schemas.microsoft.com/office/powerpoint/2010/main" val="395662619"/>
      </p:ext>
    </p:extLst>
  </p:cSld>
  <p:clrMap bg1="lt1" tx1="dk1" bg2="lt2" tx2="dk2" accent1="accent1" accent2="accent2" accent3="accent3" accent4="accent4" accent5="accent5" accent6="accent6" hlink="hlink" folHlink="folHlink"/>
  <p:sldLayoutIdLst>
    <p:sldLayoutId id="2147484359" r:id="rId1"/>
    <p:sldLayoutId id="2147484360" r:id="rId2"/>
    <p:sldLayoutId id="2147484361" r:id="rId3"/>
    <p:sldLayoutId id="2147484362" r:id="rId4"/>
    <p:sldLayoutId id="2147484363" r:id="rId5"/>
    <p:sldLayoutId id="2147484364" r:id="rId6"/>
    <p:sldLayoutId id="2147484365" r:id="rId7"/>
    <p:sldLayoutId id="2147484366" r:id="rId8"/>
    <p:sldLayoutId id="2147484367" r:id="rId9"/>
    <p:sldLayoutId id="2147484368" r:id="rId10"/>
    <p:sldLayoutId id="2147484369" r:id="rId11"/>
    <p:sldLayoutId id="2147484370" r:id="rId12"/>
    <p:sldLayoutId id="2147484371" r:id="rId13"/>
    <p:sldLayoutId id="2147484372" r:id="rId14"/>
    <p:sldLayoutId id="2147484373" r:id="rId15"/>
    <p:sldLayoutId id="2147484374" r:id="rId16"/>
    <p:sldLayoutId id="2147484375" r:id="rId17"/>
    <p:sldLayoutId id="2147484376" r:id="rId18"/>
    <p:sldLayoutId id="2147484377" r:id="rId19"/>
    <p:sldLayoutId id="2147484378" r:id="rId20"/>
    <p:sldLayoutId id="2147484379" r:id="rId21"/>
    <p:sldLayoutId id="2147484380" r:id="rId22"/>
    <p:sldLayoutId id="2147484381" r:id="rId23"/>
    <p:sldLayoutId id="2147484382" r:id="rId24"/>
    <p:sldLayoutId id="2147484383" r:id="rId25"/>
    <p:sldLayoutId id="2147484384" r:id="rId26"/>
    <p:sldLayoutId id="2147484385" r:id="rId27"/>
    <p:sldLayoutId id="2147484386" r:id="rId28"/>
    <p:sldLayoutId id="2147484387" r:id="rId29"/>
    <p:sldLayoutId id="2147484388" r:id="rId30"/>
    <p:sldLayoutId id="2147484389" r:id="rId31"/>
    <p:sldLayoutId id="2147484390" r:id="rId32"/>
    <p:sldLayoutId id="2147484391" r:id="rId33"/>
    <p:sldLayoutId id="2147484392" r:id="rId34"/>
    <p:sldLayoutId id="2147484393" r:id="rId35"/>
    <p:sldLayoutId id="2147484394" r:id="rId36"/>
    <p:sldLayoutId id="2147484395" r:id="rId37"/>
    <p:sldLayoutId id="2147484396" r:id="rId38"/>
    <p:sldLayoutId id="2147484397" r:id="rId39"/>
    <p:sldLayoutId id="2147484398" r:id="rId40"/>
    <p:sldLayoutId id="2147484399" r:id="rId41"/>
    <p:sldLayoutId id="2147484400" r:id="rId42"/>
    <p:sldLayoutId id="2147484447" r:id="rId43"/>
  </p:sldLayoutIdLst>
  <p:hf hdr="0"/>
  <p:txStyles>
    <p:titleStyle>
      <a:lvl1pPr algn="l" defTabSz="685800" rtl="0" eaLnBrk="1" latinLnBrk="0" hangingPunct="1">
        <a:lnSpc>
          <a:spcPct val="83000"/>
        </a:lnSpc>
        <a:spcBef>
          <a:spcPct val="0"/>
        </a:spcBef>
        <a:buNone/>
        <a:defRPr sz="2400" kern="1200">
          <a:solidFill>
            <a:schemeClr val="accent1"/>
          </a:solidFill>
          <a:latin typeface="+mj-lt"/>
          <a:ea typeface="+mj-ea"/>
          <a:cs typeface="+mj-cs"/>
        </a:defRPr>
      </a:lvl1pPr>
    </p:titleStyle>
    <p:bodyStyle>
      <a:lvl1pPr marL="135000" indent="-135000" algn="l" defTabSz="685800" rtl="0" eaLnBrk="1" latinLnBrk="0" hangingPunct="1">
        <a:lnSpc>
          <a:spcPct val="100000"/>
        </a:lnSpc>
        <a:spcBef>
          <a:spcPts val="0"/>
        </a:spcBef>
        <a:spcAft>
          <a:spcPts val="900"/>
        </a:spcAft>
        <a:buFont typeface="Arial" panose="020B0604020202020204" pitchFamily="34" charset="0"/>
        <a:buChar char="•"/>
        <a:defRPr sz="1200" kern="1200">
          <a:solidFill>
            <a:schemeClr val="accent1"/>
          </a:solidFill>
          <a:latin typeface="+mn-lt"/>
          <a:ea typeface="+mn-ea"/>
          <a:cs typeface="+mn-cs"/>
        </a:defRPr>
      </a:lvl1pPr>
      <a:lvl2pPr marL="270000" indent="-135000" algn="l" defTabSz="685800" rtl="0" eaLnBrk="1" latinLnBrk="0" hangingPunct="1">
        <a:lnSpc>
          <a:spcPct val="100000"/>
        </a:lnSpc>
        <a:spcBef>
          <a:spcPts val="0"/>
        </a:spcBef>
        <a:spcAft>
          <a:spcPts val="900"/>
        </a:spcAft>
        <a:buFont typeface="Arial" panose="020B0604020202020204" pitchFamily="34" charset="0"/>
        <a:buChar char="•"/>
        <a:defRPr sz="1200" kern="1200">
          <a:solidFill>
            <a:schemeClr val="accent1"/>
          </a:solidFill>
          <a:latin typeface="+mn-lt"/>
          <a:ea typeface="+mn-ea"/>
          <a:cs typeface="+mn-cs"/>
        </a:defRPr>
      </a:lvl2pPr>
      <a:lvl3pPr marL="405000" indent="-135000" algn="l" defTabSz="685800" rtl="0" eaLnBrk="1" latinLnBrk="0" hangingPunct="1">
        <a:lnSpc>
          <a:spcPct val="100000"/>
        </a:lnSpc>
        <a:spcBef>
          <a:spcPts val="0"/>
        </a:spcBef>
        <a:spcAft>
          <a:spcPts val="900"/>
        </a:spcAft>
        <a:buFont typeface="Arial" panose="020B0604020202020204" pitchFamily="34" charset="0"/>
        <a:buChar char="•"/>
        <a:defRPr sz="1200" kern="1200">
          <a:solidFill>
            <a:schemeClr val="accent1"/>
          </a:solidFill>
          <a:latin typeface="+mn-lt"/>
          <a:ea typeface="+mn-ea"/>
          <a:cs typeface="+mn-cs"/>
        </a:defRPr>
      </a:lvl3pPr>
      <a:lvl4pPr marL="0" indent="0" algn="l" defTabSz="685800" rtl="0" eaLnBrk="1" latinLnBrk="0" hangingPunct="1">
        <a:lnSpc>
          <a:spcPct val="100000"/>
        </a:lnSpc>
        <a:spcBef>
          <a:spcPts val="450"/>
        </a:spcBef>
        <a:spcAft>
          <a:spcPts val="450"/>
        </a:spcAft>
        <a:buFont typeface="Arial" panose="020B0604020202020204" pitchFamily="34" charset="0"/>
        <a:buChar char="​"/>
        <a:defRPr sz="1200" b="0" kern="1200">
          <a:solidFill>
            <a:schemeClr val="accent1"/>
          </a:solidFill>
          <a:latin typeface="Franklin Gothic Medium" panose="020B0603020102020204" pitchFamily="34" charset="0"/>
          <a:ea typeface="+mn-ea"/>
          <a:cs typeface="+mn-cs"/>
        </a:defRPr>
      </a:lvl4pPr>
      <a:lvl5pPr marL="0" indent="0" algn="l" defTabSz="685800" rtl="0" eaLnBrk="1" latinLnBrk="0" hangingPunct="1">
        <a:lnSpc>
          <a:spcPct val="100000"/>
        </a:lnSpc>
        <a:spcBef>
          <a:spcPts val="0"/>
        </a:spcBef>
        <a:spcAft>
          <a:spcPts val="900"/>
        </a:spcAft>
        <a:buFont typeface="Arial" panose="020B0604020202020204" pitchFamily="34" charset="0"/>
        <a:buChar char="​"/>
        <a:tabLst/>
        <a:defRPr sz="1200" kern="1200">
          <a:solidFill>
            <a:schemeClr val="accent1"/>
          </a:solidFill>
          <a:latin typeface="+mn-lt"/>
          <a:ea typeface="+mn-ea"/>
          <a:cs typeface="+mn-cs"/>
        </a:defRPr>
      </a:lvl5pPr>
      <a:lvl6pPr marL="67500" indent="-67500" algn="l" defTabSz="685800" rtl="0" eaLnBrk="1" latinLnBrk="0" hangingPunct="1">
        <a:lnSpc>
          <a:spcPct val="100000"/>
        </a:lnSpc>
        <a:spcBef>
          <a:spcPts val="0"/>
        </a:spcBef>
        <a:spcAft>
          <a:spcPts val="450"/>
        </a:spcAft>
        <a:buFont typeface="Arial" panose="020B0604020202020204" pitchFamily="34" charset="0"/>
        <a:buChar char="•"/>
        <a:defRPr sz="750" kern="1200">
          <a:solidFill>
            <a:schemeClr val="accent1"/>
          </a:solidFill>
          <a:latin typeface="+mn-lt"/>
          <a:ea typeface="+mn-ea"/>
          <a:cs typeface="+mn-cs"/>
        </a:defRPr>
      </a:lvl6pPr>
      <a:lvl7pPr marL="0" indent="0" algn="l" defTabSz="685800" rtl="0" eaLnBrk="1" latinLnBrk="0" hangingPunct="1">
        <a:lnSpc>
          <a:spcPct val="100000"/>
        </a:lnSpc>
        <a:spcBef>
          <a:spcPts val="450"/>
        </a:spcBef>
        <a:spcAft>
          <a:spcPts val="450"/>
        </a:spcAft>
        <a:buFont typeface="Arial" panose="020B0604020202020204" pitchFamily="34" charset="0"/>
        <a:buChar char="​"/>
        <a:defRPr sz="750" b="0" kern="1200" baseline="0">
          <a:solidFill>
            <a:schemeClr val="accent1"/>
          </a:solidFill>
          <a:latin typeface="Franklin Gothic Medium" panose="020B0603020102020204" pitchFamily="34" charset="0"/>
          <a:ea typeface="+mn-ea"/>
          <a:cs typeface="+mn-cs"/>
        </a:defRPr>
      </a:lvl7pPr>
      <a:lvl8pPr marL="0" indent="0" algn="l" defTabSz="685800" rtl="0" eaLnBrk="1" latinLnBrk="0" hangingPunct="1">
        <a:lnSpc>
          <a:spcPct val="100000"/>
        </a:lnSpc>
        <a:spcBef>
          <a:spcPts val="0"/>
        </a:spcBef>
        <a:spcAft>
          <a:spcPts val="450"/>
        </a:spcAft>
        <a:buFont typeface="Arial" panose="020B0604020202020204" pitchFamily="34" charset="0"/>
        <a:buChar char="​"/>
        <a:defRPr sz="750" kern="1200">
          <a:solidFill>
            <a:schemeClr val="accent1"/>
          </a:solidFill>
          <a:latin typeface="+mn-lt"/>
          <a:ea typeface="+mn-ea"/>
          <a:cs typeface="+mn-cs"/>
        </a:defRPr>
      </a:lvl8pPr>
      <a:lvl9pPr marL="0" indent="0" algn="l" defTabSz="685800" rtl="0" eaLnBrk="1" latinLnBrk="0" hangingPunct="1">
        <a:lnSpc>
          <a:spcPct val="83000"/>
        </a:lnSpc>
        <a:spcBef>
          <a:spcPts val="900"/>
        </a:spcBef>
        <a:spcAft>
          <a:spcPts val="0"/>
        </a:spcAft>
        <a:buFont typeface="Arial" panose="020B0604020202020204" pitchFamily="34" charset="0"/>
        <a:buChar char="​"/>
        <a:defRPr sz="4500" kern="1200" baseline="0">
          <a:solidFill>
            <a:schemeClr val="accent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p15:clr>
            <a:srgbClr val="A4A4A4"/>
          </p15:clr>
        </p15:guide>
        <p15:guide id="2" pos="819">
          <p15:clr>
            <a:srgbClr val="A4A4A4"/>
          </p15:clr>
        </p15:guide>
        <p15:guide id="3" orient="horz" pos="226">
          <p15:clr>
            <a:srgbClr val="A4A4A4"/>
          </p15:clr>
        </p15:guide>
        <p15:guide id="4" orient="horz" pos="4093">
          <p15:clr>
            <a:srgbClr val="A4A4A4"/>
          </p15:clr>
        </p15:guide>
        <p15:guide id="5" pos="932">
          <p15:clr>
            <a:srgbClr val="A4A4A4"/>
          </p15:clr>
        </p15:guide>
        <p15:guide id="6" pos="1412">
          <p15:clr>
            <a:srgbClr val="A4A4A4"/>
          </p15:clr>
        </p15:guide>
        <p15:guide id="7" pos="1525">
          <p15:clr>
            <a:srgbClr val="A4A4A4"/>
          </p15:clr>
        </p15:guide>
        <p15:guide id="8" pos="2005">
          <p15:clr>
            <a:srgbClr val="A4A4A4"/>
          </p15:clr>
        </p15:guide>
        <p15:guide id="9" pos="2118">
          <p15:clr>
            <a:srgbClr val="A4A4A4"/>
          </p15:clr>
        </p15:guide>
        <p15:guide id="10" pos="2597">
          <p15:clr>
            <a:srgbClr val="A4A4A4"/>
          </p15:clr>
        </p15:guide>
        <p15:guide id="11" pos="2711">
          <p15:clr>
            <a:srgbClr val="A4A4A4"/>
          </p15:clr>
        </p15:guide>
        <p15:guide id="12" pos="3190">
          <p15:clr>
            <a:srgbClr val="A4A4A4"/>
          </p15:clr>
        </p15:guide>
        <p15:guide id="13" pos="3303">
          <p15:clr>
            <a:srgbClr val="A4A4A4"/>
          </p15:clr>
        </p15:guide>
        <p15:guide id="14" pos="3783">
          <p15:clr>
            <a:srgbClr val="A4A4A4"/>
          </p15:clr>
        </p15:guide>
        <p15:guide id="15" pos="3896">
          <p15:clr>
            <a:srgbClr val="A4A4A4"/>
          </p15:clr>
        </p15:guide>
        <p15:guide id="16" pos="4376">
          <p15:clr>
            <a:srgbClr val="A4A4A4"/>
          </p15:clr>
        </p15:guide>
        <p15:guide id="17" pos="4489">
          <p15:clr>
            <a:srgbClr val="A4A4A4"/>
          </p15:clr>
        </p15:guide>
        <p15:guide id="18" pos="4968">
          <p15:clr>
            <a:srgbClr val="A4A4A4"/>
          </p15:clr>
        </p15:guide>
        <p15:guide id="19" pos="5082">
          <p15:clr>
            <a:srgbClr val="A4A4A4"/>
          </p15:clr>
        </p15:guide>
        <p15:guide id="20" pos="5561">
          <p15:clr>
            <a:srgbClr val="A4A4A4"/>
          </p15:clr>
        </p15:guide>
        <p15:guide id="21" pos="5674">
          <p15:clr>
            <a:srgbClr val="A4A4A4"/>
          </p15:clr>
        </p15:guide>
        <p15:guide id="22" pos="6154">
          <p15:clr>
            <a:srgbClr val="A4A4A4"/>
          </p15:clr>
        </p15:guide>
        <p15:guide id="23" pos="6267">
          <p15:clr>
            <a:srgbClr val="A4A4A4"/>
          </p15:clr>
        </p15:guide>
        <p15:guide id="24" pos="6747">
          <p15:clr>
            <a:srgbClr val="A4A4A4"/>
          </p15:clr>
        </p15:guide>
        <p15:guide id="25" pos="6860">
          <p15:clr>
            <a:srgbClr val="A4A4A4"/>
          </p15:clr>
        </p15:guide>
        <p15:guide id="26" pos="7339">
          <p15:clr>
            <a:srgbClr val="A4A4A4"/>
          </p15:clr>
        </p15:guide>
        <p15:guide id="27" orient="horz" pos="3866">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5F1E6"/>
        </a:solidFill>
        <a:effectLst/>
      </p:bgPr>
    </p:bg>
    <p:spTree>
      <p:nvGrpSpPr>
        <p:cNvPr id="1" name=""/>
        <p:cNvGrpSpPr/>
        <p:nvPr/>
      </p:nvGrpSpPr>
      <p:grpSpPr>
        <a:xfrm>
          <a:off x="0" y="0"/>
          <a:ext cx="0" cy="0"/>
          <a:chOff x="0" y="0"/>
          <a:chExt cx="0" cy="0"/>
        </a:xfrm>
      </p:grpSpPr>
      <p:sp>
        <p:nvSpPr>
          <p:cNvPr id="10" name="Baggrund">
            <a:extLst>
              <a:ext uri="{FF2B5EF4-FFF2-40B4-BE49-F238E27FC236}">
                <a16:creationId xmlns:a16="http://schemas.microsoft.com/office/drawing/2014/main" id="{038F5932-4DDF-A787-C9B1-F551B530C07A}"/>
              </a:ext>
            </a:extLst>
          </p:cNvPr>
          <p:cNvSpPr/>
          <p:nvPr userDrawn="1"/>
        </p:nvSpPr>
        <p:spPr>
          <a:xfrm>
            <a:off x="0" y="0"/>
            <a:ext cx="91449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05000" y="675000"/>
            <a:ext cx="8334900" cy="621000"/>
          </a:xfrm>
          <a:prstGeom prst="rect">
            <a:avLst/>
          </a:prstGeom>
        </p:spPr>
        <p:txBody>
          <a:bodyPr vert="horz" lIns="0" tIns="0" rIns="0" bIns="0" rtlCol="0" anchor="t" anchorCtr="0">
            <a:noAutofit/>
          </a:bodyPr>
          <a:lstStyle/>
          <a:p>
            <a:r>
              <a:rPr lang="da-DK"/>
              <a:t>Klik for at tilføje titel</a:t>
            </a:r>
          </a:p>
        </p:txBody>
      </p:sp>
      <p:sp>
        <p:nvSpPr>
          <p:cNvPr id="3" name="Text Placeholder 2"/>
          <p:cNvSpPr>
            <a:spLocks noGrp="1"/>
          </p:cNvSpPr>
          <p:nvPr>
            <p:ph type="body" idx="1"/>
          </p:nvPr>
        </p:nvSpPr>
        <p:spPr>
          <a:xfrm>
            <a:off x="405000" y="1431000"/>
            <a:ext cx="8334900" cy="3167100"/>
          </a:xfrm>
          <a:prstGeom prst="rect">
            <a:avLst/>
          </a:prstGeom>
        </p:spPr>
        <p:txBody>
          <a:bodyPr vert="horz" lIns="0" tIns="0" rIns="0" bIns="0" rtlCol="0">
            <a:noAutofit/>
          </a:bodyPr>
          <a:lstStyle/>
          <a:p>
            <a:pPr lvl="0"/>
            <a:r>
              <a:rPr lang="da-DK" noProof="0"/>
              <a:t>Niveau 1                                                                                                                                                                                                  Klik ENTER og derefter TAB for at se næste tekstformat                                                                                                                     Klik SHIFT+TAB for at se foregående tekstformat</a:t>
            </a:r>
          </a:p>
          <a:p>
            <a:pPr lvl="1"/>
            <a:r>
              <a:rPr lang="da-DK" noProof="0"/>
              <a:t>Niveau 2</a:t>
            </a:r>
          </a:p>
          <a:p>
            <a:pPr lvl="2"/>
            <a:r>
              <a:rPr lang="da-DK" noProof="0"/>
              <a:t>Niveau 3</a:t>
            </a:r>
          </a:p>
          <a:p>
            <a:pPr lvl="3"/>
            <a:r>
              <a:rPr lang="da-DK" noProof="0"/>
              <a:t>Niveau 4, Overskrift</a:t>
            </a:r>
          </a:p>
          <a:p>
            <a:pPr lvl="4"/>
            <a:r>
              <a:rPr lang="da-DK" noProof="0"/>
              <a:t>Niveau 5, Brødtekst</a:t>
            </a:r>
          </a:p>
          <a:p>
            <a:pPr lvl="5"/>
            <a:r>
              <a:rPr lang="da-DK" noProof="0"/>
              <a:t>Niveau 6</a:t>
            </a:r>
          </a:p>
          <a:p>
            <a:pPr lvl="6"/>
            <a:r>
              <a:rPr lang="da-DK" noProof="0"/>
              <a:t>Niveau 7, lille overskrift</a:t>
            </a:r>
          </a:p>
          <a:p>
            <a:pPr lvl="7"/>
            <a:r>
              <a:rPr lang="da-DK" noProof="0"/>
              <a:t>Niveau 8, lille brødtekst</a:t>
            </a:r>
          </a:p>
          <a:p>
            <a:pPr lvl="8"/>
            <a:r>
              <a:rPr lang="da-DK" noProof="0"/>
              <a:t>Niveau 9, Infografik</a:t>
            </a:r>
          </a:p>
        </p:txBody>
      </p:sp>
      <p:sp>
        <p:nvSpPr>
          <p:cNvPr id="6" name="Slide Number Placeholder 5"/>
          <p:cNvSpPr>
            <a:spLocks noGrp="1"/>
          </p:cNvSpPr>
          <p:nvPr>
            <p:ph type="sldNum" sz="quarter" idx="4"/>
          </p:nvPr>
        </p:nvSpPr>
        <p:spPr>
          <a:xfrm>
            <a:off x="404999" y="4738500"/>
            <a:ext cx="226800" cy="135000"/>
          </a:xfrm>
          <a:prstGeom prst="rect">
            <a:avLst/>
          </a:prstGeom>
        </p:spPr>
        <p:txBody>
          <a:bodyPr vert="horz" lIns="0" tIns="0" rIns="0" bIns="0" rtlCol="0" anchor="t" anchorCtr="0"/>
          <a:lstStyle>
            <a:lvl1pPr algn="l">
              <a:defRPr sz="600">
                <a:solidFill>
                  <a:schemeClr val="accent1"/>
                </a:solidFill>
              </a:defRPr>
            </a:lvl1pPr>
          </a:lstStyle>
          <a:p>
            <a:fld id="{24C8C45C-947F-4981-8B3F-4F32E973C901}" type="slidenum">
              <a:rPr lang="da-DK" smtClean="0"/>
              <a:pPr/>
              <a:t>‹nr.›</a:t>
            </a:fld>
            <a:endParaRPr lang="da-DK"/>
          </a:p>
        </p:txBody>
      </p:sp>
      <p:sp>
        <p:nvSpPr>
          <p:cNvPr id="2" name="Date Placeholder 1">
            <a:extLst>
              <a:ext uri="{FF2B5EF4-FFF2-40B4-BE49-F238E27FC236}">
                <a16:creationId xmlns:a16="http://schemas.microsoft.com/office/drawing/2014/main" id="{6DAF2562-DFA4-49A4-9C2A-FBAD02376BBC}"/>
              </a:ext>
            </a:extLst>
          </p:cNvPr>
          <p:cNvSpPr>
            <a:spLocks noGrp="1"/>
          </p:cNvSpPr>
          <p:nvPr>
            <p:ph type="dt" sz="half" idx="2"/>
          </p:nvPr>
        </p:nvSpPr>
        <p:spPr>
          <a:xfrm>
            <a:off x="758700" y="4738500"/>
            <a:ext cx="923400" cy="135000"/>
          </a:xfrm>
          <a:prstGeom prst="rect">
            <a:avLst/>
          </a:prstGeom>
        </p:spPr>
        <p:txBody>
          <a:bodyPr vert="horz" lIns="0" tIns="0" rIns="0" bIns="0" rtlCol="0" anchor="t" anchorCtr="0"/>
          <a:lstStyle>
            <a:lvl1pPr algn="l">
              <a:defRPr sz="600">
                <a:solidFill>
                  <a:schemeClr val="accent1"/>
                </a:solidFill>
              </a:defRPr>
            </a:lvl1pPr>
          </a:lstStyle>
          <a:p>
            <a:fld id="{A2446D3D-F608-46B7-8E05-81FCF9BDF507}" type="datetime2">
              <a:rPr lang="da-DK" smtClean="0"/>
              <a:t>11. december 2025</a:t>
            </a:fld>
            <a:endParaRPr lang="da-DK"/>
          </a:p>
        </p:txBody>
      </p:sp>
      <p:sp>
        <p:nvSpPr>
          <p:cNvPr id="8" name="Footer Placeholder 7">
            <a:extLst>
              <a:ext uri="{FF2B5EF4-FFF2-40B4-BE49-F238E27FC236}">
                <a16:creationId xmlns:a16="http://schemas.microsoft.com/office/drawing/2014/main" id="{3D397FDF-4480-4092-8EF3-23AF214F4831}"/>
              </a:ext>
            </a:extLst>
          </p:cNvPr>
          <p:cNvSpPr>
            <a:spLocks noGrp="1"/>
          </p:cNvSpPr>
          <p:nvPr>
            <p:ph type="ftr" sz="quarter" idx="3"/>
          </p:nvPr>
        </p:nvSpPr>
        <p:spPr>
          <a:xfrm>
            <a:off x="5344717" y="4738500"/>
            <a:ext cx="3395183" cy="135000"/>
          </a:xfrm>
          <a:prstGeom prst="rect">
            <a:avLst/>
          </a:prstGeom>
        </p:spPr>
        <p:txBody>
          <a:bodyPr vert="horz" lIns="0" tIns="0" rIns="0" bIns="0" rtlCol="0" anchor="t" anchorCtr="0"/>
          <a:lstStyle>
            <a:lvl1pPr algn="r">
              <a:defRPr sz="600">
                <a:solidFill>
                  <a:schemeClr val="accent1"/>
                </a:solidFill>
              </a:defRPr>
            </a:lvl1pPr>
          </a:lstStyle>
          <a:p>
            <a:r>
              <a:rPr lang="da-DK"/>
              <a:t>Digitaliseringsstyrelsen</a:t>
            </a:r>
          </a:p>
        </p:txBody>
      </p:sp>
    </p:spTree>
    <p:extLst>
      <p:ext uri="{BB962C8B-B14F-4D97-AF65-F5344CB8AC3E}">
        <p14:creationId xmlns:p14="http://schemas.microsoft.com/office/powerpoint/2010/main" val="2955187908"/>
      </p:ext>
    </p:extLst>
  </p:cSld>
  <p:clrMap bg1="lt1" tx1="dk1" bg2="lt2" tx2="dk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19" r:id="rId18"/>
    <p:sldLayoutId id="2147484420" r:id="rId19"/>
    <p:sldLayoutId id="2147484421" r:id="rId20"/>
    <p:sldLayoutId id="2147484422" r:id="rId21"/>
    <p:sldLayoutId id="2147484423" r:id="rId22"/>
    <p:sldLayoutId id="2147484424" r:id="rId23"/>
    <p:sldLayoutId id="2147484425" r:id="rId24"/>
    <p:sldLayoutId id="2147484426" r:id="rId25"/>
    <p:sldLayoutId id="2147484427" r:id="rId26"/>
    <p:sldLayoutId id="2147484428" r:id="rId27"/>
    <p:sldLayoutId id="2147484429" r:id="rId28"/>
    <p:sldLayoutId id="2147484430" r:id="rId29"/>
    <p:sldLayoutId id="2147484431" r:id="rId30"/>
    <p:sldLayoutId id="2147484432" r:id="rId31"/>
    <p:sldLayoutId id="2147484433" r:id="rId32"/>
    <p:sldLayoutId id="2147484434" r:id="rId33"/>
    <p:sldLayoutId id="2147484435" r:id="rId34"/>
    <p:sldLayoutId id="2147484436" r:id="rId35"/>
    <p:sldLayoutId id="2147484437" r:id="rId36"/>
    <p:sldLayoutId id="2147484438" r:id="rId37"/>
    <p:sldLayoutId id="2147484439" r:id="rId38"/>
    <p:sldLayoutId id="2147484440" r:id="rId39"/>
    <p:sldLayoutId id="2147484441" r:id="rId40"/>
    <p:sldLayoutId id="2147484442" r:id="rId41"/>
    <p:sldLayoutId id="2147484443" r:id="rId42"/>
    <p:sldLayoutId id="2147484444" r:id="rId43"/>
    <p:sldLayoutId id="2147484445" r:id="rId44"/>
    <p:sldLayoutId id="2147484446" r:id="rId45"/>
  </p:sldLayoutIdLst>
  <p:hf hdr="0"/>
  <p:txStyles>
    <p:titleStyle>
      <a:lvl1pPr algn="l" defTabSz="685800" rtl="0" eaLnBrk="1" latinLnBrk="0" hangingPunct="1">
        <a:lnSpc>
          <a:spcPct val="83000"/>
        </a:lnSpc>
        <a:spcBef>
          <a:spcPct val="0"/>
        </a:spcBef>
        <a:buNone/>
        <a:defRPr sz="2400" kern="1200">
          <a:solidFill>
            <a:schemeClr val="accent1"/>
          </a:solidFill>
          <a:latin typeface="+mj-lt"/>
          <a:ea typeface="+mj-ea"/>
          <a:cs typeface="+mj-cs"/>
        </a:defRPr>
      </a:lvl1pPr>
    </p:titleStyle>
    <p:bodyStyle>
      <a:lvl1pPr marL="135000" indent="-135000" algn="l" defTabSz="685800" rtl="0" eaLnBrk="1" latinLnBrk="0" hangingPunct="1">
        <a:lnSpc>
          <a:spcPct val="100000"/>
        </a:lnSpc>
        <a:spcBef>
          <a:spcPts val="0"/>
        </a:spcBef>
        <a:spcAft>
          <a:spcPts val="900"/>
        </a:spcAft>
        <a:buFont typeface="Arial" panose="020B0604020202020204" pitchFamily="34" charset="0"/>
        <a:buChar char="•"/>
        <a:defRPr sz="1200" kern="1200">
          <a:solidFill>
            <a:schemeClr val="accent1"/>
          </a:solidFill>
          <a:latin typeface="+mn-lt"/>
          <a:ea typeface="+mn-ea"/>
          <a:cs typeface="+mn-cs"/>
        </a:defRPr>
      </a:lvl1pPr>
      <a:lvl2pPr marL="270000" indent="-135000" algn="l" defTabSz="685800" rtl="0" eaLnBrk="1" latinLnBrk="0" hangingPunct="1">
        <a:lnSpc>
          <a:spcPct val="100000"/>
        </a:lnSpc>
        <a:spcBef>
          <a:spcPts val="0"/>
        </a:spcBef>
        <a:spcAft>
          <a:spcPts val="900"/>
        </a:spcAft>
        <a:buFont typeface="Arial" panose="020B0604020202020204" pitchFamily="34" charset="0"/>
        <a:buChar char="•"/>
        <a:defRPr sz="1200" kern="1200">
          <a:solidFill>
            <a:schemeClr val="accent1"/>
          </a:solidFill>
          <a:latin typeface="+mn-lt"/>
          <a:ea typeface="+mn-ea"/>
          <a:cs typeface="+mn-cs"/>
        </a:defRPr>
      </a:lvl2pPr>
      <a:lvl3pPr marL="405000" indent="-135000" algn="l" defTabSz="685800" rtl="0" eaLnBrk="1" latinLnBrk="0" hangingPunct="1">
        <a:lnSpc>
          <a:spcPct val="100000"/>
        </a:lnSpc>
        <a:spcBef>
          <a:spcPts val="0"/>
        </a:spcBef>
        <a:spcAft>
          <a:spcPts val="900"/>
        </a:spcAft>
        <a:buFont typeface="Arial" panose="020B0604020202020204" pitchFamily="34" charset="0"/>
        <a:buChar char="•"/>
        <a:defRPr sz="1200" kern="1200">
          <a:solidFill>
            <a:schemeClr val="accent1"/>
          </a:solidFill>
          <a:latin typeface="+mn-lt"/>
          <a:ea typeface="+mn-ea"/>
          <a:cs typeface="+mn-cs"/>
        </a:defRPr>
      </a:lvl3pPr>
      <a:lvl4pPr marL="0" indent="0" algn="l" defTabSz="685800" rtl="0" eaLnBrk="1" latinLnBrk="0" hangingPunct="1">
        <a:lnSpc>
          <a:spcPct val="100000"/>
        </a:lnSpc>
        <a:spcBef>
          <a:spcPts val="450"/>
        </a:spcBef>
        <a:spcAft>
          <a:spcPts val="450"/>
        </a:spcAft>
        <a:buFont typeface="Arial" panose="020B0604020202020204" pitchFamily="34" charset="0"/>
        <a:buChar char="​"/>
        <a:defRPr sz="1200" b="0" kern="1200">
          <a:solidFill>
            <a:schemeClr val="accent1"/>
          </a:solidFill>
          <a:latin typeface="Franklin Gothic Medium" panose="020B0603020102020204" pitchFamily="34" charset="0"/>
          <a:ea typeface="+mn-ea"/>
          <a:cs typeface="+mn-cs"/>
        </a:defRPr>
      </a:lvl4pPr>
      <a:lvl5pPr marL="0" indent="0" algn="l" defTabSz="685800" rtl="0" eaLnBrk="1" latinLnBrk="0" hangingPunct="1">
        <a:lnSpc>
          <a:spcPct val="100000"/>
        </a:lnSpc>
        <a:spcBef>
          <a:spcPts val="0"/>
        </a:spcBef>
        <a:spcAft>
          <a:spcPts val="900"/>
        </a:spcAft>
        <a:buFont typeface="Arial" panose="020B0604020202020204" pitchFamily="34" charset="0"/>
        <a:buChar char="​"/>
        <a:tabLst/>
        <a:defRPr sz="1200" kern="1200">
          <a:solidFill>
            <a:schemeClr val="accent1"/>
          </a:solidFill>
          <a:latin typeface="+mn-lt"/>
          <a:ea typeface="+mn-ea"/>
          <a:cs typeface="+mn-cs"/>
        </a:defRPr>
      </a:lvl5pPr>
      <a:lvl6pPr marL="67500" indent="-67500" algn="l" defTabSz="685800" rtl="0" eaLnBrk="1" latinLnBrk="0" hangingPunct="1">
        <a:lnSpc>
          <a:spcPct val="100000"/>
        </a:lnSpc>
        <a:spcBef>
          <a:spcPts val="0"/>
        </a:spcBef>
        <a:spcAft>
          <a:spcPts val="450"/>
        </a:spcAft>
        <a:buFont typeface="Arial" panose="020B0604020202020204" pitchFamily="34" charset="0"/>
        <a:buChar char="•"/>
        <a:defRPr sz="750" kern="1200">
          <a:solidFill>
            <a:schemeClr val="accent1"/>
          </a:solidFill>
          <a:latin typeface="+mn-lt"/>
          <a:ea typeface="+mn-ea"/>
          <a:cs typeface="+mn-cs"/>
        </a:defRPr>
      </a:lvl6pPr>
      <a:lvl7pPr marL="0" indent="0" algn="l" defTabSz="685800" rtl="0" eaLnBrk="1" latinLnBrk="0" hangingPunct="1">
        <a:lnSpc>
          <a:spcPct val="100000"/>
        </a:lnSpc>
        <a:spcBef>
          <a:spcPts val="450"/>
        </a:spcBef>
        <a:spcAft>
          <a:spcPts val="450"/>
        </a:spcAft>
        <a:buFont typeface="Arial" panose="020B0604020202020204" pitchFamily="34" charset="0"/>
        <a:buChar char="​"/>
        <a:defRPr sz="750" b="0" kern="1200" baseline="0">
          <a:solidFill>
            <a:schemeClr val="accent1"/>
          </a:solidFill>
          <a:latin typeface="Franklin Gothic Medium" panose="020B0603020102020204" pitchFamily="34" charset="0"/>
          <a:ea typeface="+mn-ea"/>
          <a:cs typeface="+mn-cs"/>
        </a:defRPr>
      </a:lvl7pPr>
      <a:lvl8pPr marL="0" indent="0" algn="l" defTabSz="685800" rtl="0" eaLnBrk="1" latinLnBrk="0" hangingPunct="1">
        <a:lnSpc>
          <a:spcPct val="100000"/>
        </a:lnSpc>
        <a:spcBef>
          <a:spcPts val="0"/>
        </a:spcBef>
        <a:spcAft>
          <a:spcPts val="450"/>
        </a:spcAft>
        <a:buFont typeface="Arial" panose="020B0604020202020204" pitchFamily="34" charset="0"/>
        <a:buChar char="​"/>
        <a:defRPr sz="750" kern="1200">
          <a:solidFill>
            <a:schemeClr val="accent1"/>
          </a:solidFill>
          <a:latin typeface="+mn-lt"/>
          <a:ea typeface="+mn-ea"/>
          <a:cs typeface="+mn-cs"/>
        </a:defRPr>
      </a:lvl8pPr>
      <a:lvl9pPr marL="0" indent="0" algn="l" defTabSz="685800" rtl="0" eaLnBrk="1" latinLnBrk="0" hangingPunct="1">
        <a:lnSpc>
          <a:spcPct val="83000"/>
        </a:lnSpc>
        <a:spcBef>
          <a:spcPts val="900"/>
        </a:spcBef>
        <a:spcAft>
          <a:spcPts val="0"/>
        </a:spcAft>
        <a:buFont typeface="Arial" panose="020B0604020202020204" pitchFamily="34" charset="0"/>
        <a:buChar char="​"/>
        <a:defRPr sz="4500" kern="1200" baseline="0">
          <a:solidFill>
            <a:schemeClr val="accent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p15:clr>
            <a:srgbClr val="A4A4A4"/>
          </p15:clr>
        </p15:guide>
        <p15:guide id="2" pos="819">
          <p15:clr>
            <a:srgbClr val="A4A4A4"/>
          </p15:clr>
        </p15:guide>
        <p15:guide id="3" orient="horz" pos="226">
          <p15:clr>
            <a:srgbClr val="A4A4A4"/>
          </p15:clr>
        </p15:guide>
        <p15:guide id="4" orient="horz" pos="4093">
          <p15:clr>
            <a:srgbClr val="A4A4A4"/>
          </p15:clr>
        </p15:guide>
        <p15:guide id="5" pos="932">
          <p15:clr>
            <a:srgbClr val="A4A4A4"/>
          </p15:clr>
        </p15:guide>
        <p15:guide id="6" pos="1412">
          <p15:clr>
            <a:srgbClr val="A4A4A4"/>
          </p15:clr>
        </p15:guide>
        <p15:guide id="7" pos="1525">
          <p15:clr>
            <a:srgbClr val="A4A4A4"/>
          </p15:clr>
        </p15:guide>
        <p15:guide id="8" pos="2005">
          <p15:clr>
            <a:srgbClr val="A4A4A4"/>
          </p15:clr>
        </p15:guide>
        <p15:guide id="9" pos="2118">
          <p15:clr>
            <a:srgbClr val="A4A4A4"/>
          </p15:clr>
        </p15:guide>
        <p15:guide id="10" pos="2597">
          <p15:clr>
            <a:srgbClr val="A4A4A4"/>
          </p15:clr>
        </p15:guide>
        <p15:guide id="11" pos="2711">
          <p15:clr>
            <a:srgbClr val="A4A4A4"/>
          </p15:clr>
        </p15:guide>
        <p15:guide id="12" pos="3190">
          <p15:clr>
            <a:srgbClr val="A4A4A4"/>
          </p15:clr>
        </p15:guide>
        <p15:guide id="13" pos="3303">
          <p15:clr>
            <a:srgbClr val="A4A4A4"/>
          </p15:clr>
        </p15:guide>
        <p15:guide id="14" pos="3783">
          <p15:clr>
            <a:srgbClr val="A4A4A4"/>
          </p15:clr>
        </p15:guide>
        <p15:guide id="15" pos="3896">
          <p15:clr>
            <a:srgbClr val="A4A4A4"/>
          </p15:clr>
        </p15:guide>
        <p15:guide id="16" pos="4376">
          <p15:clr>
            <a:srgbClr val="A4A4A4"/>
          </p15:clr>
        </p15:guide>
        <p15:guide id="17" pos="4489">
          <p15:clr>
            <a:srgbClr val="A4A4A4"/>
          </p15:clr>
        </p15:guide>
        <p15:guide id="18" pos="4968">
          <p15:clr>
            <a:srgbClr val="A4A4A4"/>
          </p15:clr>
        </p15:guide>
        <p15:guide id="19" pos="5082">
          <p15:clr>
            <a:srgbClr val="A4A4A4"/>
          </p15:clr>
        </p15:guide>
        <p15:guide id="20" pos="5561">
          <p15:clr>
            <a:srgbClr val="A4A4A4"/>
          </p15:clr>
        </p15:guide>
        <p15:guide id="21" pos="5674">
          <p15:clr>
            <a:srgbClr val="A4A4A4"/>
          </p15:clr>
        </p15:guide>
        <p15:guide id="22" pos="6154">
          <p15:clr>
            <a:srgbClr val="A4A4A4"/>
          </p15:clr>
        </p15:guide>
        <p15:guide id="23" pos="6267">
          <p15:clr>
            <a:srgbClr val="A4A4A4"/>
          </p15:clr>
        </p15:guide>
        <p15:guide id="24" pos="6747">
          <p15:clr>
            <a:srgbClr val="A4A4A4"/>
          </p15:clr>
        </p15:guide>
        <p15:guide id="25" pos="6860">
          <p15:clr>
            <a:srgbClr val="A4A4A4"/>
          </p15:clr>
        </p15:guide>
        <p15:guide id="26" pos="7339">
          <p15:clr>
            <a:srgbClr val="A4A4A4"/>
          </p15:clr>
        </p15:guide>
        <p15:guide id="27" orient="horz" pos="3866">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5.xml"/></Relationships>
</file>

<file path=ppt/slides/_rels/slide1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0.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1.xml"/><Relationship Id="rId1" Type="http://schemas.openxmlformats.org/officeDocument/2006/relationships/slideLayout" Target="../slideLayouts/slideLayout12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5.xml"/></Relationships>
</file>

<file path=ppt/slides/_rels/slide1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3.xml"/><Relationship Id="rId1" Type="http://schemas.openxmlformats.org/officeDocument/2006/relationships/slideLayout" Target="../slideLayouts/slideLayout149.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4.xml"/><Relationship Id="rId1" Type="http://schemas.openxmlformats.org/officeDocument/2006/relationships/slideLayout" Target="../slideLayouts/slideLayout149.xml"/></Relationships>
</file>

<file path=ppt/slides/_rels/slide1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5.xml"/><Relationship Id="rId1" Type="http://schemas.openxmlformats.org/officeDocument/2006/relationships/slideLayout" Target="../slideLayouts/slideLayout149.xml"/><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84.png"/></Relationships>
</file>

<file path=ppt/slides/_rels/slide1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6.xml"/><Relationship Id="rId1" Type="http://schemas.openxmlformats.org/officeDocument/2006/relationships/slideLayout" Target="../slideLayouts/slideLayout149.xml"/></Relationships>
</file>

<file path=ppt/slides/_rels/slide1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xml"/><Relationship Id="rId1" Type="http://schemas.openxmlformats.org/officeDocument/2006/relationships/slideLayout" Target="../slideLayouts/slideLayout149.xml"/></Relationships>
</file>

<file path=ppt/slides/_rels/slide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8.xml"/><Relationship Id="rId1" Type="http://schemas.openxmlformats.org/officeDocument/2006/relationships/slideLayout" Target="../slideLayouts/slideLayout149.xml"/><Relationship Id="rId4" Type="http://schemas.openxmlformats.org/officeDocument/2006/relationships/image" Target="../media/image81.png"/></Relationships>
</file>

<file path=ppt/slides/_rels/slide2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9.xml"/><Relationship Id="rId1" Type="http://schemas.openxmlformats.org/officeDocument/2006/relationships/slideLayout" Target="../slideLayouts/slideLayout149.xml"/></Relationships>
</file>

<file path=ppt/slides/_rels/slide2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0.xml"/><Relationship Id="rId1" Type="http://schemas.openxmlformats.org/officeDocument/2006/relationships/slideLayout" Target="../slideLayouts/slideLayout149.xml"/></Relationships>
</file>

<file path=ppt/slides/_rels/slide2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1.xml"/><Relationship Id="rId1" Type="http://schemas.openxmlformats.org/officeDocument/2006/relationships/slideLayout" Target="../slideLayouts/slideLayout149.xml"/><Relationship Id="rId6" Type="http://schemas.openxmlformats.org/officeDocument/2006/relationships/image" Target="../media/image95.svg"/><Relationship Id="rId5" Type="http://schemas.openxmlformats.org/officeDocument/2006/relationships/image" Target="../media/image94.png"/><Relationship Id="rId4" Type="http://schemas.openxmlformats.org/officeDocument/2006/relationships/image" Target="../media/image93.png"/></Relationships>
</file>

<file path=ppt/slides/_rels/slide2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2.xml"/><Relationship Id="rId1" Type="http://schemas.openxmlformats.org/officeDocument/2006/relationships/slideLayout" Target="../slideLayouts/slideLayout149.xml"/></Relationships>
</file>

<file path=ppt/slides/_rels/slide2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3.xml"/><Relationship Id="rId1" Type="http://schemas.openxmlformats.org/officeDocument/2006/relationships/slideLayout" Target="../slideLayouts/slideLayout149.xml"/></Relationships>
</file>

<file path=ppt/slides/_rels/slide2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4.xml"/><Relationship Id="rId1" Type="http://schemas.openxmlformats.org/officeDocument/2006/relationships/slideLayout" Target="../slideLayouts/slideLayout149.xml"/></Relationships>
</file>

<file path=ppt/slides/_rels/slide2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5.xml"/><Relationship Id="rId1" Type="http://schemas.openxmlformats.org/officeDocument/2006/relationships/slideLayout" Target="../slideLayouts/slideLayout14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5.xml"/></Relationships>
</file>

<file path=ppt/slides/_rels/slide3.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svg"/><Relationship Id="rId2" Type="http://schemas.openxmlformats.org/officeDocument/2006/relationships/notesSlide" Target="../notesSlides/notesSlide1.xml"/><Relationship Id="rId1" Type="http://schemas.openxmlformats.org/officeDocument/2006/relationships/slideLayout" Target="../slideLayouts/slideLayout25.xml"/><Relationship Id="rId6" Type="http://schemas.openxmlformats.org/officeDocument/2006/relationships/image" Target="../media/image57.png"/><Relationship Id="rId11" Type="http://schemas.openxmlformats.org/officeDocument/2006/relationships/image" Target="../media/image62.svg"/><Relationship Id="rId5" Type="http://schemas.openxmlformats.org/officeDocument/2006/relationships/image" Target="../media/image56.jpg"/><Relationship Id="rId10" Type="http://schemas.openxmlformats.org/officeDocument/2006/relationships/image" Target="../media/image61.png"/><Relationship Id="rId4" Type="http://schemas.openxmlformats.org/officeDocument/2006/relationships/image" Target="../media/image55.svg"/><Relationship Id="rId9" Type="http://schemas.openxmlformats.org/officeDocument/2006/relationships/image" Target="../media/image60.sv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8.xml"/></Relationships>
</file>

<file path=ppt/slides/_rels/slide3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9.xml"/><Relationship Id="rId1" Type="http://schemas.openxmlformats.org/officeDocument/2006/relationships/slideLayout" Target="../slideLayouts/slideLayout12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9.xml"/></Relationships>
</file>

<file path=ppt/slides/_rels/slide33.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31.xml"/><Relationship Id="rId1" Type="http://schemas.openxmlformats.org/officeDocument/2006/relationships/slideLayout" Target="../slideLayouts/slideLayout128.xml"/></Relationships>
</file>

<file path=ppt/slides/_rels/slide3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2.xml"/><Relationship Id="rId1" Type="http://schemas.openxmlformats.org/officeDocument/2006/relationships/slideLayout" Target="../slideLayouts/slideLayout128.xml"/></Relationships>
</file>

<file path=ppt/slides/_rels/slide3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3.xml"/><Relationship Id="rId1" Type="http://schemas.openxmlformats.org/officeDocument/2006/relationships/slideLayout" Target="../slideLayouts/slideLayout128.xml"/></Relationships>
</file>

<file path=ppt/slides/_rels/slide3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4.xml"/><Relationship Id="rId1" Type="http://schemas.openxmlformats.org/officeDocument/2006/relationships/slideLayout" Target="../slideLayouts/slideLayout110.xml"/><Relationship Id="rId4" Type="http://schemas.openxmlformats.org/officeDocument/2006/relationships/image" Target="../media/image104.png"/></Relationships>
</file>

<file path=ppt/slides/_rels/slide37.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35.xml"/><Relationship Id="rId1" Type="http://schemas.openxmlformats.org/officeDocument/2006/relationships/slideLayout" Target="../slideLayouts/slideLayout197.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38.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10.png"/><Relationship Id="rId7" Type="http://schemas.openxmlformats.org/officeDocument/2006/relationships/image" Target="../media/image113.png"/><Relationship Id="rId2" Type="http://schemas.openxmlformats.org/officeDocument/2006/relationships/notesSlide" Target="../notesSlides/notesSlide36.xml"/><Relationship Id="rId1" Type="http://schemas.openxmlformats.org/officeDocument/2006/relationships/slideLayout" Target="../slideLayouts/slideLayout197.xml"/><Relationship Id="rId6" Type="http://schemas.openxmlformats.org/officeDocument/2006/relationships/image" Target="../media/image109.png"/><Relationship Id="rId5" Type="http://schemas.openxmlformats.org/officeDocument/2006/relationships/image" Target="../media/image112.png"/><Relationship Id="rId4" Type="http://schemas.openxmlformats.org/officeDocument/2006/relationships/image" Target="../media/image111.png"/><Relationship Id="rId9" Type="http://schemas.openxmlformats.org/officeDocument/2006/relationships/image" Target="../media/image115.png"/></Relationships>
</file>

<file path=ppt/slides/_rels/slide3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7.xml"/><Relationship Id="rId1" Type="http://schemas.openxmlformats.org/officeDocument/2006/relationships/slideLayout" Target="../slideLayouts/slideLayout197.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4.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66.png"/><Relationship Id="rId5" Type="http://schemas.openxmlformats.org/officeDocument/2006/relationships/image" Target="../media/image65.png"/><Relationship Id="rId10" Type="http://schemas.openxmlformats.org/officeDocument/2006/relationships/image" Target="../media/image70.jpeg"/><Relationship Id="rId4" Type="http://schemas.openxmlformats.org/officeDocument/2006/relationships/image" Target="../media/image64.png"/><Relationship Id="rId9" Type="http://schemas.openxmlformats.org/officeDocument/2006/relationships/image" Target="../media/image69.png"/></Relationships>
</file>

<file path=ppt/slides/_rels/slide40.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122.png"/><Relationship Id="rId2" Type="http://schemas.openxmlformats.org/officeDocument/2006/relationships/notesSlide" Target="../notesSlides/notesSlide38.xml"/><Relationship Id="rId1" Type="http://schemas.openxmlformats.org/officeDocument/2006/relationships/slideLayout" Target="../slideLayouts/slideLayout197.xml"/><Relationship Id="rId6" Type="http://schemas.openxmlformats.org/officeDocument/2006/relationships/image" Target="../media/image121.svg"/><Relationship Id="rId5" Type="http://schemas.openxmlformats.org/officeDocument/2006/relationships/image" Target="../media/image120.png"/><Relationship Id="rId4" Type="http://schemas.openxmlformats.org/officeDocument/2006/relationships/image" Target="../media/image119.png"/></Relationships>
</file>

<file path=ppt/slides/_rels/slide4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39.xml"/><Relationship Id="rId1" Type="http://schemas.openxmlformats.org/officeDocument/2006/relationships/slideLayout" Target="../slideLayouts/slideLayout152.xml"/><Relationship Id="rId6" Type="http://schemas.openxmlformats.org/officeDocument/2006/relationships/image" Target="../media/image109.png"/><Relationship Id="rId5" Type="http://schemas.openxmlformats.org/officeDocument/2006/relationships/image" Target="../media/image125.png"/><Relationship Id="rId4" Type="http://schemas.openxmlformats.org/officeDocument/2006/relationships/image" Target="../media/image124.png"/></Relationships>
</file>

<file path=ppt/slides/_rels/slide4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0.xml"/><Relationship Id="rId1" Type="http://schemas.openxmlformats.org/officeDocument/2006/relationships/slideLayout" Target="../slideLayouts/slideLayout152.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43.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131.png"/><Relationship Id="rId2" Type="http://schemas.openxmlformats.org/officeDocument/2006/relationships/notesSlide" Target="../notesSlides/notesSlide41.xml"/><Relationship Id="rId1" Type="http://schemas.openxmlformats.org/officeDocument/2006/relationships/slideLayout" Target="../slideLayouts/slideLayout152.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6.png"/></Relationships>
</file>

<file path=ppt/slides/_rels/slide4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42.xml"/><Relationship Id="rId1" Type="http://schemas.openxmlformats.org/officeDocument/2006/relationships/slideLayout" Target="../slideLayouts/slideLayout152.xml"/><Relationship Id="rId6" Type="http://schemas.openxmlformats.org/officeDocument/2006/relationships/image" Target="../media/image109.png"/><Relationship Id="rId5" Type="http://schemas.openxmlformats.org/officeDocument/2006/relationships/image" Target="../media/image134.png"/><Relationship Id="rId4" Type="http://schemas.openxmlformats.org/officeDocument/2006/relationships/image" Target="../media/image133.png"/></Relationships>
</file>

<file path=ppt/slides/_rels/slide45.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136.png"/><Relationship Id="rId2" Type="http://schemas.openxmlformats.org/officeDocument/2006/relationships/notesSlide" Target="../notesSlides/notesSlide43.xml"/><Relationship Id="rId1" Type="http://schemas.openxmlformats.org/officeDocument/2006/relationships/slideLayout" Target="../slideLayouts/slideLayout152.xml"/><Relationship Id="rId6" Type="http://schemas.openxmlformats.org/officeDocument/2006/relationships/image" Target="../media/image135.png"/><Relationship Id="rId5" Type="http://schemas.openxmlformats.org/officeDocument/2006/relationships/image" Target="../media/image119.png"/><Relationship Id="rId4" Type="http://schemas.openxmlformats.org/officeDocument/2006/relationships/image" Target="../media/image126.png"/></Relationships>
</file>

<file path=ppt/slides/_rels/slide46.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09.png"/><Relationship Id="rId7" Type="http://schemas.openxmlformats.org/officeDocument/2006/relationships/image" Target="../media/image138.png"/><Relationship Id="rId2" Type="http://schemas.openxmlformats.org/officeDocument/2006/relationships/notesSlide" Target="../notesSlides/notesSlide44.xml"/><Relationship Id="rId1" Type="http://schemas.openxmlformats.org/officeDocument/2006/relationships/slideLayout" Target="../slideLayouts/slideLayout152.xml"/><Relationship Id="rId6" Type="http://schemas.openxmlformats.org/officeDocument/2006/relationships/image" Target="../media/image137.png"/><Relationship Id="rId5" Type="http://schemas.openxmlformats.org/officeDocument/2006/relationships/image" Target="../media/image119.png"/><Relationship Id="rId4" Type="http://schemas.openxmlformats.org/officeDocument/2006/relationships/image" Target="../media/image126.png"/></Relationships>
</file>

<file path=ppt/slides/_rels/slide4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5.xml"/><Relationship Id="rId1" Type="http://schemas.openxmlformats.org/officeDocument/2006/relationships/slideLayout" Target="../slideLayouts/slideLayout111.xml"/><Relationship Id="rId4" Type="http://schemas.openxmlformats.org/officeDocument/2006/relationships/image" Target="../media/image75.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2" Type="http://schemas.openxmlformats.org/officeDocument/2006/relationships/image" Target="../media/image140.jpe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openxmlformats.org/officeDocument/2006/relationships/hyperlink" Target="https://dok.kombit.dk/teknik-miljoe-og-borgerservice/borgerblikket" TargetMode="Externa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28.xml"/></Relationships>
</file>

<file path=ppt/slides/_rels/slide54.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144.svg"/><Relationship Id="rId2" Type="http://schemas.openxmlformats.org/officeDocument/2006/relationships/image" Target="../media/image143.png"/><Relationship Id="rId1" Type="http://schemas.openxmlformats.org/officeDocument/2006/relationships/slideLayout" Target="../slideLayouts/slideLayout3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hyperlink" Target="https://dok.kombit.dk/teknik-miljoe-og-borgerservice/borgerblikket"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5.xml"/><Relationship Id="rId4" Type="http://schemas.openxmlformats.org/officeDocument/2006/relationships/image" Target="../media/image152.png"/></Relationships>
</file>

<file path=ppt/slides/_rels/slide66.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56.xml"/><Relationship Id="rId1" Type="http://schemas.openxmlformats.org/officeDocument/2006/relationships/slideLayout" Target="../slideLayouts/slideLayout8.xml"/><Relationship Id="rId5" Type="http://schemas.openxmlformats.org/officeDocument/2006/relationships/image" Target="../media/image158.svg"/><Relationship Id="rId4" Type="http://schemas.openxmlformats.org/officeDocument/2006/relationships/image" Target="../media/image157.png"/></Relationships>
</file>

<file path=ppt/slides/_rels/slide72.xml.rels><?xml version="1.0" encoding="UTF-8" standalone="yes"?>
<Relationships xmlns="http://schemas.openxmlformats.org/package/2006/relationships"><Relationship Id="rId8" Type="http://schemas.openxmlformats.org/officeDocument/2006/relationships/image" Target="../media/image980.png"/><Relationship Id="rId13" Type="http://schemas.openxmlformats.org/officeDocument/2006/relationships/customXml" Target="../ink/ink5.xml"/><Relationship Id="rId3" Type="http://schemas.openxmlformats.org/officeDocument/2006/relationships/image" Target="../media/image160.png"/><Relationship Id="rId7" Type="http://schemas.openxmlformats.org/officeDocument/2006/relationships/customXml" Target="../ink/ink2.xml"/><Relationship Id="rId12" Type="http://schemas.openxmlformats.org/officeDocument/2006/relationships/image" Target="../media/image100.png"/><Relationship Id="rId2" Type="http://schemas.openxmlformats.org/officeDocument/2006/relationships/image" Target="../media/image159.png"/><Relationship Id="rId16" Type="http://schemas.openxmlformats.org/officeDocument/2006/relationships/image" Target="../media/image1020.png"/><Relationship Id="rId1" Type="http://schemas.openxmlformats.org/officeDocument/2006/relationships/slideLayout" Target="../slideLayouts/slideLayout5.xml"/><Relationship Id="rId6" Type="http://schemas.openxmlformats.org/officeDocument/2006/relationships/image" Target="../media/image970.png"/><Relationship Id="rId11" Type="http://schemas.openxmlformats.org/officeDocument/2006/relationships/customXml" Target="../ink/ink4.xml"/><Relationship Id="rId5" Type="http://schemas.openxmlformats.org/officeDocument/2006/relationships/customXml" Target="../ink/ink1.xml"/><Relationship Id="rId15" Type="http://schemas.openxmlformats.org/officeDocument/2006/relationships/customXml" Target="../ink/ink6.xml"/><Relationship Id="rId10" Type="http://schemas.openxmlformats.org/officeDocument/2006/relationships/image" Target="../media/image990.png"/><Relationship Id="rId4" Type="http://schemas.openxmlformats.org/officeDocument/2006/relationships/image" Target="../media/image161.png"/><Relationship Id="rId9" Type="http://schemas.openxmlformats.org/officeDocument/2006/relationships/customXml" Target="../ink/ink3.xml"/><Relationship Id="rId14" Type="http://schemas.openxmlformats.org/officeDocument/2006/relationships/image" Target="../media/image1010.png"/></Relationships>
</file>

<file path=ppt/slides/_rels/slide73.xml.rels><?xml version="1.0" encoding="UTF-8" standalone="yes"?>
<Relationships xmlns="http://schemas.openxmlformats.org/package/2006/relationships"><Relationship Id="rId2" Type="http://schemas.openxmlformats.org/officeDocument/2006/relationships/hyperlink" Target="https://eur02.safelinks.protection.outlook.com/?url=https%3A%2F%2Fapp.powerbi.com%2Fgroups%2Fme%2Fapps%2F78299f50-9141-4ac7-95ac-7100040cbc2b%2Freports%2F66ce32b5-4ba9-4784-b0bb-13e5b89d4479%2Fff8df06e1ba3789e082a%3Fctid%3Dcc038af5-0e68-43e5-bb17-957ad6f45f8e%26experience%3Dpower-bi&amp;data=05%7C02%7CJDH%40kombit.dk%7C33af12366e3f4e0e976508de2c29f15f%7Ccc038af50e6843e5bb17957ad6f45f8e%7C0%7C0%7C638996755806427240%7CUnknown%7CTWFpbGZsb3d8eyJFbXB0eU1hcGkiOnRydWUsIlYiOiIwLjAuMDAwMCIsIlAiOiJXaW4zMiIsIkFOIjoiTWFpbCIsIldUIjoyfQ%3D%3D%7C0%7C%7C%7C&amp;sdata=io22WZGLAdPxMsogD1mDrUlmOhl%2BbpVGsbFPoWUIudM%3D&amp;reserved=0" TargetMode="External"/><Relationship Id="rId1" Type="http://schemas.openxmlformats.org/officeDocument/2006/relationships/slideLayout" Target="../slideLayouts/slideLayout33.xml"/></Relationships>
</file>

<file path=ppt/slides/_rels/slide74.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33.xml"/></Relationships>
</file>

<file path=ppt/slides/_rels/slide75.xml.rels><?xml version="1.0" encoding="UTF-8" standalone="yes"?>
<Relationships xmlns="http://schemas.openxmlformats.org/package/2006/relationships"><Relationship Id="rId2" Type="http://schemas.openxmlformats.org/officeDocument/2006/relationships/hyperlink" Target="https://eur02.safelinks.protection.outlook.com/?url=https%3A%2F%2Fwww.kle-online.dk%2Fsoegning&amp;data=05%7C02%7CJDH%40kombit.dk%7C33af12366e3f4e0e976508de2c29f15f%7Ccc038af50e6843e5bb17957ad6f45f8e%7C0%7C0%7C638996755806462585%7CUnknown%7CTWFpbGZsb3d8eyJFbXB0eU1hcGkiOnRydWUsIlYiOiIwLjAuMDAwMCIsIlAiOiJXaW4zMiIsIkFOIjoiTWFpbCIsIldUIjoyfQ%3D%3D%7C0%7C%7C%7C&amp;sdata=Prv%2FVyEJDyrbYHUalLWGrYW6T4%2BPRPj5vKP6rM0RFNw%3D&amp;reserved=0" TargetMode="External"/><Relationship Id="rId1" Type="http://schemas.openxmlformats.org/officeDocument/2006/relationships/slideLayout" Target="../slideLayouts/slideLayout3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64.emf"/><Relationship Id="rId2" Type="http://schemas.openxmlformats.org/officeDocument/2006/relationships/image" Target="../media/image163.emf"/><Relationship Id="rId1" Type="http://schemas.openxmlformats.org/officeDocument/2006/relationships/slideLayout" Target="../slideLayouts/slideLayout94.xml"/><Relationship Id="rId4" Type="http://schemas.openxmlformats.org/officeDocument/2006/relationships/image" Target="../media/image165.emf"/></Relationships>
</file>

<file path=ppt/slides/_rels/slide79.xml.rels><?xml version="1.0" encoding="UTF-8" standalone="yes"?>
<Relationships xmlns="http://schemas.openxmlformats.org/package/2006/relationships"><Relationship Id="rId3" Type="http://schemas.openxmlformats.org/officeDocument/2006/relationships/image" Target="../media/image164.emf"/><Relationship Id="rId2" Type="http://schemas.openxmlformats.org/officeDocument/2006/relationships/image" Target="../media/image163.emf"/><Relationship Id="rId1" Type="http://schemas.openxmlformats.org/officeDocument/2006/relationships/slideLayout" Target="../slideLayouts/slideLayout94.xml"/><Relationship Id="rId4" Type="http://schemas.openxmlformats.org/officeDocument/2006/relationships/image" Target="../media/image165.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80.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58.xml"/><Relationship Id="rId1" Type="http://schemas.openxmlformats.org/officeDocument/2006/relationships/slideLayout" Target="../slideLayouts/slideLayout32.xml"/></Relationships>
</file>

<file path=ppt/slides/_rels/slide81.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notesSlide" Target="../notesSlides/notesSlide59.xml"/><Relationship Id="rId1" Type="http://schemas.openxmlformats.org/officeDocument/2006/relationships/slideLayout" Target="../slideLayouts/slideLayout11.xml"/><Relationship Id="rId5" Type="http://schemas.openxmlformats.org/officeDocument/2006/relationships/hyperlink" Target="mailto:borgerblikket@kombit.dk" TargetMode="External"/><Relationship Id="rId4" Type="http://schemas.openxmlformats.org/officeDocument/2006/relationships/hyperlink" Target="https://pixabay.com/de/strand-strandpfad-meer-montpellier-1230721/"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7.xml"/><Relationship Id="rId1" Type="http://schemas.openxmlformats.org/officeDocument/2006/relationships/slideLayout" Target="../slideLayouts/slideLayout111.xml"/><Relationship Id="rId4" Type="http://schemas.openxmlformats.org/officeDocument/2006/relationships/image" Target="../media/image7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4B7760-548C-04AA-33D4-AAAE2D6FA2EE}"/>
              </a:ext>
            </a:extLst>
          </p:cNvPr>
          <p:cNvSpPr>
            <a:spLocks noGrp="1"/>
          </p:cNvSpPr>
          <p:nvPr>
            <p:ph type="title"/>
          </p:nvPr>
        </p:nvSpPr>
        <p:spPr/>
        <p:txBody>
          <a:bodyPr/>
          <a:lstStyle/>
          <a:p>
            <a:r>
              <a:rPr lang="da-DK" dirty="0"/>
              <a:t>Borgerblikkets Dialogmøde</a:t>
            </a:r>
          </a:p>
        </p:txBody>
      </p:sp>
      <p:sp>
        <p:nvSpPr>
          <p:cNvPr id="3" name="Pladsholder til tekst 2">
            <a:extLst>
              <a:ext uri="{FF2B5EF4-FFF2-40B4-BE49-F238E27FC236}">
                <a16:creationId xmlns:a16="http://schemas.microsoft.com/office/drawing/2014/main" id="{F5241190-0880-73E9-AB6C-FBC97BB06236}"/>
              </a:ext>
            </a:extLst>
          </p:cNvPr>
          <p:cNvSpPr>
            <a:spLocks noGrp="1"/>
          </p:cNvSpPr>
          <p:nvPr>
            <p:ph type="body" sz="quarter" idx="15"/>
          </p:nvPr>
        </p:nvSpPr>
        <p:spPr/>
        <p:txBody>
          <a:bodyPr/>
          <a:lstStyle/>
          <a:p>
            <a:r>
              <a:rPr lang="da-DK" dirty="0"/>
              <a:t>Vi starter om lidt</a:t>
            </a:r>
          </a:p>
          <a:p>
            <a:r>
              <a:rPr lang="da-DK" dirty="0"/>
              <a:t>Har du husket at slukke for din mikrofon og kamera? </a:t>
            </a:r>
            <a:r>
              <a:rPr lang="da-DK" dirty="0">
                <a:sym typeface="Wingdings" panose="05000000000000000000" pitchFamily="2" charset="2"/>
              </a:rPr>
              <a:t> </a:t>
            </a:r>
            <a:r>
              <a:rPr lang="da-DK" dirty="0"/>
              <a:t> </a:t>
            </a:r>
          </a:p>
        </p:txBody>
      </p:sp>
      <p:sp>
        <p:nvSpPr>
          <p:cNvPr id="4" name="Pladsholder til tekst 3">
            <a:extLst>
              <a:ext uri="{FF2B5EF4-FFF2-40B4-BE49-F238E27FC236}">
                <a16:creationId xmlns:a16="http://schemas.microsoft.com/office/drawing/2014/main" id="{8B96B77F-9271-836E-4C9C-12AD5A378C4C}"/>
              </a:ext>
            </a:extLst>
          </p:cNvPr>
          <p:cNvSpPr>
            <a:spLocks noGrp="1"/>
          </p:cNvSpPr>
          <p:nvPr>
            <p:ph type="body" sz="quarter" idx="18"/>
          </p:nvPr>
        </p:nvSpPr>
        <p:spPr/>
        <p:txBody>
          <a:bodyPr/>
          <a:lstStyle/>
          <a:p>
            <a:endParaRPr lang="da-DK"/>
          </a:p>
        </p:txBody>
      </p:sp>
    </p:spTree>
    <p:extLst>
      <p:ext uri="{BB962C8B-B14F-4D97-AF65-F5344CB8AC3E}">
        <p14:creationId xmlns:p14="http://schemas.microsoft.com/office/powerpoint/2010/main" val="4743462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2E995C4F-23E4-BFF1-30E3-80A3C084A411}"/>
              </a:ext>
            </a:extLst>
          </p:cNvPr>
          <p:cNvSpPr>
            <a:spLocks noGrp="1"/>
          </p:cNvSpPr>
          <p:nvPr>
            <p:ph type="title"/>
          </p:nvPr>
        </p:nvSpPr>
        <p:spPr/>
        <p:txBody>
          <a:bodyPr/>
          <a:lstStyle/>
          <a:p>
            <a:r>
              <a:rPr lang="da-DK" sz="3600" b="1"/>
              <a:t>Agenda </a:t>
            </a:r>
          </a:p>
        </p:txBody>
      </p:sp>
      <p:sp>
        <p:nvSpPr>
          <p:cNvPr id="12" name="Text Placeholder 11">
            <a:extLst>
              <a:ext uri="{FF2B5EF4-FFF2-40B4-BE49-F238E27FC236}">
                <a16:creationId xmlns:a16="http://schemas.microsoft.com/office/drawing/2014/main" id="{8311AF4D-DB3A-9F3B-81E3-566DF283E569}"/>
              </a:ext>
            </a:extLst>
          </p:cNvPr>
          <p:cNvSpPr>
            <a:spLocks noGrp="1"/>
          </p:cNvSpPr>
          <p:nvPr>
            <p:ph type="body" sz="quarter" idx="13"/>
          </p:nvPr>
        </p:nvSpPr>
        <p:spPr>
          <a:xfrm>
            <a:off x="405000" y="1668000"/>
            <a:ext cx="6315841" cy="1807500"/>
          </a:xfrm>
        </p:spPr>
        <p:txBody>
          <a:bodyPr vert="horz" lIns="0" tIns="0" rIns="0" bIns="0" rtlCol="0" anchor="t">
            <a:noAutofit/>
          </a:bodyPr>
          <a:lstStyle/>
          <a:p>
            <a:pPr>
              <a:lnSpc>
                <a:spcPct val="150000"/>
              </a:lnSpc>
            </a:pPr>
            <a:r>
              <a:rPr lang="da-DK" sz="2100" b="1"/>
              <a:t>#1  </a:t>
            </a:r>
            <a:r>
              <a:rPr lang="da-DK" sz="2100"/>
              <a:t>Introduktion til Mit Overblik</a:t>
            </a:r>
          </a:p>
          <a:p>
            <a:pPr>
              <a:lnSpc>
                <a:spcPct val="150000"/>
              </a:lnSpc>
            </a:pPr>
            <a:r>
              <a:rPr lang="da-DK" sz="2100" b="1"/>
              <a:t>#2  </a:t>
            </a:r>
            <a:r>
              <a:rPr lang="da-DK" sz="2100"/>
              <a:t>Præsentation af fuldmagtsfunktionen</a:t>
            </a:r>
          </a:p>
          <a:p>
            <a:pPr>
              <a:lnSpc>
                <a:spcPct val="150000"/>
              </a:lnSpc>
            </a:pPr>
            <a:r>
              <a:rPr lang="da-DK" sz="2100" b="1"/>
              <a:t>#3  </a:t>
            </a:r>
            <a:r>
              <a:rPr lang="da-DK" sz="2100"/>
              <a:t>Kommunikation og implementering</a:t>
            </a:r>
          </a:p>
        </p:txBody>
      </p:sp>
      <p:sp>
        <p:nvSpPr>
          <p:cNvPr id="5" name="Date Placeholder 4">
            <a:extLst>
              <a:ext uri="{FF2B5EF4-FFF2-40B4-BE49-F238E27FC236}">
                <a16:creationId xmlns:a16="http://schemas.microsoft.com/office/drawing/2014/main" id="{5BD2E94E-208E-92C2-2882-0E8741806818}"/>
              </a:ext>
            </a:extLst>
          </p:cNvPr>
          <p:cNvSpPr>
            <a:spLocks noGrp="1"/>
          </p:cNvSpPr>
          <p:nvPr>
            <p:ph type="dt" sz="half" idx="20"/>
          </p:nvPr>
        </p:nvSpPr>
        <p:spPr/>
        <p:txBody>
          <a:bodyPr/>
          <a:lstStyle/>
          <a:p>
            <a:pPr defTabSz="685800"/>
            <a:fld id="{61BEDC24-6319-4BBB-9782-63587D1632F0}" type="datetime2">
              <a:rPr lang="da-DK">
                <a:solidFill>
                  <a:srgbClr val="3F1A2B"/>
                </a:solidFill>
                <a:latin typeface="Franklin Gothic Book"/>
              </a:rPr>
              <a:pPr defTabSz="685800"/>
              <a:t>11. december 2025</a:t>
            </a:fld>
            <a:endParaRPr lang="da-DK">
              <a:solidFill>
                <a:srgbClr val="3F1A2B"/>
              </a:solidFill>
              <a:latin typeface="Franklin Gothic Book"/>
            </a:endParaRPr>
          </a:p>
        </p:txBody>
      </p:sp>
      <p:sp>
        <p:nvSpPr>
          <p:cNvPr id="6" name="Footer Placeholder 5">
            <a:extLst>
              <a:ext uri="{FF2B5EF4-FFF2-40B4-BE49-F238E27FC236}">
                <a16:creationId xmlns:a16="http://schemas.microsoft.com/office/drawing/2014/main" id="{DACDCBC5-B90F-3693-D2E7-8D7A8C7FA94F}"/>
              </a:ext>
            </a:extLst>
          </p:cNvPr>
          <p:cNvSpPr>
            <a:spLocks noGrp="1"/>
          </p:cNvSpPr>
          <p:nvPr>
            <p:ph type="ftr" sz="quarter" idx="21"/>
          </p:nvPr>
        </p:nvSpPr>
        <p:spPr/>
        <p:txBody>
          <a:bodyPr/>
          <a:lstStyle/>
          <a:p>
            <a:pPr defTabSz="685800"/>
            <a:r>
              <a:rPr lang="da-DK">
                <a:solidFill>
                  <a:srgbClr val="3F1A2B"/>
                </a:solidFill>
                <a:latin typeface="Franklin Gothic Book"/>
              </a:rPr>
              <a:t>Digitaliseringsstyrelsen</a:t>
            </a:r>
          </a:p>
        </p:txBody>
      </p:sp>
      <p:sp>
        <p:nvSpPr>
          <p:cNvPr id="7" name="Slide Number Placeholder 6">
            <a:extLst>
              <a:ext uri="{FF2B5EF4-FFF2-40B4-BE49-F238E27FC236}">
                <a16:creationId xmlns:a16="http://schemas.microsoft.com/office/drawing/2014/main" id="{32188136-31E9-43D2-1948-542512154464}"/>
              </a:ext>
            </a:extLst>
          </p:cNvPr>
          <p:cNvSpPr>
            <a:spLocks noGrp="1"/>
          </p:cNvSpPr>
          <p:nvPr>
            <p:ph type="sldNum" sz="quarter" idx="22"/>
          </p:nvPr>
        </p:nvSpPr>
        <p:spPr/>
        <p:txBody>
          <a:bodyPr/>
          <a:lstStyle/>
          <a:p>
            <a:pPr defTabSz="685800"/>
            <a:fld id="{24C8C45C-947F-4981-8B3F-4F32E973C901}" type="slidenum">
              <a:rPr lang="da-DK">
                <a:solidFill>
                  <a:srgbClr val="3F1A2B"/>
                </a:solidFill>
                <a:latin typeface="Franklin Gothic Book"/>
              </a:rPr>
              <a:pPr defTabSz="685800"/>
              <a:t>10</a:t>
            </a:fld>
            <a:endParaRPr lang="da-DK">
              <a:solidFill>
                <a:srgbClr val="3F1A2B"/>
              </a:solidFill>
              <a:latin typeface="Franklin Gothic Book"/>
            </a:endParaRPr>
          </a:p>
        </p:txBody>
      </p:sp>
    </p:spTree>
    <p:extLst>
      <p:ext uri="{BB962C8B-B14F-4D97-AF65-F5344CB8AC3E}">
        <p14:creationId xmlns:p14="http://schemas.microsoft.com/office/powerpoint/2010/main" val="39736062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2144F1-D041-3BAD-D03C-B83718C8BB90}"/>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22A1C1E1-54F3-019F-0296-3820C65BD920}"/>
              </a:ext>
            </a:extLst>
          </p:cNvPr>
          <p:cNvSpPr>
            <a:spLocks noGrp="1"/>
          </p:cNvSpPr>
          <p:nvPr>
            <p:ph type="title"/>
          </p:nvPr>
        </p:nvSpPr>
        <p:spPr>
          <a:xfrm>
            <a:off x="411858" y="2224908"/>
            <a:ext cx="4099135" cy="621000"/>
          </a:xfrm>
        </p:spPr>
        <p:txBody>
          <a:bodyPr/>
          <a:lstStyle/>
          <a:p>
            <a:r>
              <a:rPr lang="da-DK"/>
              <a:t>Introduktion til Mit Overblik</a:t>
            </a:r>
          </a:p>
        </p:txBody>
      </p:sp>
      <p:sp>
        <p:nvSpPr>
          <p:cNvPr id="2" name="Pladsholder til dato 1">
            <a:extLst>
              <a:ext uri="{FF2B5EF4-FFF2-40B4-BE49-F238E27FC236}">
                <a16:creationId xmlns:a16="http://schemas.microsoft.com/office/drawing/2014/main" id="{D94ED123-BC74-256E-F728-C5151312DED3}"/>
              </a:ext>
            </a:extLst>
          </p:cNvPr>
          <p:cNvSpPr>
            <a:spLocks noGrp="1"/>
          </p:cNvSpPr>
          <p:nvPr>
            <p:ph type="dt" sz="half" idx="19"/>
          </p:nvPr>
        </p:nvSpPr>
        <p:spPr/>
        <p:txBody>
          <a:bodyPr/>
          <a:lstStyle/>
          <a:p>
            <a:pPr defTabSz="685800"/>
            <a:fld id="{A2446D3D-F608-46B7-8E05-81FCF9BDF507}" type="datetime2">
              <a:rPr lang="da-DK">
                <a:solidFill>
                  <a:srgbClr val="FFFFFF"/>
                </a:solidFill>
                <a:latin typeface="Franklin Gothic Book"/>
              </a:rPr>
              <a:pPr defTabSz="685800"/>
              <a:t>11. december 2025</a:t>
            </a:fld>
            <a:endParaRPr lang="da-DK">
              <a:solidFill>
                <a:srgbClr val="FFFFFF"/>
              </a:solidFill>
              <a:latin typeface="Franklin Gothic Book"/>
            </a:endParaRPr>
          </a:p>
        </p:txBody>
      </p:sp>
      <p:sp>
        <p:nvSpPr>
          <p:cNvPr id="3" name="Pladsholder til sidefod 2">
            <a:extLst>
              <a:ext uri="{FF2B5EF4-FFF2-40B4-BE49-F238E27FC236}">
                <a16:creationId xmlns:a16="http://schemas.microsoft.com/office/drawing/2014/main" id="{D72F4558-07AE-1D03-11E1-09CD7C56FC72}"/>
              </a:ext>
            </a:extLst>
          </p:cNvPr>
          <p:cNvSpPr>
            <a:spLocks noGrp="1"/>
          </p:cNvSpPr>
          <p:nvPr>
            <p:ph type="ftr" sz="quarter" idx="20"/>
          </p:nvPr>
        </p:nvSpPr>
        <p:spPr/>
        <p:txBody>
          <a:bodyPr/>
          <a:lstStyle/>
          <a:p>
            <a:pPr defTabSz="685800"/>
            <a:r>
              <a:rPr lang="da-DK">
                <a:solidFill>
                  <a:srgbClr val="FFFFFF"/>
                </a:solidFill>
                <a:latin typeface="Franklin Gothic Book"/>
              </a:rPr>
              <a:t>Digitaliseringsstyrelsen</a:t>
            </a:r>
          </a:p>
        </p:txBody>
      </p:sp>
      <p:sp>
        <p:nvSpPr>
          <p:cNvPr id="4" name="Pladsholder til slidenummer 3">
            <a:extLst>
              <a:ext uri="{FF2B5EF4-FFF2-40B4-BE49-F238E27FC236}">
                <a16:creationId xmlns:a16="http://schemas.microsoft.com/office/drawing/2014/main" id="{661C287D-2492-6385-50E7-53BEBE08124F}"/>
              </a:ext>
            </a:extLst>
          </p:cNvPr>
          <p:cNvSpPr>
            <a:spLocks noGrp="1"/>
          </p:cNvSpPr>
          <p:nvPr>
            <p:ph type="sldNum" sz="quarter" idx="21"/>
          </p:nvPr>
        </p:nvSpPr>
        <p:spPr/>
        <p:txBody>
          <a:bodyPr/>
          <a:lstStyle/>
          <a:p>
            <a:pPr defTabSz="685800"/>
            <a:fld id="{24C8C45C-947F-4981-8B3F-4F32E973C901}" type="slidenum">
              <a:rPr lang="da-DK">
                <a:solidFill>
                  <a:srgbClr val="FFFFFF"/>
                </a:solidFill>
                <a:latin typeface="Franklin Gothic Book"/>
              </a:rPr>
              <a:pPr defTabSz="685800"/>
              <a:t>11</a:t>
            </a:fld>
            <a:endParaRPr lang="da-DK">
              <a:solidFill>
                <a:srgbClr val="FFFFFF"/>
              </a:solidFill>
              <a:latin typeface="Franklin Gothic Book"/>
            </a:endParaRPr>
          </a:p>
        </p:txBody>
      </p:sp>
    </p:spTree>
    <p:extLst>
      <p:ext uri="{BB962C8B-B14F-4D97-AF65-F5344CB8AC3E}">
        <p14:creationId xmlns:p14="http://schemas.microsoft.com/office/powerpoint/2010/main" val="17040928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4B8407B5-1F7D-2C0D-2CEB-DA5028CDA6AA}"/>
              </a:ext>
            </a:extLst>
          </p:cNvPr>
          <p:cNvSpPr>
            <a:spLocks noGrp="1"/>
          </p:cNvSpPr>
          <p:nvPr>
            <p:ph type="title"/>
          </p:nvPr>
        </p:nvSpPr>
        <p:spPr>
          <a:xfrm>
            <a:off x="404550" y="489587"/>
            <a:ext cx="8334900" cy="621000"/>
          </a:xfrm>
        </p:spPr>
        <p:txBody>
          <a:bodyPr/>
          <a:lstStyle/>
          <a:p>
            <a:r>
              <a:rPr lang="da-DK" sz="3000" b="1"/>
              <a:t>Hvad er Mit Overblik? </a:t>
            </a:r>
          </a:p>
        </p:txBody>
      </p:sp>
      <p:pic>
        <p:nvPicPr>
          <p:cNvPr id="2" name="Billede 1">
            <a:extLst>
              <a:ext uri="{FF2B5EF4-FFF2-40B4-BE49-F238E27FC236}">
                <a16:creationId xmlns:a16="http://schemas.microsoft.com/office/drawing/2014/main" id="{EAC096D8-E3F0-9031-82B9-FAFA62B9AFD6}"/>
              </a:ext>
            </a:extLst>
          </p:cNvPr>
          <p:cNvPicPr>
            <a:picLocks noChangeAspect="1"/>
          </p:cNvPicPr>
          <p:nvPr/>
        </p:nvPicPr>
        <p:blipFill>
          <a:blip r:embed="rId3"/>
          <a:stretch>
            <a:fillRect/>
          </a:stretch>
        </p:blipFill>
        <p:spPr>
          <a:xfrm>
            <a:off x="597741" y="1110587"/>
            <a:ext cx="7948519" cy="3478476"/>
          </a:xfrm>
          <a:prstGeom prst="rect">
            <a:avLst/>
          </a:prstGeom>
        </p:spPr>
      </p:pic>
    </p:spTree>
    <p:extLst>
      <p:ext uri="{BB962C8B-B14F-4D97-AF65-F5344CB8AC3E}">
        <p14:creationId xmlns:p14="http://schemas.microsoft.com/office/powerpoint/2010/main" val="1717017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dsholder til dato 5">
            <a:extLst>
              <a:ext uri="{FF2B5EF4-FFF2-40B4-BE49-F238E27FC236}">
                <a16:creationId xmlns:a16="http://schemas.microsoft.com/office/drawing/2014/main" id="{13085AC1-B64F-C1F8-B75E-DC8A860DFD56}"/>
              </a:ext>
            </a:extLst>
          </p:cNvPr>
          <p:cNvSpPr>
            <a:spLocks noGrp="1"/>
          </p:cNvSpPr>
          <p:nvPr>
            <p:ph type="dt" sz="half" idx="10"/>
          </p:nvPr>
        </p:nvSpPr>
        <p:spPr/>
        <p:txBody>
          <a:bodyPr/>
          <a:lstStyle/>
          <a:p>
            <a:pPr defTabSz="685800"/>
            <a:fld id="{49E4CC4B-14E8-420D-9FEA-FB5E3520C699}" type="datetime2">
              <a:rPr lang="da-DK">
                <a:solidFill>
                  <a:srgbClr val="3F1A2B"/>
                </a:solidFill>
                <a:latin typeface="Franklin Gothic Book"/>
              </a:rPr>
              <a:pPr defTabSz="685800"/>
              <a:t>11. december 2025</a:t>
            </a:fld>
            <a:endParaRPr lang="da-DK">
              <a:solidFill>
                <a:srgbClr val="3F1A2B"/>
              </a:solidFill>
              <a:latin typeface="Franklin Gothic Book"/>
            </a:endParaRPr>
          </a:p>
        </p:txBody>
      </p:sp>
      <p:sp>
        <p:nvSpPr>
          <p:cNvPr id="7" name="Pladsholder til sidefod 6">
            <a:extLst>
              <a:ext uri="{FF2B5EF4-FFF2-40B4-BE49-F238E27FC236}">
                <a16:creationId xmlns:a16="http://schemas.microsoft.com/office/drawing/2014/main" id="{E8F4262C-6212-7B92-CBE9-2E0CA0D3B586}"/>
              </a:ext>
            </a:extLst>
          </p:cNvPr>
          <p:cNvSpPr>
            <a:spLocks noGrp="1"/>
          </p:cNvSpPr>
          <p:nvPr>
            <p:ph type="ftr" sz="quarter" idx="11"/>
          </p:nvPr>
        </p:nvSpPr>
        <p:spPr/>
        <p:txBody>
          <a:bodyPr/>
          <a:lstStyle/>
          <a:p>
            <a:pPr defTabSz="685800"/>
            <a:r>
              <a:rPr lang="da-DK">
                <a:solidFill>
                  <a:srgbClr val="3F1A2B"/>
                </a:solidFill>
                <a:latin typeface="Franklin Gothic Book"/>
              </a:rPr>
              <a:t>Digitaliseringsstyrelsen</a:t>
            </a:r>
          </a:p>
        </p:txBody>
      </p:sp>
      <p:sp>
        <p:nvSpPr>
          <p:cNvPr id="8" name="Pladsholder til slidenummer 7">
            <a:extLst>
              <a:ext uri="{FF2B5EF4-FFF2-40B4-BE49-F238E27FC236}">
                <a16:creationId xmlns:a16="http://schemas.microsoft.com/office/drawing/2014/main" id="{48B36E08-2FBB-50FD-C237-9DFB3DC6E8FC}"/>
              </a:ext>
            </a:extLst>
          </p:cNvPr>
          <p:cNvSpPr>
            <a:spLocks noGrp="1"/>
          </p:cNvSpPr>
          <p:nvPr>
            <p:ph type="sldNum" sz="quarter" idx="12"/>
          </p:nvPr>
        </p:nvSpPr>
        <p:spPr/>
        <p:txBody>
          <a:bodyPr/>
          <a:lstStyle/>
          <a:p>
            <a:pPr defTabSz="685800"/>
            <a:fld id="{24C8C45C-947F-4981-8B3F-4F32E973C901}" type="slidenum">
              <a:rPr lang="da-DK">
                <a:solidFill>
                  <a:srgbClr val="3F1A2B"/>
                </a:solidFill>
                <a:latin typeface="Franklin Gothic Book"/>
              </a:rPr>
              <a:pPr defTabSz="685800"/>
              <a:t>13</a:t>
            </a:fld>
            <a:endParaRPr lang="da-DK">
              <a:solidFill>
                <a:srgbClr val="3F1A2B"/>
              </a:solidFill>
              <a:latin typeface="Franklin Gothic Book"/>
            </a:endParaRPr>
          </a:p>
        </p:txBody>
      </p:sp>
      <p:pic>
        <p:nvPicPr>
          <p:cNvPr id="16" name="Billede 15">
            <a:extLst>
              <a:ext uri="{FF2B5EF4-FFF2-40B4-BE49-F238E27FC236}">
                <a16:creationId xmlns:a16="http://schemas.microsoft.com/office/drawing/2014/main" id="{67596315-AD3B-22A2-1557-AE6E2D62C2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5426" y="57334"/>
            <a:ext cx="8313650" cy="5166149"/>
          </a:xfrm>
          <a:prstGeom prst="rect">
            <a:avLst/>
          </a:prstGeom>
        </p:spPr>
      </p:pic>
    </p:spTree>
    <p:extLst>
      <p:ext uri="{BB962C8B-B14F-4D97-AF65-F5344CB8AC3E}">
        <p14:creationId xmlns:p14="http://schemas.microsoft.com/office/powerpoint/2010/main" val="23561448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7B997E-361A-A2E2-597C-03D934F84BDA}"/>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ACD0E8DB-5DA4-9EC2-DAB0-B936D3B6D313}"/>
              </a:ext>
            </a:extLst>
          </p:cNvPr>
          <p:cNvSpPr>
            <a:spLocks noGrp="1"/>
          </p:cNvSpPr>
          <p:nvPr>
            <p:ph type="title"/>
          </p:nvPr>
        </p:nvSpPr>
        <p:spPr>
          <a:xfrm>
            <a:off x="411858" y="2224908"/>
            <a:ext cx="4099135" cy="621000"/>
          </a:xfrm>
        </p:spPr>
        <p:txBody>
          <a:bodyPr/>
          <a:lstStyle/>
          <a:p>
            <a:r>
              <a:rPr lang="da-DK"/>
              <a:t>Præsentation af fuldmagtsfunktionen</a:t>
            </a:r>
          </a:p>
        </p:txBody>
      </p:sp>
      <p:sp>
        <p:nvSpPr>
          <p:cNvPr id="2" name="Pladsholder til dato 1">
            <a:extLst>
              <a:ext uri="{FF2B5EF4-FFF2-40B4-BE49-F238E27FC236}">
                <a16:creationId xmlns:a16="http://schemas.microsoft.com/office/drawing/2014/main" id="{2E8E6A78-1EE1-1C08-B3BC-C084A32E65EC}"/>
              </a:ext>
            </a:extLst>
          </p:cNvPr>
          <p:cNvSpPr>
            <a:spLocks noGrp="1"/>
          </p:cNvSpPr>
          <p:nvPr>
            <p:ph type="dt" sz="half" idx="19"/>
          </p:nvPr>
        </p:nvSpPr>
        <p:spPr/>
        <p:txBody>
          <a:bodyPr/>
          <a:lstStyle/>
          <a:p>
            <a:pPr defTabSz="685800"/>
            <a:fld id="{A2446D3D-F608-46B7-8E05-81FCF9BDF507}" type="datetime2">
              <a:rPr lang="da-DK">
                <a:solidFill>
                  <a:srgbClr val="FFFFFF"/>
                </a:solidFill>
                <a:latin typeface="Franklin Gothic Book"/>
              </a:rPr>
              <a:pPr defTabSz="685800"/>
              <a:t>11. december 2025</a:t>
            </a:fld>
            <a:endParaRPr lang="da-DK">
              <a:solidFill>
                <a:srgbClr val="FFFFFF"/>
              </a:solidFill>
              <a:latin typeface="Franklin Gothic Book"/>
            </a:endParaRPr>
          </a:p>
        </p:txBody>
      </p:sp>
      <p:sp>
        <p:nvSpPr>
          <p:cNvPr id="3" name="Pladsholder til sidefod 2">
            <a:extLst>
              <a:ext uri="{FF2B5EF4-FFF2-40B4-BE49-F238E27FC236}">
                <a16:creationId xmlns:a16="http://schemas.microsoft.com/office/drawing/2014/main" id="{A87C8F34-721C-D2D1-8C71-33C6AAC5C73B}"/>
              </a:ext>
            </a:extLst>
          </p:cNvPr>
          <p:cNvSpPr>
            <a:spLocks noGrp="1"/>
          </p:cNvSpPr>
          <p:nvPr>
            <p:ph type="ftr" sz="quarter" idx="20"/>
          </p:nvPr>
        </p:nvSpPr>
        <p:spPr/>
        <p:txBody>
          <a:bodyPr/>
          <a:lstStyle/>
          <a:p>
            <a:pPr defTabSz="685800"/>
            <a:r>
              <a:rPr lang="da-DK">
                <a:solidFill>
                  <a:srgbClr val="FFFFFF"/>
                </a:solidFill>
                <a:latin typeface="Franklin Gothic Book"/>
              </a:rPr>
              <a:t>Digitaliseringsstyrelsen</a:t>
            </a:r>
          </a:p>
        </p:txBody>
      </p:sp>
      <p:sp>
        <p:nvSpPr>
          <p:cNvPr id="4" name="Pladsholder til slidenummer 3">
            <a:extLst>
              <a:ext uri="{FF2B5EF4-FFF2-40B4-BE49-F238E27FC236}">
                <a16:creationId xmlns:a16="http://schemas.microsoft.com/office/drawing/2014/main" id="{149F8FF3-BEAD-31B8-6E7B-4E8A8778339E}"/>
              </a:ext>
            </a:extLst>
          </p:cNvPr>
          <p:cNvSpPr>
            <a:spLocks noGrp="1"/>
          </p:cNvSpPr>
          <p:nvPr>
            <p:ph type="sldNum" sz="quarter" idx="21"/>
          </p:nvPr>
        </p:nvSpPr>
        <p:spPr/>
        <p:txBody>
          <a:bodyPr/>
          <a:lstStyle/>
          <a:p>
            <a:pPr defTabSz="685800"/>
            <a:fld id="{24C8C45C-947F-4981-8B3F-4F32E973C901}" type="slidenum">
              <a:rPr lang="da-DK">
                <a:solidFill>
                  <a:srgbClr val="FFFFFF"/>
                </a:solidFill>
                <a:latin typeface="Franklin Gothic Book"/>
              </a:rPr>
              <a:pPr defTabSz="685800"/>
              <a:t>14</a:t>
            </a:fld>
            <a:endParaRPr lang="da-DK">
              <a:solidFill>
                <a:srgbClr val="FFFFFF"/>
              </a:solidFill>
              <a:latin typeface="Franklin Gothic Book"/>
            </a:endParaRPr>
          </a:p>
        </p:txBody>
      </p:sp>
    </p:spTree>
    <p:extLst>
      <p:ext uri="{BB962C8B-B14F-4D97-AF65-F5344CB8AC3E}">
        <p14:creationId xmlns:p14="http://schemas.microsoft.com/office/powerpoint/2010/main" val="3952810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CE7D601D-4189-2B23-AF45-FB65F8A12DDA}"/>
              </a:ext>
            </a:extLst>
          </p:cNvPr>
          <p:cNvSpPr>
            <a:spLocks noGrp="1"/>
          </p:cNvSpPr>
          <p:nvPr>
            <p:ph type="dt" sz="half" idx="10"/>
          </p:nvPr>
        </p:nvSpPr>
        <p:spPr/>
        <p:txBody>
          <a:bodyPr/>
          <a:lstStyle/>
          <a:p>
            <a:pPr defTabSz="685800"/>
            <a:fld id="{41969349-67F1-41F8-83EC-133BBA9F9E3B}" type="datetime2">
              <a:rPr lang="da-DK">
                <a:solidFill>
                  <a:srgbClr val="3F1A2B"/>
                </a:solidFill>
                <a:latin typeface="Franklin Gothic Book"/>
              </a:rPr>
              <a:pPr defTabSz="685800"/>
              <a:t>11. december 2025</a:t>
            </a:fld>
            <a:endParaRPr lang="da-DK">
              <a:solidFill>
                <a:srgbClr val="3F1A2B"/>
              </a:solidFill>
              <a:latin typeface="Franklin Gothic Book"/>
            </a:endParaRPr>
          </a:p>
        </p:txBody>
      </p:sp>
      <p:sp>
        <p:nvSpPr>
          <p:cNvPr id="6" name="Pladsholder til sidefod 5">
            <a:extLst>
              <a:ext uri="{FF2B5EF4-FFF2-40B4-BE49-F238E27FC236}">
                <a16:creationId xmlns:a16="http://schemas.microsoft.com/office/drawing/2014/main" id="{76B815EC-329F-12CB-F142-4ACA2DAF63AE}"/>
              </a:ext>
            </a:extLst>
          </p:cNvPr>
          <p:cNvSpPr>
            <a:spLocks noGrp="1"/>
          </p:cNvSpPr>
          <p:nvPr>
            <p:ph type="ftr" sz="quarter" idx="11"/>
          </p:nvPr>
        </p:nvSpPr>
        <p:spPr/>
        <p:txBody>
          <a:bodyPr/>
          <a:lstStyle/>
          <a:p>
            <a:pPr defTabSz="685800"/>
            <a:r>
              <a:rPr lang="da-DK">
                <a:solidFill>
                  <a:srgbClr val="3F1A2B"/>
                </a:solidFill>
                <a:latin typeface="Franklin Gothic Book"/>
              </a:rPr>
              <a:t>Digitaliseringsstyrelsen</a:t>
            </a:r>
          </a:p>
        </p:txBody>
      </p:sp>
      <p:sp>
        <p:nvSpPr>
          <p:cNvPr id="7" name="Pladsholder til slidenummer 6">
            <a:extLst>
              <a:ext uri="{FF2B5EF4-FFF2-40B4-BE49-F238E27FC236}">
                <a16:creationId xmlns:a16="http://schemas.microsoft.com/office/drawing/2014/main" id="{069B9F90-5843-3D76-F22A-C20311A039A8}"/>
              </a:ext>
            </a:extLst>
          </p:cNvPr>
          <p:cNvSpPr>
            <a:spLocks noGrp="1"/>
          </p:cNvSpPr>
          <p:nvPr>
            <p:ph type="sldNum" sz="quarter" idx="12"/>
          </p:nvPr>
        </p:nvSpPr>
        <p:spPr/>
        <p:txBody>
          <a:bodyPr/>
          <a:lstStyle/>
          <a:p>
            <a:pPr defTabSz="685800"/>
            <a:fld id="{24C8C45C-947F-4981-8B3F-4F32E973C901}" type="slidenum">
              <a:rPr lang="da-DK">
                <a:solidFill>
                  <a:srgbClr val="3F1A2B"/>
                </a:solidFill>
                <a:latin typeface="Franklin Gothic Book"/>
              </a:rPr>
              <a:pPr defTabSz="685800"/>
              <a:t>15</a:t>
            </a:fld>
            <a:endParaRPr lang="da-DK">
              <a:solidFill>
                <a:srgbClr val="3F1A2B"/>
              </a:solidFill>
              <a:latin typeface="Franklin Gothic Book"/>
            </a:endParaRPr>
          </a:p>
        </p:txBody>
      </p:sp>
      <p:sp>
        <p:nvSpPr>
          <p:cNvPr id="3" name="Titel 2">
            <a:extLst>
              <a:ext uri="{FF2B5EF4-FFF2-40B4-BE49-F238E27FC236}">
                <a16:creationId xmlns:a16="http://schemas.microsoft.com/office/drawing/2014/main" id="{7BE64088-56C7-9C6A-0D29-7E16AC334F10}"/>
              </a:ext>
            </a:extLst>
          </p:cNvPr>
          <p:cNvSpPr>
            <a:spLocks noGrp="1"/>
          </p:cNvSpPr>
          <p:nvPr>
            <p:ph type="ctrTitle" idx="4294967295"/>
          </p:nvPr>
        </p:nvSpPr>
        <p:spPr>
          <a:xfrm>
            <a:off x="682176" y="646046"/>
            <a:ext cx="4434601" cy="931069"/>
          </a:xfrm>
        </p:spPr>
        <p:txBody>
          <a:bodyPr/>
          <a:lstStyle/>
          <a:p>
            <a:r>
              <a:rPr lang="da-DK" b="1"/>
              <a:t>Indsigtsfuldmagt til Mit Overblik </a:t>
            </a:r>
          </a:p>
        </p:txBody>
      </p:sp>
      <p:sp>
        <p:nvSpPr>
          <p:cNvPr id="4" name="Pladsholder til indhold 3">
            <a:extLst>
              <a:ext uri="{FF2B5EF4-FFF2-40B4-BE49-F238E27FC236}">
                <a16:creationId xmlns:a16="http://schemas.microsoft.com/office/drawing/2014/main" id="{9CBE2CDC-8E0C-CE84-1508-F9CD018269D2}"/>
              </a:ext>
            </a:extLst>
          </p:cNvPr>
          <p:cNvSpPr>
            <a:spLocks noGrp="1"/>
          </p:cNvSpPr>
          <p:nvPr>
            <p:ph type="subTitle" idx="4294967295"/>
          </p:nvPr>
        </p:nvSpPr>
        <p:spPr>
          <a:xfrm>
            <a:off x="1041967" y="1304964"/>
            <a:ext cx="3396853" cy="1755983"/>
          </a:xfrm>
        </p:spPr>
        <p:txBody>
          <a:bodyPr/>
          <a:lstStyle/>
          <a:p>
            <a:pPr marL="0" indent="0">
              <a:buNone/>
            </a:pPr>
            <a:r>
              <a:rPr lang="da-DK" sz="1800"/>
              <a:t>Fuldmagt oprettes i den fællesoffentlige fuldmagtsløsning</a:t>
            </a:r>
            <a:br>
              <a:rPr lang="da-DK" sz="1800"/>
            </a:br>
            <a:r>
              <a:rPr lang="da-DK" sz="1800"/>
              <a:t> </a:t>
            </a:r>
          </a:p>
          <a:p>
            <a:pPr marL="0" indent="0">
              <a:buNone/>
            </a:pPr>
            <a:r>
              <a:rPr lang="da-DK" sz="1800"/>
              <a:t>I starten kan fuldmagtshaver kun  se data fra kommunerne og Udbetaling Danmark</a:t>
            </a:r>
            <a:endParaRPr lang="da-DK"/>
          </a:p>
          <a:p>
            <a:pPr marL="0" indent="0">
              <a:buNone/>
            </a:pPr>
            <a:endParaRPr lang="da-DK"/>
          </a:p>
        </p:txBody>
      </p:sp>
      <p:pic>
        <p:nvPicPr>
          <p:cNvPr id="9" name="Billede 8">
            <a:extLst>
              <a:ext uri="{FF2B5EF4-FFF2-40B4-BE49-F238E27FC236}">
                <a16:creationId xmlns:a16="http://schemas.microsoft.com/office/drawing/2014/main" id="{2F9181A2-96D3-3D1E-9FF8-56BBF96CE483}"/>
              </a:ext>
            </a:extLst>
          </p:cNvPr>
          <p:cNvPicPr>
            <a:picLocks noChangeAspect="1"/>
          </p:cNvPicPr>
          <p:nvPr/>
        </p:nvPicPr>
        <p:blipFill>
          <a:blip r:embed="rId3"/>
          <a:stretch>
            <a:fillRect/>
          </a:stretch>
        </p:blipFill>
        <p:spPr>
          <a:xfrm>
            <a:off x="4949644" y="905251"/>
            <a:ext cx="1736516" cy="3592204"/>
          </a:xfrm>
          <a:prstGeom prst="rect">
            <a:avLst/>
          </a:prstGeom>
        </p:spPr>
      </p:pic>
      <p:pic>
        <p:nvPicPr>
          <p:cNvPr id="10" name="Billede 9">
            <a:extLst>
              <a:ext uri="{FF2B5EF4-FFF2-40B4-BE49-F238E27FC236}">
                <a16:creationId xmlns:a16="http://schemas.microsoft.com/office/drawing/2014/main" id="{8DD8B503-F762-D848-B5A5-3DC737AA8D33}"/>
              </a:ext>
            </a:extLst>
          </p:cNvPr>
          <p:cNvPicPr>
            <a:picLocks noChangeAspect="1"/>
          </p:cNvPicPr>
          <p:nvPr/>
        </p:nvPicPr>
        <p:blipFill>
          <a:blip r:embed="rId4"/>
          <a:stretch>
            <a:fillRect/>
          </a:stretch>
        </p:blipFill>
        <p:spPr>
          <a:xfrm>
            <a:off x="7042307" y="905251"/>
            <a:ext cx="1736516" cy="3592204"/>
          </a:xfrm>
          <a:prstGeom prst="rect">
            <a:avLst/>
          </a:prstGeom>
        </p:spPr>
      </p:pic>
      <p:pic>
        <p:nvPicPr>
          <p:cNvPr id="13" name="Billede 12">
            <a:extLst>
              <a:ext uri="{FF2B5EF4-FFF2-40B4-BE49-F238E27FC236}">
                <a16:creationId xmlns:a16="http://schemas.microsoft.com/office/drawing/2014/main" id="{B49F60A4-82A3-87DD-DC37-F9689FCCCD2A}"/>
              </a:ext>
            </a:extLst>
          </p:cNvPr>
          <p:cNvPicPr>
            <a:picLocks noChangeAspect="1"/>
          </p:cNvPicPr>
          <p:nvPr/>
        </p:nvPicPr>
        <p:blipFill>
          <a:blip r:embed="rId5"/>
          <a:stretch>
            <a:fillRect/>
          </a:stretch>
        </p:blipFill>
        <p:spPr>
          <a:xfrm>
            <a:off x="6426822" y="2887980"/>
            <a:ext cx="605050" cy="883634"/>
          </a:xfrm>
          <a:prstGeom prst="rect">
            <a:avLst/>
          </a:prstGeom>
        </p:spPr>
      </p:pic>
      <p:pic>
        <p:nvPicPr>
          <p:cNvPr id="15" name="Billede 14">
            <a:extLst>
              <a:ext uri="{FF2B5EF4-FFF2-40B4-BE49-F238E27FC236}">
                <a16:creationId xmlns:a16="http://schemas.microsoft.com/office/drawing/2014/main" id="{FFB21F2F-5ACB-C9A5-D235-60691FC16E0C}"/>
              </a:ext>
            </a:extLst>
          </p:cNvPr>
          <p:cNvPicPr>
            <a:picLocks noChangeAspect="1"/>
          </p:cNvPicPr>
          <p:nvPr/>
        </p:nvPicPr>
        <p:blipFill>
          <a:blip r:embed="rId6"/>
          <a:stretch>
            <a:fillRect/>
          </a:stretch>
        </p:blipFill>
        <p:spPr>
          <a:xfrm>
            <a:off x="631799" y="1281132"/>
            <a:ext cx="380442" cy="380442"/>
          </a:xfrm>
          <a:prstGeom prst="rect">
            <a:avLst/>
          </a:prstGeom>
        </p:spPr>
      </p:pic>
      <p:pic>
        <p:nvPicPr>
          <p:cNvPr id="16" name="Billede 15">
            <a:extLst>
              <a:ext uri="{FF2B5EF4-FFF2-40B4-BE49-F238E27FC236}">
                <a16:creationId xmlns:a16="http://schemas.microsoft.com/office/drawing/2014/main" id="{34FF0B4D-A69B-4B62-1C50-86D907F8CB43}"/>
              </a:ext>
            </a:extLst>
          </p:cNvPr>
          <p:cNvPicPr>
            <a:picLocks noChangeAspect="1"/>
          </p:cNvPicPr>
          <p:nvPr/>
        </p:nvPicPr>
        <p:blipFill>
          <a:blip r:embed="rId6"/>
          <a:stretch>
            <a:fillRect/>
          </a:stretch>
        </p:blipFill>
        <p:spPr>
          <a:xfrm>
            <a:off x="630860" y="2212201"/>
            <a:ext cx="380442" cy="380442"/>
          </a:xfrm>
          <a:prstGeom prst="rect">
            <a:avLst/>
          </a:prstGeom>
        </p:spPr>
      </p:pic>
      <p:sp>
        <p:nvSpPr>
          <p:cNvPr id="18" name="Tekstfelt 17">
            <a:extLst>
              <a:ext uri="{FF2B5EF4-FFF2-40B4-BE49-F238E27FC236}">
                <a16:creationId xmlns:a16="http://schemas.microsoft.com/office/drawing/2014/main" id="{1F4906EA-A20F-B02B-C5BE-2B776B0008E5}"/>
              </a:ext>
            </a:extLst>
          </p:cNvPr>
          <p:cNvSpPr txBox="1"/>
          <p:nvPr/>
        </p:nvSpPr>
        <p:spPr>
          <a:xfrm>
            <a:off x="631799" y="3446525"/>
            <a:ext cx="4572000" cy="369332"/>
          </a:xfrm>
          <a:prstGeom prst="rect">
            <a:avLst/>
          </a:prstGeom>
          <a:noFill/>
        </p:spPr>
        <p:txBody>
          <a:bodyPr wrap="square">
            <a:spAutoFit/>
          </a:bodyPr>
          <a:lstStyle/>
          <a:p>
            <a:pPr defTabSz="685800"/>
            <a:r>
              <a:rPr lang="da-DK" b="1">
                <a:solidFill>
                  <a:srgbClr val="000000"/>
                </a:solidFill>
                <a:latin typeface="Franklin Gothic Book"/>
              </a:rPr>
              <a:t>Lancering 11. december 2025 </a:t>
            </a:r>
          </a:p>
        </p:txBody>
      </p:sp>
    </p:spTree>
    <p:extLst>
      <p:ext uri="{BB962C8B-B14F-4D97-AF65-F5344CB8AC3E}">
        <p14:creationId xmlns:p14="http://schemas.microsoft.com/office/powerpoint/2010/main" val="28108184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idefod 2">
            <a:extLst>
              <a:ext uri="{FF2B5EF4-FFF2-40B4-BE49-F238E27FC236}">
                <a16:creationId xmlns:a16="http://schemas.microsoft.com/office/drawing/2014/main" id="{A070BB8B-FAC5-6991-6B2B-18C7271F615C}"/>
              </a:ext>
            </a:extLst>
          </p:cNvPr>
          <p:cNvSpPr>
            <a:spLocks noGrp="1"/>
          </p:cNvSpPr>
          <p:nvPr>
            <p:ph type="ftr" sz="quarter" idx="11"/>
          </p:nvPr>
        </p:nvSpPr>
        <p:spPr/>
        <p:txBody>
          <a:bodyPr/>
          <a:lstStyle/>
          <a:p>
            <a:pPr defTabSz="685800"/>
            <a:r>
              <a:rPr lang="da-DK">
                <a:solidFill>
                  <a:srgbClr val="3F1A2B"/>
                </a:solidFill>
                <a:latin typeface="Franklin Gothic Book"/>
              </a:rPr>
              <a:t>Digitaliseringsstyrelsen</a:t>
            </a:r>
          </a:p>
        </p:txBody>
      </p:sp>
      <p:pic>
        <p:nvPicPr>
          <p:cNvPr id="4" name="Billede 3">
            <a:extLst>
              <a:ext uri="{FF2B5EF4-FFF2-40B4-BE49-F238E27FC236}">
                <a16:creationId xmlns:a16="http://schemas.microsoft.com/office/drawing/2014/main" id="{992361B3-159F-C134-E5EB-B76EC580FAA2}"/>
              </a:ext>
            </a:extLst>
          </p:cNvPr>
          <p:cNvPicPr>
            <a:picLocks noChangeAspect="1"/>
          </p:cNvPicPr>
          <p:nvPr/>
        </p:nvPicPr>
        <p:blipFill>
          <a:blip r:embed="rId3"/>
          <a:stretch>
            <a:fillRect/>
          </a:stretch>
        </p:blipFill>
        <p:spPr>
          <a:xfrm>
            <a:off x="1" y="0"/>
            <a:ext cx="6532520" cy="5143500"/>
          </a:xfrm>
          <a:prstGeom prst="rect">
            <a:avLst/>
          </a:prstGeom>
        </p:spPr>
      </p:pic>
    </p:spTree>
    <p:extLst>
      <p:ext uri="{BB962C8B-B14F-4D97-AF65-F5344CB8AC3E}">
        <p14:creationId xmlns:p14="http://schemas.microsoft.com/office/powerpoint/2010/main" val="35436075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idefod 2">
            <a:extLst>
              <a:ext uri="{FF2B5EF4-FFF2-40B4-BE49-F238E27FC236}">
                <a16:creationId xmlns:a16="http://schemas.microsoft.com/office/drawing/2014/main" id="{D38DA2CD-D1FA-BFB1-4D65-249BD958B609}"/>
              </a:ext>
            </a:extLst>
          </p:cNvPr>
          <p:cNvSpPr>
            <a:spLocks noGrp="1"/>
          </p:cNvSpPr>
          <p:nvPr>
            <p:ph type="ftr" sz="quarter" idx="11"/>
          </p:nvPr>
        </p:nvSpPr>
        <p:spPr/>
        <p:txBody>
          <a:bodyPr/>
          <a:lstStyle/>
          <a:p>
            <a:pPr defTabSz="685800"/>
            <a:r>
              <a:rPr lang="da-DK">
                <a:solidFill>
                  <a:srgbClr val="3F1A2B"/>
                </a:solidFill>
                <a:latin typeface="Franklin Gothic Book"/>
              </a:rPr>
              <a:t>Digitaliseringsstyrelsen</a:t>
            </a:r>
          </a:p>
        </p:txBody>
      </p:sp>
      <p:pic>
        <p:nvPicPr>
          <p:cNvPr id="4" name="Billede 3">
            <a:extLst>
              <a:ext uri="{FF2B5EF4-FFF2-40B4-BE49-F238E27FC236}">
                <a16:creationId xmlns:a16="http://schemas.microsoft.com/office/drawing/2014/main" id="{484025EF-6D0E-1372-3772-F06F32678C24}"/>
              </a:ext>
            </a:extLst>
          </p:cNvPr>
          <p:cNvPicPr>
            <a:picLocks noChangeAspect="1"/>
          </p:cNvPicPr>
          <p:nvPr/>
        </p:nvPicPr>
        <p:blipFill>
          <a:blip r:embed="rId3"/>
          <a:stretch>
            <a:fillRect/>
          </a:stretch>
        </p:blipFill>
        <p:spPr>
          <a:xfrm>
            <a:off x="423151" y="1033723"/>
            <a:ext cx="5829300" cy="3839777"/>
          </a:xfrm>
          <a:prstGeom prst="rect">
            <a:avLst/>
          </a:prstGeom>
        </p:spPr>
      </p:pic>
      <p:pic>
        <p:nvPicPr>
          <p:cNvPr id="6" name="Billede 5">
            <a:extLst>
              <a:ext uri="{FF2B5EF4-FFF2-40B4-BE49-F238E27FC236}">
                <a16:creationId xmlns:a16="http://schemas.microsoft.com/office/drawing/2014/main" id="{C2F9DF32-7EEE-B075-6CDB-D3DCE165C349}"/>
              </a:ext>
            </a:extLst>
          </p:cNvPr>
          <p:cNvPicPr>
            <a:picLocks noChangeAspect="1"/>
          </p:cNvPicPr>
          <p:nvPr/>
        </p:nvPicPr>
        <p:blipFill>
          <a:blip r:embed="rId4">
            <a:extLst>
              <a:ext uri="{28A0092B-C50C-407E-A947-70E740481C1C}">
                <a14:useLocalDpi xmlns:a14="http://schemas.microsoft.com/office/drawing/2010/main" val="0"/>
              </a:ext>
            </a:extLst>
          </a:blip>
          <a:srcRect l="6637" r="7740"/>
          <a:stretch>
            <a:fillRect/>
          </a:stretch>
        </p:blipFill>
        <p:spPr>
          <a:xfrm>
            <a:off x="5839284" y="885598"/>
            <a:ext cx="2769244" cy="2135530"/>
          </a:xfrm>
          <a:prstGeom prst="roundRect">
            <a:avLst/>
          </a:prstGeom>
          <a:ln>
            <a:solidFill>
              <a:schemeClr val="bg1">
                <a:lumMod val="65000"/>
              </a:schemeClr>
            </a:solidFill>
          </a:ln>
        </p:spPr>
      </p:pic>
      <p:pic>
        <p:nvPicPr>
          <p:cNvPr id="7" name="Grafik 6" descr="Knib sammen for at zoome ind med massiv udfyldning">
            <a:extLst>
              <a:ext uri="{FF2B5EF4-FFF2-40B4-BE49-F238E27FC236}">
                <a16:creationId xmlns:a16="http://schemas.microsoft.com/office/drawing/2014/main" id="{F8E01C87-3185-F08E-C4DE-CE86E5AC18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20053" y="2335328"/>
            <a:ext cx="685800" cy="685800"/>
          </a:xfrm>
          <a:prstGeom prst="rect">
            <a:avLst/>
          </a:prstGeom>
        </p:spPr>
      </p:pic>
    </p:spTree>
    <p:extLst>
      <p:ext uri="{BB962C8B-B14F-4D97-AF65-F5344CB8AC3E}">
        <p14:creationId xmlns:p14="http://schemas.microsoft.com/office/powerpoint/2010/main" val="40491515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378BAE67-C0A4-A91F-C679-E6C764B51AD8}"/>
              </a:ext>
            </a:extLst>
          </p:cNvPr>
          <p:cNvSpPr>
            <a:spLocks noGrp="1"/>
          </p:cNvSpPr>
          <p:nvPr>
            <p:ph type="sldNum" sz="quarter" idx="12"/>
          </p:nvPr>
        </p:nvSpPr>
        <p:spPr/>
        <p:txBody>
          <a:bodyPr/>
          <a:lstStyle/>
          <a:p>
            <a:pPr defTabSz="685800"/>
            <a:fld id="{24C8C45C-947F-4981-8B3F-4F32E973C901}" type="slidenum">
              <a:rPr lang="da-DK">
                <a:solidFill>
                  <a:srgbClr val="3F1A2B"/>
                </a:solidFill>
                <a:latin typeface="Franklin Gothic Book"/>
              </a:rPr>
              <a:pPr defTabSz="685800"/>
              <a:t>18</a:t>
            </a:fld>
            <a:endParaRPr lang="da-DK">
              <a:solidFill>
                <a:srgbClr val="3F1A2B"/>
              </a:solidFill>
              <a:latin typeface="Franklin Gothic Book"/>
            </a:endParaRPr>
          </a:p>
        </p:txBody>
      </p:sp>
      <p:sp>
        <p:nvSpPr>
          <p:cNvPr id="2" name="Pladsholder til dato 1">
            <a:extLst>
              <a:ext uri="{FF2B5EF4-FFF2-40B4-BE49-F238E27FC236}">
                <a16:creationId xmlns:a16="http://schemas.microsoft.com/office/drawing/2014/main" id="{A71F4F67-C2BB-B578-E1F8-348D000C49DB}"/>
              </a:ext>
            </a:extLst>
          </p:cNvPr>
          <p:cNvSpPr>
            <a:spLocks noGrp="1"/>
          </p:cNvSpPr>
          <p:nvPr>
            <p:ph type="dt" sz="half" idx="10"/>
          </p:nvPr>
        </p:nvSpPr>
        <p:spPr/>
        <p:txBody>
          <a:bodyPr/>
          <a:lstStyle/>
          <a:p>
            <a:pPr defTabSz="685800"/>
            <a:fld id="{A2446D3D-F608-46B7-8E05-81FCF9BDF507}" type="datetime2">
              <a:rPr lang="da-DK">
                <a:solidFill>
                  <a:srgbClr val="3F1A2B"/>
                </a:solidFill>
                <a:latin typeface="Franklin Gothic Book"/>
              </a:rPr>
              <a:pPr defTabSz="685800"/>
              <a:t>11. december 2025</a:t>
            </a:fld>
            <a:endParaRPr lang="da-DK">
              <a:solidFill>
                <a:srgbClr val="3F1A2B"/>
              </a:solidFill>
              <a:latin typeface="Franklin Gothic Book"/>
            </a:endParaRPr>
          </a:p>
        </p:txBody>
      </p:sp>
      <p:pic>
        <p:nvPicPr>
          <p:cNvPr id="6" name="Billede 5">
            <a:extLst>
              <a:ext uri="{FF2B5EF4-FFF2-40B4-BE49-F238E27FC236}">
                <a16:creationId xmlns:a16="http://schemas.microsoft.com/office/drawing/2014/main" id="{E5235EB3-64CE-FA70-1C02-DC5B0722E842}"/>
              </a:ext>
            </a:extLst>
          </p:cNvPr>
          <p:cNvPicPr>
            <a:picLocks noChangeAspect="1"/>
          </p:cNvPicPr>
          <p:nvPr/>
        </p:nvPicPr>
        <p:blipFill>
          <a:blip r:embed="rId3"/>
          <a:stretch>
            <a:fillRect/>
          </a:stretch>
        </p:blipFill>
        <p:spPr>
          <a:xfrm>
            <a:off x="0" y="0"/>
            <a:ext cx="6659184" cy="5143500"/>
          </a:xfrm>
          <a:prstGeom prst="rect">
            <a:avLst/>
          </a:prstGeom>
        </p:spPr>
      </p:pic>
      <p:sp>
        <p:nvSpPr>
          <p:cNvPr id="3" name="Pladsholder til sidefod 2">
            <a:extLst>
              <a:ext uri="{FF2B5EF4-FFF2-40B4-BE49-F238E27FC236}">
                <a16:creationId xmlns:a16="http://schemas.microsoft.com/office/drawing/2014/main" id="{DCD9C620-AE7F-3143-5033-6505FD7FF5DB}"/>
              </a:ext>
            </a:extLst>
          </p:cNvPr>
          <p:cNvSpPr>
            <a:spLocks noGrp="1"/>
          </p:cNvSpPr>
          <p:nvPr>
            <p:ph type="ftr" sz="quarter" idx="11"/>
          </p:nvPr>
        </p:nvSpPr>
        <p:spPr/>
        <p:txBody>
          <a:bodyPr/>
          <a:lstStyle/>
          <a:p>
            <a:pPr defTabSz="685800"/>
            <a:r>
              <a:rPr lang="da-DK">
                <a:solidFill>
                  <a:srgbClr val="3F1A2B"/>
                </a:solidFill>
                <a:latin typeface="Franklin Gothic Book"/>
              </a:rPr>
              <a:t>Digitaliseringsstyrelsen</a:t>
            </a:r>
          </a:p>
        </p:txBody>
      </p:sp>
      <p:sp>
        <p:nvSpPr>
          <p:cNvPr id="8" name="Ellipse 7">
            <a:extLst>
              <a:ext uri="{FF2B5EF4-FFF2-40B4-BE49-F238E27FC236}">
                <a16:creationId xmlns:a16="http://schemas.microsoft.com/office/drawing/2014/main" id="{C3A41A03-941D-B931-5200-EDC5298E20A3}"/>
              </a:ext>
            </a:extLst>
          </p:cNvPr>
          <p:cNvSpPr/>
          <p:nvPr/>
        </p:nvSpPr>
        <p:spPr>
          <a:xfrm>
            <a:off x="1220400" y="1005798"/>
            <a:ext cx="810000" cy="810000"/>
          </a:xfrm>
          <a:prstGeom prst="ellipse">
            <a:avLst/>
          </a:prstGeom>
          <a:noFill/>
          <a:ln w="25400">
            <a:solidFill>
              <a:srgbClr val="4D783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endParaRPr lang="da-DK" sz="1200" err="1">
              <a:solidFill>
                <a:srgbClr val="FFFFFF"/>
              </a:solidFill>
              <a:latin typeface="Franklin Gothic Book"/>
            </a:endParaRPr>
          </a:p>
        </p:txBody>
      </p:sp>
    </p:spTree>
    <p:extLst>
      <p:ext uri="{BB962C8B-B14F-4D97-AF65-F5344CB8AC3E}">
        <p14:creationId xmlns:p14="http://schemas.microsoft.com/office/powerpoint/2010/main" val="28762542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9A1ABF-8853-0640-3C5E-148C559C75B5}"/>
            </a:ext>
          </a:extLst>
        </p:cNvPr>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E3AC3774-B79F-C3D1-B781-608D227A9C80}"/>
              </a:ext>
            </a:extLst>
          </p:cNvPr>
          <p:cNvSpPr>
            <a:spLocks noGrp="1"/>
          </p:cNvSpPr>
          <p:nvPr>
            <p:ph type="sldNum" sz="quarter" idx="12"/>
          </p:nvPr>
        </p:nvSpPr>
        <p:spPr/>
        <p:txBody>
          <a:bodyPr/>
          <a:lstStyle/>
          <a:p>
            <a:pPr defTabSz="685800"/>
            <a:fld id="{24C8C45C-947F-4981-8B3F-4F32E973C901}" type="slidenum">
              <a:rPr lang="da-DK">
                <a:solidFill>
                  <a:srgbClr val="3F1A2B"/>
                </a:solidFill>
                <a:latin typeface="Franklin Gothic Book"/>
              </a:rPr>
              <a:pPr defTabSz="685800"/>
              <a:t>19</a:t>
            </a:fld>
            <a:endParaRPr lang="da-DK">
              <a:solidFill>
                <a:srgbClr val="3F1A2B"/>
              </a:solidFill>
              <a:latin typeface="Franklin Gothic Book"/>
            </a:endParaRPr>
          </a:p>
        </p:txBody>
      </p:sp>
      <p:sp>
        <p:nvSpPr>
          <p:cNvPr id="2" name="Pladsholder til dato 1">
            <a:extLst>
              <a:ext uri="{FF2B5EF4-FFF2-40B4-BE49-F238E27FC236}">
                <a16:creationId xmlns:a16="http://schemas.microsoft.com/office/drawing/2014/main" id="{8F9069BE-DBFA-F76D-7BC0-7466910266BD}"/>
              </a:ext>
            </a:extLst>
          </p:cNvPr>
          <p:cNvSpPr>
            <a:spLocks noGrp="1"/>
          </p:cNvSpPr>
          <p:nvPr>
            <p:ph type="dt" sz="half" idx="10"/>
          </p:nvPr>
        </p:nvSpPr>
        <p:spPr/>
        <p:txBody>
          <a:bodyPr/>
          <a:lstStyle/>
          <a:p>
            <a:pPr defTabSz="685800"/>
            <a:fld id="{A2446D3D-F608-46B7-8E05-81FCF9BDF507}" type="datetime2">
              <a:rPr lang="da-DK">
                <a:solidFill>
                  <a:srgbClr val="3F1A2B"/>
                </a:solidFill>
                <a:latin typeface="Franklin Gothic Book"/>
              </a:rPr>
              <a:pPr defTabSz="685800"/>
              <a:t>11. december 2025</a:t>
            </a:fld>
            <a:endParaRPr lang="da-DK">
              <a:solidFill>
                <a:srgbClr val="3F1A2B"/>
              </a:solidFill>
              <a:latin typeface="Franklin Gothic Book"/>
            </a:endParaRPr>
          </a:p>
        </p:txBody>
      </p:sp>
      <p:pic>
        <p:nvPicPr>
          <p:cNvPr id="9" name="Billede 8">
            <a:extLst>
              <a:ext uri="{FF2B5EF4-FFF2-40B4-BE49-F238E27FC236}">
                <a16:creationId xmlns:a16="http://schemas.microsoft.com/office/drawing/2014/main" id="{188C05AC-8506-49B8-B567-F54A7685D9AE}"/>
              </a:ext>
            </a:extLst>
          </p:cNvPr>
          <p:cNvPicPr>
            <a:picLocks noChangeAspect="1"/>
          </p:cNvPicPr>
          <p:nvPr/>
        </p:nvPicPr>
        <p:blipFill>
          <a:blip r:embed="rId3"/>
          <a:stretch>
            <a:fillRect/>
          </a:stretch>
        </p:blipFill>
        <p:spPr>
          <a:xfrm>
            <a:off x="0" y="0"/>
            <a:ext cx="6432750" cy="5143500"/>
          </a:xfrm>
          <a:prstGeom prst="rect">
            <a:avLst/>
          </a:prstGeom>
        </p:spPr>
      </p:pic>
      <p:sp>
        <p:nvSpPr>
          <p:cNvPr id="3" name="Pladsholder til sidefod 2">
            <a:extLst>
              <a:ext uri="{FF2B5EF4-FFF2-40B4-BE49-F238E27FC236}">
                <a16:creationId xmlns:a16="http://schemas.microsoft.com/office/drawing/2014/main" id="{EAFE8C19-8AA9-3819-42BC-2AEE34F76B36}"/>
              </a:ext>
            </a:extLst>
          </p:cNvPr>
          <p:cNvSpPr>
            <a:spLocks noGrp="1"/>
          </p:cNvSpPr>
          <p:nvPr>
            <p:ph type="ftr" sz="quarter" idx="11"/>
          </p:nvPr>
        </p:nvSpPr>
        <p:spPr/>
        <p:txBody>
          <a:bodyPr/>
          <a:lstStyle/>
          <a:p>
            <a:pPr defTabSz="685800"/>
            <a:r>
              <a:rPr lang="da-DK">
                <a:solidFill>
                  <a:srgbClr val="3F1A2B"/>
                </a:solidFill>
                <a:latin typeface="Franklin Gothic Book"/>
              </a:rPr>
              <a:t>Digitaliseringsstyrelsen</a:t>
            </a:r>
          </a:p>
        </p:txBody>
      </p:sp>
      <p:sp>
        <p:nvSpPr>
          <p:cNvPr id="6" name="Rektangel 5">
            <a:extLst>
              <a:ext uri="{FF2B5EF4-FFF2-40B4-BE49-F238E27FC236}">
                <a16:creationId xmlns:a16="http://schemas.microsoft.com/office/drawing/2014/main" id="{761C5183-47FF-0141-B263-2E907BA55B6B}"/>
              </a:ext>
            </a:extLst>
          </p:cNvPr>
          <p:cNvSpPr/>
          <p:nvPr/>
        </p:nvSpPr>
        <p:spPr>
          <a:xfrm>
            <a:off x="303717" y="4738500"/>
            <a:ext cx="5709684" cy="183412"/>
          </a:xfrm>
          <a:prstGeom prst="rect">
            <a:avLst/>
          </a:prstGeom>
          <a:noFill/>
          <a:ln w="25400">
            <a:solidFill>
              <a:srgbClr val="4D783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endParaRPr lang="da-DK" sz="1200" err="1">
              <a:solidFill>
                <a:srgbClr val="FF0000"/>
              </a:solidFill>
              <a:latin typeface="Franklin Gothic Book"/>
            </a:endParaRPr>
          </a:p>
        </p:txBody>
      </p:sp>
      <p:sp>
        <p:nvSpPr>
          <p:cNvPr id="7" name="Ellipse 6">
            <a:extLst>
              <a:ext uri="{FF2B5EF4-FFF2-40B4-BE49-F238E27FC236}">
                <a16:creationId xmlns:a16="http://schemas.microsoft.com/office/drawing/2014/main" id="{1DC65850-2107-8A1F-7481-12424F5DEF5F}"/>
              </a:ext>
            </a:extLst>
          </p:cNvPr>
          <p:cNvSpPr/>
          <p:nvPr/>
        </p:nvSpPr>
        <p:spPr>
          <a:xfrm>
            <a:off x="2016756" y="733646"/>
            <a:ext cx="810000" cy="810000"/>
          </a:xfrm>
          <a:prstGeom prst="ellipse">
            <a:avLst/>
          </a:prstGeom>
          <a:noFill/>
          <a:ln w="25400">
            <a:solidFill>
              <a:srgbClr val="4D783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endParaRPr lang="da-DK" sz="1200" err="1">
              <a:solidFill>
                <a:srgbClr val="FFFFFF"/>
              </a:solidFill>
              <a:latin typeface="Franklin Gothic Book"/>
            </a:endParaRPr>
          </a:p>
        </p:txBody>
      </p:sp>
    </p:spTree>
    <p:extLst>
      <p:ext uri="{BB962C8B-B14F-4D97-AF65-F5344CB8AC3E}">
        <p14:creationId xmlns:p14="http://schemas.microsoft.com/office/powerpoint/2010/main" val="19622985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dsholder til billede 8">
            <a:extLst>
              <a:ext uri="{FF2B5EF4-FFF2-40B4-BE49-F238E27FC236}">
                <a16:creationId xmlns:a16="http://schemas.microsoft.com/office/drawing/2014/main" id="{9E348496-A1E9-CD28-BC32-7A5895B4A4DA}"/>
              </a:ext>
            </a:extLst>
          </p:cNvPr>
          <p:cNvPicPr>
            <a:picLocks noGrp="1" noChangeAspect="1"/>
          </p:cNvPicPr>
          <p:nvPr>
            <p:ph type="pic" sz="quarter" idx="10"/>
          </p:nvPr>
        </p:nvPicPr>
        <p:blipFill>
          <a:blip r:embed="rId2"/>
          <a:srcRect l="26970" r="26970"/>
          <a:stretch>
            <a:fillRect/>
          </a:stretch>
        </p:blipFill>
        <p:spPr>
          <a:xfrm>
            <a:off x="0" y="0"/>
            <a:ext cx="4211638" cy="5143500"/>
          </a:xfrm>
          <a:prstGeom prst="rect">
            <a:avLst/>
          </a:prstGeom>
          <a:noFill/>
          <a:ln cap="flat">
            <a:noFill/>
          </a:ln>
        </p:spPr>
      </p:pic>
      <p:sp>
        <p:nvSpPr>
          <p:cNvPr id="2" name="Titel 1">
            <a:extLst>
              <a:ext uri="{FF2B5EF4-FFF2-40B4-BE49-F238E27FC236}">
                <a16:creationId xmlns:a16="http://schemas.microsoft.com/office/drawing/2014/main" id="{EAD2BF2E-823B-054C-F3B2-C3C6F95550AB}"/>
              </a:ext>
            </a:extLst>
          </p:cNvPr>
          <p:cNvSpPr>
            <a:spLocks noGrp="1"/>
          </p:cNvSpPr>
          <p:nvPr>
            <p:ph type="title"/>
          </p:nvPr>
        </p:nvSpPr>
        <p:spPr/>
        <p:txBody>
          <a:bodyPr/>
          <a:lstStyle/>
          <a:p>
            <a:r>
              <a:rPr lang="da-DK" dirty="0"/>
              <a:t>Dialogmøde </a:t>
            </a:r>
            <a:br>
              <a:rPr lang="da-DK" dirty="0"/>
            </a:br>
            <a:endParaRPr lang="da-DK" dirty="0"/>
          </a:p>
        </p:txBody>
      </p:sp>
      <p:sp>
        <p:nvSpPr>
          <p:cNvPr id="4" name="Pladsholder til tekst 3">
            <a:extLst>
              <a:ext uri="{FF2B5EF4-FFF2-40B4-BE49-F238E27FC236}">
                <a16:creationId xmlns:a16="http://schemas.microsoft.com/office/drawing/2014/main" id="{5E6666A5-CD35-A98A-3D5C-B43D5D8FDBB6}"/>
              </a:ext>
            </a:extLst>
          </p:cNvPr>
          <p:cNvSpPr>
            <a:spLocks noGrp="1"/>
          </p:cNvSpPr>
          <p:nvPr>
            <p:ph type="body" sz="quarter" idx="15"/>
          </p:nvPr>
        </p:nvSpPr>
        <p:spPr/>
        <p:txBody>
          <a:bodyPr/>
          <a:lstStyle/>
          <a:p>
            <a:r>
              <a:rPr lang="da-DK" sz="2400" b="1" dirty="0">
                <a:ea typeface="+mj-ea"/>
              </a:rPr>
              <a:t>9. december 2025</a:t>
            </a:r>
          </a:p>
        </p:txBody>
      </p:sp>
      <p:sp>
        <p:nvSpPr>
          <p:cNvPr id="5" name="Pladsholder til tekst 4">
            <a:extLst>
              <a:ext uri="{FF2B5EF4-FFF2-40B4-BE49-F238E27FC236}">
                <a16:creationId xmlns:a16="http://schemas.microsoft.com/office/drawing/2014/main" id="{BD3D82E3-B4F9-8C30-644B-54DCDAB14451}"/>
              </a:ext>
            </a:extLst>
          </p:cNvPr>
          <p:cNvSpPr>
            <a:spLocks noGrp="1"/>
          </p:cNvSpPr>
          <p:nvPr>
            <p:ph type="body" sz="quarter" idx="18"/>
          </p:nvPr>
        </p:nvSpPr>
        <p:spPr/>
        <p:txBody>
          <a:bodyPr/>
          <a:lstStyle/>
          <a:p>
            <a:endParaRPr lang="da-DK"/>
          </a:p>
        </p:txBody>
      </p:sp>
      <p:sp>
        <p:nvSpPr>
          <p:cNvPr id="6" name="Pladsholder til tekst 5">
            <a:extLst>
              <a:ext uri="{FF2B5EF4-FFF2-40B4-BE49-F238E27FC236}">
                <a16:creationId xmlns:a16="http://schemas.microsoft.com/office/drawing/2014/main" id="{4D5B4EAC-1D19-83E1-AEF6-F1EFE03186B4}"/>
              </a:ext>
            </a:extLst>
          </p:cNvPr>
          <p:cNvSpPr>
            <a:spLocks noGrp="1"/>
          </p:cNvSpPr>
          <p:nvPr>
            <p:ph type="body" sz="quarter" idx="11"/>
          </p:nvPr>
        </p:nvSpPr>
        <p:spPr/>
        <p:txBody>
          <a:bodyPr/>
          <a:lstStyle/>
          <a:p>
            <a:r>
              <a:rPr lang="da-DK"/>
              <a:t>Borgerblikket</a:t>
            </a:r>
          </a:p>
        </p:txBody>
      </p:sp>
    </p:spTree>
    <p:extLst>
      <p:ext uri="{BB962C8B-B14F-4D97-AF65-F5344CB8AC3E}">
        <p14:creationId xmlns:p14="http://schemas.microsoft.com/office/powerpoint/2010/main" val="5005980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CDD837-72DB-3BEC-1777-8EF6AEE2C9F9}"/>
            </a:ext>
          </a:extLst>
        </p:cNvPr>
        <p:cNvGrpSpPr/>
        <p:nvPr/>
      </p:nvGrpSpPr>
      <p:grpSpPr>
        <a:xfrm>
          <a:off x="0" y="0"/>
          <a:ext cx="0" cy="0"/>
          <a:chOff x="0" y="0"/>
          <a:chExt cx="0" cy="0"/>
        </a:xfrm>
      </p:grpSpPr>
      <p:pic>
        <p:nvPicPr>
          <p:cNvPr id="7" name="Billede 6">
            <a:extLst>
              <a:ext uri="{FF2B5EF4-FFF2-40B4-BE49-F238E27FC236}">
                <a16:creationId xmlns:a16="http://schemas.microsoft.com/office/drawing/2014/main" id="{DE309297-0627-EE3C-3716-643D7885FA0B}"/>
              </a:ext>
            </a:extLst>
          </p:cNvPr>
          <p:cNvPicPr>
            <a:picLocks noChangeAspect="1"/>
          </p:cNvPicPr>
          <p:nvPr/>
        </p:nvPicPr>
        <p:blipFill>
          <a:blip r:embed="rId3"/>
          <a:stretch>
            <a:fillRect/>
          </a:stretch>
        </p:blipFill>
        <p:spPr>
          <a:xfrm>
            <a:off x="1" y="0"/>
            <a:ext cx="5894240" cy="5143500"/>
          </a:xfrm>
          <a:prstGeom prst="rect">
            <a:avLst/>
          </a:prstGeom>
        </p:spPr>
      </p:pic>
      <p:sp>
        <p:nvSpPr>
          <p:cNvPr id="2" name="Pladsholder til dato 1">
            <a:extLst>
              <a:ext uri="{FF2B5EF4-FFF2-40B4-BE49-F238E27FC236}">
                <a16:creationId xmlns:a16="http://schemas.microsoft.com/office/drawing/2014/main" id="{05E717C7-8A9C-6791-1E2B-A39CBB686DC4}"/>
              </a:ext>
            </a:extLst>
          </p:cNvPr>
          <p:cNvSpPr>
            <a:spLocks noGrp="1"/>
          </p:cNvSpPr>
          <p:nvPr>
            <p:ph type="dt" sz="half" idx="10"/>
          </p:nvPr>
        </p:nvSpPr>
        <p:spPr/>
        <p:txBody>
          <a:bodyPr/>
          <a:lstStyle/>
          <a:p>
            <a:pPr defTabSz="685800"/>
            <a:fld id="{A2446D3D-F608-46B7-8E05-81FCF9BDF507}" type="datetime2">
              <a:rPr lang="da-DK">
                <a:solidFill>
                  <a:srgbClr val="3F1A2B"/>
                </a:solidFill>
                <a:latin typeface="Franklin Gothic Book"/>
              </a:rPr>
              <a:pPr defTabSz="685800"/>
              <a:t>11. december 2025</a:t>
            </a:fld>
            <a:endParaRPr lang="da-DK">
              <a:solidFill>
                <a:srgbClr val="3F1A2B"/>
              </a:solidFill>
              <a:latin typeface="Franklin Gothic Book"/>
            </a:endParaRPr>
          </a:p>
        </p:txBody>
      </p:sp>
      <p:sp>
        <p:nvSpPr>
          <p:cNvPr id="3" name="Pladsholder til sidefod 2">
            <a:extLst>
              <a:ext uri="{FF2B5EF4-FFF2-40B4-BE49-F238E27FC236}">
                <a16:creationId xmlns:a16="http://schemas.microsoft.com/office/drawing/2014/main" id="{88AB012F-0B05-A5F1-B206-92805D57524F}"/>
              </a:ext>
            </a:extLst>
          </p:cNvPr>
          <p:cNvSpPr>
            <a:spLocks noGrp="1"/>
          </p:cNvSpPr>
          <p:nvPr>
            <p:ph type="ftr" sz="quarter" idx="11"/>
          </p:nvPr>
        </p:nvSpPr>
        <p:spPr/>
        <p:txBody>
          <a:bodyPr/>
          <a:lstStyle/>
          <a:p>
            <a:pPr defTabSz="685800"/>
            <a:r>
              <a:rPr lang="da-DK">
                <a:solidFill>
                  <a:srgbClr val="3F1A2B"/>
                </a:solidFill>
                <a:latin typeface="Franklin Gothic Book"/>
              </a:rPr>
              <a:t>Digitaliseringsstyrelsen</a:t>
            </a:r>
          </a:p>
        </p:txBody>
      </p:sp>
      <p:sp>
        <p:nvSpPr>
          <p:cNvPr id="4" name="Pladsholder til slidenummer 3">
            <a:extLst>
              <a:ext uri="{FF2B5EF4-FFF2-40B4-BE49-F238E27FC236}">
                <a16:creationId xmlns:a16="http://schemas.microsoft.com/office/drawing/2014/main" id="{F4D4D4BD-6E18-E53E-441F-355777C1346A}"/>
              </a:ext>
            </a:extLst>
          </p:cNvPr>
          <p:cNvSpPr>
            <a:spLocks noGrp="1"/>
          </p:cNvSpPr>
          <p:nvPr>
            <p:ph type="sldNum" sz="quarter" idx="12"/>
          </p:nvPr>
        </p:nvSpPr>
        <p:spPr/>
        <p:txBody>
          <a:bodyPr/>
          <a:lstStyle/>
          <a:p>
            <a:pPr defTabSz="685800"/>
            <a:fld id="{24C8C45C-947F-4981-8B3F-4F32E973C901}" type="slidenum">
              <a:rPr lang="da-DK">
                <a:solidFill>
                  <a:srgbClr val="3F1A2B"/>
                </a:solidFill>
                <a:latin typeface="Franklin Gothic Book"/>
              </a:rPr>
              <a:pPr defTabSz="685800"/>
              <a:t>20</a:t>
            </a:fld>
            <a:endParaRPr lang="da-DK">
              <a:solidFill>
                <a:srgbClr val="3F1A2B"/>
              </a:solidFill>
              <a:latin typeface="Franklin Gothic Book"/>
            </a:endParaRPr>
          </a:p>
        </p:txBody>
      </p:sp>
      <p:pic>
        <p:nvPicPr>
          <p:cNvPr id="10" name="Billede 9">
            <a:extLst>
              <a:ext uri="{FF2B5EF4-FFF2-40B4-BE49-F238E27FC236}">
                <a16:creationId xmlns:a16="http://schemas.microsoft.com/office/drawing/2014/main" id="{7C67FB17-7E6B-59DD-6BB0-CBEAF3DC03D0}"/>
              </a:ext>
            </a:extLst>
          </p:cNvPr>
          <p:cNvPicPr>
            <a:picLocks noChangeAspect="1"/>
          </p:cNvPicPr>
          <p:nvPr/>
        </p:nvPicPr>
        <p:blipFill>
          <a:blip r:embed="rId4"/>
          <a:stretch>
            <a:fillRect/>
          </a:stretch>
        </p:blipFill>
        <p:spPr>
          <a:xfrm>
            <a:off x="221922" y="1815137"/>
            <a:ext cx="380442" cy="380442"/>
          </a:xfrm>
          <a:prstGeom prst="rect">
            <a:avLst/>
          </a:prstGeom>
        </p:spPr>
      </p:pic>
      <p:pic>
        <p:nvPicPr>
          <p:cNvPr id="11" name="Billede 10">
            <a:extLst>
              <a:ext uri="{FF2B5EF4-FFF2-40B4-BE49-F238E27FC236}">
                <a16:creationId xmlns:a16="http://schemas.microsoft.com/office/drawing/2014/main" id="{CB9A6AE8-1843-27A1-BC2E-9976FFEAD973}"/>
              </a:ext>
            </a:extLst>
          </p:cNvPr>
          <p:cNvPicPr>
            <a:picLocks noChangeAspect="1"/>
          </p:cNvPicPr>
          <p:nvPr/>
        </p:nvPicPr>
        <p:blipFill>
          <a:blip r:embed="rId4"/>
          <a:stretch>
            <a:fillRect/>
          </a:stretch>
        </p:blipFill>
        <p:spPr>
          <a:xfrm>
            <a:off x="223777" y="2276876"/>
            <a:ext cx="380442" cy="380442"/>
          </a:xfrm>
          <a:prstGeom prst="rect">
            <a:avLst/>
          </a:prstGeom>
        </p:spPr>
      </p:pic>
      <p:pic>
        <p:nvPicPr>
          <p:cNvPr id="12" name="Billede 11">
            <a:extLst>
              <a:ext uri="{FF2B5EF4-FFF2-40B4-BE49-F238E27FC236}">
                <a16:creationId xmlns:a16="http://schemas.microsoft.com/office/drawing/2014/main" id="{EDA483EA-598F-09D6-516A-4198BE13F165}"/>
              </a:ext>
            </a:extLst>
          </p:cNvPr>
          <p:cNvPicPr>
            <a:picLocks noChangeAspect="1"/>
          </p:cNvPicPr>
          <p:nvPr/>
        </p:nvPicPr>
        <p:blipFill>
          <a:blip r:embed="rId4"/>
          <a:stretch>
            <a:fillRect/>
          </a:stretch>
        </p:blipFill>
        <p:spPr>
          <a:xfrm>
            <a:off x="211684" y="4091023"/>
            <a:ext cx="380442" cy="380442"/>
          </a:xfrm>
          <a:prstGeom prst="rect">
            <a:avLst/>
          </a:prstGeom>
        </p:spPr>
      </p:pic>
    </p:spTree>
    <p:extLst>
      <p:ext uri="{BB962C8B-B14F-4D97-AF65-F5344CB8AC3E}">
        <p14:creationId xmlns:p14="http://schemas.microsoft.com/office/powerpoint/2010/main" val="4197839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731F7A-7BF8-2FC4-5B6D-8B9DE74BFE45}"/>
            </a:ext>
          </a:extLst>
        </p:cNvPr>
        <p:cNvGrpSpPr/>
        <p:nvPr/>
      </p:nvGrpSpPr>
      <p:grpSpPr>
        <a:xfrm>
          <a:off x="0" y="0"/>
          <a:ext cx="0" cy="0"/>
          <a:chOff x="0" y="0"/>
          <a:chExt cx="0" cy="0"/>
        </a:xfrm>
      </p:grpSpPr>
      <p:pic>
        <p:nvPicPr>
          <p:cNvPr id="8" name="Billede 7">
            <a:extLst>
              <a:ext uri="{FF2B5EF4-FFF2-40B4-BE49-F238E27FC236}">
                <a16:creationId xmlns:a16="http://schemas.microsoft.com/office/drawing/2014/main" id="{2F8581CD-4B6A-00EC-9769-E28A6E589E41}"/>
              </a:ext>
            </a:extLst>
          </p:cNvPr>
          <p:cNvPicPr>
            <a:picLocks noChangeAspect="1"/>
          </p:cNvPicPr>
          <p:nvPr/>
        </p:nvPicPr>
        <p:blipFill>
          <a:blip r:embed="rId3"/>
          <a:stretch>
            <a:fillRect/>
          </a:stretch>
        </p:blipFill>
        <p:spPr>
          <a:xfrm>
            <a:off x="689053" y="405102"/>
            <a:ext cx="7765895" cy="4050000"/>
          </a:xfrm>
          <a:prstGeom prst="rect">
            <a:avLst/>
          </a:prstGeom>
        </p:spPr>
      </p:pic>
      <p:sp>
        <p:nvSpPr>
          <p:cNvPr id="2" name="Pladsholder til dato 1">
            <a:extLst>
              <a:ext uri="{FF2B5EF4-FFF2-40B4-BE49-F238E27FC236}">
                <a16:creationId xmlns:a16="http://schemas.microsoft.com/office/drawing/2014/main" id="{55F75E74-D37D-8F80-3CCB-6D17B80DBBF9}"/>
              </a:ext>
            </a:extLst>
          </p:cNvPr>
          <p:cNvSpPr>
            <a:spLocks noGrp="1"/>
          </p:cNvSpPr>
          <p:nvPr>
            <p:ph type="dt" sz="half" idx="10"/>
          </p:nvPr>
        </p:nvSpPr>
        <p:spPr/>
        <p:txBody>
          <a:bodyPr/>
          <a:lstStyle/>
          <a:p>
            <a:pPr defTabSz="685800"/>
            <a:fld id="{A2446D3D-F608-46B7-8E05-81FCF9BDF507}" type="datetime2">
              <a:rPr lang="da-DK">
                <a:solidFill>
                  <a:srgbClr val="3F1A2B"/>
                </a:solidFill>
                <a:latin typeface="Franklin Gothic Book"/>
              </a:rPr>
              <a:pPr defTabSz="685800"/>
              <a:t>11. december 2025</a:t>
            </a:fld>
            <a:endParaRPr lang="da-DK">
              <a:solidFill>
                <a:srgbClr val="3F1A2B"/>
              </a:solidFill>
              <a:latin typeface="Franklin Gothic Book"/>
            </a:endParaRPr>
          </a:p>
        </p:txBody>
      </p:sp>
      <p:sp>
        <p:nvSpPr>
          <p:cNvPr id="3" name="Pladsholder til sidefod 2">
            <a:extLst>
              <a:ext uri="{FF2B5EF4-FFF2-40B4-BE49-F238E27FC236}">
                <a16:creationId xmlns:a16="http://schemas.microsoft.com/office/drawing/2014/main" id="{136C6084-E3A3-E419-ABD2-6B74306A8012}"/>
              </a:ext>
            </a:extLst>
          </p:cNvPr>
          <p:cNvSpPr>
            <a:spLocks noGrp="1"/>
          </p:cNvSpPr>
          <p:nvPr>
            <p:ph type="ftr" sz="quarter" idx="11"/>
          </p:nvPr>
        </p:nvSpPr>
        <p:spPr/>
        <p:txBody>
          <a:bodyPr/>
          <a:lstStyle/>
          <a:p>
            <a:pPr defTabSz="685800"/>
            <a:r>
              <a:rPr lang="da-DK">
                <a:solidFill>
                  <a:srgbClr val="3F1A2B"/>
                </a:solidFill>
                <a:latin typeface="Franklin Gothic Book"/>
              </a:rPr>
              <a:t>Digitaliseringsstyrelsen</a:t>
            </a:r>
          </a:p>
        </p:txBody>
      </p:sp>
      <p:sp>
        <p:nvSpPr>
          <p:cNvPr id="4" name="Pladsholder til slidenummer 3">
            <a:extLst>
              <a:ext uri="{FF2B5EF4-FFF2-40B4-BE49-F238E27FC236}">
                <a16:creationId xmlns:a16="http://schemas.microsoft.com/office/drawing/2014/main" id="{200DF732-E5C9-BAD1-9EE0-87F8F17C5BF9}"/>
              </a:ext>
            </a:extLst>
          </p:cNvPr>
          <p:cNvSpPr>
            <a:spLocks noGrp="1"/>
          </p:cNvSpPr>
          <p:nvPr>
            <p:ph type="sldNum" sz="quarter" idx="12"/>
          </p:nvPr>
        </p:nvSpPr>
        <p:spPr/>
        <p:txBody>
          <a:bodyPr/>
          <a:lstStyle/>
          <a:p>
            <a:pPr defTabSz="685800"/>
            <a:fld id="{24C8C45C-947F-4981-8B3F-4F32E973C901}" type="slidenum">
              <a:rPr lang="da-DK">
                <a:solidFill>
                  <a:srgbClr val="3F1A2B"/>
                </a:solidFill>
                <a:latin typeface="Franklin Gothic Book"/>
              </a:rPr>
              <a:pPr defTabSz="685800"/>
              <a:t>21</a:t>
            </a:fld>
            <a:endParaRPr lang="da-DK">
              <a:solidFill>
                <a:srgbClr val="3F1A2B"/>
              </a:solidFill>
              <a:latin typeface="Franklin Gothic Book"/>
            </a:endParaRPr>
          </a:p>
        </p:txBody>
      </p:sp>
      <p:sp>
        <p:nvSpPr>
          <p:cNvPr id="7" name="Ellipse 6">
            <a:extLst>
              <a:ext uri="{FF2B5EF4-FFF2-40B4-BE49-F238E27FC236}">
                <a16:creationId xmlns:a16="http://schemas.microsoft.com/office/drawing/2014/main" id="{7F41650E-5DEC-6005-3073-609F408CEFC0}"/>
              </a:ext>
            </a:extLst>
          </p:cNvPr>
          <p:cNvSpPr/>
          <p:nvPr/>
        </p:nvSpPr>
        <p:spPr>
          <a:xfrm>
            <a:off x="6017995" y="1567079"/>
            <a:ext cx="1080000" cy="1080000"/>
          </a:xfrm>
          <a:prstGeom prst="ellipse">
            <a:avLst/>
          </a:prstGeom>
          <a:noFill/>
          <a:ln w="25400">
            <a:solidFill>
              <a:srgbClr val="4D783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endParaRPr lang="da-DK" sz="1200" err="1">
              <a:solidFill>
                <a:srgbClr val="FFFFFF"/>
              </a:solidFill>
              <a:latin typeface="Franklin Gothic Book"/>
            </a:endParaRPr>
          </a:p>
        </p:txBody>
      </p:sp>
    </p:spTree>
    <p:extLst>
      <p:ext uri="{BB962C8B-B14F-4D97-AF65-F5344CB8AC3E}">
        <p14:creationId xmlns:p14="http://schemas.microsoft.com/office/powerpoint/2010/main" val="23242758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2D03AED5-0D8C-49D0-4ECA-3ECAC4A0AE08}"/>
              </a:ext>
            </a:extLst>
          </p:cNvPr>
          <p:cNvSpPr>
            <a:spLocks noGrp="1"/>
          </p:cNvSpPr>
          <p:nvPr>
            <p:ph type="dt" sz="half" idx="10"/>
          </p:nvPr>
        </p:nvSpPr>
        <p:spPr/>
        <p:txBody>
          <a:bodyPr/>
          <a:lstStyle/>
          <a:p>
            <a:pPr defTabSz="685800"/>
            <a:fld id="{A2446D3D-F608-46B7-8E05-81FCF9BDF507}" type="datetime2">
              <a:rPr lang="da-DK">
                <a:solidFill>
                  <a:srgbClr val="3F1A2B"/>
                </a:solidFill>
                <a:latin typeface="Franklin Gothic Book"/>
              </a:rPr>
              <a:pPr defTabSz="685800"/>
              <a:t>11. december 2025</a:t>
            </a:fld>
            <a:endParaRPr lang="da-DK">
              <a:solidFill>
                <a:srgbClr val="3F1A2B"/>
              </a:solidFill>
              <a:latin typeface="Franklin Gothic Book"/>
            </a:endParaRPr>
          </a:p>
        </p:txBody>
      </p:sp>
      <p:sp>
        <p:nvSpPr>
          <p:cNvPr id="3" name="Pladsholder til sidefod 2">
            <a:extLst>
              <a:ext uri="{FF2B5EF4-FFF2-40B4-BE49-F238E27FC236}">
                <a16:creationId xmlns:a16="http://schemas.microsoft.com/office/drawing/2014/main" id="{D79F502E-A4BD-18DB-781D-423EF36C3EE0}"/>
              </a:ext>
            </a:extLst>
          </p:cNvPr>
          <p:cNvSpPr>
            <a:spLocks noGrp="1"/>
          </p:cNvSpPr>
          <p:nvPr>
            <p:ph type="ftr" sz="quarter" idx="11"/>
          </p:nvPr>
        </p:nvSpPr>
        <p:spPr/>
        <p:txBody>
          <a:bodyPr/>
          <a:lstStyle/>
          <a:p>
            <a:pPr defTabSz="685800"/>
            <a:r>
              <a:rPr lang="da-DK">
                <a:solidFill>
                  <a:srgbClr val="3F1A2B"/>
                </a:solidFill>
                <a:latin typeface="Franklin Gothic Book"/>
              </a:rPr>
              <a:t>Digitaliseringsstyrelsen</a:t>
            </a:r>
          </a:p>
        </p:txBody>
      </p:sp>
      <p:sp>
        <p:nvSpPr>
          <p:cNvPr id="4" name="Pladsholder til slidenummer 3">
            <a:extLst>
              <a:ext uri="{FF2B5EF4-FFF2-40B4-BE49-F238E27FC236}">
                <a16:creationId xmlns:a16="http://schemas.microsoft.com/office/drawing/2014/main" id="{DE6AC474-B486-E693-9ACB-7C900AA3DAFE}"/>
              </a:ext>
            </a:extLst>
          </p:cNvPr>
          <p:cNvSpPr>
            <a:spLocks noGrp="1"/>
          </p:cNvSpPr>
          <p:nvPr>
            <p:ph type="sldNum" sz="quarter" idx="12"/>
          </p:nvPr>
        </p:nvSpPr>
        <p:spPr/>
        <p:txBody>
          <a:bodyPr/>
          <a:lstStyle/>
          <a:p>
            <a:pPr defTabSz="685800"/>
            <a:fld id="{24C8C45C-947F-4981-8B3F-4F32E973C901}" type="slidenum">
              <a:rPr lang="da-DK">
                <a:solidFill>
                  <a:srgbClr val="3F1A2B"/>
                </a:solidFill>
                <a:latin typeface="Franklin Gothic Book"/>
              </a:rPr>
              <a:pPr defTabSz="685800"/>
              <a:t>22</a:t>
            </a:fld>
            <a:endParaRPr lang="da-DK">
              <a:solidFill>
                <a:srgbClr val="3F1A2B"/>
              </a:solidFill>
              <a:latin typeface="Franklin Gothic Book"/>
            </a:endParaRPr>
          </a:p>
        </p:txBody>
      </p:sp>
      <p:pic>
        <p:nvPicPr>
          <p:cNvPr id="7" name="Billede 6">
            <a:extLst>
              <a:ext uri="{FF2B5EF4-FFF2-40B4-BE49-F238E27FC236}">
                <a16:creationId xmlns:a16="http://schemas.microsoft.com/office/drawing/2014/main" id="{23A77030-1451-982F-1CAE-0AA08D26242C}"/>
              </a:ext>
            </a:extLst>
          </p:cNvPr>
          <p:cNvPicPr>
            <a:picLocks noChangeAspect="1"/>
          </p:cNvPicPr>
          <p:nvPr/>
        </p:nvPicPr>
        <p:blipFill>
          <a:blip r:embed="rId3"/>
          <a:stretch>
            <a:fillRect/>
          </a:stretch>
        </p:blipFill>
        <p:spPr>
          <a:xfrm>
            <a:off x="631800" y="528075"/>
            <a:ext cx="7975385" cy="2160000"/>
          </a:xfrm>
          <a:prstGeom prst="rect">
            <a:avLst/>
          </a:prstGeom>
        </p:spPr>
      </p:pic>
    </p:spTree>
    <p:extLst>
      <p:ext uri="{BB962C8B-B14F-4D97-AF65-F5344CB8AC3E}">
        <p14:creationId xmlns:p14="http://schemas.microsoft.com/office/powerpoint/2010/main" val="30102274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idefod 2">
            <a:extLst>
              <a:ext uri="{FF2B5EF4-FFF2-40B4-BE49-F238E27FC236}">
                <a16:creationId xmlns:a16="http://schemas.microsoft.com/office/drawing/2014/main" id="{6A2FD5D6-E414-1876-B928-D03D1A55B19A}"/>
              </a:ext>
            </a:extLst>
          </p:cNvPr>
          <p:cNvSpPr>
            <a:spLocks noGrp="1"/>
          </p:cNvSpPr>
          <p:nvPr>
            <p:ph type="ftr" sz="quarter" idx="11"/>
          </p:nvPr>
        </p:nvSpPr>
        <p:spPr/>
        <p:txBody>
          <a:bodyPr/>
          <a:lstStyle/>
          <a:p>
            <a:pPr defTabSz="685800"/>
            <a:r>
              <a:rPr lang="da-DK">
                <a:solidFill>
                  <a:srgbClr val="3F1A2B"/>
                </a:solidFill>
                <a:latin typeface="Franklin Gothic Book"/>
              </a:rPr>
              <a:t>Digitaliseringsstyrelsen</a:t>
            </a:r>
          </a:p>
        </p:txBody>
      </p:sp>
      <p:sp>
        <p:nvSpPr>
          <p:cNvPr id="4" name="Pladsholder til slidenummer 3">
            <a:extLst>
              <a:ext uri="{FF2B5EF4-FFF2-40B4-BE49-F238E27FC236}">
                <a16:creationId xmlns:a16="http://schemas.microsoft.com/office/drawing/2014/main" id="{CBAB11BB-65BA-70FE-DDC5-2FFBD5601667}"/>
              </a:ext>
            </a:extLst>
          </p:cNvPr>
          <p:cNvSpPr>
            <a:spLocks noGrp="1"/>
          </p:cNvSpPr>
          <p:nvPr>
            <p:ph type="sldNum" sz="quarter" idx="12"/>
          </p:nvPr>
        </p:nvSpPr>
        <p:spPr/>
        <p:txBody>
          <a:bodyPr/>
          <a:lstStyle/>
          <a:p>
            <a:pPr defTabSz="685800"/>
            <a:fld id="{24C8C45C-947F-4981-8B3F-4F32E973C901}" type="slidenum">
              <a:rPr lang="da-DK">
                <a:solidFill>
                  <a:srgbClr val="3F1A2B"/>
                </a:solidFill>
                <a:latin typeface="Franklin Gothic Book"/>
              </a:rPr>
              <a:pPr defTabSz="685800"/>
              <a:t>23</a:t>
            </a:fld>
            <a:endParaRPr lang="da-DK">
              <a:solidFill>
                <a:srgbClr val="3F1A2B"/>
              </a:solidFill>
              <a:latin typeface="Franklin Gothic Book"/>
            </a:endParaRPr>
          </a:p>
        </p:txBody>
      </p:sp>
      <p:pic>
        <p:nvPicPr>
          <p:cNvPr id="7" name="Billede 6">
            <a:extLst>
              <a:ext uri="{FF2B5EF4-FFF2-40B4-BE49-F238E27FC236}">
                <a16:creationId xmlns:a16="http://schemas.microsoft.com/office/drawing/2014/main" id="{9A5A998C-5339-FF8F-7FA8-C316CDD215A8}"/>
              </a:ext>
            </a:extLst>
          </p:cNvPr>
          <p:cNvPicPr>
            <a:picLocks noChangeAspect="1"/>
          </p:cNvPicPr>
          <p:nvPr/>
        </p:nvPicPr>
        <p:blipFill>
          <a:blip r:embed="rId3"/>
          <a:stretch>
            <a:fillRect/>
          </a:stretch>
        </p:blipFill>
        <p:spPr>
          <a:xfrm>
            <a:off x="314766" y="1221441"/>
            <a:ext cx="4099903" cy="2700618"/>
          </a:xfrm>
          <a:prstGeom prst="rect">
            <a:avLst/>
          </a:prstGeom>
        </p:spPr>
      </p:pic>
      <p:pic>
        <p:nvPicPr>
          <p:cNvPr id="8" name="Billede 7">
            <a:extLst>
              <a:ext uri="{FF2B5EF4-FFF2-40B4-BE49-F238E27FC236}">
                <a16:creationId xmlns:a16="http://schemas.microsoft.com/office/drawing/2014/main" id="{7785052E-D57F-24D6-6E92-550250822A49}"/>
              </a:ext>
            </a:extLst>
          </p:cNvPr>
          <p:cNvPicPr>
            <a:picLocks noChangeAspect="1"/>
          </p:cNvPicPr>
          <p:nvPr/>
        </p:nvPicPr>
        <p:blipFill>
          <a:blip r:embed="rId4"/>
          <a:stretch>
            <a:fillRect/>
          </a:stretch>
        </p:blipFill>
        <p:spPr>
          <a:xfrm>
            <a:off x="4729333" y="1221441"/>
            <a:ext cx="4099903" cy="2700618"/>
          </a:xfrm>
          <a:prstGeom prst="rect">
            <a:avLst/>
          </a:prstGeom>
        </p:spPr>
      </p:pic>
      <p:pic>
        <p:nvPicPr>
          <p:cNvPr id="23" name="Grafik 22" descr="Markør med massiv udfyldning">
            <a:extLst>
              <a:ext uri="{FF2B5EF4-FFF2-40B4-BE49-F238E27FC236}">
                <a16:creationId xmlns:a16="http://schemas.microsoft.com/office/drawing/2014/main" id="{437DB7A8-8E1B-E1B8-581A-281B99D764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04752" y="2143464"/>
            <a:ext cx="161218" cy="161218"/>
          </a:xfrm>
          <a:prstGeom prst="rect">
            <a:avLst/>
          </a:prstGeom>
        </p:spPr>
      </p:pic>
      <p:cxnSp>
        <p:nvCxnSpPr>
          <p:cNvPr id="25" name="Lige pilforbindelse 24">
            <a:extLst>
              <a:ext uri="{FF2B5EF4-FFF2-40B4-BE49-F238E27FC236}">
                <a16:creationId xmlns:a16="http://schemas.microsoft.com/office/drawing/2014/main" id="{C80914E1-62F0-A259-506D-FF62B55CA9EE}"/>
              </a:ext>
            </a:extLst>
          </p:cNvPr>
          <p:cNvCxnSpPr/>
          <p:nvPr/>
        </p:nvCxnSpPr>
        <p:spPr>
          <a:xfrm>
            <a:off x="1965970" y="2220278"/>
            <a:ext cx="2688898" cy="0"/>
          </a:xfrm>
          <a:prstGeom prst="straightConnector1">
            <a:avLst/>
          </a:prstGeom>
          <a:ln w="19050" cap="flat" cmpd="sng" algn="ctr">
            <a:solidFill>
              <a:srgbClr val="3F1A2B"/>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5" name="Titel 2">
            <a:extLst>
              <a:ext uri="{FF2B5EF4-FFF2-40B4-BE49-F238E27FC236}">
                <a16:creationId xmlns:a16="http://schemas.microsoft.com/office/drawing/2014/main" id="{B9C272DF-0496-F987-02B3-4704CE67E43C}"/>
              </a:ext>
            </a:extLst>
          </p:cNvPr>
          <p:cNvSpPr txBox="1">
            <a:spLocks/>
          </p:cNvSpPr>
          <p:nvPr/>
        </p:nvSpPr>
        <p:spPr>
          <a:xfrm>
            <a:off x="682176" y="646046"/>
            <a:ext cx="4434601" cy="931069"/>
          </a:xfrm>
          <a:prstGeom prst="rect">
            <a:avLst/>
          </a:prstGeom>
        </p:spPr>
        <p:txBody>
          <a:bodyPr vert="horz" lIns="0" tIns="0" rIns="0" bIns="0" rtlCol="0" anchor="t" anchorCtr="0">
            <a:noAutofit/>
          </a:bodyPr>
          <a:lstStyle>
            <a:lvl1pPr algn="l" defTabSz="914400" rtl="0" eaLnBrk="1" latinLnBrk="0" hangingPunct="1">
              <a:lnSpc>
                <a:spcPct val="83000"/>
              </a:lnSpc>
              <a:spcBef>
                <a:spcPct val="0"/>
              </a:spcBef>
              <a:buNone/>
              <a:defRPr sz="3200" kern="1200">
                <a:solidFill>
                  <a:schemeClr val="accent1"/>
                </a:solidFill>
                <a:latin typeface="+mj-lt"/>
                <a:ea typeface="+mj-ea"/>
                <a:cs typeface="+mj-cs"/>
              </a:defRPr>
            </a:lvl1pPr>
          </a:lstStyle>
          <a:p>
            <a:pPr defTabSz="685800"/>
            <a:r>
              <a:rPr lang="da-DK" sz="2400" b="1">
                <a:solidFill>
                  <a:srgbClr val="3F1A2B"/>
                </a:solidFill>
                <a:latin typeface="Franklin Gothic Book"/>
              </a:rPr>
              <a:t>Personvælger</a:t>
            </a:r>
          </a:p>
        </p:txBody>
      </p:sp>
    </p:spTree>
    <p:extLst>
      <p:ext uri="{BB962C8B-B14F-4D97-AF65-F5344CB8AC3E}">
        <p14:creationId xmlns:p14="http://schemas.microsoft.com/office/powerpoint/2010/main" val="12301259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7FC044-DF55-5856-0EDB-44AD9FDB805F}"/>
            </a:ext>
          </a:extLst>
        </p:cNvPr>
        <p:cNvGrpSpPr/>
        <p:nvPr/>
      </p:nvGrpSpPr>
      <p:grpSpPr>
        <a:xfrm>
          <a:off x="0" y="0"/>
          <a:ext cx="0" cy="0"/>
          <a:chOff x="0" y="0"/>
          <a:chExt cx="0" cy="0"/>
        </a:xfrm>
      </p:grpSpPr>
      <p:sp>
        <p:nvSpPr>
          <p:cNvPr id="3" name="Pladsholder til sidefod 2">
            <a:extLst>
              <a:ext uri="{FF2B5EF4-FFF2-40B4-BE49-F238E27FC236}">
                <a16:creationId xmlns:a16="http://schemas.microsoft.com/office/drawing/2014/main" id="{CEEA726B-850E-C09F-E36B-5E9B17D82013}"/>
              </a:ext>
            </a:extLst>
          </p:cNvPr>
          <p:cNvSpPr>
            <a:spLocks noGrp="1"/>
          </p:cNvSpPr>
          <p:nvPr>
            <p:ph type="ftr" sz="quarter" idx="11"/>
          </p:nvPr>
        </p:nvSpPr>
        <p:spPr/>
        <p:txBody>
          <a:bodyPr/>
          <a:lstStyle/>
          <a:p>
            <a:pPr defTabSz="685800"/>
            <a:r>
              <a:rPr lang="da-DK">
                <a:solidFill>
                  <a:srgbClr val="3F1A2B"/>
                </a:solidFill>
                <a:latin typeface="Franklin Gothic Book"/>
              </a:rPr>
              <a:t>Digitaliseringsstyrelsen</a:t>
            </a:r>
          </a:p>
        </p:txBody>
      </p:sp>
      <p:pic>
        <p:nvPicPr>
          <p:cNvPr id="5" name="Billede 4">
            <a:extLst>
              <a:ext uri="{FF2B5EF4-FFF2-40B4-BE49-F238E27FC236}">
                <a16:creationId xmlns:a16="http://schemas.microsoft.com/office/drawing/2014/main" id="{93C07999-B545-14C5-D889-AF3B61FE2D95}"/>
              </a:ext>
            </a:extLst>
          </p:cNvPr>
          <p:cNvPicPr>
            <a:picLocks noChangeAspect="1"/>
          </p:cNvPicPr>
          <p:nvPr/>
        </p:nvPicPr>
        <p:blipFill>
          <a:blip r:embed="rId3"/>
          <a:stretch>
            <a:fillRect/>
          </a:stretch>
        </p:blipFill>
        <p:spPr>
          <a:xfrm>
            <a:off x="1" y="0"/>
            <a:ext cx="6967904" cy="5143500"/>
          </a:xfrm>
          <a:prstGeom prst="rect">
            <a:avLst/>
          </a:prstGeom>
        </p:spPr>
      </p:pic>
    </p:spTree>
    <p:extLst>
      <p:ext uri="{BB962C8B-B14F-4D97-AF65-F5344CB8AC3E}">
        <p14:creationId xmlns:p14="http://schemas.microsoft.com/office/powerpoint/2010/main" val="37329824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1D3BF4-E1E3-EA29-94AB-EC2615807A6B}"/>
            </a:ext>
          </a:extLst>
        </p:cNvPr>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B964C330-875C-AC7A-DD65-F1ECEF887089}"/>
              </a:ext>
            </a:extLst>
          </p:cNvPr>
          <p:cNvSpPr>
            <a:spLocks noGrp="1"/>
          </p:cNvSpPr>
          <p:nvPr>
            <p:ph type="dt" sz="half" idx="10"/>
          </p:nvPr>
        </p:nvSpPr>
        <p:spPr/>
        <p:txBody>
          <a:bodyPr/>
          <a:lstStyle/>
          <a:p>
            <a:pPr defTabSz="685800"/>
            <a:fld id="{41969349-67F1-41F8-83EC-133BBA9F9E3B}" type="datetime2">
              <a:rPr lang="da-DK">
                <a:solidFill>
                  <a:srgbClr val="3F1A2B"/>
                </a:solidFill>
                <a:latin typeface="Franklin Gothic Book"/>
              </a:rPr>
              <a:pPr defTabSz="685800"/>
              <a:t>11. december 2025</a:t>
            </a:fld>
            <a:endParaRPr lang="da-DK">
              <a:solidFill>
                <a:srgbClr val="3F1A2B"/>
              </a:solidFill>
              <a:latin typeface="Franklin Gothic Book"/>
            </a:endParaRPr>
          </a:p>
        </p:txBody>
      </p:sp>
      <p:sp>
        <p:nvSpPr>
          <p:cNvPr id="6" name="Pladsholder til sidefod 5">
            <a:extLst>
              <a:ext uri="{FF2B5EF4-FFF2-40B4-BE49-F238E27FC236}">
                <a16:creationId xmlns:a16="http://schemas.microsoft.com/office/drawing/2014/main" id="{E1B5ADA7-64AB-D897-98F2-BBC14FAE9CFC}"/>
              </a:ext>
            </a:extLst>
          </p:cNvPr>
          <p:cNvSpPr>
            <a:spLocks noGrp="1"/>
          </p:cNvSpPr>
          <p:nvPr>
            <p:ph type="ftr" sz="quarter" idx="11"/>
          </p:nvPr>
        </p:nvSpPr>
        <p:spPr/>
        <p:txBody>
          <a:bodyPr/>
          <a:lstStyle/>
          <a:p>
            <a:pPr defTabSz="685800"/>
            <a:r>
              <a:rPr lang="da-DK">
                <a:solidFill>
                  <a:srgbClr val="3F1A2B"/>
                </a:solidFill>
                <a:latin typeface="Franklin Gothic Book"/>
              </a:rPr>
              <a:t>Digitaliseringsstyrelsen</a:t>
            </a:r>
          </a:p>
        </p:txBody>
      </p:sp>
      <p:sp>
        <p:nvSpPr>
          <p:cNvPr id="7" name="Pladsholder til slidenummer 6">
            <a:extLst>
              <a:ext uri="{FF2B5EF4-FFF2-40B4-BE49-F238E27FC236}">
                <a16:creationId xmlns:a16="http://schemas.microsoft.com/office/drawing/2014/main" id="{C26A7BC8-6688-B277-8891-1EF671968201}"/>
              </a:ext>
            </a:extLst>
          </p:cNvPr>
          <p:cNvSpPr>
            <a:spLocks noGrp="1"/>
          </p:cNvSpPr>
          <p:nvPr>
            <p:ph type="sldNum" sz="quarter" idx="12"/>
          </p:nvPr>
        </p:nvSpPr>
        <p:spPr/>
        <p:txBody>
          <a:bodyPr/>
          <a:lstStyle/>
          <a:p>
            <a:pPr defTabSz="685800"/>
            <a:fld id="{24C8C45C-947F-4981-8B3F-4F32E973C901}" type="slidenum">
              <a:rPr lang="da-DK">
                <a:solidFill>
                  <a:srgbClr val="3F1A2B"/>
                </a:solidFill>
                <a:latin typeface="Franklin Gothic Book"/>
              </a:rPr>
              <a:pPr defTabSz="685800"/>
              <a:t>25</a:t>
            </a:fld>
            <a:endParaRPr lang="da-DK">
              <a:solidFill>
                <a:srgbClr val="3F1A2B"/>
              </a:solidFill>
              <a:latin typeface="Franklin Gothic Book"/>
            </a:endParaRPr>
          </a:p>
        </p:txBody>
      </p:sp>
      <p:sp>
        <p:nvSpPr>
          <p:cNvPr id="3" name="Titel 2">
            <a:extLst>
              <a:ext uri="{FF2B5EF4-FFF2-40B4-BE49-F238E27FC236}">
                <a16:creationId xmlns:a16="http://schemas.microsoft.com/office/drawing/2014/main" id="{93BAB012-716B-380A-3503-B332BF6C5118}"/>
              </a:ext>
            </a:extLst>
          </p:cNvPr>
          <p:cNvSpPr>
            <a:spLocks noGrp="1"/>
          </p:cNvSpPr>
          <p:nvPr>
            <p:ph type="ctrTitle" idx="4294967295"/>
          </p:nvPr>
        </p:nvSpPr>
        <p:spPr>
          <a:xfrm>
            <a:off x="682176" y="646046"/>
            <a:ext cx="4434601" cy="931069"/>
          </a:xfrm>
        </p:spPr>
        <p:txBody>
          <a:bodyPr/>
          <a:lstStyle/>
          <a:p>
            <a:r>
              <a:rPr lang="da-DK" b="1"/>
              <a:t>Sager – med fuldmagt</a:t>
            </a:r>
          </a:p>
        </p:txBody>
      </p:sp>
      <p:pic>
        <p:nvPicPr>
          <p:cNvPr id="2" name="Billede 1">
            <a:extLst>
              <a:ext uri="{FF2B5EF4-FFF2-40B4-BE49-F238E27FC236}">
                <a16:creationId xmlns:a16="http://schemas.microsoft.com/office/drawing/2014/main" id="{B965FCA9-E290-58F4-3A78-6EBCD9834784}"/>
              </a:ext>
            </a:extLst>
          </p:cNvPr>
          <p:cNvPicPr>
            <a:picLocks noChangeAspect="1"/>
          </p:cNvPicPr>
          <p:nvPr/>
        </p:nvPicPr>
        <p:blipFill>
          <a:blip r:embed="rId3"/>
          <a:stretch>
            <a:fillRect/>
          </a:stretch>
        </p:blipFill>
        <p:spPr>
          <a:xfrm>
            <a:off x="682176" y="1033723"/>
            <a:ext cx="5829300" cy="3839777"/>
          </a:xfrm>
          <a:prstGeom prst="rect">
            <a:avLst/>
          </a:prstGeom>
        </p:spPr>
      </p:pic>
    </p:spTree>
    <p:extLst>
      <p:ext uri="{BB962C8B-B14F-4D97-AF65-F5344CB8AC3E}">
        <p14:creationId xmlns:p14="http://schemas.microsoft.com/office/powerpoint/2010/main" val="27920031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D0C46-F87D-40A9-4201-309BFF36F2D5}"/>
            </a:ext>
          </a:extLst>
        </p:cNvPr>
        <p:cNvGrpSpPr/>
        <p:nvPr/>
      </p:nvGrpSpPr>
      <p:grpSpPr>
        <a:xfrm>
          <a:off x="0" y="0"/>
          <a:ext cx="0" cy="0"/>
          <a:chOff x="0" y="0"/>
          <a:chExt cx="0" cy="0"/>
        </a:xfrm>
      </p:grpSpPr>
      <p:pic>
        <p:nvPicPr>
          <p:cNvPr id="23" name="Billede 22">
            <a:extLst>
              <a:ext uri="{FF2B5EF4-FFF2-40B4-BE49-F238E27FC236}">
                <a16:creationId xmlns:a16="http://schemas.microsoft.com/office/drawing/2014/main" id="{32FD60D7-B003-274F-BA3D-CEE020E5B092}"/>
              </a:ext>
            </a:extLst>
          </p:cNvPr>
          <p:cNvPicPr>
            <a:picLocks noChangeAspect="1"/>
          </p:cNvPicPr>
          <p:nvPr/>
        </p:nvPicPr>
        <p:blipFill>
          <a:blip r:embed="rId3"/>
          <a:srcRect b="24684"/>
          <a:stretch/>
        </p:blipFill>
        <p:spPr>
          <a:xfrm>
            <a:off x="682176" y="847035"/>
            <a:ext cx="3704005" cy="4149672"/>
          </a:xfrm>
          <a:prstGeom prst="rect">
            <a:avLst/>
          </a:prstGeom>
        </p:spPr>
      </p:pic>
      <p:sp>
        <p:nvSpPr>
          <p:cNvPr id="5" name="Pladsholder til dato 4">
            <a:extLst>
              <a:ext uri="{FF2B5EF4-FFF2-40B4-BE49-F238E27FC236}">
                <a16:creationId xmlns:a16="http://schemas.microsoft.com/office/drawing/2014/main" id="{BA653197-0C4B-AD3E-57BE-1B8FCAEEF233}"/>
              </a:ext>
            </a:extLst>
          </p:cNvPr>
          <p:cNvSpPr>
            <a:spLocks noGrp="1"/>
          </p:cNvSpPr>
          <p:nvPr>
            <p:ph type="dt" sz="half" idx="10"/>
          </p:nvPr>
        </p:nvSpPr>
        <p:spPr/>
        <p:txBody>
          <a:bodyPr/>
          <a:lstStyle/>
          <a:p>
            <a:pPr defTabSz="685800"/>
            <a:fld id="{41969349-67F1-41F8-83EC-133BBA9F9E3B}" type="datetime2">
              <a:rPr lang="da-DK">
                <a:solidFill>
                  <a:srgbClr val="3F1A2B"/>
                </a:solidFill>
                <a:latin typeface="Franklin Gothic Book"/>
              </a:rPr>
              <a:pPr defTabSz="685800"/>
              <a:t>11. december 2025</a:t>
            </a:fld>
            <a:endParaRPr lang="da-DK">
              <a:solidFill>
                <a:srgbClr val="3F1A2B"/>
              </a:solidFill>
              <a:latin typeface="Franklin Gothic Book"/>
            </a:endParaRPr>
          </a:p>
        </p:txBody>
      </p:sp>
      <p:sp>
        <p:nvSpPr>
          <p:cNvPr id="6" name="Pladsholder til sidefod 5">
            <a:extLst>
              <a:ext uri="{FF2B5EF4-FFF2-40B4-BE49-F238E27FC236}">
                <a16:creationId xmlns:a16="http://schemas.microsoft.com/office/drawing/2014/main" id="{DBF3A9B8-72BC-0F55-8F21-A36CED75CB82}"/>
              </a:ext>
            </a:extLst>
          </p:cNvPr>
          <p:cNvSpPr>
            <a:spLocks noGrp="1"/>
          </p:cNvSpPr>
          <p:nvPr>
            <p:ph type="ftr" sz="quarter" idx="11"/>
          </p:nvPr>
        </p:nvSpPr>
        <p:spPr>
          <a:xfrm>
            <a:off x="4769044" y="4996707"/>
            <a:ext cx="3395183" cy="135000"/>
          </a:xfrm>
        </p:spPr>
        <p:txBody>
          <a:bodyPr/>
          <a:lstStyle/>
          <a:p>
            <a:pPr defTabSz="685800"/>
            <a:r>
              <a:rPr lang="da-DK">
                <a:solidFill>
                  <a:srgbClr val="3F1A2B"/>
                </a:solidFill>
                <a:latin typeface="Franklin Gothic Book"/>
              </a:rPr>
              <a:t>Digitaliseringsstyrelsen</a:t>
            </a:r>
          </a:p>
        </p:txBody>
      </p:sp>
      <p:sp>
        <p:nvSpPr>
          <p:cNvPr id="7" name="Pladsholder til slidenummer 6">
            <a:extLst>
              <a:ext uri="{FF2B5EF4-FFF2-40B4-BE49-F238E27FC236}">
                <a16:creationId xmlns:a16="http://schemas.microsoft.com/office/drawing/2014/main" id="{B9F31505-A788-8C87-39C2-968AE382B72D}"/>
              </a:ext>
            </a:extLst>
          </p:cNvPr>
          <p:cNvSpPr>
            <a:spLocks noGrp="1"/>
          </p:cNvSpPr>
          <p:nvPr>
            <p:ph type="sldNum" sz="quarter" idx="12"/>
          </p:nvPr>
        </p:nvSpPr>
        <p:spPr/>
        <p:txBody>
          <a:bodyPr/>
          <a:lstStyle/>
          <a:p>
            <a:pPr defTabSz="685800"/>
            <a:fld id="{24C8C45C-947F-4981-8B3F-4F32E973C901}" type="slidenum">
              <a:rPr lang="da-DK">
                <a:solidFill>
                  <a:srgbClr val="3F1A2B"/>
                </a:solidFill>
                <a:latin typeface="Franklin Gothic Book"/>
              </a:rPr>
              <a:pPr defTabSz="685800"/>
              <a:t>26</a:t>
            </a:fld>
            <a:endParaRPr lang="da-DK">
              <a:solidFill>
                <a:srgbClr val="3F1A2B"/>
              </a:solidFill>
              <a:latin typeface="Franklin Gothic Book"/>
            </a:endParaRPr>
          </a:p>
        </p:txBody>
      </p:sp>
      <p:sp>
        <p:nvSpPr>
          <p:cNvPr id="3" name="Titel 2">
            <a:extLst>
              <a:ext uri="{FF2B5EF4-FFF2-40B4-BE49-F238E27FC236}">
                <a16:creationId xmlns:a16="http://schemas.microsoft.com/office/drawing/2014/main" id="{CF0DA797-7174-1CD5-96D7-D6B466A393DE}"/>
              </a:ext>
            </a:extLst>
          </p:cNvPr>
          <p:cNvSpPr>
            <a:spLocks noGrp="1"/>
          </p:cNvSpPr>
          <p:nvPr>
            <p:ph type="ctrTitle" idx="4294967295"/>
          </p:nvPr>
        </p:nvSpPr>
        <p:spPr>
          <a:xfrm>
            <a:off x="682176" y="458178"/>
            <a:ext cx="5802541" cy="388857"/>
          </a:xfrm>
        </p:spPr>
        <p:txBody>
          <a:bodyPr/>
          <a:lstStyle/>
          <a:p>
            <a:r>
              <a:rPr lang="da-DK" b="1"/>
              <a:t>Detaljesider – med fuldmagt</a:t>
            </a:r>
            <a:br>
              <a:rPr lang="da-DK" b="1"/>
            </a:br>
            <a:br>
              <a:rPr lang="da-DK" b="1"/>
            </a:br>
            <a:endParaRPr lang="da-DK" b="1"/>
          </a:p>
        </p:txBody>
      </p:sp>
    </p:spTree>
    <p:extLst>
      <p:ext uri="{BB962C8B-B14F-4D97-AF65-F5344CB8AC3E}">
        <p14:creationId xmlns:p14="http://schemas.microsoft.com/office/powerpoint/2010/main" val="27467311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9D16B5-CCC1-42F0-CB1B-AE66EDB717A8}"/>
            </a:ext>
          </a:extLst>
        </p:cNvPr>
        <p:cNvGrpSpPr/>
        <p:nvPr/>
      </p:nvGrpSpPr>
      <p:grpSpPr>
        <a:xfrm>
          <a:off x="0" y="0"/>
          <a:ext cx="0" cy="0"/>
          <a:chOff x="0" y="0"/>
          <a:chExt cx="0" cy="0"/>
        </a:xfrm>
      </p:grpSpPr>
      <p:sp>
        <p:nvSpPr>
          <p:cNvPr id="3" name="Pladsholder til sidefod 2">
            <a:extLst>
              <a:ext uri="{FF2B5EF4-FFF2-40B4-BE49-F238E27FC236}">
                <a16:creationId xmlns:a16="http://schemas.microsoft.com/office/drawing/2014/main" id="{714D2819-BF46-6197-7729-9AB7D91FAD7B}"/>
              </a:ext>
            </a:extLst>
          </p:cNvPr>
          <p:cNvSpPr>
            <a:spLocks noGrp="1"/>
          </p:cNvSpPr>
          <p:nvPr>
            <p:ph type="ftr" sz="quarter" idx="11"/>
          </p:nvPr>
        </p:nvSpPr>
        <p:spPr/>
        <p:txBody>
          <a:bodyPr/>
          <a:lstStyle/>
          <a:p>
            <a:pPr defTabSz="685800"/>
            <a:r>
              <a:rPr lang="da-DK">
                <a:solidFill>
                  <a:srgbClr val="3F1A2B"/>
                </a:solidFill>
                <a:latin typeface="Franklin Gothic Book"/>
              </a:rPr>
              <a:t>Digitaliseringsstyrelsen</a:t>
            </a:r>
          </a:p>
        </p:txBody>
      </p:sp>
      <p:pic>
        <p:nvPicPr>
          <p:cNvPr id="5" name="Billede 4">
            <a:extLst>
              <a:ext uri="{FF2B5EF4-FFF2-40B4-BE49-F238E27FC236}">
                <a16:creationId xmlns:a16="http://schemas.microsoft.com/office/drawing/2014/main" id="{68794E91-0877-BB55-0619-341736DB52E3}"/>
              </a:ext>
            </a:extLst>
          </p:cNvPr>
          <p:cNvPicPr>
            <a:picLocks noChangeAspect="1"/>
          </p:cNvPicPr>
          <p:nvPr/>
        </p:nvPicPr>
        <p:blipFill>
          <a:blip r:embed="rId3"/>
          <a:stretch>
            <a:fillRect/>
          </a:stretch>
        </p:blipFill>
        <p:spPr>
          <a:xfrm>
            <a:off x="1" y="0"/>
            <a:ext cx="6967904" cy="5143500"/>
          </a:xfrm>
          <a:prstGeom prst="rect">
            <a:avLst/>
          </a:prstGeom>
        </p:spPr>
      </p:pic>
    </p:spTree>
    <p:extLst>
      <p:ext uri="{BB962C8B-B14F-4D97-AF65-F5344CB8AC3E}">
        <p14:creationId xmlns:p14="http://schemas.microsoft.com/office/powerpoint/2010/main" val="39957324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23D113C-8B31-8870-31B7-E81659FBC02D}"/>
              </a:ext>
            </a:extLst>
          </p:cNvPr>
          <p:cNvSpPr>
            <a:spLocks noGrp="1"/>
          </p:cNvSpPr>
          <p:nvPr>
            <p:ph type="ctrTitle"/>
          </p:nvPr>
        </p:nvSpPr>
        <p:spPr/>
        <p:txBody>
          <a:bodyPr/>
          <a:lstStyle/>
          <a:p>
            <a:r>
              <a:rPr lang="da-DK"/>
              <a:t>Spørgsmål?</a:t>
            </a:r>
          </a:p>
        </p:txBody>
      </p:sp>
      <p:sp>
        <p:nvSpPr>
          <p:cNvPr id="4" name="Pladsholder til dato 3">
            <a:extLst>
              <a:ext uri="{FF2B5EF4-FFF2-40B4-BE49-F238E27FC236}">
                <a16:creationId xmlns:a16="http://schemas.microsoft.com/office/drawing/2014/main" id="{BE7329BC-668D-63BD-BDEA-37862B98D43A}"/>
              </a:ext>
            </a:extLst>
          </p:cNvPr>
          <p:cNvSpPr>
            <a:spLocks noGrp="1"/>
          </p:cNvSpPr>
          <p:nvPr>
            <p:ph type="dt" sz="half" idx="15"/>
          </p:nvPr>
        </p:nvSpPr>
        <p:spPr/>
        <p:txBody>
          <a:bodyPr/>
          <a:lstStyle/>
          <a:p>
            <a:pPr defTabSz="685800"/>
            <a:fld id="{C478D43B-6DB1-49ED-A3EC-43DFBB246817}" type="datetime2">
              <a:rPr lang="da-DK">
                <a:solidFill>
                  <a:srgbClr val="FFFFFF"/>
                </a:solidFill>
                <a:latin typeface="Franklin Gothic Book"/>
              </a:rPr>
              <a:pPr defTabSz="685800"/>
              <a:t>11. december 2025</a:t>
            </a:fld>
            <a:endParaRPr lang="da-DK">
              <a:solidFill>
                <a:srgbClr val="FFFFFF"/>
              </a:solidFill>
              <a:latin typeface="Franklin Gothic Book"/>
            </a:endParaRPr>
          </a:p>
        </p:txBody>
      </p:sp>
      <p:sp>
        <p:nvSpPr>
          <p:cNvPr id="5" name="Pladsholder til sidefod 4">
            <a:extLst>
              <a:ext uri="{FF2B5EF4-FFF2-40B4-BE49-F238E27FC236}">
                <a16:creationId xmlns:a16="http://schemas.microsoft.com/office/drawing/2014/main" id="{7F470B7A-10A3-E4EF-A5CB-052422FF8DC7}"/>
              </a:ext>
            </a:extLst>
          </p:cNvPr>
          <p:cNvSpPr>
            <a:spLocks noGrp="1"/>
          </p:cNvSpPr>
          <p:nvPr>
            <p:ph type="ftr" sz="quarter" idx="16"/>
          </p:nvPr>
        </p:nvSpPr>
        <p:spPr/>
        <p:txBody>
          <a:bodyPr/>
          <a:lstStyle/>
          <a:p>
            <a:pPr defTabSz="685800"/>
            <a:r>
              <a:rPr lang="da-DK">
                <a:solidFill>
                  <a:srgbClr val="FFFFFF"/>
                </a:solidFill>
                <a:latin typeface="Franklin Gothic Book"/>
              </a:rPr>
              <a:t>Digitaliseringsstyrelsen</a:t>
            </a:r>
          </a:p>
        </p:txBody>
      </p:sp>
      <p:sp>
        <p:nvSpPr>
          <p:cNvPr id="6" name="Pladsholder til slidenummer 5">
            <a:extLst>
              <a:ext uri="{FF2B5EF4-FFF2-40B4-BE49-F238E27FC236}">
                <a16:creationId xmlns:a16="http://schemas.microsoft.com/office/drawing/2014/main" id="{6D70D63A-40F5-E8A0-9D26-7F60E5A0AF27}"/>
              </a:ext>
            </a:extLst>
          </p:cNvPr>
          <p:cNvSpPr>
            <a:spLocks noGrp="1"/>
          </p:cNvSpPr>
          <p:nvPr>
            <p:ph type="sldNum" sz="quarter" idx="17"/>
          </p:nvPr>
        </p:nvSpPr>
        <p:spPr/>
        <p:txBody>
          <a:bodyPr/>
          <a:lstStyle/>
          <a:p>
            <a:pPr defTabSz="685800"/>
            <a:fld id="{24C8C45C-947F-4981-8B3F-4F32E973C901}" type="slidenum">
              <a:rPr lang="da-DK">
                <a:solidFill>
                  <a:srgbClr val="FFFFFF"/>
                </a:solidFill>
                <a:latin typeface="Franklin Gothic Book"/>
              </a:rPr>
              <a:pPr defTabSz="685800"/>
              <a:t>28</a:t>
            </a:fld>
            <a:endParaRPr lang="da-DK">
              <a:solidFill>
                <a:srgbClr val="FFFFFF"/>
              </a:solidFill>
              <a:latin typeface="Franklin Gothic Book"/>
            </a:endParaRPr>
          </a:p>
        </p:txBody>
      </p:sp>
    </p:spTree>
    <p:extLst>
      <p:ext uri="{BB962C8B-B14F-4D97-AF65-F5344CB8AC3E}">
        <p14:creationId xmlns:p14="http://schemas.microsoft.com/office/powerpoint/2010/main" val="7455517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C998856-BA43-6BF6-FA58-DB3716325F25}"/>
              </a:ext>
            </a:extLst>
          </p:cNvPr>
          <p:cNvSpPr>
            <a:spLocks noGrp="1"/>
          </p:cNvSpPr>
          <p:nvPr>
            <p:ph type="title"/>
          </p:nvPr>
        </p:nvSpPr>
        <p:spPr>
          <a:xfrm>
            <a:off x="411858" y="2224908"/>
            <a:ext cx="4099135" cy="621000"/>
          </a:xfrm>
        </p:spPr>
        <p:txBody>
          <a:bodyPr/>
          <a:lstStyle/>
          <a:p>
            <a:r>
              <a:rPr lang="da-DK"/>
              <a:t>Kommunikation og implementering</a:t>
            </a:r>
          </a:p>
        </p:txBody>
      </p:sp>
      <p:sp>
        <p:nvSpPr>
          <p:cNvPr id="2" name="Pladsholder til dato 1">
            <a:extLst>
              <a:ext uri="{FF2B5EF4-FFF2-40B4-BE49-F238E27FC236}">
                <a16:creationId xmlns:a16="http://schemas.microsoft.com/office/drawing/2014/main" id="{24840C3C-DB78-A155-95B5-285AC2C0711B}"/>
              </a:ext>
            </a:extLst>
          </p:cNvPr>
          <p:cNvSpPr>
            <a:spLocks noGrp="1"/>
          </p:cNvSpPr>
          <p:nvPr>
            <p:ph type="dt" sz="half" idx="19"/>
          </p:nvPr>
        </p:nvSpPr>
        <p:spPr/>
        <p:txBody>
          <a:bodyPr/>
          <a:lstStyle/>
          <a:p>
            <a:pPr defTabSz="685800"/>
            <a:fld id="{A2446D3D-F608-46B7-8E05-81FCF9BDF507}" type="datetime2">
              <a:rPr lang="da-DK">
                <a:solidFill>
                  <a:srgbClr val="FFFFFF"/>
                </a:solidFill>
                <a:latin typeface="Franklin Gothic Book"/>
              </a:rPr>
              <a:pPr defTabSz="685800"/>
              <a:t>11. december 2025</a:t>
            </a:fld>
            <a:endParaRPr lang="da-DK">
              <a:solidFill>
                <a:srgbClr val="FFFFFF"/>
              </a:solidFill>
              <a:latin typeface="Franklin Gothic Book"/>
            </a:endParaRPr>
          </a:p>
        </p:txBody>
      </p:sp>
      <p:sp>
        <p:nvSpPr>
          <p:cNvPr id="3" name="Pladsholder til sidefod 2">
            <a:extLst>
              <a:ext uri="{FF2B5EF4-FFF2-40B4-BE49-F238E27FC236}">
                <a16:creationId xmlns:a16="http://schemas.microsoft.com/office/drawing/2014/main" id="{321B7B24-6EFF-1C9B-6870-F41EEB21C474}"/>
              </a:ext>
            </a:extLst>
          </p:cNvPr>
          <p:cNvSpPr>
            <a:spLocks noGrp="1"/>
          </p:cNvSpPr>
          <p:nvPr>
            <p:ph type="ftr" sz="quarter" idx="20"/>
          </p:nvPr>
        </p:nvSpPr>
        <p:spPr/>
        <p:txBody>
          <a:bodyPr/>
          <a:lstStyle/>
          <a:p>
            <a:pPr defTabSz="685800"/>
            <a:r>
              <a:rPr lang="da-DK">
                <a:solidFill>
                  <a:srgbClr val="FFFFFF"/>
                </a:solidFill>
                <a:latin typeface="Franklin Gothic Book"/>
              </a:rPr>
              <a:t>Digitaliseringsstyrelsen</a:t>
            </a:r>
          </a:p>
        </p:txBody>
      </p:sp>
      <p:sp>
        <p:nvSpPr>
          <p:cNvPr id="4" name="Pladsholder til slidenummer 3">
            <a:extLst>
              <a:ext uri="{FF2B5EF4-FFF2-40B4-BE49-F238E27FC236}">
                <a16:creationId xmlns:a16="http://schemas.microsoft.com/office/drawing/2014/main" id="{FCCA82D7-9FAF-431D-ED62-07A87F92B245}"/>
              </a:ext>
            </a:extLst>
          </p:cNvPr>
          <p:cNvSpPr>
            <a:spLocks noGrp="1"/>
          </p:cNvSpPr>
          <p:nvPr>
            <p:ph type="sldNum" sz="quarter" idx="21"/>
          </p:nvPr>
        </p:nvSpPr>
        <p:spPr/>
        <p:txBody>
          <a:bodyPr/>
          <a:lstStyle/>
          <a:p>
            <a:pPr defTabSz="685800"/>
            <a:fld id="{24C8C45C-947F-4981-8B3F-4F32E973C901}" type="slidenum">
              <a:rPr lang="da-DK">
                <a:solidFill>
                  <a:srgbClr val="FFFFFF"/>
                </a:solidFill>
                <a:latin typeface="Franklin Gothic Book"/>
              </a:rPr>
              <a:pPr defTabSz="685800"/>
              <a:t>29</a:t>
            </a:fld>
            <a:endParaRPr lang="da-DK">
              <a:solidFill>
                <a:srgbClr val="FFFFFF"/>
              </a:solidFill>
              <a:latin typeface="Franklin Gothic Book"/>
            </a:endParaRPr>
          </a:p>
        </p:txBody>
      </p:sp>
    </p:spTree>
    <p:extLst>
      <p:ext uri="{BB962C8B-B14F-4D97-AF65-F5344CB8AC3E}">
        <p14:creationId xmlns:p14="http://schemas.microsoft.com/office/powerpoint/2010/main" val="22922620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dsholder til tekst 6">
            <a:extLst>
              <a:ext uri="{FF2B5EF4-FFF2-40B4-BE49-F238E27FC236}">
                <a16:creationId xmlns:a16="http://schemas.microsoft.com/office/drawing/2014/main" id="{FFF3D2D2-49F6-4B8E-8CBC-02C8B3911901}"/>
              </a:ext>
            </a:extLst>
          </p:cNvPr>
          <p:cNvSpPr>
            <a:spLocks noGrp="1"/>
          </p:cNvSpPr>
          <p:nvPr>
            <p:ph type="body" sz="quarter" idx="16"/>
          </p:nvPr>
        </p:nvSpPr>
        <p:spPr>
          <a:xfrm>
            <a:off x="0" y="3933209"/>
            <a:ext cx="9144000" cy="1059608"/>
          </a:xfrm>
          <a:solidFill>
            <a:srgbClr val="1A1914">
              <a:alpha val="59000"/>
            </a:srgbClr>
          </a:solidFill>
        </p:spPr>
        <p:txBody>
          <a:bodyPr/>
          <a:lstStyle/>
          <a:p>
            <a:pPr algn="ctr">
              <a:lnSpc>
                <a:spcPct val="100000"/>
              </a:lnSpc>
            </a:pPr>
            <a:r>
              <a:rPr lang="da-DK" sz="3000" dirty="0">
                <a:solidFill>
                  <a:schemeClr val="bg1"/>
                </a:solidFill>
              </a:rPr>
              <a:t>Lige lidt praktisk før vi går i gang</a:t>
            </a:r>
          </a:p>
        </p:txBody>
      </p:sp>
      <p:sp>
        <p:nvSpPr>
          <p:cNvPr id="3" name="Ellipse 2">
            <a:extLst>
              <a:ext uri="{FF2B5EF4-FFF2-40B4-BE49-F238E27FC236}">
                <a16:creationId xmlns:a16="http://schemas.microsoft.com/office/drawing/2014/main" id="{54FCCE73-F792-47FA-A2E9-D0786869BF92}"/>
              </a:ext>
            </a:extLst>
          </p:cNvPr>
          <p:cNvSpPr/>
          <p:nvPr/>
        </p:nvSpPr>
        <p:spPr>
          <a:xfrm>
            <a:off x="776134" y="2525422"/>
            <a:ext cx="2392925" cy="2392925"/>
          </a:xfrm>
          <a:prstGeom prst="ellipse">
            <a:avLst/>
          </a:prstGeom>
          <a:solidFill>
            <a:srgbClr val="4A5863">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050" dirty="0">
              <a:solidFill>
                <a:schemeClr val="bg1"/>
              </a:solidFill>
              <a:latin typeface="Trebuchet MS" panose="020B0603020202020204" pitchFamily="34" charset="0"/>
            </a:endParaRPr>
          </a:p>
        </p:txBody>
      </p:sp>
      <p:sp>
        <p:nvSpPr>
          <p:cNvPr id="8" name="Ellipse 7">
            <a:extLst>
              <a:ext uri="{FF2B5EF4-FFF2-40B4-BE49-F238E27FC236}">
                <a16:creationId xmlns:a16="http://schemas.microsoft.com/office/drawing/2014/main" id="{4CC75EFF-3603-4C0A-82F4-D6FB8083836A}"/>
              </a:ext>
            </a:extLst>
          </p:cNvPr>
          <p:cNvSpPr/>
          <p:nvPr/>
        </p:nvSpPr>
        <p:spPr>
          <a:xfrm>
            <a:off x="3266768" y="2525422"/>
            <a:ext cx="2392925" cy="2392925"/>
          </a:xfrm>
          <a:prstGeom prst="ellipse">
            <a:avLst/>
          </a:prstGeom>
          <a:solidFill>
            <a:srgbClr val="4A5863">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050" dirty="0">
              <a:solidFill>
                <a:schemeClr val="bg1"/>
              </a:solidFill>
              <a:latin typeface="Trebuchet MS" panose="020B0603020202020204" pitchFamily="34" charset="0"/>
            </a:endParaRPr>
          </a:p>
        </p:txBody>
      </p:sp>
      <p:sp>
        <p:nvSpPr>
          <p:cNvPr id="9" name="Tekstfelt 8">
            <a:extLst>
              <a:ext uri="{FF2B5EF4-FFF2-40B4-BE49-F238E27FC236}">
                <a16:creationId xmlns:a16="http://schemas.microsoft.com/office/drawing/2014/main" id="{95ABC60D-6DC6-47A5-BD16-90E9C07517AF}"/>
              </a:ext>
            </a:extLst>
          </p:cNvPr>
          <p:cNvSpPr txBox="1"/>
          <p:nvPr/>
        </p:nvSpPr>
        <p:spPr>
          <a:xfrm>
            <a:off x="817615" y="2974088"/>
            <a:ext cx="2264799" cy="1015663"/>
          </a:xfrm>
          <a:prstGeom prst="rect">
            <a:avLst/>
          </a:prstGeom>
          <a:noFill/>
        </p:spPr>
        <p:txBody>
          <a:bodyPr wrap="square" rtlCol="0">
            <a:spAutoFit/>
          </a:bodyPr>
          <a:lstStyle/>
          <a:p>
            <a:pPr algn="ctr"/>
            <a:r>
              <a:rPr lang="da-DK" sz="1500" dirty="0">
                <a:solidFill>
                  <a:schemeClr val="bg1"/>
                </a:solidFill>
                <a:latin typeface="Trebuchet MS" panose="020B0603020202020204" pitchFamily="34" charset="0"/>
              </a:rPr>
              <a:t>Vi optager og sender link til optagelse og præsentationen efter sessionen</a:t>
            </a:r>
          </a:p>
        </p:txBody>
      </p:sp>
      <p:sp>
        <p:nvSpPr>
          <p:cNvPr id="4" name="Tekstfelt 3">
            <a:extLst>
              <a:ext uri="{FF2B5EF4-FFF2-40B4-BE49-F238E27FC236}">
                <a16:creationId xmlns:a16="http://schemas.microsoft.com/office/drawing/2014/main" id="{E9CDD984-51A4-4B42-B4C8-E08B7114A8D4}"/>
              </a:ext>
            </a:extLst>
          </p:cNvPr>
          <p:cNvSpPr txBox="1"/>
          <p:nvPr/>
        </p:nvSpPr>
        <p:spPr>
          <a:xfrm>
            <a:off x="3364475" y="2944591"/>
            <a:ext cx="2197510" cy="323165"/>
          </a:xfrm>
          <a:prstGeom prst="rect">
            <a:avLst/>
          </a:prstGeom>
          <a:noFill/>
        </p:spPr>
        <p:txBody>
          <a:bodyPr wrap="square" rtlCol="0">
            <a:spAutoFit/>
          </a:bodyPr>
          <a:lstStyle/>
          <a:p>
            <a:pPr algn="ctr"/>
            <a:r>
              <a:rPr lang="da-DK" sz="1500" dirty="0">
                <a:solidFill>
                  <a:schemeClr val="bg1"/>
                </a:solidFill>
                <a:latin typeface="Trebuchet MS" panose="020B0603020202020204" pitchFamily="34" charset="0"/>
              </a:rPr>
              <a:t>Sluk jeres mikrofoner</a:t>
            </a:r>
          </a:p>
        </p:txBody>
      </p:sp>
      <p:sp>
        <p:nvSpPr>
          <p:cNvPr id="12" name="Ellipse 11">
            <a:extLst>
              <a:ext uri="{FF2B5EF4-FFF2-40B4-BE49-F238E27FC236}">
                <a16:creationId xmlns:a16="http://schemas.microsoft.com/office/drawing/2014/main" id="{71290BDA-AA95-491E-AA1A-E970F020D7AE}"/>
              </a:ext>
            </a:extLst>
          </p:cNvPr>
          <p:cNvSpPr/>
          <p:nvPr/>
        </p:nvSpPr>
        <p:spPr>
          <a:xfrm>
            <a:off x="5757400" y="2525422"/>
            <a:ext cx="2392925" cy="2392925"/>
          </a:xfrm>
          <a:prstGeom prst="ellipse">
            <a:avLst/>
          </a:prstGeom>
          <a:solidFill>
            <a:srgbClr val="4A5863">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050" dirty="0">
              <a:solidFill>
                <a:schemeClr val="bg1"/>
              </a:solidFill>
              <a:latin typeface="Trebuchet MS" panose="020B0603020202020204" pitchFamily="34" charset="0"/>
            </a:endParaRPr>
          </a:p>
        </p:txBody>
      </p:sp>
      <p:sp>
        <p:nvSpPr>
          <p:cNvPr id="13" name="Tekstfelt 12">
            <a:extLst>
              <a:ext uri="{FF2B5EF4-FFF2-40B4-BE49-F238E27FC236}">
                <a16:creationId xmlns:a16="http://schemas.microsoft.com/office/drawing/2014/main" id="{F7C15DE8-AE0F-4F41-AF31-31045B5A3CE9}"/>
              </a:ext>
            </a:extLst>
          </p:cNvPr>
          <p:cNvSpPr txBox="1"/>
          <p:nvPr/>
        </p:nvSpPr>
        <p:spPr>
          <a:xfrm>
            <a:off x="5891979" y="2944591"/>
            <a:ext cx="2197510" cy="1015663"/>
          </a:xfrm>
          <a:prstGeom prst="rect">
            <a:avLst/>
          </a:prstGeom>
          <a:noFill/>
        </p:spPr>
        <p:txBody>
          <a:bodyPr wrap="square" rtlCol="0">
            <a:spAutoFit/>
          </a:bodyPr>
          <a:lstStyle/>
          <a:p>
            <a:pPr algn="ctr"/>
            <a:r>
              <a:rPr lang="da-DK" sz="1500" dirty="0">
                <a:solidFill>
                  <a:schemeClr val="bg1"/>
                </a:solidFill>
                <a:latin typeface="Trebuchet MS" panose="020B0603020202020204" pitchFamily="34" charset="0"/>
              </a:rPr>
              <a:t>Ræk hånden op hvis du har spørgsmål, så tier vi stille og giver mikrofonen til jer </a:t>
            </a:r>
            <a:r>
              <a:rPr lang="da-DK" sz="1500" dirty="0">
                <a:solidFill>
                  <a:schemeClr val="bg1"/>
                </a:solidFill>
                <a:latin typeface="Trebuchet MS" panose="020B0603020202020204" pitchFamily="34" charset="0"/>
                <a:sym typeface="Wingdings" panose="05000000000000000000" pitchFamily="2" charset="2"/>
              </a:rPr>
              <a:t></a:t>
            </a:r>
            <a:endParaRPr lang="da-DK" sz="1500" dirty="0">
              <a:solidFill>
                <a:schemeClr val="bg1"/>
              </a:solidFill>
              <a:latin typeface="Trebuchet MS" panose="020B0603020202020204" pitchFamily="34" charset="0"/>
            </a:endParaRPr>
          </a:p>
        </p:txBody>
      </p:sp>
      <p:sp>
        <p:nvSpPr>
          <p:cNvPr id="18" name="Pladsholder til tekst 6">
            <a:extLst>
              <a:ext uri="{FF2B5EF4-FFF2-40B4-BE49-F238E27FC236}">
                <a16:creationId xmlns:a16="http://schemas.microsoft.com/office/drawing/2014/main" id="{CB271A16-B6E4-42A4-A608-B51383403568}"/>
              </a:ext>
            </a:extLst>
          </p:cNvPr>
          <p:cNvSpPr txBox="1">
            <a:spLocks/>
          </p:cNvSpPr>
          <p:nvPr/>
        </p:nvSpPr>
        <p:spPr>
          <a:xfrm>
            <a:off x="0" y="4083892"/>
            <a:ext cx="9144000" cy="1059608"/>
          </a:xfrm>
          <a:prstGeom prst="rect">
            <a:avLst/>
          </a:prstGeom>
          <a:solidFill>
            <a:srgbClr val="1A1914">
              <a:alpha val="59000"/>
            </a:srgbClr>
          </a:solidFill>
          <a:ln>
            <a:noFill/>
          </a:ln>
        </p:spPr>
        <p:txBody>
          <a:bodyPr vert="horz" lIns="0" tIns="0" rIns="0" bIns="0" rtlCol="0" anchor="t" anchorCtr="0">
            <a:noAutofit/>
          </a:bodyPr>
          <a:lstStyle>
            <a:lvl1pPr marL="0" indent="0" algn="l" defTabSz="914400" rtl="0" eaLnBrk="1" latinLnBrk="0" hangingPunct="1">
              <a:lnSpc>
                <a:spcPts val="2600"/>
              </a:lnSpc>
              <a:spcBef>
                <a:spcPts val="0"/>
              </a:spcBef>
              <a:buFont typeface="Arial" panose="020B0604020202020204" pitchFamily="34" charset="0"/>
              <a:buNone/>
              <a:defRPr sz="2200" b="0" kern="1200" baseline="0">
                <a:solidFill>
                  <a:schemeClr val="tx1"/>
                </a:solidFill>
                <a:latin typeface="Trebuchet MS" panose="020B0603020202020204" pitchFamily="34" charset="0"/>
                <a:ea typeface="+mn-ea"/>
                <a:cs typeface="+mn-cs"/>
              </a:defRPr>
            </a:lvl1pPr>
            <a:lvl2pPr marL="0" indent="0" algn="l" defTabSz="914400" rtl="0" eaLnBrk="1" latinLnBrk="0" hangingPunct="1">
              <a:lnSpc>
                <a:spcPts val="2600"/>
              </a:lnSpc>
              <a:spcBef>
                <a:spcPts val="0"/>
              </a:spcBef>
              <a:buFont typeface="Arial" panose="020B0604020202020204" pitchFamily="34" charset="0"/>
              <a:buNone/>
              <a:defRPr sz="2200" b="1" kern="1200">
                <a:solidFill>
                  <a:schemeClr val="accent1"/>
                </a:solidFill>
                <a:latin typeface="Trebuchet MS" panose="020B0603020202020204" pitchFamily="34" charset="0"/>
                <a:ea typeface="+mn-ea"/>
                <a:cs typeface="+mn-cs"/>
              </a:defRPr>
            </a:lvl2pPr>
            <a:lvl3pPr marL="180000" indent="-180000" algn="l" defTabSz="360000" rtl="0" eaLnBrk="1" latinLnBrk="0" hangingPunct="1">
              <a:spcBef>
                <a:spcPts val="0"/>
              </a:spcBef>
              <a:buFont typeface="Arial" panose="020B0604020202020204" pitchFamily="34" charset="0"/>
              <a:buChar char="•"/>
              <a:defRPr sz="2200" kern="1200">
                <a:solidFill>
                  <a:schemeClr val="tx1"/>
                </a:solidFill>
                <a:latin typeface="Trebuchet MS" panose="020B0603020202020204" pitchFamily="34" charset="0"/>
                <a:ea typeface="+mn-ea"/>
                <a:cs typeface="+mn-cs"/>
              </a:defRPr>
            </a:lvl3pPr>
            <a:lvl4pPr marL="538163" indent="-180975" algn="l" defTabSz="914400" rtl="0" eaLnBrk="1" latinLnBrk="0" hangingPunct="1">
              <a:lnSpc>
                <a:spcPts val="2400"/>
              </a:lnSpc>
              <a:spcBef>
                <a:spcPts val="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4pPr>
            <a:lvl5pPr marL="900000" indent="-180000" algn="l" defTabSz="914400" rtl="0" eaLnBrk="1" latinLnBrk="0" hangingPunct="1">
              <a:lnSpc>
                <a:spcPts val="2000"/>
              </a:lnSpc>
              <a:spcBef>
                <a:spcPts val="0"/>
              </a:spcBef>
              <a:buFont typeface="Arial" panose="020B0604020202020204" pitchFamily="34" charset="0"/>
              <a:buChar char="•"/>
              <a:defRPr sz="1700" kern="1200">
                <a:solidFill>
                  <a:schemeClr val="tx1"/>
                </a:solidFill>
                <a:latin typeface="Trebuchet MS" panose="020B0603020202020204" pitchFamily="34" charset="0"/>
                <a:ea typeface="+mn-ea"/>
                <a:cs typeface="+mn-cs"/>
              </a:defRPr>
            </a:lvl5pPr>
            <a:lvl6pPr marL="1188000" indent="-180000" algn="l" defTabSz="914400" rtl="0" eaLnBrk="1" latinLnBrk="0" hangingPunct="1">
              <a:lnSpc>
                <a:spcPts val="2200"/>
              </a:lnSpc>
              <a:spcBef>
                <a:spcPts val="0"/>
              </a:spcBef>
              <a:buFont typeface="Arial" panose="020B0604020202020204" pitchFamily="34" charset="0"/>
              <a:buChar char="•"/>
              <a:defRPr sz="1500" kern="1200">
                <a:solidFill>
                  <a:schemeClr val="tx1"/>
                </a:solidFill>
                <a:latin typeface="+mn-lt"/>
                <a:ea typeface="+mn-ea"/>
                <a:cs typeface="+mn-cs"/>
              </a:defRPr>
            </a:lvl6pPr>
            <a:lvl7pPr marL="1524000"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188436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24631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lnSpc>
                <a:spcPct val="100000"/>
              </a:lnSpc>
            </a:pPr>
            <a:r>
              <a:rPr lang="da-DK" sz="3000" dirty="0">
                <a:solidFill>
                  <a:schemeClr val="bg1"/>
                </a:solidFill>
              </a:rPr>
              <a:t>Lige lidt praktisk før vi går i gang</a:t>
            </a:r>
          </a:p>
        </p:txBody>
      </p:sp>
      <p:sp>
        <p:nvSpPr>
          <p:cNvPr id="19" name="Ellipse 18">
            <a:extLst>
              <a:ext uri="{FF2B5EF4-FFF2-40B4-BE49-F238E27FC236}">
                <a16:creationId xmlns:a16="http://schemas.microsoft.com/office/drawing/2014/main" id="{A0393709-7CC1-4646-AB56-D212808AC82E}"/>
              </a:ext>
            </a:extLst>
          </p:cNvPr>
          <p:cNvSpPr/>
          <p:nvPr/>
        </p:nvSpPr>
        <p:spPr>
          <a:xfrm>
            <a:off x="639712" y="611818"/>
            <a:ext cx="2392925" cy="2392925"/>
          </a:xfrm>
          <a:prstGeom prst="ellipse">
            <a:avLst/>
          </a:prstGeom>
          <a:solidFill>
            <a:srgbClr val="4A5863">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050" dirty="0">
              <a:solidFill>
                <a:schemeClr val="bg1"/>
              </a:solidFill>
              <a:latin typeface="Trebuchet MS" panose="020B0603020202020204" pitchFamily="34" charset="0"/>
            </a:endParaRPr>
          </a:p>
        </p:txBody>
      </p:sp>
      <p:sp>
        <p:nvSpPr>
          <p:cNvPr id="20" name="Ellipse 19">
            <a:extLst>
              <a:ext uri="{FF2B5EF4-FFF2-40B4-BE49-F238E27FC236}">
                <a16:creationId xmlns:a16="http://schemas.microsoft.com/office/drawing/2014/main" id="{284BFE38-0DD7-46EA-A918-1B50270AD730}"/>
              </a:ext>
            </a:extLst>
          </p:cNvPr>
          <p:cNvSpPr/>
          <p:nvPr/>
        </p:nvSpPr>
        <p:spPr>
          <a:xfrm>
            <a:off x="3322075" y="545450"/>
            <a:ext cx="2392925" cy="2392925"/>
          </a:xfrm>
          <a:prstGeom prst="ellipse">
            <a:avLst/>
          </a:prstGeom>
          <a:solidFill>
            <a:srgbClr val="4A5863">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050" dirty="0">
              <a:solidFill>
                <a:schemeClr val="bg1"/>
              </a:solidFill>
              <a:latin typeface="Trebuchet MS" panose="020B0603020202020204" pitchFamily="34" charset="0"/>
            </a:endParaRPr>
          </a:p>
        </p:txBody>
      </p:sp>
      <p:sp>
        <p:nvSpPr>
          <p:cNvPr id="21" name="Tekstfelt 20">
            <a:extLst>
              <a:ext uri="{FF2B5EF4-FFF2-40B4-BE49-F238E27FC236}">
                <a16:creationId xmlns:a16="http://schemas.microsoft.com/office/drawing/2014/main" id="{A8CF89E0-E3E4-41D0-AEA8-E7B93BBAA639}"/>
              </a:ext>
            </a:extLst>
          </p:cNvPr>
          <p:cNvSpPr txBox="1"/>
          <p:nvPr/>
        </p:nvSpPr>
        <p:spPr>
          <a:xfrm>
            <a:off x="695940" y="1348078"/>
            <a:ext cx="2264799" cy="1015663"/>
          </a:xfrm>
          <a:prstGeom prst="rect">
            <a:avLst/>
          </a:prstGeom>
          <a:noFill/>
        </p:spPr>
        <p:txBody>
          <a:bodyPr wrap="square" rtlCol="0">
            <a:spAutoFit/>
          </a:bodyPr>
          <a:lstStyle/>
          <a:p>
            <a:pPr algn="ctr"/>
            <a:r>
              <a:rPr lang="da-DK" sz="1500" dirty="0">
                <a:solidFill>
                  <a:schemeClr val="bg1"/>
                </a:solidFill>
                <a:latin typeface="Trebuchet MS" panose="020B0603020202020204" pitchFamily="34" charset="0"/>
              </a:rPr>
              <a:t>Vi optager og sender link til optagelse og præsentationen efter sessionen</a:t>
            </a:r>
          </a:p>
        </p:txBody>
      </p:sp>
      <p:sp>
        <p:nvSpPr>
          <p:cNvPr id="22" name="Tekstfelt 21">
            <a:extLst>
              <a:ext uri="{FF2B5EF4-FFF2-40B4-BE49-F238E27FC236}">
                <a16:creationId xmlns:a16="http://schemas.microsoft.com/office/drawing/2014/main" id="{DF322486-A283-4405-9CB1-CD1F3D967176}"/>
              </a:ext>
            </a:extLst>
          </p:cNvPr>
          <p:cNvSpPr txBox="1"/>
          <p:nvPr/>
        </p:nvSpPr>
        <p:spPr>
          <a:xfrm>
            <a:off x="3449278" y="1429194"/>
            <a:ext cx="2197510" cy="323165"/>
          </a:xfrm>
          <a:prstGeom prst="rect">
            <a:avLst/>
          </a:prstGeom>
          <a:noFill/>
        </p:spPr>
        <p:txBody>
          <a:bodyPr wrap="square" rtlCol="0">
            <a:spAutoFit/>
          </a:bodyPr>
          <a:lstStyle/>
          <a:p>
            <a:pPr algn="ctr"/>
            <a:r>
              <a:rPr lang="da-DK" sz="1500" dirty="0">
                <a:solidFill>
                  <a:schemeClr val="bg1"/>
                </a:solidFill>
                <a:latin typeface="Trebuchet MS" panose="020B0603020202020204" pitchFamily="34" charset="0"/>
              </a:rPr>
              <a:t>Sluk jeres mikrofoner</a:t>
            </a:r>
          </a:p>
        </p:txBody>
      </p:sp>
      <p:sp>
        <p:nvSpPr>
          <p:cNvPr id="23" name="Ellipse 22">
            <a:extLst>
              <a:ext uri="{FF2B5EF4-FFF2-40B4-BE49-F238E27FC236}">
                <a16:creationId xmlns:a16="http://schemas.microsoft.com/office/drawing/2014/main" id="{035A231D-D570-4936-A3BF-F75C015D415B}"/>
              </a:ext>
            </a:extLst>
          </p:cNvPr>
          <p:cNvSpPr/>
          <p:nvPr/>
        </p:nvSpPr>
        <p:spPr>
          <a:xfrm>
            <a:off x="6085552" y="567573"/>
            <a:ext cx="2392925" cy="2392925"/>
          </a:xfrm>
          <a:prstGeom prst="ellipse">
            <a:avLst/>
          </a:prstGeom>
          <a:solidFill>
            <a:srgbClr val="4A5863">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050" dirty="0">
              <a:solidFill>
                <a:schemeClr val="bg1"/>
              </a:solidFill>
              <a:latin typeface="Trebuchet MS" panose="020B0603020202020204" pitchFamily="34" charset="0"/>
            </a:endParaRPr>
          </a:p>
        </p:txBody>
      </p:sp>
      <p:sp>
        <p:nvSpPr>
          <p:cNvPr id="24" name="Tekstfelt 23">
            <a:extLst>
              <a:ext uri="{FF2B5EF4-FFF2-40B4-BE49-F238E27FC236}">
                <a16:creationId xmlns:a16="http://schemas.microsoft.com/office/drawing/2014/main" id="{916EAFE5-B95F-49D5-B9AE-AFE66DBFD282}"/>
              </a:ext>
            </a:extLst>
          </p:cNvPr>
          <p:cNvSpPr txBox="1"/>
          <p:nvPr/>
        </p:nvSpPr>
        <p:spPr>
          <a:xfrm>
            <a:off x="6234879" y="1296458"/>
            <a:ext cx="2197510" cy="1015663"/>
          </a:xfrm>
          <a:prstGeom prst="rect">
            <a:avLst/>
          </a:prstGeom>
          <a:noFill/>
        </p:spPr>
        <p:txBody>
          <a:bodyPr wrap="square" rtlCol="0">
            <a:spAutoFit/>
          </a:bodyPr>
          <a:lstStyle/>
          <a:p>
            <a:pPr algn="ctr"/>
            <a:r>
              <a:rPr lang="da-DK" sz="1500" dirty="0">
                <a:solidFill>
                  <a:schemeClr val="bg1"/>
                </a:solidFill>
                <a:latin typeface="Trebuchet MS" panose="020B0603020202020204" pitchFamily="34" charset="0"/>
              </a:rPr>
              <a:t>Ræk hånden op hvis du har spørgsmål, så tier vi stille og giver mikrofonen til jer </a:t>
            </a:r>
            <a:r>
              <a:rPr lang="da-DK" sz="1500" dirty="0">
                <a:solidFill>
                  <a:schemeClr val="bg1"/>
                </a:solidFill>
                <a:latin typeface="Trebuchet MS" panose="020B0603020202020204" pitchFamily="34" charset="0"/>
                <a:sym typeface="Wingdings" panose="05000000000000000000" pitchFamily="2" charset="2"/>
              </a:rPr>
              <a:t></a:t>
            </a:r>
            <a:endParaRPr lang="da-DK" sz="1500" dirty="0">
              <a:solidFill>
                <a:schemeClr val="bg1"/>
              </a:solidFill>
              <a:latin typeface="Trebuchet MS" panose="020B0603020202020204" pitchFamily="34" charset="0"/>
            </a:endParaRPr>
          </a:p>
        </p:txBody>
      </p:sp>
      <p:pic>
        <p:nvPicPr>
          <p:cNvPr id="28" name="Grafik 27" descr="Videokamera">
            <a:extLst>
              <a:ext uri="{FF2B5EF4-FFF2-40B4-BE49-F238E27FC236}">
                <a16:creationId xmlns:a16="http://schemas.microsoft.com/office/drawing/2014/main" id="{9A801BE7-5E95-4AAB-A638-8F0F84BF1C7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28260" y="3694394"/>
            <a:ext cx="685800" cy="685800"/>
          </a:xfrm>
          <a:prstGeom prst="rect">
            <a:avLst/>
          </a:prstGeom>
        </p:spPr>
      </p:pic>
      <p:sp>
        <p:nvSpPr>
          <p:cNvPr id="29" name="Tekstfelt 28">
            <a:extLst>
              <a:ext uri="{FF2B5EF4-FFF2-40B4-BE49-F238E27FC236}">
                <a16:creationId xmlns:a16="http://schemas.microsoft.com/office/drawing/2014/main" id="{AFE4E1A8-8627-450F-9255-DDADF1EA4E67}"/>
              </a:ext>
            </a:extLst>
          </p:cNvPr>
          <p:cNvSpPr txBox="1"/>
          <p:nvPr/>
        </p:nvSpPr>
        <p:spPr>
          <a:xfrm>
            <a:off x="4838178" y="4490581"/>
            <a:ext cx="1822537" cy="300082"/>
          </a:xfrm>
          <a:prstGeom prst="rect">
            <a:avLst/>
          </a:prstGeom>
          <a:noFill/>
        </p:spPr>
        <p:txBody>
          <a:bodyPr wrap="square" rtlCol="0">
            <a:spAutoFit/>
          </a:bodyPr>
          <a:lstStyle/>
          <a:p>
            <a:r>
              <a:rPr lang="da-DK" sz="1350" dirty="0">
                <a:latin typeface="Trebuchet MS" panose="020B0603020202020204" pitchFamily="34" charset="0"/>
              </a:rPr>
              <a:t>Mødet bliver optaget</a:t>
            </a:r>
          </a:p>
        </p:txBody>
      </p:sp>
      <p:pic>
        <p:nvPicPr>
          <p:cNvPr id="32" name="Pladsholder til billede 31">
            <a:extLst>
              <a:ext uri="{FF2B5EF4-FFF2-40B4-BE49-F238E27FC236}">
                <a16:creationId xmlns:a16="http://schemas.microsoft.com/office/drawing/2014/main" id="{AFB398E4-B117-4EFE-83C0-3D5422F859F8}"/>
              </a:ext>
            </a:extLst>
          </p:cNvPr>
          <p:cNvPicPr>
            <a:picLocks noGrp="1" noChangeAspect="1"/>
          </p:cNvPicPr>
          <p:nvPr>
            <p:ph type="pic" sz="quarter" idx="15"/>
          </p:nvPr>
        </p:nvPicPr>
        <p:blipFill>
          <a:blip r:embed="rId5"/>
          <a:srcRect/>
          <a:stretch>
            <a:fillRect/>
          </a:stretch>
        </p:blipFill>
        <p:spPr>
          <a:xfrm>
            <a:off x="0" y="-103238"/>
            <a:ext cx="9144000" cy="5143500"/>
          </a:xfrm>
        </p:spPr>
      </p:pic>
      <p:sp>
        <p:nvSpPr>
          <p:cNvPr id="40" name="Ellipse 39">
            <a:extLst>
              <a:ext uri="{FF2B5EF4-FFF2-40B4-BE49-F238E27FC236}">
                <a16:creationId xmlns:a16="http://schemas.microsoft.com/office/drawing/2014/main" id="{103154F8-9017-4292-8E3A-D7BE46F986E1}"/>
              </a:ext>
            </a:extLst>
          </p:cNvPr>
          <p:cNvSpPr/>
          <p:nvPr/>
        </p:nvSpPr>
        <p:spPr>
          <a:xfrm>
            <a:off x="1631541" y="482770"/>
            <a:ext cx="2392925" cy="2392925"/>
          </a:xfrm>
          <a:prstGeom prst="ellipse">
            <a:avLst/>
          </a:prstGeom>
          <a:solidFill>
            <a:srgbClr val="4A5863">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050" dirty="0">
              <a:solidFill>
                <a:schemeClr val="bg1"/>
              </a:solidFill>
              <a:latin typeface="Trebuchet MS" panose="020B0603020202020204" pitchFamily="34" charset="0"/>
            </a:endParaRPr>
          </a:p>
        </p:txBody>
      </p:sp>
      <p:sp>
        <p:nvSpPr>
          <p:cNvPr id="41" name="Ellipse 40">
            <a:extLst>
              <a:ext uri="{FF2B5EF4-FFF2-40B4-BE49-F238E27FC236}">
                <a16:creationId xmlns:a16="http://schemas.microsoft.com/office/drawing/2014/main" id="{F334B555-53B1-418B-8AD5-569807321DCD}"/>
              </a:ext>
            </a:extLst>
          </p:cNvPr>
          <p:cNvSpPr/>
          <p:nvPr/>
        </p:nvSpPr>
        <p:spPr>
          <a:xfrm>
            <a:off x="4077929" y="504893"/>
            <a:ext cx="2392925" cy="2392925"/>
          </a:xfrm>
          <a:prstGeom prst="ellipse">
            <a:avLst/>
          </a:prstGeom>
          <a:solidFill>
            <a:srgbClr val="4A5863">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050" dirty="0">
              <a:solidFill>
                <a:schemeClr val="bg1"/>
              </a:solidFill>
              <a:latin typeface="Trebuchet MS" panose="020B0603020202020204" pitchFamily="34" charset="0"/>
            </a:endParaRPr>
          </a:p>
        </p:txBody>
      </p:sp>
      <p:sp>
        <p:nvSpPr>
          <p:cNvPr id="42" name="Tekstfelt 41">
            <a:extLst>
              <a:ext uri="{FF2B5EF4-FFF2-40B4-BE49-F238E27FC236}">
                <a16:creationId xmlns:a16="http://schemas.microsoft.com/office/drawing/2014/main" id="{3CFAA56B-72E1-43DE-B3F7-3DB3FE936B3E}"/>
              </a:ext>
            </a:extLst>
          </p:cNvPr>
          <p:cNvSpPr txBox="1"/>
          <p:nvPr/>
        </p:nvSpPr>
        <p:spPr>
          <a:xfrm>
            <a:off x="1717267" y="1388636"/>
            <a:ext cx="2264799" cy="1015663"/>
          </a:xfrm>
          <a:prstGeom prst="rect">
            <a:avLst/>
          </a:prstGeom>
          <a:noFill/>
        </p:spPr>
        <p:txBody>
          <a:bodyPr wrap="square" rtlCol="0">
            <a:spAutoFit/>
          </a:bodyPr>
          <a:lstStyle/>
          <a:p>
            <a:pPr algn="ctr"/>
            <a:r>
              <a:rPr lang="da-DK" sz="1500" dirty="0">
                <a:solidFill>
                  <a:schemeClr val="bg1"/>
                </a:solidFill>
                <a:latin typeface="Trebuchet MS" panose="020B0603020202020204" pitchFamily="34" charset="0"/>
              </a:rPr>
              <a:t>Vi optager og lægger præsentationen på </a:t>
            </a:r>
            <a:r>
              <a:rPr lang="da-DK" sz="1500" dirty="0" err="1">
                <a:solidFill>
                  <a:schemeClr val="bg1"/>
                </a:solidFill>
                <a:latin typeface="Trebuchet MS" panose="020B0603020202020204" pitchFamily="34" charset="0"/>
              </a:rPr>
              <a:t>dokumentbibliotektet</a:t>
            </a:r>
            <a:r>
              <a:rPr lang="da-DK" sz="1500" dirty="0">
                <a:solidFill>
                  <a:schemeClr val="bg1"/>
                </a:solidFill>
                <a:latin typeface="Trebuchet MS" panose="020B0603020202020204" pitchFamily="34" charset="0"/>
              </a:rPr>
              <a:t> efter mødet. </a:t>
            </a:r>
          </a:p>
        </p:txBody>
      </p:sp>
      <p:sp>
        <p:nvSpPr>
          <p:cNvPr id="43" name="Tekstfelt 42">
            <a:extLst>
              <a:ext uri="{FF2B5EF4-FFF2-40B4-BE49-F238E27FC236}">
                <a16:creationId xmlns:a16="http://schemas.microsoft.com/office/drawing/2014/main" id="{FC291486-15EF-47F1-BC39-280C50758520}"/>
              </a:ext>
            </a:extLst>
          </p:cNvPr>
          <p:cNvSpPr txBox="1"/>
          <p:nvPr/>
        </p:nvSpPr>
        <p:spPr>
          <a:xfrm>
            <a:off x="4156278" y="1465245"/>
            <a:ext cx="2197510" cy="784830"/>
          </a:xfrm>
          <a:prstGeom prst="rect">
            <a:avLst/>
          </a:prstGeom>
          <a:noFill/>
        </p:spPr>
        <p:txBody>
          <a:bodyPr wrap="square" rtlCol="0">
            <a:spAutoFit/>
          </a:bodyPr>
          <a:lstStyle/>
          <a:p>
            <a:pPr algn="ctr"/>
            <a:r>
              <a:rPr lang="da-DK" sz="1500" dirty="0">
                <a:solidFill>
                  <a:schemeClr val="bg1"/>
                </a:solidFill>
                <a:latin typeface="Trebuchet MS" panose="020B0603020202020204" pitchFamily="34" charset="0"/>
              </a:rPr>
              <a:t>Vær venlige at slukke jeres mikrofoner og kameraer.</a:t>
            </a:r>
          </a:p>
        </p:txBody>
      </p:sp>
      <p:sp>
        <p:nvSpPr>
          <p:cNvPr id="44" name="Ellipse 43">
            <a:extLst>
              <a:ext uri="{FF2B5EF4-FFF2-40B4-BE49-F238E27FC236}">
                <a16:creationId xmlns:a16="http://schemas.microsoft.com/office/drawing/2014/main" id="{CCE97FCB-470D-47F2-9931-EE618DE23E87}"/>
              </a:ext>
            </a:extLst>
          </p:cNvPr>
          <p:cNvSpPr/>
          <p:nvPr/>
        </p:nvSpPr>
        <p:spPr>
          <a:xfrm>
            <a:off x="6553813" y="475396"/>
            <a:ext cx="2392925" cy="2392925"/>
          </a:xfrm>
          <a:prstGeom prst="ellipse">
            <a:avLst/>
          </a:prstGeom>
          <a:solidFill>
            <a:srgbClr val="4A5863">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050" dirty="0">
              <a:solidFill>
                <a:schemeClr val="bg1"/>
              </a:solidFill>
              <a:latin typeface="Trebuchet MS" panose="020B0603020202020204" pitchFamily="34" charset="0"/>
            </a:endParaRPr>
          </a:p>
        </p:txBody>
      </p:sp>
      <p:sp>
        <p:nvSpPr>
          <p:cNvPr id="45" name="Tekstfelt 44">
            <a:extLst>
              <a:ext uri="{FF2B5EF4-FFF2-40B4-BE49-F238E27FC236}">
                <a16:creationId xmlns:a16="http://schemas.microsoft.com/office/drawing/2014/main" id="{98FF39BA-47C7-4FC0-9605-803E3E15B99A}"/>
              </a:ext>
            </a:extLst>
          </p:cNvPr>
          <p:cNvSpPr txBox="1"/>
          <p:nvPr/>
        </p:nvSpPr>
        <p:spPr>
          <a:xfrm>
            <a:off x="6724340" y="1465245"/>
            <a:ext cx="2086898" cy="1015663"/>
          </a:xfrm>
          <a:prstGeom prst="rect">
            <a:avLst/>
          </a:prstGeom>
          <a:noFill/>
        </p:spPr>
        <p:txBody>
          <a:bodyPr wrap="square" rtlCol="0">
            <a:spAutoFit/>
          </a:bodyPr>
          <a:lstStyle/>
          <a:p>
            <a:pPr algn="ctr"/>
            <a:r>
              <a:rPr lang="da-DK" sz="1500" dirty="0">
                <a:solidFill>
                  <a:schemeClr val="bg1"/>
                </a:solidFill>
                <a:latin typeface="Trebuchet MS" panose="020B0603020202020204" pitchFamily="34" charset="0"/>
              </a:rPr>
              <a:t>Ræk hånden op, eller skriv i chatten, hvis du har spørgsmål.  Så vender vi tilbage.</a:t>
            </a:r>
          </a:p>
        </p:txBody>
      </p:sp>
      <p:pic>
        <p:nvPicPr>
          <p:cNvPr id="46" name="Grafik 45" descr="Videokamera">
            <a:extLst>
              <a:ext uri="{FF2B5EF4-FFF2-40B4-BE49-F238E27FC236}">
                <a16:creationId xmlns:a16="http://schemas.microsoft.com/office/drawing/2014/main" id="{5B28C741-1708-4206-BA2F-C8AF28A3E4B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36880" y="642255"/>
            <a:ext cx="754012" cy="754012"/>
          </a:xfrm>
          <a:prstGeom prst="rect">
            <a:avLst/>
          </a:prstGeom>
        </p:spPr>
      </p:pic>
      <p:pic>
        <p:nvPicPr>
          <p:cNvPr id="50" name="Grafik 49" descr="Radiomikrofon">
            <a:extLst>
              <a:ext uri="{FF2B5EF4-FFF2-40B4-BE49-F238E27FC236}">
                <a16:creationId xmlns:a16="http://schemas.microsoft.com/office/drawing/2014/main" id="{9CE0061B-975B-414C-B783-D7DEDED8FE3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04058" y="705328"/>
            <a:ext cx="685800" cy="685800"/>
          </a:xfrm>
          <a:prstGeom prst="rect">
            <a:avLst/>
          </a:prstGeom>
        </p:spPr>
      </p:pic>
      <p:cxnSp>
        <p:nvCxnSpPr>
          <p:cNvPr id="51" name="Lige forbindelse 50">
            <a:extLst>
              <a:ext uri="{FF2B5EF4-FFF2-40B4-BE49-F238E27FC236}">
                <a16:creationId xmlns:a16="http://schemas.microsoft.com/office/drawing/2014/main" id="{1D9A90EC-FA58-4937-AA53-EB3A9FFC5302}"/>
              </a:ext>
            </a:extLst>
          </p:cNvPr>
          <p:cNvCxnSpPr>
            <a:cxnSpLocks/>
          </p:cNvCxnSpPr>
          <p:nvPr/>
        </p:nvCxnSpPr>
        <p:spPr>
          <a:xfrm flipV="1">
            <a:off x="4969723" y="710919"/>
            <a:ext cx="554471" cy="598232"/>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sp>
        <p:nvSpPr>
          <p:cNvPr id="52" name="Pladsholder til tekst 6">
            <a:extLst>
              <a:ext uri="{FF2B5EF4-FFF2-40B4-BE49-F238E27FC236}">
                <a16:creationId xmlns:a16="http://schemas.microsoft.com/office/drawing/2014/main" id="{4762011E-0E1C-4CB6-811F-DF7167D73D90}"/>
              </a:ext>
            </a:extLst>
          </p:cNvPr>
          <p:cNvSpPr txBox="1">
            <a:spLocks/>
          </p:cNvSpPr>
          <p:nvPr/>
        </p:nvSpPr>
        <p:spPr>
          <a:xfrm>
            <a:off x="0" y="3357535"/>
            <a:ext cx="9144000" cy="1785965"/>
          </a:xfrm>
          <a:prstGeom prst="rect">
            <a:avLst/>
          </a:prstGeom>
          <a:solidFill>
            <a:srgbClr val="1A1914">
              <a:alpha val="59000"/>
            </a:srgbClr>
          </a:solidFill>
          <a:ln>
            <a:noFill/>
          </a:ln>
        </p:spPr>
        <p:txBody>
          <a:bodyPr vert="horz" lIns="0" tIns="0" rIns="0" bIns="0" rtlCol="0" anchor="t" anchorCtr="0">
            <a:noAutofit/>
          </a:bodyPr>
          <a:lstStyle>
            <a:lvl1pPr marL="0" indent="0" algn="l" defTabSz="914400" rtl="0" eaLnBrk="1" latinLnBrk="0" hangingPunct="1">
              <a:lnSpc>
                <a:spcPts val="2600"/>
              </a:lnSpc>
              <a:spcBef>
                <a:spcPts val="0"/>
              </a:spcBef>
              <a:buFont typeface="Arial" panose="020B0604020202020204" pitchFamily="34" charset="0"/>
              <a:buNone/>
              <a:defRPr sz="2200" b="0" kern="1200" baseline="0">
                <a:solidFill>
                  <a:schemeClr val="tx1"/>
                </a:solidFill>
                <a:latin typeface="Trebuchet MS" panose="020B0603020202020204" pitchFamily="34" charset="0"/>
                <a:ea typeface="+mn-ea"/>
                <a:cs typeface="+mn-cs"/>
              </a:defRPr>
            </a:lvl1pPr>
            <a:lvl2pPr marL="0" indent="0" algn="l" defTabSz="914400" rtl="0" eaLnBrk="1" latinLnBrk="0" hangingPunct="1">
              <a:lnSpc>
                <a:spcPts val="2600"/>
              </a:lnSpc>
              <a:spcBef>
                <a:spcPts val="0"/>
              </a:spcBef>
              <a:buFont typeface="Arial" panose="020B0604020202020204" pitchFamily="34" charset="0"/>
              <a:buNone/>
              <a:defRPr sz="2200" b="1" kern="1200">
                <a:solidFill>
                  <a:schemeClr val="accent1"/>
                </a:solidFill>
                <a:latin typeface="Trebuchet MS" panose="020B0603020202020204" pitchFamily="34" charset="0"/>
                <a:ea typeface="+mn-ea"/>
                <a:cs typeface="+mn-cs"/>
              </a:defRPr>
            </a:lvl2pPr>
            <a:lvl3pPr marL="180000" indent="-180000" algn="l" defTabSz="360000" rtl="0" eaLnBrk="1" latinLnBrk="0" hangingPunct="1">
              <a:spcBef>
                <a:spcPts val="0"/>
              </a:spcBef>
              <a:buFont typeface="Arial" panose="020B0604020202020204" pitchFamily="34" charset="0"/>
              <a:buChar char="•"/>
              <a:defRPr sz="2200" kern="1200">
                <a:solidFill>
                  <a:schemeClr val="tx1"/>
                </a:solidFill>
                <a:latin typeface="Trebuchet MS" panose="020B0603020202020204" pitchFamily="34" charset="0"/>
                <a:ea typeface="+mn-ea"/>
                <a:cs typeface="+mn-cs"/>
              </a:defRPr>
            </a:lvl3pPr>
            <a:lvl4pPr marL="538163" indent="-180975" algn="l" defTabSz="914400" rtl="0" eaLnBrk="1" latinLnBrk="0" hangingPunct="1">
              <a:lnSpc>
                <a:spcPts val="2400"/>
              </a:lnSpc>
              <a:spcBef>
                <a:spcPts val="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4pPr>
            <a:lvl5pPr marL="900000" indent="-180000" algn="l" defTabSz="914400" rtl="0" eaLnBrk="1" latinLnBrk="0" hangingPunct="1">
              <a:lnSpc>
                <a:spcPts val="2000"/>
              </a:lnSpc>
              <a:spcBef>
                <a:spcPts val="0"/>
              </a:spcBef>
              <a:buFont typeface="Arial" panose="020B0604020202020204" pitchFamily="34" charset="0"/>
              <a:buChar char="•"/>
              <a:defRPr sz="1700" kern="1200">
                <a:solidFill>
                  <a:schemeClr val="tx1"/>
                </a:solidFill>
                <a:latin typeface="Trebuchet MS" panose="020B0603020202020204" pitchFamily="34" charset="0"/>
                <a:ea typeface="+mn-ea"/>
                <a:cs typeface="+mn-cs"/>
              </a:defRPr>
            </a:lvl5pPr>
            <a:lvl6pPr marL="1188000" indent="-180000" algn="l" defTabSz="914400" rtl="0" eaLnBrk="1" latinLnBrk="0" hangingPunct="1">
              <a:lnSpc>
                <a:spcPts val="2200"/>
              </a:lnSpc>
              <a:spcBef>
                <a:spcPts val="0"/>
              </a:spcBef>
              <a:buFont typeface="Arial" panose="020B0604020202020204" pitchFamily="34" charset="0"/>
              <a:buChar char="•"/>
              <a:defRPr sz="1500" kern="1200">
                <a:solidFill>
                  <a:schemeClr val="tx1"/>
                </a:solidFill>
                <a:latin typeface="+mn-lt"/>
                <a:ea typeface="+mn-ea"/>
                <a:cs typeface="+mn-cs"/>
              </a:defRPr>
            </a:lvl6pPr>
            <a:lvl7pPr marL="1524000"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188436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24631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lnSpc>
                <a:spcPct val="100000"/>
              </a:lnSpc>
            </a:pPr>
            <a:endParaRPr lang="da-DK" sz="3000" dirty="0">
              <a:solidFill>
                <a:schemeClr val="bg1"/>
              </a:solidFill>
            </a:endParaRPr>
          </a:p>
          <a:p>
            <a:pPr algn="ctr">
              <a:lnSpc>
                <a:spcPct val="100000"/>
              </a:lnSpc>
            </a:pPr>
            <a:r>
              <a:rPr lang="da-DK" sz="3000" dirty="0">
                <a:solidFill>
                  <a:schemeClr val="bg1"/>
                </a:solidFill>
              </a:rPr>
              <a:t>Lige lidt praktisk før vi går i gang</a:t>
            </a:r>
          </a:p>
        </p:txBody>
      </p:sp>
      <p:pic>
        <p:nvPicPr>
          <p:cNvPr id="54" name="Grafik 53" descr="Løftet hånd">
            <a:extLst>
              <a:ext uri="{FF2B5EF4-FFF2-40B4-BE49-F238E27FC236}">
                <a16:creationId xmlns:a16="http://schemas.microsoft.com/office/drawing/2014/main" id="{BF35C500-6407-4ECE-AA27-3AD5443B327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464745" y="743188"/>
            <a:ext cx="654461" cy="654461"/>
          </a:xfrm>
          <a:prstGeom prst="rect">
            <a:avLst/>
          </a:prstGeom>
        </p:spPr>
      </p:pic>
    </p:spTree>
    <p:extLst>
      <p:ext uri="{BB962C8B-B14F-4D97-AF65-F5344CB8AC3E}">
        <p14:creationId xmlns:p14="http://schemas.microsoft.com/office/powerpoint/2010/main" val="24754806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el 31">
            <a:extLst>
              <a:ext uri="{FF2B5EF4-FFF2-40B4-BE49-F238E27FC236}">
                <a16:creationId xmlns:a16="http://schemas.microsoft.com/office/drawing/2014/main" id="{A98BFE9A-5E98-4DC4-D9B3-5A595689FA8C}"/>
              </a:ext>
            </a:extLst>
          </p:cNvPr>
          <p:cNvSpPr>
            <a:spLocks noGrp="1"/>
          </p:cNvSpPr>
          <p:nvPr>
            <p:ph type="title"/>
          </p:nvPr>
        </p:nvSpPr>
        <p:spPr/>
        <p:txBody>
          <a:bodyPr/>
          <a:lstStyle/>
          <a:p>
            <a:r>
              <a:rPr lang="da-DK"/>
              <a:t>Vi udnytter den aktuelle nyhed</a:t>
            </a:r>
          </a:p>
        </p:txBody>
      </p:sp>
      <p:sp>
        <p:nvSpPr>
          <p:cNvPr id="33" name="Pladsholder til indhold 32">
            <a:extLst>
              <a:ext uri="{FF2B5EF4-FFF2-40B4-BE49-F238E27FC236}">
                <a16:creationId xmlns:a16="http://schemas.microsoft.com/office/drawing/2014/main" id="{79D059B6-1DDF-F3CF-3CB5-03DFBF63B54C}"/>
              </a:ext>
            </a:extLst>
          </p:cNvPr>
          <p:cNvSpPr>
            <a:spLocks noGrp="1"/>
          </p:cNvSpPr>
          <p:nvPr>
            <p:ph idx="1"/>
          </p:nvPr>
        </p:nvSpPr>
        <p:spPr>
          <a:xfrm>
            <a:off x="404100" y="1221650"/>
            <a:ext cx="6966080" cy="3172500"/>
          </a:xfrm>
        </p:spPr>
        <p:txBody>
          <a:bodyPr/>
          <a:lstStyle/>
          <a:p>
            <a:pPr lvl="0"/>
            <a:r>
              <a:rPr lang="da-DK" sz="1500"/>
              <a:t>Indsigtsfuldmagten er en god anledning til at kommunikere om Mit Overblik generelt</a:t>
            </a:r>
          </a:p>
          <a:p>
            <a:pPr lvl="0"/>
            <a:r>
              <a:rPr lang="da-DK" sz="1500"/>
              <a:t>Vi kommunikerer derfor om 2 ting på samme tid: </a:t>
            </a:r>
          </a:p>
          <a:p>
            <a:pPr marL="527175" lvl="2" indent="-257175">
              <a:buFont typeface="+mj-lt"/>
              <a:buAutoNum type="arabicPeriod"/>
            </a:pPr>
            <a:r>
              <a:rPr lang="da-DK" sz="1350"/>
              <a:t>Mit Overblik generelt</a:t>
            </a:r>
          </a:p>
          <a:p>
            <a:pPr marL="527175" lvl="2" indent="-257175">
              <a:buFont typeface="+mj-lt"/>
              <a:buAutoNum type="arabicPeriod"/>
            </a:pPr>
            <a:r>
              <a:rPr lang="da-DK" sz="1350"/>
              <a:t>Indsigtsfuldmagten</a:t>
            </a:r>
          </a:p>
          <a:p>
            <a:pPr lvl="0"/>
            <a:r>
              <a:rPr lang="da-DK" sz="1500"/>
              <a:t>Formål med kommunikationen:</a:t>
            </a:r>
          </a:p>
          <a:p>
            <a:pPr lvl="2"/>
            <a:r>
              <a:rPr lang="da-DK" sz="1350"/>
              <a:t>Klæde kommunale medarbejdere + relevante supportfunktioner på til at vejlede om hhv. Mit Overblik og indsigtsfuldmagten</a:t>
            </a:r>
          </a:p>
          <a:p>
            <a:pPr lvl="2"/>
            <a:r>
              <a:rPr lang="da-DK" sz="1350"/>
              <a:t>Bidrage til at de relevante borgere får kendskab til begge dele, så de kan få bedre overblik over egne data</a:t>
            </a:r>
          </a:p>
          <a:p>
            <a:pPr marL="0" indent="0">
              <a:buNone/>
            </a:pPr>
            <a:endParaRPr lang="da-DK" sz="1500"/>
          </a:p>
        </p:txBody>
      </p:sp>
      <p:sp>
        <p:nvSpPr>
          <p:cNvPr id="29" name="Pladsholder til dato 28">
            <a:extLst>
              <a:ext uri="{FF2B5EF4-FFF2-40B4-BE49-F238E27FC236}">
                <a16:creationId xmlns:a16="http://schemas.microsoft.com/office/drawing/2014/main" id="{B693F66D-E5BA-774A-7E41-3E3E045DD178}"/>
              </a:ext>
            </a:extLst>
          </p:cNvPr>
          <p:cNvSpPr>
            <a:spLocks noGrp="1"/>
          </p:cNvSpPr>
          <p:nvPr>
            <p:ph type="dt" sz="half" idx="10"/>
          </p:nvPr>
        </p:nvSpPr>
        <p:spPr/>
        <p:txBody>
          <a:bodyPr/>
          <a:lstStyle/>
          <a:p>
            <a:pPr defTabSz="685800">
              <a:defRPr/>
            </a:pPr>
            <a:fld id="{2A9E7E65-270D-4F3F-848C-98E95A93B5E1}" type="datetime2">
              <a:rPr lang="da-DK">
                <a:solidFill>
                  <a:srgbClr val="3F1A2B"/>
                </a:solidFill>
                <a:latin typeface="Franklin Gothic Book"/>
              </a:rPr>
              <a:pPr defTabSz="685800">
                <a:defRPr/>
              </a:pPr>
              <a:t>11. december 2025</a:t>
            </a:fld>
            <a:endParaRPr lang="da-DK">
              <a:solidFill>
                <a:srgbClr val="3F1A2B"/>
              </a:solidFill>
              <a:latin typeface="Franklin Gothic Book"/>
            </a:endParaRPr>
          </a:p>
        </p:txBody>
      </p:sp>
      <p:sp>
        <p:nvSpPr>
          <p:cNvPr id="30" name="Pladsholder til sidefod 29">
            <a:extLst>
              <a:ext uri="{FF2B5EF4-FFF2-40B4-BE49-F238E27FC236}">
                <a16:creationId xmlns:a16="http://schemas.microsoft.com/office/drawing/2014/main" id="{5A74B69D-A5A6-86B4-0006-0805134C55AC}"/>
              </a:ext>
            </a:extLst>
          </p:cNvPr>
          <p:cNvSpPr>
            <a:spLocks noGrp="1"/>
          </p:cNvSpPr>
          <p:nvPr>
            <p:ph type="ftr" sz="quarter" idx="11"/>
          </p:nvPr>
        </p:nvSpPr>
        <p:spPr/>
        <p:txBody>
          <a:bodyPr/>
          <a:lstStyle/>
          <a:p>
            <a:pPr defTabSz="685800">
              <a:defRPr/>
            </a:pPr>
            <a:r>
              <a:rPr lang="da-DK">
                <a:solidFill>
                  <a:srgbClr val="3F1A2B"/>
                </a:solidFill>
                <a:latin typeface="Franklin Gothic Book"/>
              </a:rPr>
              <a:t>Digitaliseringsstyrelsen</a:t>
            </a:r>
          </a:p>
        </p:txBody>
      </p:sp>
      <p:sp>
        <p:nvSpPr>
          <p:cNvPr id="31" name="Pladsholder til slidenummer 30">
            <a:extLst>
              <a:ext uri="{FF2B5EF4-FFF2-40B4-BE49-F238E27FC236}">
                <a16:creationId xmlns:a16="http://schemas.microsoft.com/office/drawing/2014/main" id="{1396D854-3145-9C48-08B3-5A884DA0FA73}"/>
              </a:ext>
            </a:extLst>
          </p:cNvPr>
          <p:cNvSpPr>
            <a:spLocks noGrp="1"/>
          </p:cNvSpPr>
          <p:nvPr>
            <p:ph type="sldNum" sz="quarter" idx="12"/>
          </p:nvPr>
        </p:nvSpPr>
        <p:spPr/>
        <p:txBody>
          <a:bodyPr/>
          <a:lstStyle/>
          <a:p>
            <a:pPr defTabSz="685800">
              <a:defRPr/>
            </a:pPr>
            <a:fld id="{24C8C45C-947F-4981-8B3F-4F32E973C901}" type="slidenum">
              <a:rPr lang="da-DK">
                <a:solidFill>
                  <a:srgbClr val="3F1A2B"/>
                </a:solidFill>
                <a:latin typeface="Franklin Gothic Book"/>
              </a:rPr>
              <a:pPr defTabSz="685800">
                <a:defRPr/>
              </a:pPr>
              <a:t>30</a:t>
            </a:fld>
            <a:endParaRPr lang="da-DK">
              <a:solidFill>
                <a:srgbClr val="3F1A2B"/>
              </a:solidFill>
              <a:latin typeface="Franklin Gothic Book"/>
            </a:endParaRPr>
          </a:p>
        </p:txBody>
      </p:sp>
    </p:spTree>
    <p:extLst>
      <p:ext uri="{BB962C8B-B14F-4D97-AF65-F5344CB8AC3E}">
        <p14:creationId xmlns:p14="http://schemas.microsoft.com/office/powerpoint/2010/main" val="16752979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1E40D53-8B49-5208-04EA-6DA742970599}"/>
              </a:ext>
            </a:extLst>
          </p:cNvPr>
          <p:cNvSpPr>
            <a:spLocks noGrp="1"/>
          </p:cNvSpPr>
          <p:nvPr>
            <p:ph type="title"/>
          </p:nvPr>
        </p:nvSpPr>
        <p:spPr>
          <a:xfrm>
            <a:off x="405000" y="285532"/>
            <a:ext cx="8334900" cy="621000"/>
          </a:xfrm>
        </p:spPr>
        <p:txBody>
          <a:bodyPr/>
          <a:lstStyle/>
          <a:p>
            <a:r>
              <a:rPr lang="da-DK"/>
              <a:t>Overordnet kommunikationsplan</a:t>
            </a:r>
          </a:p>
        </p:txBody>
      </p:sp>
      <p:sp>
        <p:nvSpPr>
          <p:cNvPr id="4" name="Pladsholder til indhold 3">
            <a:extLst>
              <a:ext uri="{FF2B5EF4-FFF2-40B4-BE49-F238E27FC236}">
                <a16:creationId xmlns:a16="http://schemas.microsoft.com/office/drawing/2014/main" id="{E456EDD6-4353-E106-4066-EC4BAF8EB3EE}"/>
              </a:ext>
            </a:extLst>
          </p:cNvPr>
          <p:cNvSpPr>
            <a:spLocks noGrp="1"/>
          </p:cNvSpPr>
          <p:nvPr>
            <p:ph idx="1"/>
          </p:nvPr>
        </p:nvSpPr>
        <p:spPr>
          <a:xfrm>
            <a:off x="404101" y="753283"/>
            <a:ext cx="5116574" cy="3172500"/>
          </a:xfrm>
        </p:spPr>
        <p:txBody>
          <a:bodyPr/>
          <a:lstStyle/>
          <a:p>
            <a:pPr marL="0" indent="0">
              <a:buNone/>
            </a:pPr>
            <a:r>
              <a:rPr lang="da-DK" sz="1350"/>
              <a:t>Kommunikationsplan i to dele</a:t>
            </a:r>
          </a:p>
          <a:p>
            <a:pPr lvl="1"/>
            <a:r>
              <a:rPr lang="da-DK"/>
              <a:t>Generel information om Mit Overblik</a:t>
            </a:r>
          </a:p>
          <a:p>
            <a:pPr lvl="1"/>
            <a:r>
              <a:rPr lang="da-DK"/>
              <a:t>Lancering af fuldmagt</a:t>
            </a:r>
          </a:p>
          <a:p>
            <a:pPr marL="0" indent="0">
              <a:buNone/>
            </a:pPr>
            <a:r>
              <a:rPr lang="da-DK" sz="1350"/>
              <a:t>Vi benytter os af netværk + egne kanaler </a:t>
            </a:r>
          </a:p>
          <a:p>
            <a:pPr lvl="1"/>
            <a:r>
              <a:rPr lang="da-DK"/>
              <a:t>Fælles kommunikationsindsats DIGST/KL/KOMBIT</a:t>
            </a:r>
          </a:p>
          <a:p>
            <a:pPr marL="0" indent="0">
              <a:buNone/>
            </a:pPr>
            <a:r>
              <a:rPr lang="da-DK" sz="1350"/>
              <a:t>Hovedmålgruppe: Frontmedarbejdere, primært i kommuner og supportfunktioner</a:t>
            </a:r>
          </a:p>
          <a:p>
            <a:pPr lvl="1"/>
            <a:r>
              <a:rPr lang="da-DK"/>
              <a:t>De skal klædes på til at videreformidle til relevante borgere</a:t>
            </a:r>
          </a:p>
          <a:p>
            <a:pPr lvl="1"/>
            <a:r>
              <a:rPr lang="da-DK"/>
              <a:t>Vi stiller viden og materiale til rådighed</a:t>
            </a:r>
          </a:p>
          <a:p>
            <a:pPr marL="0" indent="0">
              <a:buNone/>
            </a:pPr>
            <a:r>
              <a:rPr lang="da-DK" sz="1350"/>
              <a:t>Materialet samles på en side på digst.dk</a:t>
            </a:r>
          </a:p>
          <a:p>
            <a:pPr lvl="1"/>
            <a:r>
              <a:rPr lang="da-DK"/>
              <a:t>Primært materiale til medarbejdere + intern/lokal kommunikation</a:t>
            </a:r>
          </a:p>
          <a:p>
            <a:pPr lvl="1"/>
            <a:r>
              <a:rPr lang="da-DK"/>
              <a:t>Plus materiale, som medarbejderne kan udlevere til borgerne</a:t>
            </a:r>
          </a:p>
          <a:p>
            <a:pPr lvl="1"/>
            <a:r>
              <a:rPr lang="da-DK"/>
              <a:t>Kræver direkte link: </a:t>
            </a:r>
            <a:r>
              <a:rPr lang="da-DK" sz="1275" b="1"/>
              <a:t>digst.dk/mit-overblik-information</a:t>
            </a:r>
          </a:p>
          <a:p>
            <a:endParaRPr lang="da-DK"/>
          </a:p>
        </p:txBody>
      </p:sp>
      <p:sp>
        <p:nvSpPr>
          <p:cNvPr id="5" name="Pladsholder til dato 4">
            <a:extLst>
              <a:ext uri="{FF2B5EF4-FFF2-40B4-BE49-F238E27FC236}">
                <a16:creationId xmlns:a16="http://schemas.microsoft.com/office/drawing/2014/main" id="{FD74E4E9-82CA-8554-EE06-2EECFCD18BFA}"/>
              </a:ext>
            </a:extLst>
          </p:cNvPr>
          <p:cNvSpPr>
            <a:spLocks noGrp="1"/>
          </p:cNvSpPr>
          <p:nvPr>
            <p:ph type="dt" sz="half" idx="10"/>
          </p:nvPr>
        </p:nvSpPr>
        <p:spPr/>
        <p:txBody>
          <a:bodyPr/>
          <a:lstStyle/>
          <a:p>
            <a:pPr defTabSz="685800">
              <a:defRPr/>
            </a:pPr>
            <a:fld id="{41969349-67F1-41F8-83EC-133BBA9F9E3B}" type="datetime2">
              <a:rPr lang="da-DK">
                <a:solidFill>
                  <a:srgbClr val="3F1A2B"/>
                </a:solidFill>
                <a:latin typeface="Franklin Gothic Book"/>
              </a:rPr>
              <a:pPr defTabSz="685800">
                <a:defRPr/>
              </a:pPr>
              <a:t>11. december 2025</a:t>
            </a:fld>
            <a:endParaRPr lang="da-DK">
              <a:solidFill>
                <a:srgbClr val="3F1A2B"/>
              </a:solidFill>
              <a:latin typeface="Franklin Gothic Book"/>
            </a:endParaRPr>
          </a:p>
        </p:txBody>
      </p:sp>
      <p:sp>
        <p:nvSpPr>
          <p:cNvPr id="6" name="Pladsholder til sidefod 5">
            <a:extLst>
              <a:ext uri="{FF2B5EF4-FFF2-40B4-BE49-F238E27FC236}">
                <a16:creationId xmlns:a16="http://schemas.microsoft.com/office/drawing/2014/main" id="{27C7C0B1-4266-9394-CB5C-F63AA1BC3EFB}"/>
              </a:ext>
            </a:extLst>
          </p:cNvPr>
          <p:cNvSpPr>
            <a:spLocks noGrp="1"/>
          </p:cNvSpPr>
          <p:nvPr>
            <p:ph type="ftr" sz="quarter" idx="11"/>
          </p:nvPr>
        </p:nvSpPr>
        <p:spPr/>
        <p:txBody>
          <a:bodyPr/>
          <a:lstStyle/>
          <a:p>
            <a:pPr defTabSz="685800">
              <a:defRPr/>
            </a:pPr>
            <a:r>
              <a:rPr lang="da-DK">
                <a:solidFill>
                  <a:srgbClr val="3F1A2B"/>
                </a:solidFill>
                <a:latin typeface="Franklin Gothic Book"/>
              </a:rPr>
              <a:t>Digitaliseringsstyrelsen</a:t>
            </a:r>
          </a:p>
        </p:txBody>
      </p:sp>
      <p:sp>
        <p:nvSpPr>
          <p:cNvPr id="7" name="Pladsholder til slidenummer 6">
            <a:extLst>
              <a:ext uri="{FF2B5EF4-FFF2-40B4-BE49-F238E27FC236}">
                <a16:creationId xmlns:a16="http://schemas.microsoft.com/office/drawing/2014/main" id="{42BD465B-C7A7-07AD-9C0A-A5C6020FCEF8}"/>
              </a:ext>
            </a:extLst>
          </p:cNvPr>
          <p:cNvSpPr>
            <a:spLocks noGrp="1"/>
          </p:cNvSpPr>
          <p:nvPr>
            <p:ph type="sldNum" sz="quarter" idx="12"/>
          </p:nvPr>
        </p:nvSpPr>
        <p:spPr/>
        <p:txBody>
          <a:bodyPr/>
          <a:lstStyle/>
          <a:p>
            <a:pPr defTabSz="685800">
              <a:defRPr/>
            </a:pPr>
            <a:fld id="{24C8C45C-947F-4981-8B3F-4F32E973C901}" type="slidenum">
              <a:rPr lang="da-DK">
                <a:solidFill>
                  <a:srgbClr val="3F1A2B"/>
                </a:solidFill>
                <a:latin typeface="Franklin Gothic Book"/>
              </a:rPr>
              <a:pPr defTabSz="685800">
                <a:defRPr/>
              </a:pPr>
              <a:t>31</a:t>
            </a:fld>
            <a:endParaRPr lang="da-DK">
              <a:solidFill>
                <a:srgbClr val="3F1A2B"/>
              </a:solidFill>
              <a:latin typeface="Franklin Gothic Book"/>
            </a:endParaRPr>
          </a:p>
        </p:txBody>
      </p:sp>
      <p:pic>
        <p:nvPicPr>
          <p:cNvPr id="10" name="Billede 9">
            <a:extLst>
              <a:ext uri="{FF2B5EF4-FFF2-40B4-BE49-F238E27FC236}">
                <a16:creationId xmlns:a16="http://schemas.microsoft.com/office/drawing/2014/main" id="{7188CB97-197F-E5C2-0D7C-F399B1F07C4C}"/>
              </a:ext>
            </a:extLst>
          </p:cNvPr>
          <p:cNvPicPr>
            <a:picLocks noChangeAspect="1"/>
          </p:cNvPicPr>
          <p:nvPr/>
        </p:nvPicPr>
        <p:blipFill>
          <a:blip r:embed="rId3"/>
          <a:stretch>
            <a:fillRect/>
          </a:stretch>
        </p:blipFill>
        <p:spPr>
          <a:xfrm>
            <a:off x="4998867" y="602561"/>
            <a:ext cx="4611452" cy="4057306"/>
          </a:xfrm>
          <a:prstGeom prst="rect">
            <a:avLst/>
          </a:prstGeom>
        </p:spPr>
      </p:pic>
      <p:sp>
        <p:nvSpPr>
          <p:cNvPr id="2" name="Rektangel 1">
            <a:extLst>
              <a:ext uri="{FF2B5EF4-FFF2-40B4-BE49-F238E27FC236}">
                <a16:creationId xmlns:a16="http://schemas.microsoft.com/office/drawing/2014/main" id="{C1B3C129-7210-1D06-D940-AAF60D9C95A9}"/>
              </a:ext>
            </a:extLst>
          </p:cNvPr>
          <p:cNvSpPr/>
          <p:nvPr/>
        </p:nvSpPr>
        <p:spPr>
          <a:xfrm>
            <a:off x="2422003" y="2161573"/>
            <a:ext cx="4939496" cy="82469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r>
              <a:rPr lang="da-DK" sz="1500" b="1">
                <a:solidFill>
                  <a:srgbClr val="FFFFFF"/>
                </a:solidFill>
                <a:latin typeface="Franklin Gothic Book"/>
              </a:rPr>
              <a:t>digst.dk/mit-overblik-information</a:t>
            </a:r>
          </a:p>
        </p:txBody>
      </p:sp>
    </p:spTree>
    <p:extLst>
      <p:ext uri="{BB962C8B-B14F-4D97-AF65-F5344CB8AC3E}">
        <p14:creationId xmlns:p14="http://schemas.microsoft.com/office/powerpoint/2010/main" val="3854143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2D7E4F-9B37-7358-FD70-4230C162EAFB}"/>
              </a:ext>
            </a:extLst>
          </p:cNvPr>
          <p:cNvSpPr>
            <a:spLocks noGrp="1"/>
          </p:cNvSpPr>
          <p:nvPr>
            <p:ph type="title"/>
          </p:nvPr>
        </p:nvSpPr>
        <p:spPr>
          <a:xfrm>
            <a:off x="405000" y="488644"/>
            <a:ext cx="8334900" cy="621000"/>
          </a:xfrm>
        </p:spPr>
        <p:txBody>
          <a:bodyPr/>
          <a:lstStyle/>
          <a:p>
            <a:r>
              <a:rPr lang="da-DK"/>
              <a:t>Baggrundsmaterialer på digst.dk/mit-overblik-information</a:t>
            </a:r>
          </a:p>
        </p:txBody>
      </p:sp>
      <p:sp>
        <p:nvSpPr>
          <p:cNvPr id="4" name="Pladsholder til indhold 3">
            <a:extLst>
              <a:ext uri="{FF2B5EF4-FFF2-40B4-BE49-F238E27FC236}">
                <a16:creationId xmlns:a16="http://schemas.microsoft.com/office/drawing/2014/main" id="{A58682AD-DE58-043A-5353-628A4418B8B0}"/>
              </a:ext>
            </a:extLst>
          </p:cNvPr>
          <p:cNvSpPr>
            <a:spLocks noGrp="1"/>
          </p:cNvSpPr>
          <p:nvPr>
            <p:ph idx="1"/>
          </p:nvPr>
        </p:nvSpPr>
        <p:spPr>
          <a:xfrm>
            <a:off x="405000" y="1226936"/>
            <a:ext cx="4097306" cy="3172500"/>
          </a:xfrm>
        </p:spPr>
        <p:txBody>
          <a:bodyPr/>
          <a:lstStyle/>
          <a:p>
            <a:pPr marL="0" indent="0">
              <a:buNone/>
            </a:pPr>
            <a:r>
              <a:rPr lang="da-DK" sz="1350" b="1"/>
              <a:t>Til kommunernes interne kommunikation:</a:t>
            </a:r>
          </a:p>
          <a:p>
            <a:pPr lvl="1"/>
            <a:endParaRPr lang="da-DK"/>
          </a:p>
          <a:p>
            <a:r>
              <a:rPr lang="da-DK"/>
              <a:t>Grundfortælling om Mit Overblik og indsigtsfuldmagten</a:t>
            </a:r>
          </a:p>
          <a:p>
            <a:r>
              <a:rPr lang="da-DK"/>
              <a:t>3 cases</a:t>
            </a:r>
          </a:p>
          <a:p>
            <a:r>
              <a:rPr lang="da-DK"/>
              <a:t>Q&amp;A til frontpersonale </a:t>
            </a:r>
          </a:p>
          <a:p>
            <a:r>
              <a:rPr lang="da-DK"/>
              <a:t>Udvalgte screendumps fra løsningen (hvad er det, borgerne kan se?) </a:t>
            </a:r>
          </a:p>
          <a:p>
            <a:r>
              <a:rPr lang="da-DK"/>
              <a:t>PowerPoint til intern brug, fx på team- eller koordineringsmøder</a:t>
            </a:r>
          </a:p>
          <a:p>
            <a:endParaRPr lang="da-DK"/>
          </a:p>
        </p:txBody>
      </p:sp>
      <p:sp>
        <p:nvSpPr>
          <p:cNvPr id="8" name="Pladsholder til indhold 7">
            <a:extLst>
              <a:ext uri="{FF2B5EF4-FFF2-40B4-BE49-F238E27FC236}">
                <a16:creationId xmlns:a16="http://schemas.microsoft.com/office/drawing/2014/main" id="{B854691C-6BE6-64DF-AA55-D8289357DCF0}"/>
              </a:ext>
            </a:extLst>
          </p:cNvPr>
          <p:cNvSpPr>
            <a:spLocks noGrp="1"/>
          </p:cNvSpPr>
          <p:nvPr>
            <p:ph sz="half" idx="2"/>
          </p:nvPr>
        </p:nvSpPr>
        <p:spPr>
          <a:xfrm>
            <a:off x="4725329" y="1226936"/>
            <a:ext cx="4011476" cy="3172500"/>
          </a:xfrm>
        </p:spPr>
        <p:txBody>
          <a:bodyPr/>
          <a:lstStyle/>
          <a:p>
            <a:pPr marL="0" indent="0">
              <a:buNone/>
            </a:pPr>
            <a:r>
              <a:rPr lang="da-DK" sz="1350" b="1"/>
              <a:t>Til borgere:</a:t>
            </a:r>
          </a:p>
          <a:p>
            <a:pPr lvl="0"/>
            <a:endParaRPr lang="da-DK"/>
          </a:p>
          <a:p>
            <a:pPr lvl="0"/>
            <a:r>
              <a:rPr lang="da-DK" err="1"/>
              <a:t>Onepager</a:t>
            </a:r>
            <a:r>
              <a:rPr lang="da-DK"/>
              <a:t> om Mit Overblik, pdf</a:t>
            </a:r>
            <a:endParaRPr lang="da-DK" i="1"/>
          </a:p>
          <a:p>
            <a:pPr lvl="0"/>
            <a:r>
              <a:rPr lang="da-DK" err="1"/>
              <a:t>Onepager</a:t>
            </a:r>
            <a:r>
              <a:rPr lang="da-DK"/>
              <a:t> om indsigtsfuldmagt, pdf</a:t>
            </a:r>
            <a:endParaRPr lang="da-DK" i="1"/>
          </a:p>
          <a:p>
            <a:pPr lvl="0"/>
            <a:r>
              <a:rPr lang="da-DK"/>
              <a:t>Link til video(er) på eKurser.nu </a:t>
            </a:r>
          </a:p>
          <a:p>
            <a:r>
              <a:rPr lang="da-DK">
                <a:solidFill>
                  <a:schemeClr val="tx1"/>
                </a:solidFill>
              </a:rPr>
              <a:t>Materiale til infoskærme på vej</a:t>
            </a:r>
          </a:p>
          <a:p>
            <a:endParaRPr lang="da-DK"/>
          </a:p>
        </p:txBody>
      </p:sp>
      <p:sp>
        <p:nvSpPr>
          <p:cNvPr id="5" name="Pladsholder til dato 4">
            <a:extLst>
              <a:ext uri="{FF2B5EF4-FFF2-40B4-BE49-F238E27FC236}">
                <a16:creationId xmlns:a16="http://schemas.microsoft.com/office/drawing/2014/main" id="{5383A5A5-71CD-9F02-3A93-0649622B4387}"/>
              </a:ext>
            </a:extLst>
          </p:cNvPr>
          <p:cNvSpPr>
            <a:spLocks noGrp="1"/>
          </p:cNvSpPr>
          <p:nvPr>
            <p:ph type="dt" sz="half" idx="10"/>
          </p:nvPr>
        </p:nvSpPr>
        <p:spPr/>
        <p:txBody>
          <a:bodyPr/>
          <a:lstStyle/>
          <a:p>
            <a:pPr defTabSz="685800">
              <a:defRPr/>
            </a:pPr>
            <a:fld id="{41969349-67F1-41F8-83EC-133BBA9F9E3B}" type="datetime2">
              <a:rPr lang="da-DK">
                <a:solidFill>
                  <a:srgbClr val="3F1A2B"/>
                </a:solidFill>
                <a:latin typeface="Franklin Gothic Book"/>
              </a:rPr>
              <a:pPr defTabSz="685800">
                <a:defRPr/>
              </a:pPr>
              <a:t>11. december 2025</a:t>
            </a:fld>
            <a:endParaRPr lang="da-DK">
              <a:solidFill>
                <a:srgbClr val="3F1A2B"/>
              </a:solidFill>
              <a:latin typeface="Franklin Gothic Book"/>
            </a:endParaRPr>
          </a:p>
        </p:txBody>
      </p:sp>
      <p:sp>
        <p:nvSpPr>
          <p:cNvPr id="6" name="Pladsholder til sidefod 5">
            <a:extLst>
              <a:ext uri="{FF2B5EF4-FFF2-40B4-BE49-F238E27FC236}">
                <a16:creationId xmlns:a16="http://schemas.microsoft.com/office/drawing/2014/main" id="{E8E6BA8E-791C-46E3-F898-CDBAFE7EF652}"/>
              </a:ext>
            </a:extLst>
          </p:cNvPr>
          <p:cNvSpPr>
            <a:spLocks noGrp="1"/>
          </p:cNvSpPr>
          <p:nvPr>
            <p:ph type="ftr" sz="quarter" idx="11"/>
          </p:nvPr>
        </p:nvSpPr>
        <p:spPr/>
        <p:txBody>
          <a:bodyPr/>
          <a:lstStyle/>
          <a:p>
            <a:pPr defTabSz="685800">
              <a:defRPr/>
            </a:pPr>
            <a:r>
              <a:rPr lang="da-DK">
                <a:solidFill>
                  <a:srgbClr val="3F1A2B"/>
                </a:solidFill>
                <a:latin typeface="Franklin Gothic Book"/>
              </a:rPr>
              <a:t>Digitaliseringsstyrelsen</a:t>
            </a:r>
          </a:p>
        </p:txBody>
      </p:sp>
      <p:sp>
        <p:nvSpPr>
          <p:cNvPr id="7" name="Pladsholder til slidenummer 6">
            <a:extLst>
              <a:ext uri="{FF2B5EF4-FFF2-40B4-BE49-F238E27FC236}">
                <a16:creationId xmlns:a16="http://schemas.microsoft.com/office/drawing/2014/main" id="{B4BF6CDA-E853-E7BC-3A3F-4165D2F1A539}"/>
              </a:ext>
            </a:extLst>
          </p:cNvPr>
          <p:cNvSpPr>
            <a:spLocks noGrp="1"/>
          </p:cNvSpPr>
          <p:nvPr>
            <p:ph type="sldNum" sz="quarter" idx="12"/>
          </p:nvPr>
        </p:nvSpPr>
        <p:spPr/>
        <p:txBody>
          <a:bodyPr/>
          <a:lstStyle/>
          <a:p>
            <a:pPr defTabSz="685800">
              <a:defRPr/>
            </a:pPr>
            <a:fld id="{24C8C45C-947F-4981-8B3F-4F32E973C901}" type="slidenum">
              <a:rPr lang="da-DK">
                <a:solidFill>
                  <a:srgbClr val="3F1A2B"/>
                </a:solidFill>
                <a:latin typeface="Franklin Gothic Book"/>
              </a:rPr>
              <a:pPr defTabSz="685800">
                <a:defRPr/>
              </a:pPr>
              <a:t>32</a:t>
            </a:fld>
            <a:endParaRPr lang="da-DK">
              <a:solidFill>
                <a:srgbClr val="3F1A2B"/>
              </a:solidFill>
              <a:latin typeface="Franklin Gothic Book"/>
            </a:endParaRPr>
          </a:p>
        </p:txBody>
      </p:sp>
      <p:cxnSp>
        <p:nvCxnSpPr>
          <p:cNvPr id="11" name="Lige forbindelse 10">
            <a:extLst>
              <a:ext uri="{FF2B5EF4-FFF2-40B4-BE49-F238E27FC236}">
                <a16:creationId xmlns:a16="http://schemas.microsoft.com/office/drawing/2014/main" id="{C541F829-21D8-9B7B-AAC4-906FD2192EB0}"/>
              </a:ext>
            </a:extLst>
          </p:cNvPr>
          <p:cNvCxnSpPr/>
          <p:nvPr/>
        </p:nvCxnSpPr>
        <p:spPr>
          <a:xfrm>
            <a:off x="4572000" y="1120698"/>
            <a:ext cx="0" cy="350427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ktangel 12">
            <a:extLst>
              <a:ext uri="{FF2B5EF4-FFF2-40B4-BE49-F238E27FC236}">
                <a16:creationId xmlns:a16="http://schemas.microsoft.com/office/drawing/2014/main" id="{971315BC-4636-0442-54C4-EF849925A627}"/>
              </a:ext>
            </a:extLst>
          </p:cNvPr>
          <p:cNvSpPr/>
          <p:nvPr/>
        </p:nvSpPr>
        <p:spPr>
          <a:xfrm rot="20318955">
            <a:off x="6011842" y="3177831"/>
            <a:ext cx="2611547" cy="1123833"/>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defTabSz="685800">
              <a:defRPr/>
            </a:pPr>
            <a:r>
              <a:rPr lang="da-DK" sz="1200">
                <a:solidFill>
                  <a:srgbClr val="FFFFFF"/>
                </a:solidFill>
                <a:latin typeface="Franklin Gothic Book"/>
              </a:rPr>
              <a:t>Fire kommuner har deltaget i indledende snakke + tests: </a:t>
            </a:r>
          </a:p>
          <a:p>
            <a:pPr defTabSz="685800">
              <a:defRPr/>
            </a:pPr>
            <a:endParaRPr lang="da-DK" sz="1200">
              <a:solidFill>
                <a:srgbClr val="FFFFFF"/>
              </a:solidFill>
              <a:latin typeface="Franklin Gothic Book"/>
            </a:endParaRPr>
          </a:p>
          <a:p>
            <a:pPr defTabSz="685800">
              <a:defRPr/>
            </a:pPr>
            <a:r>
              <a:rPr lang="da-DK" sz="1200">
                <a:solidFill>
                  <a:srgbClr val="FFFFFF"/>
                </a:solidFill>
                <a:latin typeface="Franklin Gothic Book"/>
              </a:rPr>
              <a:t>Stevns, Aarhus, Aalborg og Billund</a:t>
            </a:r>
          </a:p>
        </p:txBody>
      </p:sp>
    </p:spTree>
    <p:extLst>
      <p:ext uri="{BB962C8B-B14F-4D97-AF65-F5344CB8AC3E}">
        <p14:creationId xmlns:p14="http://schemas.microsoft.com/office/powerpoint/2010/main" val="32700167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6C2EDD-EA31-4BDC-D940-E519C6F45B3F}"/>
            </a:ext>
          </a:extLst>
        </p:cNvPr>
        <p:cNvGrpSpPr/>
        <p:nvPr/>
      </p:nvGrpSpPr>
      <p:grpSpPr>
        <a:xfrm>
          <a:off x="0" y="0"/>
          <a:ext cx="0" cy="0"/>
          <a:chOff x="0" y="0"/>
          <a:chExt cx="0" cy="0"/>
        </a:xfrm>
      </p:grpSpPr>
      <p:sp>
        <p:nvSpPr>
          <p:cNvPr id="32" name="Titel 31">
            <a:extLst>
              <a:ext uri="{FF2B5EF4-FFF2-40B4-BE49-F238E27FC236}">
                <a16:creationId xmlns:a16="http://schemas.microsoft.com/office/drawing/2014/main" id="{E9B2536A-A7B9-8996-6FF3-1B371294F164}"/>
              </a:ext>
            </a:extLst>
          </p:cNvPr>
          <p:cNvSpPr>
            <a:spLocks noGrp="1"/>
          </p:cNvSpPr>
          <p:nvPr>
            <p:ph type="title"/>
          </p:nvPr>
        </p:nvSpPr>
        <p:spPr/>
        <p:txBody>
          <a:bodyPr/>
          <a:lstStyle/>
          <a:p>
            <a:r>
              <a:rPr lang="da-DK"/>
              <a:t>Kommunikation om lanceringen</a:t>
            </a:r>
          </a:p>
        </p:txBody>
      </p:sp>
      <p:sp>
        <p:nvSpPr>
          <p:cNvPr id="33" name="Pladsholder til indhold 32">
            <a:extLst>
              <a:ext uri="{FF2B5EF4-FFF2-40B4-BE49-F238E27FC236}">
                <a16:creationId xmlns:a16="http://schemas.microsoft.com/office/drawing/2014/main" id="{DDE33762-1807-B8AE-218C-F552691B5979}"/>
              </a:ext>
            </a:extLst>
          </p:cNvPr>
          <p:cNvSpPr>
            <a:spLocks noGrp="1"/>
          </p:cNvSpPr>
          <p:nvPr>
            <p:ph idx="1"/>
          </p:nvPr>
        </p:nvSpPr>
        <p:spPr>
          <a:xfrm>
            <a:off x="404550" y="1443581"/>
            <a:ext cx="3721673" cy="3172500"/>
          </a:xfrm>
        </p:spPr>
        <p:txBody>
          <a:bodyPr/>
          <a:lstStyle/>
          <a:p>
            <a:pPr lvl="0"/>
            <a:r>
              <a:rPr lang="da-DK" sz="1350"/>
              <a:t>Koordineret nyhed på digst.dk, kl.dk, kombit.dk </a:t>
            </a:r>
          </a:p>
          <a:p>
            <a:pPr lvl="0"/>
            <a:r>
              <a:rPr lang="da-DK" sz="1350"/>
              <a:t>Opslag på LinkedIn og Facebook, reels på Instagram</a:t>
            </a:r>
          </a:p>
          <a:p>
            <a:pPr lvl="0"/>
            <a:r>
              <a:rPr lang="da-DK" sz="1350"/>
              <a:t>Opdatering af eksisterende tekster, fx på borger.dk og kl.dk</a:t>
            </a:r>
          </a:p>
          <a:p>
            <a:pPr lvl="0"/>
            <a:r>
              <a:rPr lang="da-DK" sz="1350"/>
              <a:t>Webinarer </a:t>
            </a:r>
          </a:p>
          <a:p>
            <a:pPr lvl="0"/>
            <a:r>
              <a:rPr lang="da-DK" sz="1350"/>
              <a:t>Nyhedsbreve </a:t>
            </a:r>
          </a:p>
          <a:p>
            <a:pPr lvl="0"/>
            <a:r>
              <a:rPr lang="da-DK" sz="1350"/>
              <a:t>Interessentkommunikation</a:t>
            </a:r>
          </a:p>
          <a:p>
            <a:pPr marL="0" indent="0">
              <a:buNone/>
            </a:pPr>
            <a:endParaRPr lang="da-DK"/>
          </a:p>
        </p:txBody>
      </p:sp>
      <p:sp>
        <p:nvSpPr>
          <p:cNvPr id="29" name="Pladsholder til dato 28">
            <a:extLst>
              <a:ext uri="{FF2B5EF4-FFF2-40B4-BE49-F238E27FC236}">
                <a16:creationId xmlns:a16="http://schemas.microsoft.com/office/drawing/2014/main" id="{07F6A564-B485-3AD7-3E08-C78A8053AA95}"/>
              </a:ext>
            </a:extLst>
          </p:cNvPr>
          <p:cNvSpPr>
            <a:spLocks noGrp="1"/>
          </p:cNvSpPr>
          <p:nvPr>
            <p:ph type="dt" sz="half" idx="10"/>
          </p:nvPr>
        </p:nvSpPr>
        <p:spPr/>
        <p:txBody>
          <a:bodyPr/>
          <a:lstStyle/>
          <a:p>
            <a:pPr defTabSz="685800">
              <a:defRPr/>
            </a:pPr>
            <a:fld id="{2A9E7E65-270D-4F3F-848C-98E95A93B5E1}" type="datetime2">
              <a:rPr lang="da-DK">
                <a:solidFill>
                  <a:srgbClr val="3F1A2B"/>
                </a:solidFill>
                <a:latin typeface="Franklin Gothic Book"/>
              </a:rPr>
              <a:pPr defTabSz="685800">
                <a:defRPr/>
              </a:pPr>
              <a:t>11. december 2025</a:t>
            </a:fld>
            <a:endParaRPr lang="da-DK">
              <a:solidFill>
                <a:srgbClr val="3F1A2B"/>
              </a:solidFill>
              <a:latin typeface="Franklin Gothic Book"/>
            </a:endParaRPr>
          </a:p>
        </p:txBody>
      </p:sp>
      <p:sp>
        <p:nvSpPr>
          <p:cNvPr id="30" name="Pladsholder til sidefod 29">
            <a:extLst>
              <a:ext uri="{FF2B5EF4-FFF2-40B4-BE49-F238E27FC236}">
                <a16:creationId xmlns:a16="http://schemas.microsoft.com/office/drawing/2014/main" id="{1FC63F2E-0AF8-12AC-2EF6-518CB361572D}"/>
              </a:ext>
            </a:extLst>
          </p:cNvPr>
          <p:cNvSpPr>
            <a:spLocks noGrp="1"/>
          </p:cNvSpPr>
          <p:nvPr>
            <p:ph type="ftr" sz="quarter" idx="11"/>
          </p:nvPr>
        </p:nvSpPr>
        <p:spPr/>
        <p:txBody>
          <a:bodyPr/>
          <a:lstStyle/>
          <a:p>
            <a:pPr defTabSz="685800">
              <a:defRPr/>
            </a:pPr>
            <a:r>
              <a:rPr lang="da-DK">
                <a:solidFill>
                  <a:srgbClr val="3F1A2B"/>
                </a:solidFill>
                <a:latin typeface="Franklin Gothic Book"/>
              </a:rPr>
              <a:t>Digitaliseringsstyrelsen</a:t>
            </a:r>
          </a:p>
        </p:txBody>
      </p:sp>
      <p:sp>
        <p:nvSpPr>
          <p:cNvPr id="31" name="Pladsholder til slidenummer 30">
            <a:extLst>
              <a:ext uri="{FF2B5EF4-FFF2-40B4-BE49-F238E27FC236}">
                <a16:creationId xmlns:a16="http://schemas.microsoft.com/office/drawing/2014/main" id="{B8D8B36F-EDA9-C047-C736-C429EE8FB194}"/>
              </a:ext>
            </a:extLst>
          </p:cNvPr>
          <p:cNvSpPr>
            <a:spLocks noGrp="1"/>
          </p:cNvSpPr>
          <p:nvPr>
            <p:ph type="sldNum" sz="quarter" idx="12"/>
          </p:nvPr>
        </p:nvSpPr>
        <p:spPr/>
        <p:txBody>
          <a:bodyPr/>
          <a:lstStyle/>
          <a:p>
            <a:pPr defTabSz="685800">
              <a:defRPr/>
            </a:pPr>
            <a:fld id="{24C8C45C-947F-4981-8B3F-4F32E973C901}" type="slidenum">
              <a:rPr lang="da-DK">
                <a:solidFill>
                  <a:srgbClr val="3F1A2B"/>
                </a:solidFill>
                <a:latin typeface="Franklin Gothic Book"/>
              </a:rPr>
              <a:pPr defTabSz="685800">
                <a:defRPr/>
              </a:pPr>
              <a:t>33</a:t>
            </a:fld>
            <a:endParaRPr lang="da-DK">
              <a:solidFill>
                <a:srgbClr val="3F1A2B"/>
              </a:solidFill>
              <a:latin typeface="Franklin Gothic Book"/>
            </a:endParaRPr>
          </a:p>
        </p:txBody>
      </p:sp>
      <p:pic>
        <p:nvPicPr>
          <p:cNvPr id="2052" name="Picture 4" descr="Breaking News Screen Banner Template Design Stock-vektor (royaltyfri)  2181698391 | Shutterstock">
            <a:extLst>
              <a:ext uri="{FF2B5EF4-FFF2-40B4-BE49-F238E27FC236}">
                <a16:creationId xmlns:a16="http://schemas.microsoft.com/office/drawing/2014/main" id="{07F80E0A-FA1D-A89D-2CAD-01E6D39392D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789"/>
          <a:stretch/>
        </p:blipFill>
        <p:spPr bwMode="auto">
          <a:xfrm>
            <a:off x="4896244" y="1374133"/>
            <a:ext cx="4247756" cy="2348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8013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0AF16-852A-1043-FC29-4C1E7B698DDB}"/>
            </a:ext>
          </a:extLst>
        </p:cNvPr>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EF69C005-3C08-616B-D1C3-F02549105612}"/>
              </a:ext>
            </a:extLst>
          </p:cNvPr>
          <p:cNvSpPr>
            <a:spLocks noGrp="1"/>
          </p:cNvSpPr>
          <p:nvPr>
            <p:ph idx="1"/>
          </p:nvPr>
        </p:nvSpPr>
        <p:spPr/>
        <p:txBody>
          <a:bodyPr/>
          <a:lstStyle/>
          <a:p>
            <a:endParaRPr lang="da-DK"/>
          </a:p>
        </p:txBody>
      </p:sp>
      <p:sp>
        <p:nvSpPr>
          <p:cNvPr id="8" name="Rektangel 7">
            <a:extLst>
              <a:ext uri="{FF2B5EF4-FFF2-40B4-BE49-F238E27FC236}">
                <a16:creationId xmlns:a16="http://schemas.microsoft.com/office/drawing/2014/main" id="{3D3F092F-FC34-822C-3DBF-A33FA1A8ADBB}"/>
              </a:ext>
            </a:extLst>
          </p:cNvPr>
          <p:cNvSpPr/>
          <p:nvPr/>
        </p:nvSpPr>
        <p:spPr>
          <a:xfrm>
            <a:off x="7442671" y="278348"/>
            <a:ext cx="1296329" cy="217030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lnSpc>
                <a:spcPct val="150000"/>
              </a:lnSpc>
              <a:defRPr/>
            </a:pPr>
            <a:r>
              <a:rPr lang="da-DK" sz="1350" b="1" err="1">
                <a:solidFill>
                  <a:srgbClr val="FFFFFF"/>
                </a:solidFill>
                <a:latin typeface="Franklin Gothic Book"/>
              </a:rPr>
              <a:t>Onepager</a:t>
            </a:r>
            <a:r>
              <a:rPr lang="da-DK" sz="1350" b="1">
                <a:solidFill>
                  <a:srgbClr val="FFFFFF"/>
                </a:solidFill>
                <a:latin typeface="Franklin Gothic Book"/>
              </a:rPr>
              <a:t> til borgere</a:t>
            </a:r>
            <a:endParaRPr lang="da-DK" sz="1200" b="1">
              <a:solidFill>
                <a:srgbClr val="FFFFFF"/>
              </a:solidFill>
              <a:latin typeface="Franklin Gothic Book"/>
            </a:endParaRPr>
          </a:p>
        </p:txBody>
      </p:sp>
      <p:sp>
        <p:nvSpPr>
          <p:cNvPr id="6" name="Rektangel 5">
            <a:extLst>
              <a:ext uri="{FF2B5EF4-FFF2-40B4-BE49-F238E27FC236}">
                <a16:creationId xmlns:a16="http://schemas.microsoft.com/office/drawing/2014/main" id="{EDF6C10C-85D0-470D-BE17-45226E3443CA}"/>
              </a:ext>
              <a:ext uri="{C183D7F6-B498-43B3-948B-1728B52AA6E4}">
                <adec:decorative xmlns:adec="http://schemas.microsoft.com/office/drawing/2017/decorative" val="1"/>
              </a:ext>
            </a:extLst>
          </p:cNvPr>
          <p:cNvSpPr/>
          <p:nvPr/>
        </p:nvSpPr>
        <p:spPr>
          <a:xfrm>
            <a:off x="5818696" y="91912"/>
            <a:ext cx="1208987" cy="530258"/>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defRPr/>
            </a:pPr>
            <a:endParaRPr lang="da-DK" sz="1200" err="1">
              <a:solidFill>
                <a:srgbClr val="FFFFFF"/>
              </a:solidFill>
              <a:latin typeface="Franklin Gothic Book"/>
            </a:endParaRPr>
          </a:p>
        </p:txBody>
      </p:sp>
      <p:sp>
        <p:nvSpPr>
          <p:cNvPr id="10" name="Titel 9">
            <a:extLst>
              <a:ext uri="{FF2B5EF4-FFF2-40B4-BE49-F238E27FC236}">
                <a16:creationId xmlns:a16="http://schemas.microsoft.com/office/drawing/2014/main" id="{30AB0844-BDBD-5A5A-3B2A-14E71FF3A424}"/>
              </a:ext>
            </a:extLst>
          </p:cNvPr>
          <p:cNvSpPr>
            <a:spLocks noGrp="1"/>
          </p:cNvSpPr>
          <p:nvPr>
            <p:ph type="title"/>
          </p:nvPr>
        </p:nvSpPr>
        <p:spPr>
          <a:xfrm>
            <a:off x="405000" y="-621000"/>
            <a:ext cx="8334900" cy="621000"/>
          </a:xfrm>
        </p:spPr>
        <p:txBody>
          <a:bodyPr vert="horz" lIns="0" tIns="0" rIns="0" bIns="0" rtlCol="0" anchor="b" anchorCtr="0">
            <a:noAutofit/>
          </a:bodyPr>
          <a:lstStyle/>
          <a:p>
            <a:r>
              <a:rPr lang="da-DK" err="1"/>
              <a:t>Onepager</a:t>
            </a:r>
            <a:r>
              <a:rPr lang="da-DK"/>
              <a:t> til borgere, eksempel</a:t>
            </a:r>
          </a:p>
        </p:txBody>
      </p:sp>
      <p:pic>
        <p:nvPicPr>
          <p:cNvPr id="7" name="Billede 6">
            <a:extLst>
              <a:ext uri="{FF2B5EF4-FFF2-40B4-BE49-F238E27FC236}">
                <a16:creationId xmlns:a16="http://schemas.microsoft.com/office/drawing/2014/main" id="{2F75E733-7457-ADAF-AE72-27E3627F58B5}"/>
              </a:ext>
            </a:extLst>
          </p:cNvPr>
          <p:cNvPicPr>
            <a:picLocks noChangeAspect="1"/>
          </p:cNvPicPr>
          <p:nvPr/>
        </p:nvPicPr>
        <p:blipFill>
          <a:blip r:embed="rId3"/>
          <a:stretch>
            <a:fillRect/>
          </a:stretch>
        </p:blipFill>
        <p:spPr>
          <a:xfrm>
            <a:off x="1" y="36928"/>
            <a:ext cx="7264394" cy="5069645"/>
          </a:xfrm>
          <a:prstGeom prst="rect">
            <a:avLst/>
          </a:prstGeom>
        </p:spPr>
      </p:pic>
    </p:spTree>
    <p:extLst>
      <p:ext uri="{BB962C8B-B14F-4D97-AF65-F5344CB8AC3E}">
        <p14:creationId xmlns:p14="http://schemas.microsoft.com/office/powerpoint/2010/main" val="19447777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2A374-BD2B-7C06-B904-C55050FFA6CC}"/>
            </a:ext>
          </a:extLst>
        </p:cNvPr>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F4C5987A-06B5-C027-9280-73A779AA5D74}"/>
              </a:ext>
            </a:extLst>
          </p:cNvPr>
          <p:cNvSpPr>
            <a:spLocks noGrp="1"/>
          </p:cNvSpPr>
          <p:nvPr>
            <p:ph idx="1"/>
          </p:nvPr>
        </p:nvSpPr>
        <p:spPr/>
        <p:txBody>
          <a:bodyPr/>
          <a:lstStyle/>
          <a:p>
            <a:endParaRPr lang="da-DK"/>
          </a:p>
        </p:txBody>
      </p:sp>
      <p:sp>
        <p:nvSpPr>
          <p:cNvPr id="8" name="Rektangel 7">
            <a:extLst>
              <a:ext uri="{FF2B5EF4-FFF2-40B4-BE49-F238E27FC236}">
                <a16:creationId xmlns:a16="http://schemas.microsoft.com/office/drawing/2014/main" id="{142C0E3D-FC77-E509-F0F8-19DBC0A5430E}"/>
              </a:ext>
            </a:extLst>
          </p:cNvPr>
          <p:cNvSpPr/>
          <p:nvPr/>
        </p:nvSpPr>
        <p:spPr>
          <a:xfrm>
            <a:off x="7442671" y="278348"/>
            <a:ext cx="1296329" cy="217030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lnSpc>
                <a:spcPct val="150000"/>
              </a:lnSpc>
              <a:defRPr/>
            </a:pPr>
            <a:r>
              <a:rPr lang="da-DK" sz="1350" b="1" err="1">
                <a:solidFill>
                  <a:srgbClr val="FFFFFF"/>
                </a:solidFill>
                <a:latin typeface="Franklin Gothic Book"/>
              </a:rPr>
              <a:t>Onepager</a:t>
            </a:r>
            <a:r>
              <a:rPr lang="da-DK" sz="1350" b="1">
                <a:solidFill>
                  <a:srgbClr val="FFFFFF"/>
                </a:solidFill>
                <a:latin typeface="Franklin Gothic Book"/>
              </a:rPr>
              <a:t> til borgere</a:t>
            </a:r>
            <a:endParaRPr lang="da-DK" sz="1200" b="1">
              <a:solidFill>
                <a:srgbClr val="FFFFFF"/>
              </a:solidFill>
              <a:latin typeface="Franklin Gothic Book"/>
            </a:endParaRPr>
          </a:p>
        </p:txBody>
      </p:sp>
      <p:sp>
        <p:nvSpPr>
          <p:cNvPr id="6" name="Rektangel 5">
            <a:extLst>
              <a:ext uri="{FF2B5EF4-FFF2-40B4-BE49-F238E27FC236}">
                <a16:creationId xmlns:a16="http://schemas.microsoft.com/office/drawing/2014/main" id="{21F8B913-8108-74D5-22D2-483428F3E486}"/>
              </a:ext>
              <a:ext uri="{C183D7F6-B498-43B3-948B-1728B52AA6E4}">
                <adec:decorative xmlns:adec="http://schemas.microsoft.com/office/drawing/2017/decorative" val="1"/>
              </a:ext>
            </a:extLst>
          </p:cNvPr>
          <p:cNvSpPr/>
          <p:nvPr/>
        </p:nvSpPr>
        <p:spPr>
          <a:xfrm>
            <a:off x="5818696" y="91912"/>
            <a:ext cx="1208987" cy="530258"/>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defRPr/>
            </a:pPr>
            <a:endParaRPr lang="da-DK" sz="1200" err="1">
              <a:solidFill>
                <a:srgbClr val="FFFFFF"/>
              </a:solidFill>
              <a:latin typeface="Franklin Gothic Book"/>
            </a:endParaRPr>
          </a:p>
        </p:txBody>
      </p:sp>
      <p:sp>
        <p:nvSpPr>
          <p:cNvPr id="10" name="Titel 9">
            <a:extLst>
              <a:ext uri="{FF2B5EF4-FFF2-40B4-BE49-F238E27FC236}">
                <a16:creationId xmlns:a16="http://schemas.microsoft.com/office/drawing/2014/main" id="{0518358F-FDEB-9610-ED30-C219566CBEB2}"/>
              </a:ext>
            </a:extLst>
          </p:cNvPr>
          <p:cNvSpPr>
            <a:spLocks noGrp="1"/>
          </p:cNvSpPr>
          <p:nvPr>
            <p:ph type="title"/>
          </p:nvPr>
        </p:nvSpPr>
        <p:spPr>
          <a:xfrm>
            <a:off x="405000" y="-621000"/>
            <a:ext cx="8334900" cy="621000"/>
          </a:xfrm>
        </p:spPr>
        <p:txBody>
          <a:bodyPr vert="horz" lIns="0" tIns="0" rIns="0" bIns="0" rtlCol="0" anchor="b" anchorCtr="0">
            <a:noAutofit/>
          </a:bodyPr>
          <a:lstStyle/>
          <a:p>
            <a:r>
              <a:rPr lang="da-DK" err="1"/>
              <a:t>Onepager</a:t>
            </a:r>
            <a:r>
              <a:rPr lang="da-DK"/>
              <a:t> til borgere, eksempel</a:t>
            </a:r>
          </a:p>
        </p:txBody>
      </p:sp>
      <p:pic>
        <p:nvPicPr>
          <p:cNvPr id="4" name="Billede 3">
            <a:extLst>
              <a:ext uri="{FF2B5EF4-FFF2-40B4-BE49-F238E27FC236}">
                <a16:creationId xmlns:a16="http://schemas.microsoft.com/office/drawing/2014/main" id="{17C82EC8-62D2-AC4F-4743-E7D1B3884145}"/>
              </a:ext>
            </a:extLst>
          </p:cNvPr>
          <p:cNvPicPr>
            <a:picLocks noChangeAspect="1"/>
          </p:cNvPicPr>
          <p:nvPr/>
        </p:nvPicPr>
        <p:blipFill>
          <a:blip r:embed="rId3"/>
          <a:stretch>
            <a:fillRect/>
          </a:stretch>
        </p:blipFill>
        <p:spPr>
          <a:xfrm>
            <a:off x="0" y="0"/>
            <a:ext cx="7312644" cy="5143500"/>
          </a:xfrm>
          <a:prstGeom prst="rect">
            <a:avLst/>
          </a:prstGeom>
        </p:spPr>
      </p:pic>
    </p:spTree>
    <p:extLst>
      <p:ext uri="{BB962C8B-B14F-4D97-AF65-F5344CB8AC3E}">
        <p14:creationId xmlns:p14="http://schemas.microsoft.com/office/powerpoint/2010/main" val="9256615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idefod 1">
            <a:extLst>
              <a:ext uri="{FF2B5EF4-FFF2-40B4-BE49-F238E27FC236}">
                <a16:creationId xmlns:a16="http://schemas.microsoft.com/office/drawing/2014/main" id="{23DBE25C-30E0-21AB-EEA7-DC8038CA54C9}"/>
              </a:ext>
            </a:extLst>
          </p:cNvPr>
          <p:cNvSpPr>
            <a:spLocks noGrp="1"/>
          </p:cNvSpPr>
          <p:nvPr>
            <p:ph type="ftr" sz="quarter" idx="16"/>
          </p:nvPr>
        </p:nvSpPr>
        <p:spPr/>
        <p:txBody>
          <a:bodyPr/>
          <a:lstStyle/>
          <a:p>
            <a:pPr defTabSz="685800">
              <a:defRPr/>
            </a:pPr>
            <a:r>
              <a:rPr lang="da-DK">
                <a:latin typeface="Franklin Gothic Book"/>
              </a:rPr>
              <a:t>Digitaliseringsstyrelsen</a:t>
            </a:r>
          </a:p>
        </p:txBody>
      </p:sp>
      <p:sp>
        <p:nvSpPr>
          <p:cNvPr id="3" name="Pladsholder til slidenummer 2">
            <a:extLst>
              <a:ext uri="{FF2B5EF4-FFF2-40B4-BE49-F238E27FC236}">
                <a16:creationId xmlns:a16="http://schemas.microsoft.com/office/drawing/2014/main" id="{29EF36DA-69A6-8BDA-6228-3F8D8B6EACB1}"/>
              </a:ext>
            </a:extLst>
          </p:cNvPr>
          <p:cNvSpPr>
            <a:spLocks noGrp="1"/>
          </p:cNvSpPr>
          <p:nvPr>
            <p:ph type="sldNum" sz="quarter" idx="17"/>
          </p:nvPr>
        </p:nvSpPr>
        <p:spPr/>
        <p:txBody>
          <a:bodyPr/>
          <a:lstStyle/>
          <a:p>
            <a:pPr defTabSz="685800">
              <a:defRPr/>
            </a:pPr>
            <a:fld id="{24C8C45C-947F-4981-8B3F-4F32E973C901}" type="slidenum">
              <a:rPr lang="da-DK">
                <a:latin typeface="Franklin Gothic Book"/>
              </a:rPr>
              <a:pPr defTabSz="685800">
                <a:defRPr/>
              </a:pPr>
              <a:t>36</a:t>
            </a:fld>
            <a:endParaRPr lang="da-DK">
              <a:latin typeface="Franklin Gothic Book"/>
            </a:endParaRPr>
          </a:p>
        </p:txBody>
      </p:sp>
      <p:sp>
        <p:nvSpPr>
          <p:cNvPr id="35" name="Tekstfelt 34">
            <a:extLst>
              <a:ext uri="{FF2B5EF4-FFF2-40B4-BE49-F238E27FC236}">
                <a16:creationId xmlns:a16="http://schemas.microsoft.com/office/drawing/2014/main" id="{F42A2A9F-60AA-0B09-54FB-20A401E3D67A}"/>
              </a:ext>
            </a:extLst>
          </p:cNvPr>
          <p:cNvSpPr txBox="1"/>
          <p:nvPr/>
        </p:nvSpPr>
        <p:spPr>
          <a:xfrm>
            <a:off x="392080" y="3310616"/>
            <a:ext cx="1722004" cy="646331"/>
          </a:xfrm>
          <a:prstGeom prst="rect">
            <a:avLst/>
          </a:prstGeom>
          <a:noFill/>
        </p:spPr>
        <p:txBody>
          <a:bodyPr wrap="square">
            <a:spAutoFit/>
          </a:bodyPr>
          <a:lstStyle/>
          <a:p>
            <a:pPr defTabSz="685800">
              <a:defRPr/>
            </a:pPr>
            <a:r>
              <a:rPr lang="da-DK" sz="900" b="1">
                <a:solidFill>
                  <a:srgbClr val="4D7836"/>
                </a:solidFill>
                <a:latin typeface="Open Sans" panose="020B0606030504020204" pitchFamily="34" charset="0"/>
                <a:ea typeface="Open Sans" panose="020B0606030504020204" pitchFamily="34" charset="0"/>
                <a:cs typeface="Open Sans" panose="020B0606030504020204" pitchFamily="34" charset="0"/>
              </a:rPr>
              <a:t>1. case om Irene og Kim</a:t>
            </a:r>
            <a:b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t>Irenes søn Kim får indsigtsfuldmagt til </a:t>
            </a:r>
            <a:b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t>Mit Overblik.</a:t>
            </a:r>
            <a:endParaRPr lang="da-DK" sz="900">
              <a:solidFill>
                <a:srgbClr val="000000"/>
              </a:solidFill>
              <a:latin typeface="Franklin Gothic Book"/>
            </a:endParaRPr>
          </a:p>
        </p:txBody>
      </p:sp>
      <p:sp>
        <p:nvSpPr>
          <p:cNvPr id="36" name="Tekstfelt 35">
            <a:extLst>
              <a:ext uri="{FF2B5EF4-FFF2-40B4-BE49-F238E27FC236}">
                <a16:creationId xmlns:a16="http://schemas.microsoft.com/office/drawing/2014/main" id="{CF9FDEDE-AD34-23FB-9D63-195D64D6B92D}"/>
              </a:ext>
            </a:extLst>
          </p:cNvPr>
          <p:cNvSpPr txBox="1"/>
          <p:nvPr/>
        </p:nvSpPr>
        <p:spPr>
          <a:xfrm>
            <a:off x="5175101" y="3310616"/>
            <a:ext cx="1854816" cy="646331"/>
          </a:xfrm>
          <a:prstGeom prst="rect">
            <a:avLst/>
          </a:prstGeom>
          <a:noFill/>
        </p:spPr>
        <p:txBody>
          <a:bodyPr wrap="square">
            <a:spAutoFit/>
          </a:bodyPr>
          <a:lstStyle/>
          <a:p>
            <a:pPr defTabSz="685800">
              <a:defRPr/>
            </a:pPr>
            <a:r>
              <a:rPr lang="da-DK" sz="900" b="1">
                <a:solidFill>
                  <a:srgbClr val="4D7836"/>
                </a:solidFill>
                <a:latin typeface="Open Sans" panose="020B0606030504020204" pitchFamily="34" charset="0"/>
                <a:ea typeface="Open Sans" panose="020B0606030504020204" pitchFamily="34" charset="0"/>
                <a:cs typeface="Open Sans" panose="020B0606030504020204" pitchFamily="34" charset="0"/>
              </a:rPr>
              <a:t>3. case om Josefine</a:t>
            </a:r>
            <a:br>
              <a:rPr lang="da-DK" sz="900" b="1">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t>Hun har søgt boligstøtte</a:t>
            </a:r>
            <a:b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t>og bruger Mit Overblik til at </a:t>
            </a:r>
            <a:b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t>få overblik over sin gæld.</a:t>
            </a:r>
            <a:endParaRPr lang="da-DK" sz="900">
              <a:solidFill>
                <a:srgbClr val="000000"/>
              </a:solidFill>
              <a:latin typeface="Franklin Gothic Book"/>
            </a:endParaRPr>
          </a:p>
        </p:txBody>
      </p:sp>
      <p:sp>
        <p:nvSpPr>
          <p:cNvPr id="50" name="Tekstfelt 49">
            <a:extLst>
              <a:ext uri="{FF2B5EF4-FFF2-40B4-BE49-F238E27FC236}">
                <a16:creationId xmlns:a16="http://schemas.microsoft.com/office/drawing/2014/main" id="{EC5AAACA-281D-1DE2-6A77-0F0DBEEF473F}"/>
              </a:ext>
            </a:extLst>
          </p:cNvPr>
          <p:cNvSpPr txBox="1"/>
          <p:nvPr/>
        </p:nvSpPr>
        <p:spPr>
          <a:xfrm>
            <a:off x="392080" y="4303593"/>
            <a:ext cx="4016087" cy="323165"/>
          </a:xfrm>
          <a:prstGeom prst="rect">
            <a:avLst/>
          </a:prstGeom>
          <a:noFill/>
        </p:spPr>
        <p:txBody>
          <a:bodyPr wrap="square" lIns="0" tIns="0" rIns="0" bIns="0" rtlCol="0">
            <a:spAutoFit/>
          </a:bodyPr>
          <a:lstStyle/>
          <a:p>
            <a:pPr defTabSz="685800">
              <a:defRPr/>
            </a:pPr>
            <a:r>
              <a:rPr lang="da-DK" sz="2100" b="1">
                <a:solidFill>
                  <a:srgbClr val="4D7836"/>
                </a:solidFill>
                <a:latin typeface="Open Sans" panose="020B0606030504020204" pitchFamily="34" charset="0"/>
                <a:ea typeface="Open Sans" panose="020B0606030504020204" pitchFamily="34" charset="0"/>
                <a:cs typeface="Open Sans" panose="020B0606030504020204" pitchFamily="34" charset="0"/>
              </a:rPr>
              <a:t>Cases om Mit Overblik</a:t>
            </a:r>
          </a:p>
        </p:txBody>
      </p:sp>
      <p:sp>
        <p:nvSpPr>
          <p:cNvPr id="51" name="Pladsholder til dato 5">
            <a:extLst>
              <a:ext uri="{FF2B5EF4-FFF2-40B4-BE49-F238E27FC236}">
                <a16:creationId xmlns:a16="http://schemas.microsoft.com/office/drawing/2014/main" id="{3FD417EB-8ACC-61EA-48A4-576913E33389}"/>
              </a:ext>
            </a:extLst>
          </p:cNvPr>
          <p:cNvSpPr txBox="1">
            <a:spLocks/>
          </p:cNvSpPr>
          <p:nvPr/>
        </p:nvSpPr>
        <p:spPr>
          <a:xfrm>
            <a:off x="7788408" y="267313"/>
            <a:ext cx="1271963" cy="24409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lang="da-DK" sz="1050" b="1">
                <a:solidFill>
                  <a:srgbClr val="000000"/>
                </a:solidFill>
                <a:latin typeface="Franklin Gothic Book"/>
              </a:rPr>
              <a:t>Kun til intern brug </a:t>
            </a:r>
          </a:p>
        </p:txBody>
      </p:sp>
      <p:sp>
        <p:nvSpPr>
          <p:cNvPr id="53" name="Pladsholder til dato 5">
            <a:extLst>
              <a:ext uri="{FF2B5EF4-FFF2-40B4-BE49-F238E27FC236}">
                <a16:creationId xmlns:a16="http://schemas.microsoft.com/office/drawing/2014/main" id="{DAF07279-7964-8A15-2853-2A6F003A861A}"/>
              </a:ext>
            </a:extLst>
          </p:cNvPr>
          <p:cNvSpPr txBox="1">
            <a:spLocks/>
          </p:cNvSpPr>
          <p:nvPr/>
        </p:nvSpPr>
        <p:spPr>
          <a:xfrm>
            <a:off x="343224" y="4626757"/>
            <a:ext cx="1169798" cy="24409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lang="da-DK" sz="1050">
                <a:solidFill>
                  <a:srgbClr val="000000"/>
                </a:solidFill>
                <a:latin typeface="Franklin Gothic Book"/>
              </a:rPr>
              <a:t>December 2025</a:t>
            </a:r>
          </a:p>
        </p:txBody>
      </p:sp>
      <p:sp>
        <p:nvSpPr>
          <p:cNvPr id="75" name="Tekstfelt 74">
            <a:extLst>
              <a:ext uri="{FF2B5EF4-FFF2-40B4-BE49-F238E27FC236}">
                <a16:creationId xmlns:a16="http://schemas.microsoft.com/office/drawing/2014/main" id="{AFF16532-151C-5EE1-F850-95CCFF7EDA0D}"/>
              </a:ext>
            </a:extLst>
          </p:cNvPr>
          <p:cNvSpPr txBox="1"/>
          <p:nvPr/>
        </p:nvSpPr>
        <p:spPr>
          <a:xfrm>
            <a:off x="2990250" y="3310616"/>
            <a:ext cx="1724189" cy="646331"/>
          </a:xfrm>
          <a:prstGeom prst="rect">
            <a:avLst/>
          </a:prstGeom>
          <a:noFill/>
        </p:spPr>
        <p:txBody>
          <a:bodyPr wrap="square">
            <a:spAutoFit/>
          </a:bodyPr>
          <a:lstStyle/>
          <a:p>
            <a:pPr defTabSz="685800">
              <a:defRPr/>
            </a:pPr>
            <a:r>
              <a:rPr lang="da-DK" sz="900" b="1">
                <a:solidFill>
                  <a:srgbClr val="4D7836"/>
                </a:solidFill>
                <a:latin typeface="Open Sans" panose="020B0606030504020204" pitchFamily="34" charset="0"/>
                <a:ea typeface="Open Sans" panose="020B0606030504020204" pitchFamily="34" charset="0"/>
                <a:cs typeface="Open Sans" panose="020B0606030504020204" pitchFamily="34" charset="0"/>
              </a:rPr>
              <a:t>2. case om Søren</a:t>
            </a:r>
            <a:b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t>Han er i jobafklaringsforløb </a:t>
            </a:r>
            <a:b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t>og modtager økonomisk </a:t>
            </a:r>
            <a:b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t>støtte fra det offentlige.</a:t>
            </a:r>
            <a:endParaRPr lang="da-DK" sz="900">
              <a:solidFill>
                <a:srgbClr val="000000"/>
              </a:solidFill>
              <a:latin typeface="Franklin Gothic Book"/>
            </a:endParaRPr>
          </a:p>
        </p:txBody>
      </p:sp>
      <p:pic>
        <p:nvPicPr>
          <p:cNvPr id="73" name="Billede 72">
            <a:extLst>
              <a:ext uri="{FF2B5EF4-FFF2-40B4-BE49-F238E27FC236}">
                <a16:creationId xmlns:a16="http://schemas.microsoft.com/office/drawing/2014/main" id="{1AF99DB7-5E2C-DFE0-6A10-E30D8A098C1F}"/>
              </a:ext>
            </a:extLst>
          </p:cNvPr>
          <p:cNvPicPr>
            <a:picLocks noChangeAspect="1"/>
          </p:cNvPicPr>
          <p:nvPr/>
        </p:nvPicPr>
        <p:blipFill>
          <a:blip r:embed="rId3"/>
          <a:srcRect t="10905" b="4755"/>
          <a:stretch>
            <a:fillRect/>
          </a:stretch>
        </p:blipFill>
        <p:spPr>
          <a:xfrm>
            <a:off x="6102509" y="0"/>
            <a:ext cx="1420827" cy="3106757"/>
          </a:xfrm>
          <a:prstGeom prst="rect">
            <a:avLst/>
          </a:prstGeom>
        </p:spPr>
      </p:pic>
      <p:pic>
        <p:nvPicPr>
          <p:cNvPr id="5" name="Billede 4">
            <a:extLst>
              <a:ext uri="{FF2B5EF4-FFF2-40B4-BE49-F238E27FC236}">
                <a16:creationId xmlns:a16="http://schemas.microsoft.com/office/drawing/2014/main" id="{F283E51C-56DB-ED07-0EF2-8D0A1B1740A8}"/>
              </a:ext>
            </a:extLst>
          </p:cNvPr>
          <p:cNvPicPr>
            <a:picLocks noChangeAspect="1"/>
          </p:cNvPicPr>
          <p:nvPr/>
        </p:nvPicPr>
        <p:blipFill>
          <a:blip r:embed="rId4"/>
          <a:stretch>
            <a:fillRect/>
          </a:stretch>
        </p:blipFill>
        <p:spPr>
          <a:xfrm>
            <a:off x="0" y="1553379"/>
            <a:ext cx="7558398" cy="1655759"/>
          </a:xfrm>
          <a:prstGeom prst="rect">
            <a:avLst/>
          </a:prstGeom>
        </p:spPr>
      </p:pic>
    </p:spTree>
    <p:extLst>
      <p:ext uri="{BB962C8B-B14F-4D97-AF65-F5344CB8AC3E}">
        <p14:creationId xmlns:p14="http://schemas.microsoft.com/office/powerpoint/2010/main" val="21641504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2AAD0-E967-969A-B214-A20ABC9A0CBF}"/>
            </a:ext>
          </a:extLst>
        </p:cNvPr>
        <p:cNvGrpSpPr/>
        <p:nvPr/>
      </p:nvGrpSpPr>
      <p:grpSpPr>
        <a:xfrm>
          <a:off x="0" y="0"/>
          <a:ext cx="0" cy="0"/>
          <a:chOff x="0" y="0"/>
          <a:chExt cx="0" cy="0"/>
        </a:xfrm>
      </p:grpSpPr>
      <p:sp>
        <p:nvSpPr>
          <p:cNvPr id="3" name="Shape 1">
            <a:extLst>
              <a:ext uri="{FF2B5EF4-FFF2-40B4-BE49-F238E27FC236}">
                <a16:creationId xmlns:a16="http://schemas.microsoft.com/office/drawing/2014/main" id="{D3700ED2-976E-9D87-CF0C-346736B7AA0D}"/>
              </a:ext>
            </a:extLst>
          </p:cNvPr>
          <p:cNvSpPr/>
          <p:nvPr/>
        </p:nvSpPr>
        <p:spPr>
          <a:xfrm>
            <a:off x="4154053" y="1307224"/>
            <a:ext cx="1216904" cy="1537142"/>
          </a:xfrm>
          <a:prstGeom prst="rect">
            <a:avLst/>
          </a:prstGeom>
          <a:noFill/>
          <a:ln/>
        </p:spPr>
        <p:txBody>
          <a:bodyPr/>
          <a:lstStyle/>
          <a:p>
            <a:pPr defTabSz="685800">
              <a:defRPr/>
            </a:pPr>
            <a:endParaRPr lang="da-DK">
              <a:solidFill>
                <a:srgbClr val="000000"/>
              </a:solidFill>
              <a:latin typeface="Franklin Gothic Book"/>
            </a:endParaRPr>
          </a:p>
        </p:txBody>
      </p:sp>
      <p:sp>
        <p:nvSpPr>
          <p:cNvPr id="2" name="Shape 0">
            <a:extLst>
              <a:ext uri="{FF2B5EF4-FFF2-40B4-BE49-F238E27FC236}">
                <a16:creationId xmlns:a16="http://schemas.microsoft.com/office/drawing/2014/main" id="{4FD98737-C3F6-5467-3C62-4106DE1A424D}"/>
              </a:ext>
            </a:extLst>
          </p:cNvPr>
          <p:cNvSpPr/>
          <p:nvPr/>
        </p:nvSpPr>
        <p:spPr>
          <a:xfrm>
            <a:off x="3253021" y="951466"/>
            <a:ext cx="2644775" cy="2644775"/>
          </a:xfrm>
          <a:prstGeom prst="ellipse">
            <a:avLst/>
          </a:prstGeom>
          <a:solidFill>
            <a:schemeClr val="bg1"/>
          </a:solidFill>
          <a:ln w="12700">
            <a:solidFill>
              <a:srgbClr val="44831E"/>
            </a:solidFill>
            <a:prstDash val="solid"/>
          </a:ln>
        </p:spPr>
        <p:txBody>
          <a:bodyPr/>
          <a:lstStyle/>
          <a:p>
            <a:pPr defTabSz="685800">
              <a:defRPr/>
            </a:pPr>
            <a:endParaRPr lang="da-DK">
              <a:solidFill>
                <a:srgbClr val="000000"/>
              </a:solidFill>
              <a:latin typeface="Franklin Gothic Book"/>
            </a:endParaRPr>
          </a:p>
        </p:txBody>
      </p:sp>
      <p:sp>
        <p:nvSpPr>
          <p:cNvPr id="34" name="Text 11">
            <a:extLst>
              <a:ext uri="{FF2B5EF4-FFF2-40B4-BE49-F238E27FC236}">
                <a16:creationId xmlns:a16="http://schemas.microsoft.com/office/drawing/2014/main" id="{57AB3C53-EC86-378E-06EC-D544B02A733E}"/>
              </a:ext>
            </a:extLst>
          </p:cNvPr>
          <p:cNvSpPr/>
          <p:nvPr/>
        </p:nvSpPr>
        <p:spPr>
          <a:xfrm>
            <a:off x="3746947" y="2952149"/>
            <a:ext cx="1707321" cy="321981"/>
          </a:xfrm>
          <a:prstGeom prst="rect">
            <a:avLst/>
          </a:prstGeom>
          <a:noFill/>
          <a:ln/>
        </p:spPr>
        <p:txBody>
          <a:bodyPr wrap="square" rtlCol="0" anchor="ctr"/>
          <a:lstStyle/>
          <a:p>
            <a:pPr algn="ctr" defTabSz="685800">
              <a:defRPr/>
            </a:pPr>
            <a:r>
              <a:rPr lang="en-US" sz="750" dirty="0">
                <a:solidFill>
                  <a:srgbClr val="0B2432">
                    <a:alpha val="99000"/>
                  </a:srgbClr>
                </a:solidFill>
                <a:latin typeface="Open Sans" panose="020B0606030504020204" pitchFamily="34" charset="0"/>
                <a:ea typeface="Open Sans" panose="020B0606030504020204" pitchFamily="34" charset="0"/>
                <a:cs typeface="Open Sans" panose="020B0606030504020204" pitchFamily="34" charset="0"/>
              </a:rPr>
              <a:t>85 år. Bor i plejebolig i Randers. </a:t>
            </a:r>
            <a:endParaRPr lang="en-US" sz="75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defTabSz="685800">
              <a:defRPr/>
            </a:pPr>
            <a:r>
              <a:rPr lang="en-US" sz="750" dirty="0">
                <a:solidFill>
                  <a:srgbClr val="0B2432">
                    <a:alpha val="99000"/>
                  </a:srgbClr>
                </a:solidFill>
                <a:latin typeface="Open Sans" panose="020B0606030504020204" pitchFamily="34" charset="0"/>
                <a:ea typeface="Open Sans" panose="020B0606030504020204" pitchFamily="34" charset="0"/>
                <a:cs typeface="Open Sans" panose="020B0606030504020204" pitchFamily="34" charset="0"/>
              </a:rPr>
              <a:t>Får boligstøtte. Kører el-scooter.</a:t>
            </a:r>
            <a:endParaRPr lang="en-US" sz="75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 name="Text 12">
            <a:extLst>
              <a:ext uri="{FF2B5EF4-FFF2-40B4-BE49-F238E27FC236}">
                <a16:creationId xmlns:a16="http://schemas.microsoft.com/office/drawing/2014/main" id="{4F247741-42C0-1118-C2CA-ADEEB36788E4}"/>
              </a:ext>
            </a:extLst>
          </p:cNvPr>
          <p:cNvSpPr/>
          <p:nvPr/>
        </p:nvSpPr>
        <p:spPr>
          <a:xfrm>
            <a:off x="3832036" y="2791872"/>
            <a:ext cx="1537142" cy="176132"/>
          </a:xfrm>
          <a:prstGeom prst="rect">
            <a:avLst/>
          </a:prstGeom>
          <a:noFill/>
          <a:ln/>
        </p:spPr>
        <p:txBody>
          <a:bodyPr wrap="square" rtlCol="0" anchor="ctr"/>
          <a:lstStyle/>
          <a:p>
            <a:pPr algn="ctr" defTabSz="685800">
              <a:lnSpc>
                <a:spcPts val="1226"/>
              </a:lnSpc>
              <a:defRPr/>
            </a:pPr>
            <a:r>
              <a:rPr lang="en-US" sz="1350" b="1">
                <a:solidFill>
                  <a:srgbClr val="0B2432">
                    <a:alpha val="99000"/>
                  </a:srgbClr>
                </a:solidFill>
                <a:latin typeface="Open Sans" pitchFamily="34" charset="0"/>
                <a:ea typeface="Open Sans" pitchFamily="34" charset="-122"/>
                <a:cs typeface="Open Sans" pitchFamily="34" charset="-120"/>
              </a:rPr>
              <a:t>Irene Borgersen</a:t>
            </a:r>
            <a:endParaRPr lang="en-US" sz="1350">
              <a:solidFill>
                <a:srgbClr val="000000"/>
              </a:solidFill>
              <a:latin typeface="Franklin Gothic Book"/>
            </a:endParaRPr>
          </a:p>
        </p:txBody>
      </p:sp>
      <p:pic>
        <p:nvPicPr>
          <p:cNvPr id="14" name="Billede 13">
            <a:extLst>
              <a:ext uri="{FF2B5EF4-FFF2-40B4-BE49-F238E27FC236}">
                <a16:creationId xmlns:a16="http://schemas.microsoft.com/office/drawing/2014/main" id="{8E758D62-380B-F5EE-DAB4-606655ACCF9D}"/>
              </a:ext>
            </a:extLst>
          </p:cNvPr>
          <p:cNvPicPr>
            <a:picLocks noChangeAspect="1"/>
          </p:cNvPicPr>
          <p:nvPr/>
        </p:nvPicPr>
        <p:blipFill>
          <a:blip r:embed="rId3"/>
          <a:stretch>
            <a:fillRect/>
          </a:stretch>
        </p:blipFill>
        <p:spPr>
          <a:xfrm>
            <a:off x="3953158" y="1267563"/>
            <a:ext cx="1154633" cy="1406137"/>
          </a:xfrm>
          <a:prstGeom prst="rect">
            <a:avLst/>
          </a:prstGeom>
        </p:spPr>
      </p:pic>
      <p:grpSp>
        <p:nvGrpSpPr>
          <p:cNvPr id="5" name="Gruppe 4">
            <a:extLst>
              <a:ext uri="{FF2B5EF4-FFF2-40B4-BE49-F238E27FC236}">
                <a16:creationId xmlns:a16="http://schemas.microsoft.com/office/drawing/2014/main" id="{710929C7-A2FB-9D63-8F0A-409B7CB9EC76}"/>
              </a:ext>
            </a:extLst>
          </p:cNvPr>
          <p:cNvGrpSpPr/>
          <p:nvPr/>
        </p:nvGrpSpPr>
        <p:grpSpPr>
          <a:xfrm>
            <a:off x="1702093" y="3718705"/>
            <a:ext cx="5937002" cy="695988"/>
            <a:chOff x="2269457" y="5085533"/>
            <a:chExt cx="7916003" cy="927984"/>
          </a:xfrm>
        </p:grpSpPr>
        <p:sp>
          <p:nvSpPr>
            <p:cNvPr id="50" name="Text 13">
              <a:extLst>
                <a:ext uri="{FF2B5EF4-FFF2-40B4-BE49-F238E27FC236}">
                  <a16:creationId xmlns:a16="http://schemas.microsoft.com/office/drawing/2014/main" id="{ECD07A0A-648E-20CB-453C-E0634E8B97E0}"/>
                </a:ext>
              </a:extLst>
            </p:cNvPr>
            <p:cNvSpPr/>
            <p:nvPr/>
          </p:nvSpPr>
          <p:spPr>
            <a:xfrm>
              <a:off x="2269457" y="5649757"/>
              <a:ext cx="2436751" cy="363760"/>
            </a:xfrm>
            <a:prstGeom prst="rect">
              <a:avLst/>
            </a:prstGeom>
            <a:noFill/>
            <a:ln/>
          </p:spPr>
          <p:txBody>
            <a:bodyPr wrap="square" rtlCol="0" anchor="ctr"/>
            <a:lstStyle/>
            <a:p>
              <a:pPr algn="ctr" defTabSz="685800">
                <a:defRPr/>
              </a:pPr>
              <a:r>
                <a:rPr lang="da-DK" sz="825">
                  <a:solidFill>
                    <a:srgbClr val="0B2432">
                      <a:alpha val="99000"/>
                    </a:srgbClr>
                  </a:solidFill>
                  <a:latin typeface="Open Sans" pitchFamily="34" charset="0"/>
                  <a:ea typeface="Open Sans" pitchFamily="34" charset="-122"/>
                  <a:cs typeface="Open Sans" pitchFamily="34" charset="-120"/>
                </a:rPr>
                <a:t>Irene har brug for </a:t>
              </a:r>
            </a:p>
            <a:p>
              <a:pPr algn="ctr" defTabSz="685800">
                <a:defRPr/>
              </a:pPr>
              <a:r>
                <a:rPr lang="da-DK" sz="825">
                  <a:solidFill>
                    <a:srgbClr val="0B2432">
                      <a:alpha val="99000"/>
                    </a:srgbClr>
                  </a:solidFill>
                  <a:latin typeface="Open Sans" pitchFamily="34" charset="0"/>
                  <a:ea typeface="Open Sans" pitchFamily="34" charset="-122"/>
                  <a:cs typeface="Open Sans" pitchFamily="34" charset="-120"/>
                </a:rPr>
                <a:t>hjælp til det digitale</a:t>
              </a:r>
              <a:endParaRPr lang="da-DK" sz="825">
                <a:solidFill>
                  <a:srgbClr val="000000"/>
                </a:solidFill>
                <a:latin typeface="Franklin Gothic Book"/>
              </a:endParaRPr>
            </a:p>
          </p:txBody>
        </p:sp>
        <p:grpSp>
          <p:nvGrpSpPr>
            <p:cNvPr id="7" name="Gruppe 6">
              <a:extLst>
                <a:ext uri="{FF2B5EF4-FFF2-40B4-BE49-F238E27FC236}">
                  <a16:creationId xmlns:a16="http://schemas.microsoft.com/office/drawing/2014/main" id="{5B798C7E-11E6-DC8B-36CD-43F58E3A68A0}"/>
                </a:ext>
              </a:extLst>
            </p:cNvPr>
            <p:cNvGrpSpPr/>
            <p:nvPr/>
          </p:nvGrpSpPr>
          <p:grpSpPr>
            <a:xfrm>
              <a:off x="3201058" y="5085533"/>
              <a:ext cx="6984402" cy="927984"/>
              <a:chOff x="3277258" y="5085533"/>
              <a:chExt cx="6984402" cy="927984"/>
            </a:xfrm>
          </p:grpSpPr>
          <p:sp>
            <p:nvSpPr>
              <p:cNvPr id="53" name="Shape 2">
                <a:extLst>
                  <a:ext uri="{FF2B5EF4-FFF2-40B4-BE49-F238E27FC236}">
                    <a16:creationId xmlns:a16="http://schemas.microsoft.com/office/drawing/2014/main" id="{7D98DF20-62D0-4704-5385-D805FCC0474E}"/>
                  </a:ext>
                </a:extLst>
              </p:cNvPr>
              <p:cNvSpPr/>
              <p:nvPr/>
            </p:nvSpPr>
            <p:spPr>
              <a:xfrm rot="1306">
                <a:off x="3449700" y="5339532"/>
                <a:ext cx="5621611" cy="0"/>
              </a:xfrm>
              <a:prstGeom prst="line">
                <a:avLst/>
              </a:prstGeom>
              <a:noFill/>
              <a:ln w="12700">
                <a:solidFill>
                  <a:srgbClr val="44831E"/>
                </a:solidFill>
                <a:prstDash val="solid"/>
              </a:ln>
            </p:spPr>
            <p:txBody>
              <a:bodyPr/>
              <a:lstStyle/>
              <a:p>
                <a:pPr defTabSz="685800">
                  <a:defRPr/>
                </a:pPr>
                <a:endParaRPr lang="da-DK">
                  <a:solidFill>
                    <a:srgbClr val="000000"/>
                  </a:solidFill>
                  <a:latin typeface="Franklin Gothic Book"/>
                </a:endParaRPr>
              </a:p>
            </p:txBody>
          </p:sp>
          <p:sp>
            <p:nvSpPr>
              <p:cNvPr id="41" name="Shape 3">
                <a:extLst>
                  <a:ext uri="{FF2B5EF4-FFF2-40B4-BE49-F238E27FC236}">
                    <a16:creationId xmlns:a16="http://schemas.microsoft.com/office/drawing/2014/main" id="{89DD2064-F574-2E17-FBA5-3B747C19C4B0}"/>
                  </a:ext>
                </a:extLst>
              </p:cNvPr>
              <p:cNvSpPr/>
              <p:nvPr/>
            </p:nvSpPr>
            <p:spPr>
              <a:xfrm>
                <a:off x="3277258" y="5085533"/>
                <a:ext cx="444500" cy="444500"/>
              </a:xfrm>
              <a:prstGeom prst="ellipse">
                <a:avLst/>
              </a:prstGeom>
              <a:solidFill>
                <a:srgbClr val="FFFFFF"/>
              </a:solidFill>
              <a:ln w="12700">
                <a:solidFill>
                  <a:srgbClr val="44831E"/>
                </a:solidFill>
                <a:prstDash val="solid"/>
              </a:ln>
            </p:spPr>
            <p:txBody>
              <a:bodyPr/>
              <a:lstStyle/>
              <a:p>
                <a:pPr defTabSz="685800">
                  <a:defRPr/>
                </a:pPr>
                <a:endParaRPr lang="da-DK">
                  <a:solidFill>
                    <a:srgbClr val="000000"/>
                  </a:solidFill>
                  <a:latin typeface="Franklin Gothic Book"/>
                </a:endParaRPr>
              </a:p>
            </p:txBody>
          </p:sp>
          <p:sp>
            <p:nvSpPr>
              <p:cNvPr id="42" name="Shape 4">
                <a:extLst>
                  <a:ext uri="{FF2B5EF4-FFF2-40B4-BE49-F238E27FC236}">
                    <a16:creationId xmlns:a16="http://schemas.microsoft.com/office/drawing/2014/main" id="{63A0408A-90F6-5CD6-A99E-9E5A29502BA3}"/>
                  </a:ext>
                </a:extLst>
              </p:cNvPr>
              <p:cNvSpPr/>
              <p:nvPr/>
            </p:nvSpPr>
            <p:spPr>
              <a:xfrm>
                <a:off x="5975401" y="5085533"/>
                <a:ext cx="444500" cy="444500"/>
              </a:xfrm>
              <a:prstGeom prst="ellipse">
                <a:avLst/>
              </a:prstGeom>
              <a:solidFill>
                <a:srgbClr val="FFFFFF"/>
              </a:solidFill>
              <a:ln w="12700">
                <a:solidFill>
                  <a:srgbClr val="44831E"/>
                </a:solidFill>
                <a:prstDash val="solid"/>
              </a:ln>
            </p:spPr>
            <p:txBody>
              <a:bodyPr/>
              <a:lstStyle/>
              <a:p>
                <a:pPr defTabSz="685800">
                  <a:defRPr/>
                </a:pPr>
                <a:endParaRPr lang="da-DK">
                  <a:solidFill>
                    <a:srgbClr val="000000"/>
                  </a:solidFill>
                  <a:latin typeface="Franklin Gothic Book"/>
                </a:endParaRPr>
              </a:p>
            </p:txBody>
          </p:sp>
          <p:sp>
            <p:nvSpPr>
              <p:cNvPr id="43" name="Shape 5">
                <a:extLst>
                  <a:ext uri="{FF2B5EF4-FFF2-40B4-BE49-F238E27FC236}">
                    <a16:creationId xmlns:a16="http://schemas.microsoft.com/office/drawing/2014/main" id="{42ADEE18-BB59-6E32-9682-EDF4A65650D3}"/>
                  </a:ext>
                </a:extLst>
              </p:cNvPr>
              <p:cNvSpPr/>
              <p:nvPr/>
            </p:nvSpPr>
            <p:spPr>
              <a:xfrm>
                <a:off x="8867391" y="5088181"/>
                <a:ext cx="432916" cy="432916"/>
              </a:xfrm>
              <a:prstGeom prst="ellipse">
                <a:avLst/>
              </a:prstGeom>
              <a:solidFill>
                <a:srgbClr val="FFFFFF"/>
              </a:solidFill>
              <a:ln w="12700">
                <a:solidFill>
                  <a:srgbClr val="44831E"/>
                </a:solidFill>
                <a:prstDash val="solid"/>
              </a:ln>
            </p:spPr>
            <p:txBody>
              <a:bodyPr/>
              <a:lstStyle/>
              <a:p>
                <a:pPr defTabSz="685800">
                  <a:defRPr/>
                </a:pPr>
                <a:endParaRPr lang="da-DK">
                  <a:solidFill>
                    <a:srgbClr val="000000"/>
                  </a:solidFill>
                  <a:latin typeface="Franklin Gothic Book"/>
                </a:endParaRPr>
              </a:p>
            </p:txBody>
          </p:sp>
          <p:pic>
            <p:nvPicPr>
              <p:cNvPr id="44" name="Image 18" descr="preencoded.png">
                <a:extLst>
                  <a:ext uri="{FF2B5EF4-FFF2-40B4-BE49-F238E27FC236}">
                    <a16:creationId xmlns:a16="http://schemas.microsoft.com/office/drawing/2014/main" id="{1275D4D1-429A-1B98-04AA-B08A11A6B3D7}"/>
                  </a:ext>
                </a:extLst>
              </p:cNvPr>
              <p:cNvPicPr>
                <a:picLocks noChangeAspect="1"/>
              </p:cNvPicPr>
              <p:nvPr/>
            </p:nvPicPr>
            <p:blipFill>
              <a:blip r:embed="rId4"/>
              <a:stretch>
                <a:fillRect/>
              </a:stretch>
            </p:blipFill>
            <p:spPr>
              <a:xfrm>
                <a:off x="3366157" y="5168280"/>
                <a:ext cx="279400" cy="279400"/>
              </a:xfrm>
              <a:prstGeom prst="rect">
                <a:avLst/>
              </a:prstGeom>
            </p:spPr>
          </p:pic>
          <p:pic>
            <p:nvPicPr>
              <p:cNvPr id="45" name="Image 19" descr="preencoded.png">
                <a:extLst>
                  <a:ext uri="{FF2B5EF4-FFF2-40B4-BE49-F238E27FC236}">
                    <a16:creationId xmlns:a16="http://schemas.microsoft.com/office/drawing/2014/main" id="{078C6D0F-567F-5412-5D05-9DCC320CF3F6}"/>
                  </a:ext>
                </a:extLst>
              </p:cNvPr>
              <p:cNvPicPr>
                <a:picLocks noChangeAspect="1"/>
              </p:cNvPicPr>
              <p:nvPr/>
            </p:nvPicPr>
            <p:blipFill>
              <a:blip r:embed="rId5"/>
              <a:stretch>
                <a:fillRect/>
              </a:stretch>
            </p:blipFill>
            <p:spPr>
              <a:xfrm>
                <a:off x="6048375" y="5149032"/>
                <a:ext cx="298451" cy="323851"/>
              </a:xfrm>
              <a:prstGeom prst="rect">
                <a:avLst/>
              </a:prstGeom>
            </p:spPr>
          </p:pic>
          <p:pic>
            <p:nvPicPr>
              <p:cNvPr id="46" name="Image 20" descr="preencoded.png">
                <a:extLst>
                  <a:ext uri="{FF2B5EF4-FFF2-40B4-BE49-F238E27FC236}">
                    <a16:creationId xmlns:a16="http://schemas.microsoft.com/office/drawing/2014/main" id="{009C29A3-26A4-9EB9-9C2E-4071B7250078}"/>
                  </a:ext>
                </a:extLst>
              </p:cNvPr>
              <p:cNvPicPr>
                <a:picLocks noChangeAspect="1"/>
              </p:cNvPicPr>
              <p:nvPr/>
            </p:nvPicPr>
            <p:blipFill>
              <a:blip r:embed="rId6"/>
              <a:stretch>
                <a:fillRect/>
              </a:stretch>
            </p:blipFill>
            <p:spPr>
              <a:xfrm>
                <a:off x="8963543" y="5172925"/>
                <a:ext cx="288611" cy="306649"/>
              </a:xfrm>
              <a:prstGeom prst="rect">
                <a:avLst/>
              </a:prstGeom>
            </p:spPr>
          </p:pic>
          <p:sp>
            <p:nvSpPr>
              <p:cNvPr id="51" name="Text 14">
                <a:extLst>
                  <a:ext uri="{FF2B5EF4-FFF2-40B4-BE49-F238E27FC236}">
                    <a16:creationId xmlns:a16="http://schemas.microsoft.com/office/drawing/2014/main" id="{F3325BAF-EEBD-4A70-AE1B-C2D7D1127A21}"/>
                  </a:ext>
                </a:extLst>
              </p:cNvPr>
              <p:cNvSpPr/>
              <p:nvPr/>
            </p:nvSpPr>
            <p:spPr>
              <a:xfrm>
                <a:off x="4971639" y="5649757"/>
                <a:ext cx="2436751" cy="363760"/>
              </a:xfrm>
              <a:prstGeom prst="rect">
                <a:avLst/>
              </a:prstGeom>
              <a:noFill/>
              <a:ln/>
            </p:spPr>
            <p:txBody>
              <a:bodyPr wrap="square" rtlCol="0" anchor="ctr"/>
              <a:lstStyle/>
              <a:p>
                <a:pPr algn="ctr" defTabSz="685800">
                  <a:defRPr/>
                </a:pPr>
                <a:r>
                  <a:rPr lang="da-DK" sz="825">
                    <a:solidFill>
                      <a:srgbClr val="000000">
                        <a:alpha val="99000"/>
                      </a:srgbClr>
                    </a:solidFill>
                    <a:latin typeface="Open Sans" pitchFamily="34" charset="0"/>
                    <a:ea typeface="Open Sans" pitchFamily="34" charset="-122"/>
                    <a:cs typeface="Open Sans" pitchFamily="34" charset="-120"/>
                  </a:rPr>
                  <a:t>Kim og Irene får overblik over bevillinger fra kommunen</a:t>
                </a:r>
                <a:endParaRPr lang="da-DK" sz="825">
                  <a:solidFill>
                    <a:srgbClr val="000000"/>
                  </a:solidFill>
                  <a:latin typeface="Franklin Gothic Book"/>
                </a:endParaRPr>
              </a:p>
            </p:txBody>
          </p:sp>
          <p:sp>
            <p:nvSpPr>
              <p:cNvPr id="52" name="Text 15">
                <a:extLst>
                  <a:ext uri="{FF2B5EF4-FFF2-40B4-BE49-F238E27FC236}">
                    <a16:creationId xmlns:a16="http://schemas.microsoft.com/office/drawing/2014/main" id="{A1B08611-7B97-7055-0585-2885835E9729}"/>
                  </a:ext>
                </a:extLst>
              </p:cNvPr>
              <p:cNvSpPr/>
              <p:nvPr/>
            </p:nvSpPr>
            <p:spPr>
              <a:xfrm>
                <a:off x="7954037" y="5649757"/>
                <a:ext cx="2307623" cy="363760"/>
              </a:xfrm>
              <a:prstGeom prst="rect">
                <a:avLst/>
              </a:prstGeom>
              <a:noFill/>
              <a:ln/>
            </p:spPr>
            <p:txBody>
              <a:bodyPr wrap="square" rtlCol="0" anchor="ctr"/>
              <a:lstStyle/>
              <a:p>
                <a:pPr algn="ctr" defTabSz="685800">
                  <a:defRPr/>
                </a:pPr>
                <a:r>
                  <a:rPr lang="da-DK" sz="825">
                    <a:solidFill>
                      <a:srgbClr val="0B2432">
                        <a:alpha val="99000"/>
                      </a:srgbClr>
                    </a:solidFill>
                    <a:latin typeface="Open Sans" pitchFamily="34" charset="0"/>
                    <a:ea typeface="Open Sans" pitchFamily="34" charset="-122"/>
                    <a:cs typeface="Open Sans" pitchFamily="34" charset="-120"/>
                  </a:rPr>
                  <a:t>Kim følger med i Irenes </a:t>
                </a:r>
                <a:br>
                  <a:rPr lang="da-DK" sz="825">
                    <a:solidFill>
                      <a:srgbClr val="0B2432">
                        <a:alpha val="99000"/>
                      </a:srgbClr>
                    </a:solidFill>
                    <a:latin typeface="Open Sans" pitchFamily="34" charset="0"/>
                    <a:ea typeface="Open Sans" pitchFamily="34" charset="-122"/>
                    <a:cs typeface="Open Sans" pitchFamily="34" charset="-120"/>
                  </a:rPr>
                </a:br>
                <a:r>
                  <a:rPr lang="da-DK" sz="825">
                    <a:solidFill>
                      <a:srgbClr val="0B2432">
                        <a:alpha val="99000"/>
                      </a:srgbClr>
                    </a:solidFill>
                    <a:latin typeface="Open Sans" pitchFamily="34" charset="0"/>
                    <a:ea typeface="Open Sans" pitchFamily="34" charset="-122"/>
                    <a:cs typeface="Open Sans" pitchFamily="34" charset="-120"/>
                  </a:rPr>
                  <a:t>sag med kommunen</a:t>
                </a:r>
                <a:endParaRPr lang="da-DK" sz="825">
                  <a:solidFill>
                    <a:srgbClr val="000000"/>
                  </a:solidFill>
                  <a:latin typeface="Franklin Gothic Book"/>
                </a:endParaRPr>
              </a:p>
            </p:txBody>
          </p:sp>
        </p:grpSp>
      </p:grpSp>
      <p:pic>
        <p:nvPicPr>
          <p:cNvPr id="4" name="Image 0" descr="preencoded.png">
            <a:extLst>
              <a:ext uri="{FF2B5EF4-FFF2-40B4-BE49-F238E27FC236}">
                <a16:creationId xmlns:a16="http://schemas.microsoft.com/office/drawing/2014/main" id="{7FCB0C63-D7AD-6AE6-08C3-7E22A253A8E5}"/>
              </a:ext>
            </a:extLst>
          </p:cNvPr>
          <p:cNvPicPr>
            <a:picLocks noChangeAspect="1"/>
          </p:cNvPicPr>
          <p:nvPr/>
        </p:nvPicPr>
        <p:blipFill>
          <a:blip r:embed="rId7"/>
          <a:stretch>
            <a:fillRect/>
          </a:stretch>
        </p:blipFill>
        <p:spPr>
          <a:xfrm>
            <a:off x="291762" y="4661698"/>
            <a:ext cx="1911307" cy="273044"/>
          </a:xfrm>
          <a:prstGeom prst="rect">
            <a:avLst/>
          </a:prstGeom>
        </p:spPr>
      </p:pic>
      <p:sp>
        <p:nvSpPr>
          <p:cNvPr id="39" name="Afrundet rektangulær billedforklaring 38">
            <a:extLst>
              <a:ext uri="{FF2B5EF4-FFF2-40B4-BE49-F238E27FC236}">
                <a16:creationId xmlns:a16="http://schemas.microsoft.com/office/drawing/2014/main" id="{82151D07-5A5D-B70A-86F0-ADD62332DA86}"/>
              </a:ext>
            </a:extLst>
          </p:cNvPr>
          <p:cNvSpPr/>
          <p:nvPr/>
        </p:nvSpPr>
        <p:spPr>
          <a:xfrm>
            <a:off x="5257040" y="749244"/>
            <a:ext cx="1874208" cy="1438904"/>
          </a:xfrm>
          <a:prstGeom prst="wedgeRoundRectCallout">
            <a:avLst>
              <a:gd name="adj1" fmla="val -63142"/>
              <a:gd name="adj2" fmla="val 21881"/>
              <a:gd name="adj3" fmla="val 16667"/>
            </a:avLst>
          </a:prstGeom>
          <a:solidFill>
            <a:srgbClr val="F5F1E6"/>
          </a:solidFill>
          <a:ln>
            <a:solidFill>
              <a:srgbClr val="4D7836"/>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defTabSz="685800">
              <a:defRPr/>
            </a:pPr>
            <a:endParaRPr lang="da-DK" sz="900" err="1">
              <a:solidFill>
                <a:srgbClr val="514860"/>
              </a:solidFill>
              <a:latin typeface="Franklin Gothic Book"/>
            </a:endParaRPr>
          </a:p>
        </p:txBody>
      </p:sp>
      <p:sp>
        <p:nvSpPr>
          <p:cNvPr id="40" name="Tekstfelt 39">
            <a:extLst>
              <a:ext uri="{FF2B5EF4-FFF2-40B4-BE49-F238E27FC236}">
                <a16:creationId xmlns:a16="http://schemas.microsoft.com/office/drawing/2014/main" id="{FCC3B52A-2DD6-7C5F-8B9A-B7625CE56D20}"/>
              </a:ext>
            </a:extLst>
          </p:cNvPr>
          <p:cNvSpPr txBox="1"/>
          <p:nvPr/>
        </p:nvSpPr>
        <p:spPr>
          <a:xfrm>
            <a:off x="5340484" y="852254"/>
            <a:ext cx="1707321" cy="1361911"/>
          </a:xfrm>
          <a:prstGeom prst="rect">
            <a:avLst/>
          </a:prstGeom>
          <a:noFill/>
        </p:spPr>
        <p:txBody>
          <a:bodyPr wrap="square">
            <a:spAutoFit/>
          </a:bodyPr>
          <a:lstStyle/>
          <a:p>
            <a:pPr defTabSz="685800">
              <a:defRPr/>
            </a:pP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Det er svært for mig at få overblik over mine ydelser, bevillinger og sager med kommunen.</a:t>
            </a:r>
            <a:b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br>
            <a:endPar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defTabSz="685800">
              <a:defRPr/>
            </a:pP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Derfor har jeg blandt andet givet indsigtsfuldmagt til Mit Overblik på borger.dk til min søn Kim, så han kan hjælpe mig.</a:t>
            </a:r>
          </a:p>
        </p:txBody>
      </p:sp>
      <p:sp>
        <p:nvSpPr>
          <p:cNvPr id="9" name="Tekstfelt 8">
            <a:extLst>
              <a:ext uri="{FF2B5EF4-FFF2-40B4-BE49-F238E27FC236}">
                <a16:creationId xmlns:a16="http://schemas.microsoft.com/office/drawing/2014/main" id="{6528233D-EB14-626A-6335-A56C5DF9F622}"/>
              </a:ext>
            </a:extLst>
          </p:cNvPr>
          <p:cNvSpPr txBox="1"/>
          <p:nvPr/>
        </p:nvSpPr>
        <p:spPr>
          <a:xfrm>
            <a:off x="358486" y="426029"/>
            <a:ext cx="4016087" cy="415498"/>
          </a:xfrm>
          <a:prstGeom prst="rect">
            <a:avLst/>
          </a:prstGeom>
          <a:noFill/>
        </p:spPr>
        <p:txBody>
          <a:bodyPr wrap="square" lIns="0" tIns="0" rIns="0" bIns="0" rtlCol="0">
            <a:spAutoFit/>
          </a:bodyPr>
          <a:lstStyle/>
          <a:p>
            <a:pPr defTabSz="685800">
              <a:defRPr/>
            </a:pPr>
            <a:r>
              <a:rPr lang="da-DK" sz="1350">
                <a:solidFill>
                  <a:srgbClr val="212121"/>
                </a:solidFill>
                <a:latin typeface="Open Sans" panose="020B0606030504020204" pitchFamily="34" charset="0"/>
                <a:ea typeface="Open Sans" panose="020B0606030504020204" pitchFamily="34" charset="0"/>
                <a:cs typeface="Open Sans" panose="020B0606030504020204" pitchFamily="34" charset="0"/>
              </a:rPr>
              <a:t>Case 1</a:t>
            </a:r>
            <a:br>
              <a:rPr lang="da-DK" sz="1350">
                <a:solidFill>
                  <a:srgbClr val="4D7836"/>
                </a:solidFill>
                <a:latin typeface="Open Sans" panose="020B0606030504020204" pitchFamily="34" charset="0"/>
                <a:ea typeface="Open Sans" panose="020B0606030504020204" pitchFamily="34" charset="0"/>
                <a:cs typeface="Open Sans" panose="020B0606030504020204" pitchFamily="34" charset="0"/>
              </a:rPr>
            </a:br>
            <a:r>
              <a:rPr lang="da-DK" sz="1350" b="1">
                <a:solidFill>
                  <a:srgbClr val="4D7836"/>
                </a:solidFill>
                <a:latin typeface="Open Sans" panose="020B0606030504020204" pitchFamily="34" charset="0"/>
                <a:ea typeface="Open Sans" panose="020B0606030504020204" pitchFamily="34" charset="0"/>
                <a:cs typeface="Open Sans" panose="020B0606030504020204" pitchFamily="34" charset="0"/>
              </a:rPr>
              <a:t>Indsigtsfuldmagt til Mit Overblik</a:t>
            </a:r>
          </a:p>
        </p:txBody>
      </p:sp>
    </p:spTree>
    <p:extLst>
      <p:ext uri="{BB962C8B-B14F-4D97-AF65-F5344CB8AC3E}">
        <p14:creationId xmlns:p14="http://schemas.microsoft.com/office/powerpoint/2010/main" val="31324628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0B7237-5C61-2883-3744-6991AA1E7B62}"/>
            </a:ext>
          </a:extLst>
        </p:cNvPr>
        <p:cNvGrpSpPr/>
        <p:nvPr/>
      </p:nvGrpSpPr>
      <p:grpSpPr>
        <a:xfrm>
          <a:off x="0" y="0"/>
          <a:ext cx="0" cy="0"/>
          <a:chOff x="0" y="0"/>
          <a:chExt cx="0" cy="0"/>
        </a:xfrm>
      </p:grpSpPr>
      <p:sp>
        <p:nvSpPr>
          <p:cNvPr id="18" name="Ellipse 17">
            <a:extLst>
              <a:ext uri="{FF2B5EF4-FFF2-40B4-BE49-F238E27FC236}">
                <a16:creationId xmlns:a16="http://schemas.microsoft.com/office/drawing/2014/main" id="{79F14F7D-1ACB-9F08-20C4-D64661EEA8BB}"/>
              </a:ext>
            </a:extLst>
          </p:cNvPr>
          <p:cNvSpPr/>
          <p:nvPr/>
        </p:nvSpPr>
        <p:spPr>
          <a:xfrm>
            <a:off x="495184" y="164605"/>
            <a:ext cx="452843" cy="452843"/>
          </a:xfrm>
          <a:prstGeom prst="ellipse">
            <a:avLst/>
          </a:prstGeom>
          <a:solidFill>
            <a:srgbClr val="44831E"/>
          </a:solidFill>
          <a:ln>
            <a:solidFill>
              <a:srgbClr val="44831E"/>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defRPr/>
            </a:pPr>
            <a:endParaRPr lang="da-DK" sz="1200" err="1">
              <a:solidFill>
                <a:srgbClr val="FFFFFF"/>
              </a:solidFill>
              <a:latin typeface="Franklin Gothic Book"/>
            </a:endParaRPr>
          </a:p>
        </p:txBody>
      </p:sp>
      <p:sp>
        <p:nvSpPr>
          <p:cNvPr id="4" name="Shape 0">
            <a:extLst>
              <a:ext uri="{FF2B5EF4-FFF2-40B4-BE49-F238E27FC236}">
                <a16:creationId xmlns:a16="http://schemas.microsoft.com/office/drawing/2014/main" id="{5B3378C4-1270-EAFE-3FE8-67580C990741}"/>
              </a:ext>
            </a:extLst>
          </p:cNvPr>
          <p:cNvSpPr/>
          <p:nvPr/>
        </p:nvSpPr>
        <p:spPr>
          <a:xfrm flipV="1">
            <a:off x="550280" y="392803"/>
            <a:ext cx="8593719" cy="0"/>
          </a:xfrm>
          <a:prstGeom prst="line">
            <a:avLst/>
          </a:prstGeom>
          <a:noFill/>
          <a:ln w="12700">
            <a:solidFill>
              <a:srgbClr val="44831E"/>
            </a:solidFill>
            <a:prstDash val="solid"/>
          </a:ln>
        </p:spPr>
        <p:txBody>
          <a:bodyPr/>
          <a:lstStyle/>
          <a:p>
            <a:pPr defTabSz="685800">
              <a:defRPr/>
            </a:pPr>
            <a:endParaRPr lang="da-DK">
              <a:solidFill>
                <a:srgbClr val="000000"/>
              </a:solidFill>
              <a:latin typeface="Franklin Gothic Book"/>
            </a:endParaRPr>
          </a:p>
        </p:txBody>
      </p:sp>
      <p:sp>
        <p:nvSpPr>
          <p:cNvPr id="6" name="Text 3">
            <a:extLst>
              <a:ext uri="{FF2B5EF4-FFF2-40B4-BE49-F238E27FC236}">
                <a16:creationId xmlns:a16="http://schemas.microsoft.com/office/drawing/2014/main" id="{15D69485-F3D4-33EF-AC83-9BE5CDB2592B}"/>
              </a:ext>
            </a:extLst>
          </p:cNvPr>
          <p:cNvSpPr/>
          <p:nvPr/>
        </p:nvSpPr>
        <p:spPr>
          <a:xfrm>
            <a:off x="-11282" y="621668"/>
            <a:ext cx="1483229" cy="400386"/>
          </a:xfrm>
          <a:prstGeom prst="rect">
            <a:avLst/>
          </a:prstGeom>
          <a:noFill/>
          <a:ln/>
        </p:spPr>
        <p:txBody>
          <a:bodyPr wrap="square" rtlCol="0" anchor="ctr"/>
          <a:lstStyle/>
          <a:p>
            <a:pPr algn="ctr" defTabSz="685800">
              <a:lnSpc>
                <a:spcPts val="1021"/>
              </a:lnSpc>
              <a:defRPr/>
            </a:pP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Irene giver </a:t>
            </a:r>
            <a:b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fuldmagt til Kim</a:t>
            </a:r>
          </a:p>
        </p:txBody>
      </p:sp>
      <p:pic>
        <p:nvPicPr>
          <p:cNvPr id="7" name="Billede 6">
            <a:extLst>
              <a:ext uri="{FF2B5EF4-FFF2-40B4-BE49-F238E27FC236}">
                <a16:creationId xmlns:a16="http://schemas.microsoft.com/office/drawing/2014/main" id="{7DCA9BA5-DDA8-75F9-950F-3A65745D3CF7}"/>
              </a:ext>
            </a:extLst>
          </p:cNvPr>
          <p:cNvPicPr>
            <a:picLocks noChangeAspect="1"/>
          </p:cNvPicPr>
          <p:nvPr/>
        </p:nvPicPr>
        <p:blipFill>
          <a:blip r:embed="rId3"/>
          <a:stretch>
            <a:fillRect/>
          </a:stretch>
        </p:blipFill>
        <p:spPr>
          <a:xfrm>
            <a:off x="530140" y="192610"/>
            <a:ext cx="400386" cy="400386"/>
          </a:xfrm>
          <a:prstGeom prst="rect">
            <a:avLst/>
          </a:prstGeom>
        </p:spPr>
      </p:pic>
      <p:sp>
        <p:nvSpPr>
          <p:cNvPr id="2" name="Afrundet rektangel 1">
            <a:extLst>
              <a:ext uri="{FF2B5EF4-FFF2-40B4-BE49-F238E27FC236}">
                <a16:creationId xmlns:a16="http://schemas.microsoft.com/office/drawing/2014/main" id="{29BF2DA3-D907-364E-D34B-2A2313552604}"/>
              </a:ext>
            </a:extLst>
          </p:cNvPr>
          <p:cNvSpPr/>
          <p:nvPr/>
        </p:nvSpPr>
        <p:spPr>
          <a:xfrm>
            <a:off x="291762" y="2855335"/>
            <a:ext cx="8593719" cy="1666494"/>
          </a:xfrm>
          <a:prstGeom prst="roundRect">
            <a:avLst/>
          </a:prstGeom>
          <a:noFill/>
          <a:ln>
            <a:solidFill>
              <a:srgbClr val="4D7836"/>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defRPr/>
            </a:pPr>
            <a:endParaRPr lang="da-DK" sz="1200" err="1">
              <a:ln>
                <a:solidFill>
                  <a:sysClr val="windowText" lastClr="000000"/>
                </a:solidFill>
              </a:ln>
              <a:solidFill>
                <a:sysClr val="windowText" lastClr="000000"/>
              </a:solidFill>
              <a:latin typeface="Franklin Gothic Book"/>
            </a:endParaRPr>
          </a:p>
        </p:txBody>
      </p:sp>
      <p:sp>
        <p:nvSpPr>
          <p:cNvPr id="26" name="Tekstfelt 25">
            <a:extLst>
              <a:ext uri="{FF2B5EF4-FFF2-40B4-BE49-F238E27FC236}">
                <a16:creationId xmlns:a16="http://schemas.microsoft.com/office/drawing/2014/main" id="{FF844344-3351-FE1F-94B3-3EFAA9A173FB}"/>
              </a:ext>
            </a:extLst>
          </p:cNvPr>
          <p:cNvSpPr txBox="1"/>
          <p:nvPr/>
        </p:nvSpPr>
        <p:spPr>
          <a:xfrm>
            <a:off x="436296" y="3079979"/>
            <a:ext cx="3370514" cy="1338828"/>
          </a:xfrm>
          <a:prstGeom prst="rect">
            <a:avLst/>
          </a:prstGeom>
          <a:noFill/>
        </p:spPr>
        <p:txBody>
          <a:bodyPr wrap="square">
            <a:spAutoFit/>
          </a:bodyPr>
          <a:lstStyle/>
          <a:p>
            <a:pPr defTabSz="685800">
              <a:defRPr/>
            </a:pPr>
            <a:r>
              <a:rPr lang="da-DK" sz="900" b="1">
                <a:solidFill>
                  <a:srgbClr val="4D7836"/>
                </a:solidFill>
                <a:latin typeface="Open Sans" panose="020B0606030504020204" pitchFamily="34" charset="0"/>
                <a:ea typeface="Open Sans" panose="020B0606030504020204" pitchFamily="34" charset="0"/>
                <a:cs typeface="Open Sans" panose="020B0606030504020204" pitchFamily="34" charset="0"/>
              </a:rPr>
              <a:t>Sønnen Kim har fået indsigtsfuldmagt til Mit Overblik </a:t>
            </a:r>
            <a:br>
              <a:rPr lang="da-DK" sz="900">
                <a:solidFill>
                  <a:srgbClr val="212121"/>
                </a:solidFill>
                <a:latin typeface="Open Sans" panose="020B0606030504020204" pitchFamily="34" charset="0"/>
                <a:ea typeface="Open Sans" panose="020B0606030504020204" pitchFamily="34" charset="0"/>
                <a:cs typeface="Open Sans" panose="020B0606030504020204" pitchFamily="34" charset="0"/>
              </a:rPr>
            </a:br>
            <a:br>
              <a:rPr lang="da-DK" sz="900">
                <a:solidFill>
                  <a:srgbClr val="212121"/>
                </a:solidFill>
                <a:latin typeface="Open Sans" panose="020B0606030504020204" pitchFamily="34" charset="0"/>
                <a:ea typeface="Open Sans" panose="020B0606030504020204" pitchFamily="34" charset="0"/>
                <a:cs typeface="Open Sans" panose="020B0606030504020204" pitchFamily="34" charset="0"/>
              </a:rPr>
            </a:br>
            <a:r>
              <a:rPr lang="da-DK" sz="900">
                <a:solidFill>
                  <a:srgbClr val="212121"/>
                </a:solidFill>
                <a:latin typeface="Open Sans" panose="020B0606030504020204" pitchFamily="34" charset="0"/>
                <a:ea typeface="Open Sans" panose="020B0606030504020204" pitchFamily="34" charset="0"/>
                <a:cs typeface="Open Sans" panose="020B0606030504020204" pitchFamily="34" charset="0"/>
              </a:rPr>
              <a:t>Når Kim har fået fuldmagt via Digital Fuldmagt-selvbetjeningen, har han fået indsigtsadgang til Irenes </a:t>
            </a:r>
          </a:p>
          <a:p>
            <a:pPr defTabSz="685800">
              <a:defRPr/>
            </a:pPr>
            <a:r>
              <a:rPr lang="da-DK" sz="900">
                <a:solidFill>
                  <a:srgbClr val="212121"/>
                </a:solidFill>
                <a:latin typeface="Open Sans" panose="020B0606030504020204" pitchFamily="34" charset="0"/>
                <a:ea typeface="Open Sans" panose="020B0606030504020204" pitchFamily="34" charset="0"/>
                <a:cs typeface="Open Sans" panose="020B0606030504020204" pitchFamily="34" charset="0"/>
              </a:rPr>
              <a:t>Mit Overblik. </a:t>
            </a:r>
          </a:p>
          <a:p>
            <a:pPr defTabSz="685800">
              <a:defRPr/>
            </a:pPr>
            <a:endParaRPr lang="da-DK" sz="900">
              <a:solidFill>
                <a:srgbClr val="212121"/>
              </a:solidFill>
              <a:latin typeface="Open Sans" panose="020B0606030504020204" pitchFamily="34" charset="0"/>
              <a:ea typeface="Open Sans" panose="020B0606030504020204" pitchFamily="34" charset="0"/>
              <a:cs typeface="Open Sans" panose="020B0606030504020204" pitchFamily="34" charset="0"/>
            </a:endParaRPr>
          </a:p>
          <a:p>
            <a:pPr defTabSz="685800">
              <a:defRPr/>
            </a:pPr>
            <a:r>
              <a:rPr lang="da-DK" sz="900">
                <a:solidFill>
                  <a:srgbClr val="212121"/>
                </a:solidFill>
                <a:latin typeface="Open Sans" panose="020B0606030504020204" pitchFamily="34" charset="0"/>
                <a:ea typeface="Open Sans" panose="020B0606030504020204" pitchFamily="34" charset="0"/>
                <a:cs typeface="Open Sans" panose="020B0606030504020204" pitchFamily="34" charset="0"/>
              </a:rPr>
              <a:t>Fuldmagten gælder sager og ydelser, så nu kan han følge med i, hvordan det fx går med Irenes bevillinger fra kommunen.</a:t>
            </a:r>
          </a:p>
        </p:txBody>
      </p:sp>
      <p:pic>
        <p:nvPicPr>
          <p:cNvPr id="8" name="Billede 7">
            <a:extLst>
              <a:ext uri="{FF2B5EF4-FFF2-40B4-BE49-F238E27FC236}">
                <a16:creationId xmlns:a16="http://schemas.microsoft.com/office/drawing/2014/main" id="{7BE42EAE-3588-9E08-7192-31399587804A}"/>
              </a:ext>
            </a:extLst>
          </p:cNvPr>
          <p:cNvPicPr>
            <a:picLocks noChangeAspect="1"/>
          </p:cNvPicPr>
          <p:nvPr/>
        </p:nvPicPr>
        <p:blipFill>
          <a:blip r:embed="rId4"/>
          <a:srcRect l="8474"/>
          <a:stretch>
            <a:fillRect/>
          </a:stretch>
        </p:blipFill>
        <p:spPr>
          <a:xfrm>
            <a:off x="3884507" y="3126622"/>
            <a:ext cx="1337965" cy="1075845"/>
          </a:xfrm>
          <a:prstGeom prst="rect">
            <a:avLst/>
          </a:prstGeom>
        </p:spPr>
      </p:pic>
      <p:pic>
        <p:nvPicPr>
          <p:cNvPr id="9" name="Billede 8">
            <a:extLst>
              <a:ext uri="{FF2B5EF4-FFF2-40B4-BE49-F238E27FC236}">
                <a16:creationId xmlns:a16="http://schemas.microsoft.com/office/drawing/2014/main" id="{AE28614E-35BA-0CCB-0111-C8C41CC9D8B5}"/>
              </a:ext>
            </a:extLst>
          </p:cNvPr>
          <p:cNvPicPr>
            <a:picLocks noChangeAspect="1"/>
          </p:cNvPicPr>
          <p:nvPr/>
        </p:nvPicPr>
        <p:blipFill>
          <a:blip r:embed="rId5"/>
          <a:srcRect b="28115"/>
          <a:stretch>
            <a:fillRect/>
          </a:stretch>
        </p:blipFill>
        <p:spPr>
          <a:xfrm>
            <a:off x="5047727" y="3004249"/>
            <a:ext cx="3204962" cy="1517580"/>
          </a:xfrm>
          <a:prstGeom prst="rect">
            <a:avLst/>
          </a:prstGeom>
        </p:spPr>
      </p:pic>
      <p:pic>
        <p:nvPicPr>
          <p:cNvPr id="11" name="Image 0" descr="preencoded.png">
            <a:extLst>
              <a:ext uri="{FF2B5EF4-FFF2-40B4-BE49-F238E27FC236}">
                <a16:creationId xmlns:a16="http://schemas.microsoft.com/office/drawing/2014/main" id="{B4E1E5D5-6B99-DCCB-CEB2-47C7DC5B0673}"/>
              </a:ext>
            </a:extLst>
          </p:cNvPr>
          <p:cNvPicPr>
            <a:picLocks noChangeAspect="1"/>
          </p:cNvPicPr>
          <p:nvPr/>
        </p:nvPicPr>
        <p:blipFill>
          <a:blip r:embed="rId6"/>
          <a:stretch>
            <a:fillRect/>
          </a:stretch>
        </p:blipFill>
        <p:spPr>
          <a:xfrm>
            <a:off x="291762" y="4661698"/>
            <a:ext cx="1911307" cy="273044"/>
          </a:xfrm>
          <a:prstGeom prst="rect">
            <a:avLst/>
          </a:prstGeom>
        </p:spPr>
      </p:pic>
      <p:cxnSp>
        <p:nvCxnSpPr>
          <p:cNvPr id="17" name="Lige forbindelse 16">
            <a:extLst>
              <a:ext uri="{FF2B5EF4-FFF2-40B4-BE49-F238E27FC236}">
                <a16:creationId xmlns:a16="http://schemas.microsoft.com/office/drawing/2014/main" id="{AF72F1BB-3A68-BD95-FC96-8E46099230AA}"/>
              </a:ext>
            </a:extLst>
          </p:cNvPr>
          <p:cNvCxnSpPr>
            <a:cxnSpLocks/>
          </p:cNvCxnSpPr>
          <p:nvPr/>
        </p:nvCxnSpPr>
        <p:spPr>
          <a:xfrm>
            <a:off x="3806810" y="2855335"/>
            <a:ext cx="0" cy="1666494"/>
          </a:xfrm>
          <a:prstGeom prst="line">
            <a:avLst/>
          </a:prstGeom>
          <a:ln>
            <a:solidFill>
              <a:srgbClr val="4D7836"/>
            </a:solidFill>
          </a:ln>
        </p:spPr>
        <p:style>
          <a:lnRef idx="1">
            <a:schemeClr val="accent1"/>
          </a:lnRef>
          <a:fillRef idx="0">
            <a:schemeClr val="accent1"/>
          </a:fillRef>
          <a:effectRef idx="0">
            <a:schemeClr val="accent1"/>
          </a:effectRef>
          <a:fontRef idx="minor">
            <a:schemeClr val="tx1"/>
          </a:fontRef>
        </p:style>
      </p:cxnSp>
      <p:pic>
        <p:nvPicPr>
          <p:cNvPr id="5" name="Billede 4">
            <a:extLst>
              <a:ext uri="{FF2B5EF4-FFF2-40B4-BE49-F238E27FC236}">
                <a16:creationId xmlns:a16="http://schemas.microsoft.com/office/drawing/2014/main" id="{CFDEE2C5-E570-4E42-AE81-5309E6F6998F}"/>
              </a:ext>
            </a:extLst>
          </p:cNvPr>
          <p:cNvPicPr>
            <a:picLocks noChangeAspect="1"/>
          </p:cNvPicPr>
          <p:nvPr/>
        </p:nvPicPr>
        <p:blipFill>
          <a:blip r:embed="rId7"/>
          <a:stretch>
            <a:fillRect/>
          </a:stretch>
        </p:blipFill>
        <p:spPr>
          <a:xfrm>
            <a:off x="4660653" y="3866601"/>
            <a:ext cx="215411" cy="221938"/>
          </a:xfrm>
          <a:prstGeom prst="rect">
            <a:avLst/>
          </a:prstGeom>
        </p:spPr>
      </p:pic>
      <p:pic>
        <p:nvPicPr>
          <p:cNvPr id="10" name="Billede 9">
            <a:extLst>
              <a:ext uri="{FF2B5EF4-FFF2-40B4-BE49-F238E27FC236}">
                <a16:creationId xmlns:a16="http://schemas.microsoft.com/office/drawing/2014/main" id="{8709774C-83D4-B793-2E3B-C736030FB792}"/>
              </a:ext>
            </a:extLst>
          </p:cNvPr>
          <p:cNvPicPr>
            <a:picLocks noChangeAspect="1"/>
          </p:cNvPicPr>
          <p:nvPr/>
        </p:nvPicPr>
        <p:blipFill>
          <a:blip r:embed="rId8"/>
          <a:stretch>
            <a:fillRect/>
          </a:stretch>
        </p:blipFill>
        <p:spPr>
          <a:xfrm>
            <a:off x="4767576" y="3618142"/>
            <a:ext cx="383859" cy="269060"/>
          </a:xfrm>
          <a:prstGeom prst="rect">
            <a:avLst/>
          </a:prstGeom>
        </p:spPr>
      </p:pic>
      <p:pic>
        <p:nvPicPr>
          <p:cNvPr id="3" name="Billede 2">
            <a:extLst>
              <a:ext uri="{FF2B5EF4-FFF2-40B4-BE49-F238E27FC236}">
                <a16:creationId xmlns:a16="http://schemas.microsoft.com/office/drawing/2014/main" id="{8F90C08F-69A0-986C-408C-48D4CEC3D144}"/>
              </a:ext>
            </a:extLst>
          </p:cNvPr>
          <p:cNvPicPr>
            <a:picLocks noChangeAspect="1"/>
          </p:cNvPicPr>
          <p:nvPr/>
        </p:nvPicPr>
        <p:blipFill>
          <a:blip r:embed="rId9"/>
          <a:stretch>
            <a:fillRect/>
          </a:stretch>
        </p:blipFill>
        <p:spPr>
          <a:xfrm>
            <a:off x="1042635" y="1109278"/>
            <a:ext cx="7058731" cy="1569689"/>
          </a:xfrm>
          <a:prstGeom prst="rect">
            <a:avLst/>
          </a:prstGeom>
        </p:spPr>
      </p:pic>
    </p:spTree>
    <p:extLst>
      <p:ext uri="{BB962C8B-B14F-4D97-AF65-F5344CB8AC3E}">
        <p14:creationId xmlns:p14="http://schemas.microsoft.com/office/powerpoint/2010/main" val="9385530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FE803-44E9-8A5A-6475-63B242F48359}"/>
            </a:ext>
          </a:extLst>
        </p:cNvPr>
        <p:cNvGrpSpPr/>
        <p:nvPr/>
      </p:nvGrpSpPr>
      <p:grpSpPr>
        <a:xfrm>
          <a:off x="0" y="0"/>
          <a:ext cx="0" cy="0"/>
          <a:chOff x="0" y="0"/>
          <a:chExt cx="0" cy="0"/>
        </a:xfrm>
      </p:grpSpPr>
      <p:sp>
        <p:nvSpPr>
          <p:cNvPr id="10" name="Ellipse 9">
            <a:extLst>
              <a:ext uri="{FF2B5EF4-FFF2-40B4-BE49-F238E27FC236}">
                <a16:creationId xmlns:a16="http://schemas.microsoft.com/office/drawing/2014/main" id="{B3A9B97F-6093-E086-4DB8-33248360755D}"/>
              </a:ext>
            </a:extLst>
          </p:cNvPr>
          <p:cNvSpPr/>
          <p:nvPr/>
        </p:nvSpPr>
        <p:spPr>
          <a:xfrm>
            <a:off x="495184" y="164605"/>
            <a:ext cx="452843" cy="452843"/>
          </a:xfrm>
          <a:prstGeom prst="ellipse">
            <a:avLst/>
          </a:prstGeom>
          <a:solidFill>
            <a:srgbClr val="44831E"/>
          </a:solidFill>
          <a:ln>
            <a:solidFill>
              <a:srgbClr val="44831E"/>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defRPr/>
            </a:pPr>
            <a:endParaRPr lang="da-DK" sz="1200" err="1">
              <a:solidFill>
                <a:srgbClr val="FFFFFF"/>
              </a:solidFill>
              <a:latin typeface="Franklin Gothic Book"/>
            </a:endParaRPr>
          </a:p>
        </p:txBody>
      </p:sp>
      <p:sp>
        <p:nvSpPr>
          <p:cNvPr id="42" name="Shape 0">
            <a:extLst>
              <a:ext uri="{FF2B5EF4-FFF2-40B4-BE49-F238E27FC236}">
                <a16:creationId xmlns:a16="http://schemas.microsoft.com/office/drawing/2014/main" id="{B5DA25C3-8B83-2474-452B-0A12CAD186BC}"/>
              </a:ext>
            </a:extLst>
          </p:cNvPr>
          <p:cNvSpPr/>
          <p:nvPr/>
        </p:nvSpPr>
        <p:spPr>
          <a:xfrm flipV="1">
            <a:off x="0" y="392803"/>
            <a:ext cx="9144000" cy="0"/>
          </a:xfrm>
          <a:prstGeom prst="line">
            <a:avLst/>
          </a:prstGeom>
          <a:noFill/>
          <a:ln w="12700">
            <a:solidFill>
              <a:srgbClr val="44831E"/>
            </a:solidFill>
            <a:prstDash val="solid"/>
          </a:ln>
        </p:spPr>
        <p:txBody>
          <a:bodyPr/>
          <a:lstStyle/>
          <a:p>
            <a:pPr defTabSz="685800">
              <a:defRPr/>
            </a:pPr>
            <a:endParaRPr lang="da-DK">
              <a:solidFill>
                <a:srgbClr val="000000"/>
              </a:solidFill>
              <a:latin typeface="Franklin Gothic Book"/>
            </a:endParaRPr>
          </a:p>
        </p:txBody>
      </p:sp>
      <p:sp>
        <p:nvSpPr>
          <p:cNvPr id="4" name="Shape 2">
            <a:extLst>
              <a:ext uri="{FF2B5EF4-FFF2-40B4-BE49-F238E27FC236}">
                <a16:creationId xmlns:a16="http://schemas.microsoft.com/office/drawing/2014/main" id="{DB593BF6-0E7C-33F0-0B13-22FC60DDC1DA}"/>
              </a:ext>
            </a:extLst>
          </p:cNvPr>
          <p:cNvSpPr/>
          <p:nvPr/>
        </p:nvSpPr>
        <p:spPr>
          <a:xfrm>
            <a:off x="259621" y="3289066"/>
            <a:ext cx="3213341" cy="890561"/>
          </a:xfrm>
          <a:prstGeom prst="roundRect">
            <a:avLst/>
          </a:prstGeom>
          <a:noFill/>
          <a:ln w="12700">
            <a:solidFill>
              <a:srgbClr val="44831E"/>
            </a:solidFill>
            <a:prstDash val="solid"/>
          </a:ln>
        </p:spPr>
        <p:txBody>
          <a:bodyPr/>
          <a:lstStyle/>
          <a:p>
            <a:pPr defTabSz="685800">
              <a:defRPr/>
            </a:pPr>
            <a:endParaRPr lang="da-DK">
              <a:solidFill>
                <a:srgbClr val="000000"/>
              </a:solidFill>
              <a:latin typeface="Franklin Gothic Book"/>
            </a:endParaRPr>
          </a:p>
        </p:txBody>
      </p:sp>
      <p:pic>
        <p:nvPicPr>
          <p:cNvPr id="5" name="Image 0" descr="preencoded.png">
            <a:extLst>
              <a:ext uri="{FF2B5EF4-FFF2-40B4-BE49-F238E27FC236}">
                <a16:creationId xmlns:a16="http://schemas.microsoft.com/office/drawing/2014/main" id="{5BEBCDAC-BE7C-D6B8-185C-6B4F013E9915}"/>
              </a:ext>
            </a:extLst>
          </p:cNvPr>
          <p:cNvPicPr>
            <a:picLocks noChangeAspect="1"/>
          </p:cNvPicPr>
          <p:nvPr/>
        </p:nvPicPr>
        <p:blipFill>
          <a:blip r:embed="rId3"/>
          <a:stretch>
            <a:fillRect/>
          </a:stretch>
        </p:blipFill>
        <p:spPr>
          <a:xfrm>
            <a:off x="291762" y="4661698"/>
            <a:ext cx="1911307" cy="273044"/>
          </a:xfrm>
          <a:prstGeom prst="rect">
            <a:avLst/>
          </a:prstGeom>
        </p:spPr>
      </p:pic>
      <p:sp>
        <p:nvSpPr>
          <p:cNvPr id="40" name="Text 3">
            <a:extLst>
              <a:ext uri="{FF2B5EF4-FFF2-40B4-BE49-F238E27FC236}">
                <a16:creationId xmlns:a16="http://schemas.microsoft.com/office/drawing/2014/main" id="{6B31739B-F8D5-1287-BCD5-7AF6F233CAF2}"/>
              </a:ext>
            </a:extLst>
          </p:cNvPr>
          <p:cNvSpPr/>
          <p:nvPr/>
        </p:nvSpPr>
        <p:spPr>
          <a:xfrm>
            <a:off x="-178832" y="638645"/>
            <a:ext cx="1818327" cy="462798"/>
          </a:xfrm>
          <a:prstGeom prst="rect">
            <a:avLst/>
          </a:prstGeom>
          <a:noFill/>
          <a:ln/>
        </p:spPr>
        <p:txBody>
          <a:bodyPr wrap="square" rtlCol="0" anchor="ctr"/>
          <a:lstStyle/>
          <a:p>
            <a:pPr algn="ctr" defTabSz="685800">
              <a:defRPr/>
            </a:pP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Kim og Irene får </a:t>
            </a:r>
            <a:b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overblik over bevillinger </a:t>
            </a:r>
            <a:b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fra kommunen</a:t>
            </a:r>
          </a:p>
        </p:txBody>
      </p:sp>
      <p:pic>
        <p:nvPicPr>
          <p:cNvPr id="43" name="Billede 42">
            <a:extLst>
              <a:ext uri="{FF2B5EF4-FFF2-40B4-BE49-F238E27FC236}">
                <a16:creationId xmlns:a16="http://schemas.microsoft.com/office/drawing/2014/main" id="{6DFFFB0E-4EB8-2373-43E4-6F6676C9D5B8}"/>
              </a:ext>
            </a:extLst>
          </p:cNvPr>
          <p:cNvPicPr>
            <a:picLocks noChangeAspect="1"/>
          </p:cNvPicPr>
          <p:nvPr/>
        </p:nvPicPr>
        <p:blipFill>
          <a:blip r:embed="rId4"/>
          <a:stretch>
            <a:fillRect/>
          </a:stretch>
        </p:blipFill>
        <p:spPr>
          <a:xfrm>
            <a:off x="530139" y="192610"/>
            <a:ext cx="400387" cy="400387"/>
          </a:xfrm>
          <a:prstGeom prst="rect">
            <a:avLst/>
          </a:prstGeom>
        </p:spPr>
      </p:pic>
      <p:sp>
        <p:nvSpPr>
          <p:cNvPr id="6" name="Tekstfelt 5">
            <a:extLst>
              <a:ext uri="{FF2B5EF4-FFF2-40B4-BE49-F238E27FC236}">
                <a16:creationId xmlns:a16="http://schemas.microsoft.com/office/drawing/2014/main" id="{CD24D3C1-AEA0-F0AC-D86E-6D5A2032CEA0}"/>
              </a:ext>
            </a:extLst>
          </p:cNvPr>
          <p:cNvSpPr txBox="1"/>
          <p:nvPr/>
        </p:nvSpPr>
        <p:spPr>
          <a:xfrm>
            <a:off x="377497" y="3422722"/>
            <a:ext cx="2717047" cy="784830"/>
          </a:xfrm>
          <a:prstGeom prst="rect">
            <a:avLst/>
          </a:prstGeom>
          <a:noFill/>
        </p:spPr>
        <p:txBody>
          <a:bodyPr wrap="square">
            <a:spAutoFit/>
          </a:bodyPr>
          <a:lstStyle/>
          <a:p>
            <a:pPr defTabSz="685800">
              <a:defRPr/>
            </a:pPr>
            <a:r>
              <a:rPr lang="da-DK" sz="900" dirty="0">
                <a:solidFill>
                  <a:srgbClr val="0B2432">
                    <a:alpha val="99000"/>
                  </a:srgbClr>
                </a:solidFill>
                <a:latin typeface="Open Sans" panose="020B0606030504020204" pitchFamily="34" charset="0"/>
                <a:ea typeface="Open Sans" panose="020B0606030504020204" pitchFamily="34" charset="0"/>
                <a:cs typeface="Open Sans" panose="020B0606030504020204" pitchFamily="34" charset="0"/>
              </a:rPr>
              <a:t>Kim har åbnet “Serviceydelser og hjælpemidler”.</a:t>
            </a:r>
            <a:br>
              <a:rPr lang="da-DK" sz="900" dirty="0">
                <a:solidFill>
                  <a:srgbClr val="0B2432">
                    <a:alpha val="99000"/>
                  </a:srgbClr>
                </a:solidFill>
                <a:latin typeface="Open Sans" panose="020B0606030504020204" pitchFamily="34" charset="0"/>
                <a:ea typeface="Open Sans" panose="020B0606030504020204" pitchFamily="34" charset="0"/>
                <a:cs typeface="Open Sans" panose="020B0606030504020204" pitchFamily="34" charset="0"/>
              </a:rPr>
            </a:br>
            <a:r>
              <a:rPr lang="da-DK" sz="900" dirty="0">
                <a:solidFill>
                  <a:srgbClr val="0B2432">
                    <a:alpha val="99000"/>
                  </a:srgbClr>
                </a:solidFill>
                <a:latin typeface="Open Sans" panose="020B0606030504020204" pitchFamily="34" charset="0"/>
                <a:ea typeface="Open Sans" panose="020B0606030504020204" pitchFamily="34" charset="0"/>
                <a:cs typeface="Open Sans" panose="020B0606030504020204" pitchFamily="34" charset="0"/>
              </a:rPr>
              <a:t>Her kan han se, at bevillingen på den </a:t>
            </a:r>
            <a:r>
              <a:rPr lang="da-DK" sz="900" dirty="0" err="1">
                <a:solidFill>
                  <a:srgbClr val="0B2432">
                    <a:alpha val="99000"/>
                  </a:srgbClr>
                </a:solidFill>
                <a:latin typeface="Open Sans" panose="020B0606030504020204" pitchFamily="34" charset="0"/>
                <a:ea typeface="Open Sans" panose="020B0606030504020204" pitchFamily="34" charset="0"/>
                <a:cs typeface="Open Sans" panose="020B0606030504020204" pitchFamily="34" charset="0"/>
              </a:rPr>
              <a:t>el-scooter</a:t>
            </a:r>
            <a:r>
              <a:rPr lang="da-DK" sz="900" dirty="0">
                <a:solidFill>
                  <a:srgbClr val="0B2432">
                    <a:alpha val="99000"/>
                  </a:srgbClr>
                </a:solidFill>
                <a:latin typeface="Open Sans" panose="020B0606030504020204" pitchFamily="34" charset="0"/>
                <a:ea typeface="Open Sans" panose="020B0606030504020204" pitchFamily="34" charset="0"/>
                <a:cs typeface="Open Sans" panose="020B0606030504020204" pitchFamily="34" charset="0"/>
              </a:rPr>
              <a:t>, Irene har nu, er udløbet. Hun skal derfor søge om at få bevilliget en ny. </a:t>
            </a:r>
            <a:endParaRPr lang="da-DK" sz="9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 name="Billede 7">
            <a:extLst>
              <a:ext uri="{FF2B5EF4-FFF2-40B4-BE49-F238E27FC236}">
                <a16:creationId xmlns:a16="http://schemas.microsoft.com/office/drawing/2014/main" id="{02BB1A95-D1B2-5BA7-8F99-485B8B11B1B1}"/>
              </a:ext>
            </a:extLst>
          </p:cNvPr>
          <p:cNvPicPr>
            <a:picLocks noChangeAspect="1"/>
          </p:cNvPicPr>
          <p:nvPr/>
        </p:nvPicPr>
        <p:blipFill>
          <a:blip r:embed="rId5"/>
          <a:stretch>
            <a:fillRect/>
          </a:stretch>
        </p:blipFill>
        <p:spPr>
          <a:xfrm>
            <a:off x="525500" y="1583514"/>
            <a:ext cx="2788085" cy="1721872"/>
          </a:xfrm>
          <a:prstGeom prst="rect">
            <a:avLst/>
          </a:prstGeom>
        </p:spPr>
      </p:pic>
      <p:pic>
        <p:nvPicPr>
          <p:cNvPr id="2" name="Billede 1">
            <a:extLst>
              <a:ext uri="{FF2B5EF4-FFF2-40B4-BE49-F238E27FC236}">
                <a16:creationId xmlns:a16="http://schemas.microsoft.com/office/drawing/2014/main" id="{016CCA0C-42EE-1E8C-B79F-5E4E1E890496}"/>
              </a:ext>
            </a:extLst>
          </p:cNvPr>
          <p:cNvPicPr>
            <a:picLocks noChangeAspect="1"/>
          </p:cNvPicPr>
          <p:nvPr/>
        </p:nvPicPr>
        <p:blipFill>
          <a:blip r:embed="rId6"/>
          <a:stretch>
            <a:fillRect/>
          </a:stretch>
        </p:blipFill>
        <p:spPr>
          <a:xfrm>
            <a:off x="3590838" y="1010972"/>
            <a:ext cx="5284870" cy="3230537"/>
          </a:xfrm>
          <a:prstGeom prst="rect">
            <a:avLst/>
          </a:prstGeom>
        </p:spPr>
      </p:pic>
    </p:spTree>
    <p:extLst>
      <p:ext uri="{BB962C8B-B14F-4D97-AF65-F5344CB8AC3E}">
        <p14:creationId xmlns:p14="http://schemas.microsoft.com/office/powerpoint/2010/main" val="20174473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976C17-53F9-4A6C-BD85-6841EC455C7C}"/>
              </a:ext>
            </a:extLst>
          </p:cNvPr>
          <p:cNvSpPr>
            <a:spLocks noGrp="1"/>
          </p:cNvSpPr>
          <p:nvPr>
            <p:ph type="title"/>
          </p:nvPr>
        </p:nvSpPr>
        <p:spPr>
          <a:xfrm>
            <a:off x="467544" y="432000"/>
            <a:ext cx="8172455" cy="631229"/>
          </a:xfrm>
        </p:spPr>
        <p:txBody>
          <a:bodyPr>
            <a:normAutofit/>
          </a:bodyPr>
          <a:lstStyle/>
          <a:p>
            <a:r>
              <a:rPr lang="da-DK" dirty="0"/>
              <a:t>Velkommen til Borgerblikket dialogmøde</a:t>
            </a:r>
            <a:br>
              <a:rPr lang="da-DK" dirty="0"/>
            </a:br>
            <a:endParaRPr lang="da-DK" dirty="0"/>
          </a:p>
        </p:txBody>
      </p:sp>
      <p:sp>
        <p:nvSpPr>
          <p:cNvPr id="10" name="Pladsholder til indhold 2">
            <a:extLst>
              <a:ext uri="{FF2B5EF4-FFF2-40B4-BE49-F238E27FC236}">
                <a16:creationId xmlns:a16="http://schemas.microsoft.com/office/drawing/2014/main" id="{4A4FE82F-3A8B-4D26-B8A4-1E2D222ED6A4}"/>
              </a:ext>
            </a:extLst>
          </p:cNvPr>
          <p:cNvSpPr txBox="1">
            <a:spLocks/>
          </p:cNvSpPr>
          <p:nvPr/>
        </p:nvSpPr>
        <p:spPr>
          <a:xfrm>
            <a:off x="504002" y="925673"/>
            <a:ext cx="7938958" cy="321286"/>
          </a:xfrm>
          <a:prstGeom prst="rect">
            <a:avLst/>
          </a:prstGeom>
          <a:noFill/>
          <a:ln>
            <a:noFill/>
          </a:ln>
        </p:spPr>
        <p:txBody>
          <a:bodyPr vert="horz" lIns="0" tIns="0" rIns="0" bIns="0" rtlCol="0" anchor="t" anchorCtr="0">
            <a:noAutofit/>
          </a:bodyPr>
          <a:lstStyle>
            <a:lvl1pPr marL="0" indent="0" algn="l" defTabSz="914400" rtl="0" eaLnBrk="1" latinLnBrk="0" hangingPunct="1">
              <a:lnSpc>
                <a:spcPts val="2600"/>
              </a:lnSpc>
              <a:spcBef>
                <a:spcPts val="0"/>
              </a:spcBef>
              <a:buFont typeface="Arial" panose="020B0604020202020204" pitchFamily="34" charset="0"/>
              <a:buNone/>
              <a:defRPr sz="2200" b="0" kern="1200">
                <a:solidFill>
                  <a:schemeClr val="tx1"/>
                </a:solidFill>
                <a:latin typeface="Trebuchet MS" panose="020B0603020202020204" pitchFamily="34" charset="0"/>
                <a:ea typeface="+mn-ea"/>
                <a:cs typeface="+mn-cs"/>
              </a:defRPr>
            </a:lvl1pPr>
            <a:lvl2pPr marL="0" indent="0" algn="l" defTabSz="914400" rtl="0" eaLnBrk="1" latinLnBrk="0" hangingPunct="1">
              <a:lnSpc>
                <a:spcPts val="2600"/>
              </a:lnSpc>
              <a:spcBef>
                <a:spcPts val="0"/>
              </a:spcBef>
              <a:buFont typeface="Arial" panose="020B0604020202020204" pitchFamily="34" charset="0"/>
              <a:buNone/>
              <a:defRPr sz="2200" b="1" kern="1200">
                <a:solidFill>
                  <a:schemeClr val="accent1"/>
                </a:solidFill>
                <a:latin typeface="Trebuchet MS" panose="020B0603020202020204" pitchFamily="34" charset="0"/>
                <a:ea typeface="+mn-ea"/>
                <a:cs typeface="+mn-cs"/>
              </a:defRPr>
            </a:lvl2pPr>
            <a:lvl3pPr marL="180000" indent="-180000" algn="l" defTabSz="360000" rtl="0" eaLnBrk="1" latinLnBrk="0" hangingPunct="1">
              <a:spcBef>
                <a:spcPts val="0"/>
              </a:spcBef>
              <a:buFont typeface="Arial" panose="020B0604020202020204" pitchFamily="34" charset="0"/>
              <a:buChar char="•"/>
              <a:defRPr sz="2200" kern="1200">
                <a:solidFill>
                  <a:schemeClr val="tx1"/>
                </a:solidFill>
                <a:latin typeface="Trebuchet MS" panose="020B0603020202020204" pitchFamily="34" charset="0"/>
                <a:ea typeface="+mn-ea"/>
                <a:cs typeface="+mn-cs"/>
              </a:defRPr>
            </a:lvl3pPr>
            <a:lvl4pPr marL="538163" indent="-180975" algn="l" defTabSz="914400" rtl="0" eaLnBrk="1" latinLnBrk="0" hangingPunct="1">
              <a:lnSpc>
                <a:spcPts val="2400"/>
              </a:lnSpc>
              <a:spcBef>
                <a:spcPts val="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4pPr>
            <a:lvl5pPr marL="900000" indent="-180000" algn="l" defTabSz="914400" rtl="0" eaLnBrk="1" latinLnBrk="0" hangingPunct="1">
              <a:lnSpc>
                <a:spcPts val="2000"/>
              </a:lnSpc>
              <a:spcBef>
                <a:spcPts val="0"/>
              </a:spcBef>
              <a:buFont typeface="Arial" panose="020B0604020202020204" pitchFamily="34" charset="0"/>
              <a:buChar char="•"/>
              <a:defRPr sz="1700" kern="1200">
                <a:solidFill>
                  <a:schemeClr val="tx1"/>
                </a:solidFill>
                <a:latin typeface="Trebuchet MS" panose="020B0603020202020204" pitchFamily="34" charset="0"/>
                <a:ea typeface="+mn-ea"/>
                <a:cs typeface="+mn-cs"/>
              </a:defRPr>
            </a:lvl5pPr>
            <a:lvl6pPr marL="1188000" indent="-180000" algn="l" defTabSz="914400" rtl="0" eaLnBrk="1" latinLnBrk="0" hangingPunct="1">
              <a:lnSpc>
                <a:spcPts val="2200"/>
              </a:lnSpc>
              <a:spcBef>
                <a:spcPts val="0"/>
              </a:spcBef>
              <a:buFont typeface="Arial" panose="020B0604020202020204" pitchFamily="34" charset="0"/>
              <a:buChar char="•"/>
              <a:defRPr sz="1500" kern="1200">
                <a:solidFill>
                  <a:schemeClr val="tx1"/>
                </a:solidFill>
                <a:latin typeface="+mn-lt"/>
                <a:ea typeface="+mn-ea"/>
                <a:cs typeface="+mn-cs"/>
              </a:defRPr>
            </a:lvl6pPr>
            <a:lvl7pPr marL="1524000"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188436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24631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r>
              <a:rPr lang="da-DK" sz="1650" dirty="0"/>
              <a:t>Fra KOMBIT deltager: Jesper, Olivier, Johan, Troels, Susanne og Anne-Sophie  </a:t>
            </a:r>
          </a:p>
        </p:txBody>
      </p:sp>
      <p:pic>
        <p:nvPicPr>
          <p:cNvPr id="5" name="Billede 4">
            <a:extLst>
              <a:ext uri="{FF2B5EF4-FFF2-40B4-BE49-F238E27FC236}">
                <a16:creationId xmlns:a16="http://schemas.microsoft.com/office/drawing/2014/main" id="{187A9AD5-24CC-BA18-F2E8-3333E076CF62}"/>
              </a:ext>
            </a:extLst>
          </p:cNvPr>
          <p:cNvPicPr>
            <a:picLocks noChangeAspect="1"/>
          </p:cNvPicPr>
          <p:nvPr/>
        </p:nvPicPr>
        <p:blipFill>
          <a:blip r:embed="rId3"/>
          <a:stretch>
            <a:fillRect/>
          </a:stretch>
        </p:blipFill>
        <p:spPr>
          <a:xfrm>
            <a:off x="7204120" y="2095500"/>
            <a:ext cx="1751572" cy="228695"/>
          </a:xfrm>
          <a:prstGeom prst="rect">
            <a:avLst/>
          </a:prstGeom>
        </p:spPr>
      </p:pic>
      <p:pic>
        <p:nvPicPr>
          <p:cNvPr id="7" name="Billede 6">
            <a:extLst>
              <a:ext uri="{FF2B5EF4-FFF2-40B4-BE49-F238E27FC236}">
                <a16:creationId xmlns:a16="http://schemas.microsoft.com/office/drawing/2014/main" id="{19963C6F-3F29-BDF6-940C-739267EEA9D5}"/>
              </a:ext>
            </a:extLst>
          </p:cNvPr>
          <p:cNvPicPr>
            <a:picLocks noChangeAspect="1"/>
          </p:cNvPicPr>
          <p:nvPr/>
        </p:nvPicPr>
        <p:blipFill>
          <a:blip r:embed="rId4"/>
          <a:stretch>
            <a:fillRect/>
          </a:stretch>
        </p:blipFill>
        <p:spPr>
          <a:xfrm>
            <a:off x="258794" y="1291209"/>
            <a:ext cx="1261346" cy="1274813"/>
          </a:xfrm>
          <a:prstGeom prst="rect">
            <a:avLst/>
          </a:prstGeom>
        </p:spPr>
      </p:pic>
      <p:pic>
        <p:nvPicPr>
          <p:cNvPr id="14" name="Billede 13">
            <a:extLst>
              <a:ext uri="{FF2B5EF4-FFF2-40B4-BE49-F238E27FC236}">
                <a16:creationId xmlns:a16="http://schemas.microsoft.com/office/drawing/2014/main" id="{15357085-DC7E-F150-E042-633F578A4AAB}"/>
              </a:ext>
            </a:extLst>
          </p:cNvPr>
          <p:cNvPicPr>
            <a:picLocks noChangeAspect="1"/>
          </p:cNvPicPr>
          <p:nvPr/>
        </p:nvPicPr>
        <p:blipFill>
          <a:blip r:embed="rId5"/>
          <a:stretch>
            <a:fillRect/>
          </a:stretch>
        </p:blipFill>
        <p:spPr>
          <a:xfrm>
            <a:off x="1623774" y="1290519"/>
            <a:ext cx="1261348" cy="1274814"/>
          </a:xfrm>
          <a:prstGeom prst="rect">
            <a:avLst/>
          </a:prstGeom>
        </p:spPr>
      </p:pic>
      <p:pic>
        <p:nvPicPr>
          <p:cNvPr id="18" name="Billede 17">
            <a:extLst>
              <a:ext uri="{FF2B5EF4-FFF2-40B4-BE49-F238E27FC236}">
                <a16:creationId xmlns:a16="http://schemas.microsoft.com/office/drawing/2014/main" id="{F000F776-6031-48E7-F9F8-D21E9A7E357D}"/>
              </a:ext>
            </a:extLst>
          </p:cNvPr>
          <p:cNvPicPr>
            <a:picLocks noChangeAspect="1"/>
          </p:cNvPicPr>
          <p:nvPr/>
        </p:nvPicPr>
        <p:blipFill>
          <a:blip r:embed="rId6"/>
          <a:stretch>
            <a:fillRect/>
          </a:stretch>
        </p:blipFill>
        <p:spPr>
          <a:xfrm>
            <a:off x="2993425" y="1297316"/>
            <a:ext cx="1261345" cy="1284114"/>
          </a:xfrm>
          <a:prstGeom prst="rect">
            <a:avLst/>
          </a:prstGeom>
        </p:spPr>
      </p:pic>
      <p:pic>
        <p:nvPicPr>
          <p:cNvPr id="20" name="Billede 19">
            <a:extLst>
              <a:ext uri="{FF2B5EF4-FFF2-40B4-BE49-F238E27FC236}">
                <a16:creationId xmlns:a16="http://schemas.microsoft.com/office/drawing/2014/main" id="{00686F75-121C-5BDB-3D65-3D79542A8629}"/>
              </a:ext>
            </a:extLst>
          </p:cNvPr>
          <p:cNvPicPr>
            <a:picLocks noChangeAspect="1"/>
          </p:cNvPicPr>
          <p:nvPr/>
        </p:nvPicPr>
        <p:blipFill>
          <a:blip r:embed="rId7"/>
          <a:stretch>
            <a:fillRect/>
          </a:stretch>
        </p:blipFill>
        <p:spPr>
          <a:xfrm>
            <a:off x="4358407" y="1300577"/>
            <a:ext cx="1302393" cy="1284114"/>
          </a:xfrm>
          <a:prstGeom prst="rect">
            <a:avLst/>
          </a:prstGeom>
        </p:spPr>
      </p:pic>
      <p:sp>
        <p:nvSpPr>
          <p:cNvPr id="25" name="Tekstfelt 24">
            <a:extLst>
              <a:ext uri="{FF2B5EF4-FFF2-40B4-BE49-F238E27FC236}">
                <a16:creationId xmlns:a16="http://schemas.microsoft.com/office/drawing/2014/main" id="{8B1168BB-E9EA-9834-EE41-3802E186A2AB}"/>
              </a:ext>
            </a:extLst>
          </p:cNvPr>
          <p:cNvSpPr txBox="1"/>
          <p:nvPr/>
        </p:nvSpPr>
        <p:spPr>
          <a:xfrm>
            <a:off x="317812" y="2857506"/>
            <a:ext cx="3868748" cy="263819"/>
          </a:xfrm>
          <a:prstGeom prst="rect">
            <a:avLst/>
          </a:prstGeom>
          <a:noFill/>
          <a:ln>
            <a:noFill/>
          </a:ln>
        </p:spPr>
        <p:txBody>
          <a:bodyPr wrap="square" lIns="91440" tIns="45720" rIns="91440" bIns="45720" rtlCol="0" anchor="t">
            <a:noAutofit/>
          </a:bodyPr>
          <a:lstStyle/>
          <a:p>
            <a:pPr algn="l">
              <a:spcAft>
                <a:spcPts val="300"/>
              </a:spcAft>
            </a:pPr>
            <a:r>
              <a:rPr lang="da-DK" sz="1650">
                <a:latin typeface="Trebuchet MS"/>
              </a:rPr>
              <a:t>Fra KL deltager Joachim Daus-Petersen</a:t>
            </a:r>
            <a:endParaRPr lang="da-DK" sz="1650" kern="0">
              <a:latin typeface="Trebuchet MS"/>
              <a:cs typeface="Arial"/>
            </a:endParaRPr>
          </a:p>
        </p:txBody>
      </p:sp>
      <p:pic>
        <p:nvPicPr>
          <p:cNvPr id="8" name="Billede 7">
            <a:extLst>
              <a:ext uri="{FF2B5EF4-FFF2-40B4-BE49-F238E27FC236}">
                <a16:creationId xmlns:a16="http://schemas.microsoft.com/office/drawing/2014/main" id="{13798ED5-1841-E22F-8CAC-E41BFC38E5FA}"/>
              </a:ext>
            </a:extLst>
          </p:cNvPr>
          <p:cNvPicPr>
            <a:picLocks noChangeAspect="1"/>
          </p:cNvPicPr>
          <p:nvPr/>
        </p:nvPicPr>
        <p:blipFill>
          <a:blip r:embed="rId8"/>
          <a:stretch>
            <a:fillRect/>
          </a:stretch>
        </p:blipFill>
        <p:spPr>
          <a:xfrm>
            <a:off x="5764437" y="1290519"/>
            <a:ext cx="1257738" cy="1274434"/>
          </a:xfrm>
          <a:prstGeom prst="rect">
            <a:avLst/>
          </a:prstGeom>
        </p:spPr>
      </p:pic>
      <p:pic>
        <p:nvPicPr>
          <p:cNvPr id="13" name="Billede 12" descr="Et billede, der indeholder Ansigt, person, mur, tøj&#10;&#10;Indhold genereret af kunstig intelligens kan være forkert.">
            <a:extLst>
              <a:ext uri="{FF2B5EF4-FFF2-40B4-BE49-F238E27FC236}">
                <a16:creationId xmlns:a16="http://schemas.microsoft.com/office/drawing/2014/main" id="{C405FCC5-4057-45AD-335B-368DA37417B5}"/>
              </a:ext>
            </a:extLst>
          </p:cNvPr>
          <p:cNvPicPr>
            <a:picLocks noChangeAspect="1"/>
          </p:cNvPicPr>
          <p:nvPr/>
        </p:nvPicPr>
        <p:blipFill>
          <a:blip r:embed="rId9"/>
          <a:stretch>
            <a:fillRect/>
          </a:stretch>
        </p:blipFill>
        <p:spPr>
          <a:xfrm>
            <a:off x="7125812" y="1280734"/>
            <a:ext cx="1257738" cy="1257738"/>
          </a:xfrm>
          <a:prstGeom prst="rect">
            <a:avLst/>
          </a:prstGeom>
        </p:spPr>
      </p:pic>
      <p:pic>
        <p:nvPicPr>
          <p:cNvPr id="3" name="Picture 2">
            <a:extLst>
              <a:ext uri="{FF2B5EF4-FFF2-40B4-BE49-F238E27FC236}">
                <a16:creationId xmlns:a16="http://schemas.microsoft.com/office/drawing/2014/main" id="{C26F13E0-51ED-4F48-FA04-924F928F1D1F}"/>
              </a:ext>
            </a:extLst>
          </p:cNvPr>
          <p:cNvPicPr>
            <a:picLocks noChangeAspect="1"/>
          </p:cNvPicPr>
          <p:nvPr/>
        </p:nvPicPr>
        <p:blipFill>
          <a:blip r:embed="rId10"/>
          <a:srcRect t="12276" r="-214" b="12313"/>
          <a:stretch>
            <a:fillRect/>
          </a:stretch>
        </p:blipFill>
        <p:spPr>
          <a:xfrm>
            <a:off x="260131" y="3272645"/>
            <a:ext cx="1281901" cy="1292418"/>
          </a:xfrm>
          <a:prstGeom prst="rect">
            <a:avLst/>
          </a:prstGeom>
        </p:spPr>
      </p:pic>
    </p:spTree>
    <p:extLst>
      <p:ext uri="{BB962C8B-B14F-4D97-AF65-F5344CB8AC3E}">
        <p14:creationId xmlns:p14="http://schemas.microsoft.com/office/powerpoint/2010/main" val="39143286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DBDC8D-D1CE-86E3-B860-640CC4386D54}"/>
            </a:ext>
          </a:extLst>
        </p:cNvPr>
        <p:cNvGrpSpPr/>
        <p:nvPr/>
      </p:nvGrpSpPr>
      <p:grpSpPr>
        <a:xfrm>
          <a:off x="0" y="0"/>
          <a:ext cx="0" cy="0"/>
          <a:chOff x="0" y="0"/>
          <a:chExt cx="0" cy="0"/>
        </a:xfrm>
      </p:grpSpPr>
      <p:sp>
        <p:nvSpPr>
          <p:cNvPr id="13" name="Ellipse 12">
            <a:extLst>
              <a:ext uri="{FF2B5EF4-FFF2-40B4-BE49-F238E27FC236}">
                <a16:creationId xmlns:a16="http://schemas.microsoft.com/office/drawing/2014/main" id="{403CB5F2-E8B5-48A1-0F15-6C2FC4E65405}"/>
              </a:ext>
            </a:extLst>
          </p:cNvPr>
          <p:cNvSpPr/>
          <p:nvPr/>
        </p:nvSpPr>
        <p:spPr>
          <a:xfrm>
            <a:off x="495184" y="164605"/>
            <a:ext cx="452843" cy="452843"/>
          </a:xfrm>
          <a:prstGeom prst="ellipse">
            <a:avLst/>
          </a:prstGeom>
          <a:solidFill>
            <a:srgbClr val="44831E"/>
          </a:solidFill>
          <a:ln>
            <a:solidFill>
              <a:srgbClr val="44831E"/>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defRPr/>
            </a:pPr>
            <a:endParaRPr lang="da-DK" sz="1200" err="1">
              <a:solidFill>
                <a:srgbClr val="FFFFFF"/>
              </a:solidFill>
              <a:latin typeface="Franklin Gothic Book"/>
            </a:endParaRPr>
          </a:p>
        </p:txBody>
      </p:sp>
      <p:sp>
        <p:nvSpPr>
          <p:cNvPr id="4" name="Shape 2">
            <a:extLst>
              <a:ext uri="{FF2B5EF4-FFF2-40B4-BE49-F238E27FC236}">
                <a16:creationId xmlns:a16="http://schemas.microsoft.com/office/drawing/2014/main" id="{44CF351C-F632-58AB-2D3E-865D4E686998}"/>
              </a:ext>
            </a:extLst>
          </p:cNvPr>
          <p:cNvSpPr/>
          <p:nvPr/>
        </p:nvSpPr>
        <p:spPr>
          <a:xfrm>
            <a:off x="259621" y="3289065"/>
            <a:ext cx="3659237" cy="1060867"/>
          </a:xfrm>
          <a:prstGeom prst="roundRect">
            <a:avLst/>
          </a:prstGeom>
          <a:noFill/>
          <a:ln w="12700">
            <a:solidFill>
              <a:srgbClr val="44831E"/>
            </a:solidFill>
            <a:prstDash val="solid"/>
          </a:ln>
        </p:spPr>
        <p:txBody>
          <a:bodyPr/>
          <a:lstStyle/>
          <a:p>
            <a:pPr defTabSz="685800">
              <a:defRPr/>
            </a:pPr>
            <a:endParaRPr lang="da-DK">
              <a:solidFill>
                <a:srgbClr val="000000"/>
              </a:solidFill>
              <a:latin typeface="Franklin Gothic Book"/>
            </a:endParaRPr>
          </a:p>
        </p:txBody>
      </p:sp>
      <p:pic>
        <p:nvPicPr>
          <p:cNvPr id="5" name="Image 0" descr="preencoded.png">
            <a:extLst>
              <a:ext uri="{FF2B5EF4-FFF2-40B4-BE49-F238E27FC236}">
                <a16:creationId xmlns:a16="http://schemas.microsoft.com/office/drawing/2014/main" id="{FE89A205-9818-1B45-5E39-1463959E437E}"/>
              </a:ext>
            </a:extLst>
          </p:cNvPr>
          <p:cNvPicPr>
            <a:picLocks noChangeAspect="1"/>
          </p:cNvPicPr>
          <p:nvPr/>
        </p:nvPicPr>
        <p:blipFill>
          <a:blip r:embed="rId3"/>
          <a:stretch>
            <a:fillRect/>
          </a:stretch>
        </p:blipFill>
        <p:spPr>
          <a:xfrm>
            <a:off x="291762" y="4661698"/>
            <a:ext cx="1911307" cy="273044"/>
          </a:xfrm>
          <a:prstGeom prst="rect">
            <a:avLst/>
          </a:prstGeom>
        </p:spPr>
      </p:pic>
      <p:sp>
        <p:nvSpPr>
          <p:cNvPr id="6" name="Tekstfelt 5">
            <a:extLst>
              <a:ext uri="{FF2B5EF4-FFF2-40B4-BE49-F238E27FC236}">
                <a16:creationId xmlns:a16="http://schemas.microsoft.com/office/drawing/2014/main" id="{D44D8D8D-0DAC-4B96-847A-07AD176BFE1E}"/>
              </a:ext>
            </a:extLst>
          </p:cNvPr>
          <p:cNvSpPr txBox="1"/>
          <p:nvPr/>
        </p:nvSpPr>
        <p:spPr>
          <a:xfrm>
            <a:off x="381226" y="3422722"/>
            <a:ext cx="3537632" cy="784830"/>
          </a:xfrm>
          <a:prstGeom prst="rect">
            <a:avLst/>
          </a:prstGeom>
          <a:noFill/>
        </p:spPr>
        <p:txBody>
          <a:bodyPr wrap="square">
            <a:spAutoFit/>
          </a:bodyPr>
          <a:lstStyle/>
          <a:p>
            <a:pPr defTabSz="685800">
              <a:defRPr/>
            </a:pPr>
            <a:r>
              <a:rPr lang="da-DK" sz="900">
                <a:solidFill>
                  <a:srgbClr val="212121"/>
                </a:solidFill>
                <a:latin typeface="Open Sans" panose="020B0606030504020204" pitchFamily="34" charset="0"/>
                <a:ea typeface="Open Sans" panose="020B0606030504020204" pitchFamily="34" charset="0"/>
                <a:cs typeface="Open Sans" panose="020B0606030504020204" pitchFamily="34" charset="0"/>
              </a:rPr>
              <a:t>Imens sagen er i gang, kan Kim følge med på Mit Overblik under “Sager”. Her vises sagens forløb trin for trin. Der kan være hjælpetekster på trinnene, og der kan være sendt post </a:t>
            </a:r>
            <a:br>
              <a:rPr lang="da-DK" sz="900">
                <a:solidFill>
                  <a:srgbClr val="212121"/>
                </a:solidFill>
                <a:latin typeface="Open Sans" panose="020B0606030504020204" pitchFamily="34" charset="0"/>
                <a:ea typeface="Open Sans" panose="020B0606030504020204" pitchFamily="34" charset="0"/>
                <a:cs typeface="Open Sans" panose="020B0606030504020204" pitchFamily="34" charset="0"/>
              </a:rPr>
            </a:br>
            <a:r>
              <a:rPr lang="da-DK" sz="900">
                <a:solidFill>
                  <a:srgbClr val="212121"/>
                </a:solidFill>
                <a:latin typeface="Open Sans" panose="020B0606030504020204" pitchFamily="34" charset="0"/>
                <a:ea typeface="Open Sans" panose="020B0606030504020204" pitchFamily="34" charset="0"/>
                <a:cs typeface="Open Sans" panose="020B0606030504020204" pitchFamily="34" charset="0"/>
              </a:rPr>
              <a:t>på et trin. Når sagen med kommunen er afsluttet, og Irene har fået tildelt sit hjælpemiddel, vil han kunne se den nye bevilling. </a:t>
            </a:r>
          </a:p>
        </p:txBody>
      </p:sp>
      <p:sp>
        <p:nvSpPr>
          <p:cNvPr id="8" name="Shape 0">
            <a:extLst>
              <a:ext uri="{FF2B5EF4-FFF2-40B4-BE49-F238E27FC236}">
                <a16:creationId xmlns:a16="http://schemas.microsoft.com/office/drawing/2014/main" id="{442D8CB6-7435-643C-7DDE-0C9AF118EF90}"/>
              </a:ext>
            </a:extLst>
          </p:cNvPr>
          <p:cNvSpPr/>
          <p:nvPr/>
        </p:nvSpPr>
        <p:spPr>
          <a:xfrm flipV="1">
            <a:off x="0" y="392802"/>
            <a:ext cx="581110" cy="0"/>
          </a:xfrm>
          <a:prstGeom prst="line">
            <a:avLst/>
          </a:prstGeom>
          <a:noFill/>
          <a:ln w="12700">
            <a:solidFill>
              <a:srgbClr val="44831E"/>
            </a:solidFill>
            <a:prstDash val="solid"/>
          </a:ln>
        </p:spPr>
        <p:txBody>
          <a:bodyPr/>
          <a:lstStyle/>
          <a:p>
            <a:pPr defTabSz="685800">
              <a:defRPr/>
            </a:pPr>
            <a:endParaRPr lang="da-DK">
              <a:solidFill>
                <a:srgbClr val="000000"/>
              </a:solidFill>
              <a:latin typeface="Franklin Gothic Book"/>
            </a:endParaRPr>
          </a:p>
        </p:txBody>
      </p:sp>
      <p:pic>
        <p:nvPicPr>
          <p:cNvPr id="9" name="Billede 8">
            <a:extLst>
              <a:ext uri="{FF2B5EF4-FFF2-40B4-BE49-F238E27FC236}">
                <a16:creationId xmlns:a16="http://schemas.microsoft.com/office/drawing/2014/main" id="{D34085B2-CA68-B6FB-0937-01F0C2625512}"/>
              </a:ext>
            </a:extLst>
          </p:cNvPr>
          <p:cNvPicPr>
            <a:picLocks noChangeAspect="1"/>
          </p:cNvPicPr>
          <p:nvPr/>
        </p:nvPicPr>
        <p:blipFill>
          <a:blip r:embed="rId4"/>
          <a:stretch>
            <a:fillRect/>
          </a:stretch>
        </p:blipFill>
        <p:spPr>
          <a:xfrm>
            <a:off x="530139" y="192609"/>
            <a:ext cx="400387" cy="400387"/>
          </a:xfrm>
          <a:prstGeom prst="rect">
            <a:avLst/>
          </a:prstGeom>
        </p:spPr>
      </p:pic>
      <p:sp>
        <p:nvSpPr>
          <p:cNvPr id="10" name="Text 3">
            <a:extLst>
              <a:ext uri="{FF2B5EF4-FFF2-40B4-BE49-F238E27FC236}">
                <a16:creationId xmlns:a16="http://schemas.microsoft.com/office/drawing/2014/main" id="{9127ECC6-7B2E-CCEF-64C6-DB4E5FB27E5F}"/>
              </a:ext>
            </a:extLst>
          </p:cNvPr>
          <p:cNvSpPr/>
          <p:nvPr/>
        </p:nvSpPr>
        <p:spPr>
          <a:xfrm>
            <a:off x="-178832" y="638645"/>
            <a:ext cx="1818327" cy="462798"/>
          </a:xfrm>
          <a:prstGeom prst="rect">
            <a:avLst/>
          </a:prstGeom>
          <a:noFill/>
          <a:ln/>
        </p:spPr>
        <p:txBody>
          <a:bodyPr wrap="square" rtlCol="0" anchor="ctr"/>
          <a:lstStyle/>
          <a:p>
            <a:pPr algn="ctr" defTabSz="685800">
              <a:defRPr/>
            </a:pP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Kim følger med i </a:t>
            </a:r>
            <a:b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Irenes sag med </a:t>
            </a:r>
            <a:b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kommunen</a:t>
            </a:r>
          </a:p>
        </p:txBody>
      </p:sp>
      <p:pic>
        <p:nvPicPr>
          <p:cNvPr id="14" name="Grafik 13">
            <a:extLst>
              <a:ext uri="{FF2B5EF4-FFF2-40B4-BE49-F238E27FC236}">
                <a16:creationId xmlns:a16="http://schemas.microsoft.com/office/drawing/2014/main" id="{44262777-CB2E-177B-3AC4-B9314C44979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29488" y="742637"/>
            <a:ext cx="4754893" cy="3607295"/>
          </a:xfrm>
          <a:prstGeom prst="rect">
            <a:avLst/>
          </a:prstGeom>
        </p:spPr>
      </p:pic>
      <p:pic>
        <p:nvPicPr>
          <p:cNvPr id="12" name="Billede 11">
            <a:extLst>
              <a:ext uri="{FF2B5EF4-FFF2-40B4-BE49-F238E27FC236}">
                <a16:creationId xmlns:a16="http://schemas.microsoft.com/office/drawing/2014/main" id="{2B7CBEAA-45B4-C2B3-8C5E-F6C6C5611B35}"/>
              </a:ext>
            </a:extLst>
          </p:cNvPr>
          <p:cNvPicPr>
            <a:picLocks noChangeAspect="1"/>
          </p:cNvPicPr>
          <p:nvPr/>
        </p:nvPicPr>
        <p:blipFill>
          <a:blip r:embed="rId7"/>
          <a:stretch>
            <a:fillRect/>
          </a:stretch>
        </p:blipFill>
        <p:spPr>
          <a:xfrm>
            <a:off x="530139" y="1620688"/>
            <a:ext cx="2779994" cy="1735205"/>
          </a:xfrm>
          <a:prstGeom prst="rect">
            <a:avLst/>
          </a:prstGeom>
        </p:spPr>
      </p:pic>
    </p:spTree>
    <p:extLst>
      <p:ext uri="{BB962C8B-B14F-4D97-AF65-F5344CB8AC3E}">
        <p14:creationId xmlns:p14="http://schemas.microsoft.com/office/powerpoint/2010/main" val="5806074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F0D8F7-CEEC-F586-37E5-42D086642461}"/>
            </a:ext>
          </a:extLst>
        </p:cNvPr>
        <p:cNvGrpSpPr/>
        <p:nvPr/>
      </p:nvGrpSpPr>
      <p:grpSpPr>
        <a:xfrm>
          <a:off x="0" y="0"/>
          <a:ext cx="0" cy="0"/>
          <a:chOff x="0" y="0"/>
          <a:chExt cx="0" cy="0"/>
        </a:xfrm>
      </p:grpSpPr>
      <p:sp>
        <p:nvSpPr>
          <p:cNvPr id="2" name="Shape 0">
            <a:extLst>
              <a:ext uri="{FF2B5EF4-FFF2-40B4-BE49-F238E27FC236}">
                <a16:creationId xmlns:a16="http://schemas.microsoft.com/office/drawing/2014/main" id="{753B65EE-9022-9829-BDA2-793C00563559}"/>
              </a:ext>
            </a:extLst>
          </p:cNvPr>
          <p:cNvSpPr/>
          <p:nvPr/>
        </p:nvSpPr>
        <p:spPr>
          <a:xfrm>
            <a:off x="3263411" y="931368"/>
            <a:ext cx="2644775" cy="2644775"/>
          </a:xfrm>
          <a:prstGeom prst="ellipse">
            <a:avLst/>
          </a:prstGeom>
          <a:solidFill>
            <a:schemeClr val="bg1"/>
          </a:solidFill>
          <a:ln w="12700">
            <a:solidFill>
              <a:srgbClr val="44831E"/>
            </a:solidFill>
            <a:prstDash val="solid"/>
          </a:ln>
        </p:spPr>
        <p:txBody>
          <a:bodyPr/>
          <a:lstStyle/>
          <a:p>
            <a:pPr defTabSz="685800">
              <a:defRPr/>
            </a:pPr>
            <a:endParaRPr lang="da-DK">
              <a:solidFill>
                <a:srgbClr val="000000"/>
              </a:solidFill>
              <a:latin typeface="Franklin Gothic Book"/>
            </a:endParaRPr>
          </a:p>
        </p:txBody>
      </p:sp>
      <p:sp>
        <p:nvSpPr>
          <p:cNvPr id="3" name="Shape 1">
            <a:extLst>
              <a:ext uri="{FF2B5EF4-FFF2-40B4-BE49-F238E27FC236}">
                <a16:creationId xmlns:a16="http://schemas.microsoft.com/office/drawing/2014/main" id="{0F2F3C4C-FAB0-0209-AA42-B9E994F71458}"/>
              </a:ext>
            </a:extLst>
          </p:cNvPr>
          <p:cNvSpPr/>
          <p:nvPr/>
        </p:nvSpPr>
        <p:spPr>
          <a:xfrm>
            <a:off x="4154053" y="1307224"/>
            <a:ext cx="1216904" cy="1537142"/>
          </a:xfrm>
          <a:prstGeom prst="rect">
            <a:avLst/>
          </a:prstGeom>
          <a:noFill/>
          <a:ln/>
        </p:spPr>
        <p:txBody>
          <a:bodyPr/>
          <a:lstStyle/>
          <a:p>
            <a:pPr defTabSz="685800">
              <a:defRPr/>
            </a:pPr>
            <a:endParaRPr lang="da-DK">
              <a:solidFill>
                <a:srgbClr val="000000"/>
              </a:solidFill>
              <a:latin typeface="Franklin Gothic Book"/>
            </a:endParaRPr>
          </a:p>
        </p:txBody>
      </p:sp>
      <p:sp>
        <p:nvSpPr>
          <p:cNvPr id="34" name="Text 11">
            <a:extLst>
              <a:ext uri="{FF2B5EF4-FFF2-40B4-BE49-F238E27FC236}">
                <a16:creationId xmlns:a16="http://schemas.microsoft.com/office/drawing/2014/main" id="{E035DDE2-81B0-9EBF-2304-6BEFDBFE828F}"/>
              </a:ext>
            </a:extLst>
          </p:cNvPr>
          <p:cNvSpPr/>
          <p:nvPr/>
        </p:nvSpPr>
        <p:spPr>
          <a:xfrm>
            <a:off x="3732138" y="2904026"/>
            <a:ext cx="1707321" cy="321981"/>
          </a:xfrm>
          <a:prstGeom prst="rect">
            <a:avLst/>
          </a:prstGeom>
          <a:noFill/>
          <a:ln/>
        </p:spPr>
        <p:txBody>
          <a:bodyPr wrap="square" rtlCol="0" anchor="ctr"/>
          <a:lstStyle/>
          <a:p>
            <a:pPr algn="ctr" defTabSz="685800">
              <a:defRPr/>
            </a:pPr>
            <a:r>
              <a:rPr lang="en-US" sz="750">
                <a:solidFill>
                  <a:srgbClr val="0B2432">
                    <a:alpha val="99000"/>
                  </a:srgbClr>
                </a:solidFill>
                <a:latin typeface="Open Sans" panose="020B0606030504020204" pitchFamily="34" charset="0"/>
                <a:ea typeface="Open Sans" panose="020B0606030504020204" pitchFamily="34" charset="0"/>
                <a:cs typeface="Open Sans" panose="020B0606030504020204" pitchFamily="34" charset="0"/>
              </a:rPr>
              <a:t>27 år. Ledig. </a:t>
            </a:r>
            <a:br>
              <a:rPr lang="en-US" sz="750">
                <a:solidFill>
                  <a:srgbClr val="0B2432">
                    <a:alpha val="99000"/>
                  </a:srgbClr>
                </a:solidFill>
                <a:latin typeface="Open Sans" panose="020B0606030504020204" pitchFamily="34" charset="0"/>
                <a:ea typeface="Open Sans" panose="020B0606030504020204" pitchFamily="34" charset="0"/>
                <a:cs typeface="Open Sans" panose="020B0606030504020204" pitchFamily="34" charset="0"/>
              </a:rPr>
            </a:br>
            <a:r>
              <a:rPr lang="en-US" sz="750">
                <a:solidFill>
                  <a:srgbClr val="0B2432">
                    <a:alpha val="99000"/>
                  </a:srgbClr>
                </a:solidFill>
                <a:latin typeface="Open Sans" panose="020B0606030504020204" pitchFamily="34" charset="0"/>
                <a:ea typeface="Open Sans" panose="020B0606030504020204" pitchFamily="34" charset="0"/>
                <a:cs typeface="Open Sans" panose="020B0606030504020204" pitchFamily="34" charset="0"/>
              </a:rPr>
              <a:t>Jobafklaringsforløb.</a:t>
            </a:r>
            <a:endParaRPr lang="en-US" sz="75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 name="Text 12">
            <a:extLst>
              <a:ext uri="{FF2B5EF4-FFF2-40B4-BE49-F238E27FC236}">
                <a16:creationId xmlns:a16="http://schemas.microsoft.com/office/drawing/2014/main" id="{814A4826-70D3-955C-0AC8-D3B56A2BEFBA}"/>
              </a:ext>
            </a:extLst>
          </p:cNvPr>
          <p:cNvSpPr/>
          <p:nvPr/>
        </p:nvSpPr>
        <p:spPr>
          <a:xfrm>
            <a:off x="3774683" y="2751708"/>
            <a:ext cx="1622232" cy="142357"/>
          </a:xfrm>
          <a:prstGeom prst="rect">
            <a:avLst/>
          </a:prstGeom>
          <a:noFill/>
          <a:ln/>
        </p:spPr>
        <p:txBody>
          <a:bodyPr wrap="square" rtlCol="0" anchor="ctr"/>
          <a:lstStyle/>
          <a:p>
            <a:pPr algn="ctr" defTabSz="685800">
              <a:lnSpc>
                <a:spcPts val="1226"/>
              </a:lnSpc>
              <a:defRPr/>
            </a:pPr>
            <a:r>
              <a:rPr lang="en-US" sz="1350" b="1">
                <a:solidFill>
                  <a:srgbClr val="0B2432">
                    <a:alpha val="99000"/>
                  </a:srgbClr>
                </a:solidFill>
                <a:latin typeface="Open Sans" pitchFamily="34" charset="0"/>
                <a:ea typeface="Open Sans" pitchFamily="34" charset="-122"/>
                <a:cs typeface="Open Sans" pitchFamily="34" charset="-120"/>
              </a:rPr>
              <a:t>Søren Borgersen</a:t>
            </a:r>
            <a:endParaRPr lang="en-US" sz="1350">
              <a:solidFill>
                <a:srgbClr val="000000"/>
              </a:solidFill>
              <a:latin typeface="Franklin Gothic Book"/>
            </a:endParaRPr>
          </a:p>
        </p:txBody>
      </p:sp>
      <p:sp>
        <p:nvSpPr>
          <p:cNvPr id="17" name="Tekstfelt 16">
            <a:extLst>
              <a:ext uri="{FF2B5EF4-FFF2-40B4-BE49-F238E27FC236}">
                <a16:creationId xmlns:a16="http://schemas.microsoft.com/office/drawing/2014/main" id="{B1C3A135-27A1-1838-FF04-CBF597A34DF7}"/>
              </a:ext>
            </a:extLst>
          </p:cNvPr>
          <p:cNvSpPr txBox="1"/>
          <p:nvPr/>
        </p:nvSpPr>
        <p:spPr>
          <a:xfrm>
            <a:off x="2286550" y="2433250"/>
            <a:ext cx="4573098" cy="300082"/>
          </a:xfrm>
          <a:prstGeom prst="rect">
            <a:avLst/>
          </a:prstGeom>
          <a:noFill/>
        </p:spPr>
        <p:txBody>
          <a:bodyPr wrap="square">
            <a:spAutoFit/>
          </a:bodyPr>
          <a:lstStyle/>
          <a:p>
            <a:pPr defTabSz="685800">
              <a:defRPr/>
            </a:pPr>
            <a:endParaRPr lang="da-DK" sz="1350">
              <a:solidFill>
                <a:srgbClr val="000000"/>
              </a:solidFill>
              <a:latin typeface="Franklin Gothic Book"/>
            </a:endParaRPr>
          </a:p>
        </p:txBody>
      </p:sp>
      <p:sp>
        <p:nvSpPr>
          <p:cNvPr id="39" name="Afrundet rektangulær billedforklaring 38">
            <a:extLst>
              <a:ext uri="{FF2B5EF4-FFF2-40B4-BE49-F238E27FC236}">
                <a16:creationId xmlns:a16="http://schemas.microsoft.com/office/drawing/2014/main" id="{933141A7-CD35-623F-2D26-7A86A00912B9}"/>
              </a:ext>
            </a:extLst>
          </p:cNvPr>
          <p:cNvSpPr/>
          <p:nvPr/>
        </p:nvSpPr>
        <p:spPr>
          <a:xfrm>
            <a:off x="5267430" y="729146"/>
            <a:ext cx="2012068" cy="1359437"/>
          </a:xfrm>
          <a:prstGeom prst="wedgeRoundRectCallout">
            <a:avLst>
              <a:gd name="adj1" fmla="val -63142"/>
              <a:gd name="adj2" fmla="val 21881"/>
              <a:gd name="adj3" fmla="val 16667"/>
            </a:avLst>
          </a:prstGeom>
          <a:solidFill>
            <a:srgbClr val="F5F1E6"/>
          </a:solidFill>
          <a:ln>
            <a:solidFill>
              <a:srgbClr val="4D7836"/>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defTabSz="685800">
              <a:defRPr/>
            </a:pPr>
            <a:endParaRPr lang="da-DK" sz="900" err="1">
              <a:solidFill>
                <a:srgbClr val="514860"/>
              </a:solidFill>
              <a:latin typeface="Franklin Gothic Book"/>
            </a:endParaRPr>
          </a:p>
        </p:txBody>
      </p:sp>
      <p:sp>
        <p:nvSpPr>
          <p:cNvPr id="40" name="Tekstfelt 39">
            <a:extLst>
              <a:ext uri="{FF2B5EF4-FFF2-40B4-BE49-F238E27FC236}">
                <a16:creationId xmlns:a16="http://schemas.microsoft.com/office/drawing/2014/main" id="{874093F4-6D75-BD72-533F-BC7C865C13D5}"/>
              </a:ext>
            </a:extLst>
          </p:cNvPr>
          <p:cNvSpPr txBox="1"/>
          <p:nvPr/>
        </p:nvSpPr>
        <p:spPr>
          <a:xfrm>
            <a:off x="5392520" y="866407"/>
            <a:ext cx="1978946" cy="1107996"/>
          </a:xfrm>
          <a:prstGeom prst="rect">
            <a:avLst/>
          </a:prstGeom>
          <a:noFill/>
        </p:spPr>
        <p:txBody>
          <a:bodyPr wrap="square">
            <a:spAutoFit/>
          </a:bodyPr>
          <a:lstStyle/>
          <a:p>
            <a:pPr defTabSz="685800">
              <a:defRPr/>
            </a:pP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Jeg er i et jobafklaringsforløb og </a:t>
            </a:r>
            <a:b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går til samtaler med mit jobcenter </a:t>
            </a:r>
            <a:b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i ny og næ. </a:t>
            </a:r>
            <a:b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br>
            <a:b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Fordi jeg har nogle helbreds-udfordringer, kan jeg ikke arbejde </a:t>
            </a:r>
            <a:b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og modtager økonomisk støtte fra det offentlige.</a:t>
            </a:r>
          </a:p>
        </p:txBody>
      </p:sp>
      <p:grpSp>
        <p:nvGrpSpPr>
          <p:cNvPr id="9" name="Gruppe 8">
            <a:extLst>
              <a:ext uri="{FF2B5EF4-FFF2-40B4-BE49-F238E27FC236}">
                <a16:creationId xmlns:a16="http://schemas.microsoft.com/office/drawing/2014/main" id="{6B956651-5DDE-F6A1-5202-5133BDDB8491}"/>
              </a:ext>
            </a:extLst>
          </p:cNvPr>
          <p:cNvGrpSpPr/>
          <p:nvPr/>
        </p:nvGrpSpPr>
        <p:grpSpPr>
          <a:xfrm>
            <a:off x="2270085" y="3718705"/>
            <a:ext cx="4603831" cy="695988"/>
            <a:chOff x="3048733" y="5085533"/>
            <a:chExt cx="6138441" cy="927984"/>
          </a:xfrm>
        </p:grpSpPr>
        <p:sp>
          <p:nvSpPr>
            <p:cNvPr id="53" name="Shape 2">
              <a:extLst>
                <a:ext uri="{FF2B5EF4-FFF2-40B4-BE49-F238E27FC236}">
                  <a16:creationId xmlns:a16="http://schemas.microsoft.com/office/drawing/2014/main" id="{99D2A103-7621-E7B8-7A7D-EEFD52B13A9F}"/>
                </a:ext>
              </a:extLst>
            </p:cNvPr>
            <p:cNvSpPr/>
            <p:nvPr/>
          </p:nvSpPr>
          <p:spPr>
            <a:xfrm rot="1306">
              <a:off x="4166631" y="5339207"/>
              <a:ext cx="3911218" cy="0"/>
            </a:xfrm>
            <a:prstGeom prst="line">
              <a:avLst/>
            </a:prstGeom>
            <a:noFill/>
            <a:ln w="12700">
              <a:solidFill>
                <a:srgbClr val="44831E"/>
              </a:solidFill>
              <a:prstDash val="solid"/>
            </a:ln>
          </p:spPr>
          <p:txBody>
            <a:bodyPr/>
            <a:lstStyle/>
            <a:p>
              <a:pPr defTabSz="685800">
                <a:defRPr/>
              </a:pPr>
              <a:endParaRPr lang="da-DK">
                <a:solidFill>
                  <a:srgbClr val="000000"/>
                </a:solidFill>
                <a:latin typeface="Franklin Gothic Book"/>
              </a:endParaRPr>
            </a:p>
          </p:txBody>
        </p:sp>
        <p:sp>
          <p:nvSpPr>
            <p:cNvPr id="41" name="Shape 3">
              <a:extLst>
                <a:ext uri="{FF2B5EF4-FFF2-40B4-BE49-F238E27FC236}">
                  <a16:creationId xmlns:a16="http://schemas.microsoft.com/office/drawing/2014/main" id="{652B6A74-BA8C-08D8-484F-967B87396677}"/>
                </a:ext>
              </a:extLst>
            </p:cNvPr>
            <p:cNvSpPr/>
            <p:nvPr/>
          </p:nvSpPr>
          <p:spPr>
            <a:xfrm>
              <a:off x="3994188" y="5085533"/>
              <a:ext cx="444500" cy="444500"/>
            </a:xfrm>
            <a:prstGeom prst="ellipse">
              <a:avLst/>
            </a:prstGeom>
            <a:solidFill>
              <a:srgbClr val="FFFFFF"/>
            </a:solidFill>
            <a:ln w="12700">
              <a:solidFill>
                <a:srgbClr val="44831E"/>
              </a:solidFill>
              <a:prstDash val="solid"/>
            </a:ln>
          </p:spPr>
          <p:txBody>
            <a:bodyPr/>
            <a:lstStyle/>
            <a:p>
              <a:pPr defTabSz="685800">
                <a:defRPr/>
              </a:pPr>
              <a:endParaRPr lang="da-DK">
                <a:solidFill>
                  <a:srgbClr val="000000"/>
                </a:solidFill>
                <a:latin typeface="Franklin Gothic Book"/>
              </a:endParaRPr>
            </a:p>
          </p:txBody>
        </p:sp>
        <p:sp>
          <p:nvSpPr>
            <p:cNvPr id="43" name="Shape 5">
              <a:extLst>
                <a:ext uri="{FF2B5EF4-FFF2-40B4-BE49-F238E27FC236}">
                  <a16:creationId xmlns:a16="http://schemas.microsoft.com/office/drawing/2014/main" id="{31A1938A-C3F6-65A3-1483-66AAE9D97239}"/>
                </a:ext>
              </a:extLst>
            </p:cNvPr>
            <p:cNvSpPr/>
            <p:nvPr/>
          </p:nvSpPr>
          <p:spPr>
            <a:xfrm>
              <a:off x="7792905" y="5088181"/>
              <a:ext cx="432916" cy="432916"/>
            </a:xfrm>
            <a:prstGeom prst="ellipse">
              <a:avLst/>
            </a:prstGeom>
            <a:solidFill>
              <a:srgbClr val="FFFFFF"/>
            </a:solidFill>
            <a:ln w="12700">
              <a:solidFill>
                <a:srgbClr val="44831E"/>
              </a:solidFill>
              <a:prstDash val="solid"/>
            </a:ln>
          </p:spPr>
          <p:txBody>
            <a:bodyPr/>
            <a:lstStyle/>
            <a:p>
              <a:pPr defTabSz="685800">
                <a:defRPr/>
              </a:pPr>
              <a:endParaRPr lang="da-DK">
                <a:solidFill>
                  <a:srgbClr val="000000"/>
                </a:solidFill>
                <a:latin typeface="Franklin Gothic Book"/>
              </a:endParaRPr>
            </a:p>
          </p:txBody>
        </p:sp>
        <p:sp>
          <p:nvSpPr>
            <p:cNvPr id="50" name="Text 13">
              <a:extLst>
                <a:ext uri="{FF2B5EF4-FFF2-40B4-BE49-F238E27FC236}">
                  <a16:creationId xmlns:a16="http://schemas.microsoft.com/office/drawing/2014/main" id="{992CE07E-FA81-4A1A-CF1D-477AE0F1E1E7}"/>
                </a:ext>
              </a:extLst>
            </p:cNvPr>
            <p:cNvSpPr/>
            <p:nvPr/>
          </p:nvSpPr>
          <p:spPr>
            <a:xfrm>
              <a:off x="3048733" y="5649757"/>
              <a:ext cx="2436751" cy="363760"/>
            </a:xfrm>
            <a:prstGeom prst="rect">
              <a:avLst/>
            </a:prstGeom>
            <a:noFill/>
            <a:ln/>
          </p:spPr>
          <p:txBody>
            <a:bodyPr wrap="square" rtlCol="0" anchor="ctr"/>
            <a:lstStyle/>
            <a:p>
              <a:pPr algn="ctr" defTabSz="685800">
                <a:defRPr/>
              </a:pP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Søren ser, hvornår og hvor </a:t>
              </a:r>
              <a:b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mange penge han får udbetalt</a:t>
              </a:r>
            </a:p>
          </p:txBody>
        </p:sp>
        <p:sp>
          <p:nvSpPr>
            <p:cNvPr id="52" name="Text 15">
              <a:extLst>
                <a:ext uri="{FF2B5EF4-FFF2-40B4-BE49-F238E27FC236}">
                  <a16:creationId xmlns:a16="http://schemas.microsoft.com/office/drawing/2014/main" id="{3845CC13-DF30-C6D5-D5C6-2C9FC29EFD6B}"/>
                </a:ext>
              </a:extLst>
            </p:cNvPr>
            <p:cNvSpPr/>
            <p:nvPr/>
          </p:nvSpPr>
          <p:spPr>
            <a:xfrm>
              <a:off x="6879551" y="5649757"/>
              <a:ext cx="2307623" cy="363760"/>
            </a:xfrm>
            <a:prstGeom prst="rect">
              <a:avLst/>
            </a:prstGeom>
            <a:noFill/>
            <a:ln/>
          </p:spPr>
          <p:txBody>
            <a:bodyPr wrap="square" rtlCol="0" anchor="ctr"/>
            <a:lstStyle/>
            <a:p>
              <a:pPr algn="ctr" defTabSz="685800">
                <a:defRPr/>
              </a:pP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Søren kan få overblik over </a:t>
              </a:r>
              <a:b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sine aftaler med jobcentret</a:t>
              </a:r>
            </a:p>
          </p:txBody>
        </p:sp>
      </p:grpSp>
      <p:pic>
        <p:nvPicPr>
          <p:cNvPr id="7" name="Billede 6">
            <a:extLst>
              <a:ext uri="{FF2B5EF4-FFF2-40B4-BE49-F238E27FC236}">
                <a16:creationId xmlns:a16="http://schemas.microsoft.com/office/drawing/2014/main" id="{AC9347AC-32EF-B4B7-415E-4B7CE81F9F7B}"/>
              </a:ext>
            </a:extLst>
          </p:cNvPr>
          <p:cNvPicPr>
            <a:picLocks noChangeAspect="1"/>
          </p:cNvPicPr>
          <p:nvPr/>
        </p:nvPicPr>
        <p:blipFill>
          <a:blip r:embed="rId3"/>
          <a:stretch>
            <a:fillRect/>
          </a:stretch>
        </p:blipFill>
        <p:spPr>
          <a:xfrm>
            <a:off x="4081948" y="1416162"/>
            <a:ext cx="1285499" cy="1206147"/>
          </a:xfrm>
          <a:prstGeom prst="rect">
            <a:avLst/>
          </a:prstGeom>
        </p:spPr>
      </p:pic>
      <p:pic>
        <p:nvPicPr>
          <p:cNvPr id="11" name="Billede 10">
            <a:extLst>
              <a:ext uri="{FF2B5EF4-FFF2-40B4-BE49-F238E27FC236}">
                <a16:creationId xmlns:a16="http://schemas.microsoft.com/office/drawing/2014/main" id="{837835AE-614A-1BD1-ACEB-E9C6C3F77802}"/>
              </a:ext>
            </a:extLst>
          </p:cNvPr>
          <p:cNvPicPr>
            <a:picLocks noChangeAspect="1"/>
          </p:cNvPicPr>
          <p:nvPr/>
        </p:nvPicPr>
        <p:blipFill>
          <a:blip r:embed="rId4"/>
          <a:stretch>
            <a:fillRect/>
          </a:stretch>
        </p:blipFill>
        <p:spPr>
          <a:xfrm>
            <a:off x="3068742" y="3815445"/>
            <a:ext cx="154244" cy="132821"/>
          </a:xfrm>
          <a:prstGeom prst="rect">
            <a:avLst/>
          </a:prstGeom>
        </p:spPr>
      </p:pic>
      <p:pic>
        <p:nvPicPr>
          <p:cNvPr id="12" name="Billede 11">
            <a:extLst>
              <a:ext uri="{FF2B5EF4-FFF2-40B4-BE49-F238E27FC236}">
                <a16:creationId xmlns:a16="http://schemas.microsoft.com/office/drawing/2014/main" id="{7A4D685A-18C7-614D-C861-32EF54D90636}"/>
              </a:ext>
            </a:extLst>
          </p:cNvPr>
          <p:cNvPicPr>
            <a:picLocks noChangeAspect="1"/>
          </p:cNvPicPr>
          <p:nvPr/>
        </p:nvPicPr>
        <p:blipFill>
          <a:blip r:embed="rId5"/>
          <a:stretch>
            <a:fillRect/>
          </a:stretch>
        </p:blipFill>
        <p:spPr>
          <a:xfrm>
            <a:off x="5886812" y="3779289"/>
            <a:ext cx="207491" cy="207491"/>
          </a:xfrm>
          <a:prstGeom prst="rect">
            <a:avLst/>
          </a:prstGeom>
        </p:spPr>
      </p:pic>
      <p:pic>
        <p:nvPicPr>
          <p:cNvPr id="4" name="Image 0" descr="preencoded.png">
            <a:extLst>
              <a:ext uri="{FF2B5EF4-FFF2-40B4-BE49-F238E27FC236}">
                <a16:creationId xmlns:a16="http://schemas.microsoft.com/office/drawing/2014/main" id="{608958BD-E4B5-BCA2-3BEE-EFDBBABD1F17}"/>
              </a:ext>
            </a:extLst>
          </p:cNvPr>
          <p:cNvPicPr>
            <a:picLocks noChangeAspect="1"/>
          </p:cNvPicPr>
          <p:nvPr/>
        </p:nvPicPr>
        <p:blipFill>
          <a:blip r:embed="rId6"/>
          <a:stretch>
            <a:fillRect/>
          </a:stretch>
        </p:blipFill>
        <p:spPr>
          <a:xfrm>
            <a:off x="291762" y="4661698"/>
            <a:ext cx="1911307" cy="273044"/>
          </a:xfrm>
          <a:prstGeom prst="rect">
            <a:avLst/>
          </a:prstGeom>
        </p:spPr>
      </p:pic>
      <p:sp>
        <p:nvSpPr>
          <p:cNvPr id="5" name="Tekstfelt 4">
            <a:extLst>
              <a:ext uri="{FF2B5EF4-FFF2-40B4-BE49-F238E27FC236}">
                <a16:creationId xmlns:a16="http://schemas.microsoft.com/office/drawing/2014/main" id="{1AE1FEA8-88FF-6A07-3843-3D67938E8B31}"/>
              </a:ext>
            </a:extLst>
          </p:cNvPr>
          <p:cNvSpPr txBox="1"/>
          <p:nvPr/>
        </p:nvSpPr>
        <p:spPr>
          <a:xfrm>
            <a:off x="358486" y="426029"/>
            <a:ext cx="4016087" cy="623248"/>
          </a:xfrm>
          <a:prstGeom prst="rect">
            <a:avLst/>
          </a:prstGeom>
          <a:noFill/>
        </p:spPr>
        <p:txBody>
          <a:bodyPr wrap="square" lIns="0" tIns="0" rIns="0" bIns="0" rtlCol="0">
            <a:spAutoFit/>
          </a:bodyPr>
          <a:lstStyle/>
          <a:p>
            <a:pPr defTabSz="685800">
              <a:defRPr/>
            </a:pPr>
            <a:r>
              <a:rPr lang="da-DK" sz="1350">
                <a:solidFill>
                  <a:srgbClr val="212121"/>
                </a:solidFill>
                <a:latin typeface="Open Sans" panose="020B0606030504020204" pitchFamily="34" charset="0"/>
                <a:ea typeface="Open Sans" panose="020B0606030504020204" pitchFamily="34" charset="0"/>
                <a:cs typeface="Open Sans" panose="020B0606030504020204" pitchFamily="34" charset="0"/>
              </a:rPr>
              <a:t>Case 2</a:t>
            </a:r>
            <a:br>
              <a:rPr lang="da-DK" sz="1350">
                <a:solidFill>
                  <a:srgbClr val="4D7836"/>
                </a:solidFill>
                <a:latin typeface="Open Sans" panose="020B0606030504020204" pitchFamily="34" charset="0"/>
                <a:ea typeface="Open Sans" panose="020B0606030504020204" pitchFamily="34" charset="0"/>
                <a:cs typeface="Open Sans" panose="020B0606030504020204" pitchFamily="34" charset="0"/>
              </a:rPr>
            </a:br>
            <a:r>
              <a:rPr lang="da-DK" sz="1350" b="1">
                <a:solidFill>
                  <a:srgbClr val="4D7836"/>
                </a:solidFill>
                <a:latin typeface="Open Sans" panose="020B0606030504020204" pitchFamily="34" charset="0"/>
                <a:ea typeface="Open Sans" panose="020B0606030504020204" pitchFamily="34" charset="0"/>
                <a:cs typeface="Open Sans" panose="020B0606030504020204" pitchFamily="34" charset="0"/>
              </a:rPr>
              <a:t>Jobcenteraftaler og </a:t>
            </a:r>
            <a:br>
              <a:rPr lang="da-DK" sz="1350" b="1">
                <a:solidFill>
                  <a:srgbClr val="4D7836"/>
                </a:solidFill>
                <a:latin typeface="Open Sans" panose="020B0606030504020204" pitchFamily="34" charset="0"/>
                <a:ea typeface="Open Sans" panose="020B0606030504020204" pitchFamily="34" charset="0"/>
                <a:cs typeface="Open Sans" panose="020B0606030504020204" pitchFamily="34" charset="0"/>
              </a:rPr>
            </a:br>
            <a:r>
              <a:rPr lang="da-DK" sz="1350" b="1">
                <a:solidFill>
                  <a:srgbClr val="4D7836"/>
                </a:solidFill>
                <a:latin typeface="Open Sans" panose="020B0606030504020204" pitchFamily="34" charset="0"/>
                <a:ea typeface="Open Sans" panose="020B0606030504020204" pitchFamily="34" charset="0"/>
                <a:cs typeface="Open Sans" panose="020B0606030504020204" pitchFamily="34" charset="0"/>
              </a:rPr>
              <a:t>økonomiske ydelser</a:t>
            </a:r>
          </a:p>
        </p:txBody>
      </p:sp>
    </p:spTree>
    <p:extLst>
      <p:ext uri="{BB962C8B-B14F-4D97-AF65-F5344CB8AC3E}">
        <p14:creationId xmlns:p14="http://schemas.microsoft.com/office/powerpoint/2010/main" val="845687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CEA681-DE89-B5E6-C8EF-954B3CCDA252}"/>
            </a:ext>
          </a:extLst>
        </p:cNvPr>
        <p:cNvGrpSpPr/>
        <p:nvPr/>
      </p:nvGrpSpPr>
      <p:grpSpPr>
        <a:xfrm>
          <a:off x="0" y="0"/>
          <a:ext cx="0" cy="0"/>
          <a:chOff x="0" y="0"/>
          <a:chExt cx="0" cy="0"/>
        </a:xfrm>
      </p:grpSpPr>
      <p:sp>
        <p:nvSpPr>
          <p:cNvPr id="15" name="Ellipse 14">
            <a:extLst>
              <a:ext uri="{FF2B5EF4-FFF2-40B4-BE49-F238E27FC236}">
                <a16:creationId xmlns:a16="http://schemas.microsoft.com/office/drawing/2014/main" id="{CAC66609-9A75-D357-0170-37AD0710D856}"/>
              </a:ext>
            </a:extLst>
          </p:cNvPr>
          <p:cNvSpPr/>
          <p:nvPr/>
        </p:nvSpPr>
        <p:spPr>
          <a:xfrm>
            <a:off x="495184" y="164605"/>
            <a:ext cx="452843" cy="452843"/>
          </a:xfrm>
          <a:prstGeom prst="ellipse">
            <a:avLst/>
          </a:prstGeom>
          <a:solidFill>
            <a:srgbClr val="44831E"/>
          </a:solidFill>
          <a:ln>
            <a:solidFill>
              <a:srgbClr val="44831E"/>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defRPr/>
            </a:pPr>
            <a:endParaRPr lang="da-DK" sz="1200" err="1">
              <a:solidFill>
                <a:srgbClr val="FFFFFF"/>
              </a:solidFill>
              <a:latin typeface="Franklin Gothic Book"/>
            </a:endParaRPr>
          </a:p>
        </p:txBody>
      </p:sp>
      <p:sp>
        <p:nvSpPr>
          <p:cNvPr id="4" name="Shape 2">
            <a:extLst>
              <a:ext uri="{FF2B5EF4-FFF2-40B4-BE49-F238E27FC236}">
                <a16:creationId xmlns:a16="http://schemas.microsoft.com/office/drawing/2014/main" id="{1404A1A2-BCBD-7C53-D046-84027BDE3581}"/>
              </a:ext>
            </a:extLst>
          </p:cNvPr>
          <p:cNvSpPr/>
          <p:nvPr/>
        </p:nvSpPr>
        <p:spPr>
          <a:xfrm>
            <a:off x="259620" y="2965627"/>
            <a:ext cx="2953843" cy="1586771"/>
          </a:xfrm>
          <a:prstGeom prst="roundRect">
            <a:avLst/>
          </a:prstGeom>
          <a:noFill/>
          <a:ln w="12700">
            <a:solidFill>
              <a:srgbClr val="44831E"/>
            </a:solidFill>
            <a:prstDash val="solid"/>
          </a:ln>
        </p:spPr>
        <p:txBody>
          <a:bodyPr/>
          <a:lstStyle/>
          <a:p>
            <a:pPr defTabSz="685800">
              <a:defRPr/>
            </a:pPr>
            <a:endParaRPr lang="da-DK">
              <a:solidFill>
                <a:srgbClr val="000000"/>
              </a:solidFill>
              <a:latin typeface="Franklin Gothic Book"/>
            </a:endParaRPr>
          </a:p>
        </p:txBody>
      </p:sp>
      <p:pic>
        <p:nvPicPr>
          <p:cNvPr id="5" name="Image 0" descr="preencoded.png">
            <a:extLst>
              <a:ext uri="{FF2B5EF4-FFF2-40B4-BE49-F238E27FC236}">
                <a16:creationId xmlns:a16="http://schemas.microsoft.com/office/drawing/2014/main" id="{26C4646F-FCA1-0B01-E0FA-D85EF011C287}"/>
              </a:ext>
            </a:extLst>
          </p:cNvPr>
          <p:cNvPicPr>
            <a:picLocks noChangeAspect="1"/>
          </p:cNvPicPr>
          <p:nvPr/>
        </p:nvPicPr>
        <p:blipFill>
          <a:blip r:embed="rId3"/>
          <a:stretch>
            <a:fillRect/>
          </a:stretch>
        </p:blipFill>
        <p:spPr>
          <a:xfrm>
            <a:off x="291762" y="4661698"/>
            <a:ext cx="1911307" cy="273044"/>
          </a:xfrm>
          <a:prstGeom prst="rect">
            <a:avLst/>
          </a:prstGeom>
        </p:spPr>
      </p:pic>
      <p:sp>
        <p:nvSpPr>
          <p:cNvPr id="6" name="Tekstfelt 5">
            <a:extLst>
              <a:ext uri="{FF2B5EF4-FFF2-40B4-BE49-F238E27FC236}">
                <a16:creationId xmlns:a16="http://schemas.microsoft.com/office/drawing/2014/main" id="{537DB408-D884-BB42-C246-469B6749AA14}"/>
              </a:ext>
            </a:extLst>
          </p:cNvPr>
          <p:cNvSpPr txBox="1"/>
          <p:nvPr/>
        </p:nvSpPr>
        <p:spPr>
          <a:xfrm>
            <a:off x="381225" y="3134009"/>
            <a:ext cx="2878669" cy="1338828"/>
          </a:xfrm>
          <a:prstGeom prst="rect">
            <a:avLst/>
          </a:prstGeom>
          <a:noFill/>
        </p:spPr>
        <p:txBody>
          <a:bodyPr wrap="square">
            <a:spAutoFit/>
          </a:bodyPr>
          <a:lstStyle/>
          <a:p>
            <a:pPr defTabSz="685800">
              <a:defRPr/>
            </a:pPr>
            <a: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t>Søren har åbnet “Økonomiske ydelser” på Mit Overblik og åbnet en af sine ydelser. Her kan han se, hvornår den bliver udbetalt, og hvor mange penge han modtager.</a:t>
            </a:r>
            <a:b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br>
            <a:b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t>Han har lige fået tilbudt en ny bolig af kommunen. Han bruger overblikket over ydelser til at se, om de ydelser, han har modtaget indtil nu, kan dække huslejen i den nye bolig.</a:t>
            </a:r>
          </a:p>
        </p:txBody>
      </p:sp>
      <p:sp>
        <p:nvSpPr>
          <p:cNvPr id="3" name="Shape 0">
            <a:extLst>
              <a:ext uri="{FF2B5EF4-FFF2-40B4-BE49-F238E27FC236}">
                <a16:creationId xmlns:a16="http://schemas.microsoft.com/office/drawing/2014/main" id="{A61C83B2-76B2-99B3-5248-5EBD4E31710E}"/>
              </a:ext>
            </a:extLst>
          </p:cNvPr>
          <p:cNvSpPr/>
          <p:nvPr/>
        </p:nvSpPr>
        <p:spPr>
          <a:xfrm flipV="1">
            <a:off x="549934" y="392803"/>
            <a:ext cx="8594066" cy="0"/>
          </a:xfrm>
          <a:prstGeom prst="line">
            <a:avLst/>
          </a:prstGeom>
          <a:noFill/>
          <a:ln w="12700">
            <a:solidFill>
              <a:srgbClr val="44831E"/>
            </a:solidFill>
            <a:prstDash val="solid"/>
          </a:ln>
        </p:spPr>
        <p:txBody>
          <a:bodyPr/>
          <a:lstStyle/>
          <a:p>
            <a:pPr defTabSz="685800">
              <a:defRPr/>
            </a:pPr>
            <a:endParaRPr lang="da-DK">
              <a:solidFill>
                <a:srgbClr val="000000"/>
              </a:solidFill>
              <a:latin typeface="Franklin Gothic Book"/>
            </a:endParaRPr>
          </a:p>
        </p:txBody>
      </p:sp>
      <p:pic>
        <p:nvPicPr>
          <p:cNvPr id="12" name="Billede 11">
            <a:extLst>
              <a:ext uri="{FF2B5EF4-FFF2-40B4-BE49-F238E27FC236}">
                <a16:creationId xmlns:a16="http://schemas.microsoft.com/office/drawing/2014/main" id="{C6F33753-943F-6D1E-4496-7C1253C19F3A}"/>
              </a:ext>
            </a:extLst>
          </p:cNvPr>
          <p:cNvPicPr>
            <a:picLocks noChangeAspect="1"/>
          </p:cNvPicPr>
          <p:nvPr/>
        </p:nvPicPr>
        <p:blipFill>
          <a:blip r:embed="rId4"/>
          <a:stretch>
            <a:fillRect/>
          </a:stretch>
        </p:blipFill>
        <p:spPr>
          <a:xfrm>
            <a:off x="517553" y="197542"/>
            <a:ext cx="390522" cy="390522"/>
          </a:xfrm>
          <a:prstGeom prst="rect">
            <a:avLst/>
          </a:prstGeom>
        </p:spPr>
      </p:pic>
      <p:sp>
        <p:nvSpPr>
          <p:cNvPr id="13" name="Text 3">
            <a:extLst>
              <a:ext uri="{FF2B5EF4-FFF2-40B4-BE49-F238E27FC236}">
                <a16:creationId xmlns:a16="http://schemas.microsoft.com/office/drawing/2014/main" id="{8AA12310-178B-35D3-0A95-90620E7D7420}"/>
              </a:ext>
            </a:extLst>
          </p:cNvPr>
          <p:cNvSpPr/>
          <p:nvPr/>
        </p:nvSpPr>
        <p:spPr>
          <a:xfrm>
            <a:off x="-178832" y="638645"/>
            <a:ext cx="1818327" cy="462798"/>
          </a:xfrm>
          <a:prstGeom prst="rect">
            <a:avLst/>
          </a:prstGeom>
          <a:noFill/>
          <a:ln/>
        </p:spPr>
        <p:txBody>
          <a:bodyPr wrap="square" rtlCol="0" anchor="ctr"/>
          <a:lstStyle/>
          <a:p>
            <a:pPr algn="ctr" defTabSz="685800">
              <a:defRPr/>
            </a:pP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Søren ser, hvornår</a:t>
            </a:r>
            <a:b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og hvor mange penge</a:t>
            </a:r>
            <a:b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han får udbetalt</a:t>
            </a:r>
          </a:p>
        </p:txBody>
      </p:sp>
      <p:pic>
        <p:nvPicPr>
          <p:cNvPr id="16" name="Billede 15">
            <a:extLst>
              <a:ext uri="{FF2B5EF4-FFF2-40B4-BE49-F238E27FC236}">
                <a16:creationId xmlns:a16="http://schemas.microsoft.com/office/drawing/2014/main" id="{DAAEE59E-A684-24F9-F725-087618C13C10}"/>
              </a:ext>
            </a:extLst>
          </p:cNvPr>
          <p:cNvPicPr>
            <a:picLocks noChangeAspect="1"/>
          </p:cNvPicPr>
          <p:nvPr/>
        </p:nvPicPr>
        <p:blipFill>
          <a:blip r:embed="rId5"/>
          <a:stretch>
            <a:fillRect/>
          </a:stretch>
        </p:blipFill>
        <p:spPr>
          <a:xfrm>
            <a:off x="291762" y="1316170"/>
            <a:ext cx="2710685" cy="1733648"/>
          </a:xfrm>
          <a:prstGeom prst="rect">
            <a:avLst/>
          </a:prstGeom>
        </p:spPr>
      </p:pic>
      <p:pic>
        <p:nvPicPr>
          <p:cNvPr id="9" name="Billede 8">
            <a:extLst>
              <a:ext uri="{FF2B5EF4-FFF2-40B4-BE49-F238E27FC236}">
                <a16:creationId xmlns:a16="http://schemas.microsoft.com/office/drawing/2014/main" id="{D22B2960-9E79-7F98-CE6D-6E08057310D5}"/>
              </a:ext>
            </a:extLst>
          </p:cNvPr>
          <p:cNvPicPr>
            <a:picLocks noChangeAspect="1"/>
          </p:cNvPicPr>
          <p:nvPr/>
        </p:nvPicPr>
        <p:blipFill>
          <a:blip r:embed="rId6"/>
          <a:stretch>
            <a:fillRect/>
          </a:stretch>
        </p:blipFill>
        <p:spPr>
          <a:xfrm>
            <a:off x="3335068" y="485080"/>
            <a:ext cx="5651324" cy="4351821"/>
          </a:xfrm>
          <a:prstGeom prst="rect">
            <a:avLst/>
          </a:prstGeom>
        </p:spPr>
      </p:pic>
    </p:spTree>
    <p:extLst>
      <p:ext uri="{BB962C8B-B14F-4D97-AF65-F5344CB8AC3E}">
        <p14:creationId xmlns:p14="http://schemas.microsoft.com/office/powerpoint/2010/main" val="19736331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C9B604-AA67-064B-97A3-A6F37247B90F}"/>
            </a:ext>
          </a:extLst>
        </p:cNvPr>
        <p:cNvGrpSpPr/>
        <p:nvPr/>
      </p:nvGrpSpPr>
      <p:grpSpPr>
        <a:xfrm>
          <a:off x="0" y="0"/>
          <a:ext cx="0" cy="0"/>
          <a:chOff x="0" y="0"/>
          <a:chExt cx="0" cy="0"/>
        </a:xfrm>
      </p:grpSpPr>
      <p:sp>
        <p:nvSpPr>
          <p:cNvPr id="21" name="Ellipse 20">
            <a:extLst>
              <a:ext uri="{FF2B5EF4-FFF2-40B4-BE49-F238E27FC236}">
                <a16:creationId xmlns:a16="http://schemas.microsoft.com/office/drawing/2014/main" id="{8F3B2AB9-4290-22D0-55B9-28FFA35CBC64}"/>
              </a:ext>
            </a:extLst>
          </p:cNvPr>
          <p:cNvSpPr/>
          <p:nvPr/>
        </p:nvSpPr>
        <p:spPr>
          <a:xfrm>
            <a:off x="495184" y="164605"/>
            <a:ext cx="452843" cy="452843"/>
          </a:xfrm>
          <a:prstGeom prst="ellipse">
            <a:avLst/>
          </a:prstGeom>
          <a:solidFill>
            <a:srgbClr val="44831E"/>
          </a:solidFill>
          <a:ln>
            <a:solidFill>
              <a:srgbClr val="44831E"/>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defRPr/>
            </a:pPr>
            <a:endParaRPr lang="da-DK" sz="1200" err="1">
              <a:solidFill>
                <a:srgbClr val="FFFFFF"/>
              </a:solidFill>
              <a:latin typeface="Franklin Gothic Book"/>
            </a:endParaRPr>
          </a:p>
        </p:txBody>
      </p:sp>
      <p:sp>
        <p:nvSpPr>
          <p:cNvPr id="4" name="Shape 2">
            <a:extLst>
              <a:ext uri="{FF2B5EF4-FFF2-40B4-BE49-F238E27FC236}">
                <a16:creationId xmlns:a16="http://schemas.microsoft.com/office/drawing/2014/main" id="{BE024DDB-BAC0-E794-4FCD-519218C0D99F}"/>
              </a:ext>
            </a:extLst>
          </p:cNvPr>
          <p:cNvSpPr/>
          <p:nvPr/>
        </p:nvSpPr>
        <p:spPr>
          <a:xfrm>
            <a:off x="259621" y="3289066"/>
            <a:ext cx="2969716" cy="964631"/>
          </a:xfrm>
          <a:prstGeom prst="roundRect">
            <a:avLst/>
          </a:prstGeom>
          <a:noFill/>
          <a:ln w="12700">
            <a:solidFill>
              <a:srgbClr val="44831E"/>
            </a:solidFill>
            <a:prstDash val="solid"/>
          </a:ln>
        </p:spPr>
        <p:txBody>
          <a:bodyPr/>
          <a:lstStyle/>
          <a:p>
            <a:pPr defTabSz="685800">
              <a:defRPr/>
            </a:pPr>
            <a:endParaRPr lang="da-DK">
              <a:solidFill>
                <a:srgbClr val="000000"/>
              </a:solidFill>
              <a:latin typeface="Franklin Gothic Book"/>
            </a:endParaRPr>
          </a:p>
        </p:txBody>
      </p:sp>
      <p:pic>
        <p:nvPicPr>
          <p:cNvPr id="5" name="Image 0" descr="preencoded.png">
            <a:extLst>
              <a:ext uri="{FF2B5EF4-FFF2-40B4-BE49-F238E27FC236}">
                <a16:creationId xmlns:a16="http://schemas.microsoft.com/office/drawing/2014/main" id="{AE97BF84-ADC5-674A-F240-F44E577EEAC8}"/>
              </a:ext>
            </a:extLst>
          </p:cNvPr>
          <p:cNvPicPr>
            <a:picLocks noChangeAspect="1"/>
          </p:cNvPicPr>
          <p:nvPr/>
        </p:nvPicPr>
        <p:blipFill>
          <a:blip r:embed="rId3"/>
          <a:stretch>
            <a:fillRect/>
          </a:stretch>
        </p:blipFill>
        <p:spPr>
          <a:xfrm>
            <a:off x="291762" y="4661698"/>
            <a:ext cx="1911307" cy="273044"/>
          </a:xfrm>
          <a:prstGeom prst="rect">
            <a:avLst/>
          </a:prstGeom>
        </p:spPr>
      </p:pic>
      <p:sp>
        <p:nvSpPr>
          <p:cNvPr id="6" name="Tekstfelt 5">
            <a:extLst>
              <a:ext uri="{FF2B5EF4-FFF2-40B4-BE49-F238E27FC236}">
                <a16:creationId xmlns:a16="http://schemas.microsoft.com/office/drawing/2014/main" id="{7ECD5D30-1910-5F35-65EE-91EAF4F913D3}"/>
              </a:ext>
            </a:extLst>
          </p:cNvPr>
          <p:cNvSpPr txBox="1"/>
          <p:nvPr/>
        </p:nvSpPr>
        <p:spPr>
          <a:xfrm>
            <a:off x="366069" y="3491971"/>
            <a:ext cx="2501206" cy="646331"/>
          </a:xfrm>
          <a:prstGeom prst="rect">
            <a:avLst/>
          </a:prstGeom>
          <a:noFill/>
        </p:spPr>
        <p:txBody>
          <a:bodyPr wrap="square">
            <a:spAutoFit/>
          </a:bodyPr>
          <a:lstStyle/>
          <a:p>
            <a:pPr defTabSz="685800">
              <a:defRPr/>
            </a:pPr>
            <a:r>
              <a:rPr lang="da-DK" sz="900">
                <a:solidFill>
                  <a:srgbClr val="212121"/>
                </a:solidFill>
                <a:latin typeface="Open Sans" panose="020B0606030504020204" pitchFamily="34" charset="0"/>
                <a:ea typeface="Open Sans" panose="020B0606030504020204" pitchFamily="34" charset="0"/>
                <a:cs typeface="Open Sans" panose="020B0606030504020204" pitchFamily="34" charset="0"/>
              </a:rPr>
              <a:t>Søren har åbnet “Aftaler og frister” på Mit Overblik. Her kan han se information om sin aftale og fx finde tidspunkt, beskrivelse og link til online møde.</a:t>
            </a:r>
          </a:p>
        </p:txBody>
      </p:sp>
      <p:sp>
        <p:nvSpPr>
          <p:cNvPr id="17" name="Shape 0">
            <a:extLst>
              <a:ext uri="{FF2B5EF4-FFF2-40B4-BE49-F238E27FC236}">
                <a16:creationId xmlns:a16="http://schemas.microsoft.com/office/drawing/2014/main" id="{7EDFB939-A21C-81BC-19BE-86F8F7635EAF}"/>
              </a:ext>
            </a:extLst>
          </p:cNvPr>
          <p:cNvSpPr/>
          <p:nvPr/>
        </p:nvSpPr>
        <p:spPr>
          <a:xfrm flipV="1">
            <a:off x="0" y="392803"/>
            <a:ext cx="732138" cy="0"/>
          </a:xfrm>
          <a:prstGeom prst="line">
            <a:avLst/>
          </a:prstGeom>
          <a:noFill/>
          <a:ln w="12700">
            <a:solidFill>
              <a:srgbClr val="44831E"/>
            </a:solidFill>
            <a:prstDash val="solid"/>
          </a:ln>
        </p:spPr>
        <p:txBody>
          <a:bodyPr/>
          <a:lstStyle/>
          <a:p>
            <a:pPr defTabSz="685800">
              <a:defRPr/>
            </a:pPr>
            <a:endParaRPr lang="da-DK">
              <a:solidFill>
                <a:srgbClr val="000000"/>
              </a:solidFill>
              <a:latin typeface="Franklin Gothic Book"/>
            </a:endParaRPr>
          </a:p>
        </p:txBody>
      </p:sp>
      <p:pic>
        <p:nvPicPr>
          <p:cNvPr id="18" name="Billede 17">
            <a:extLst>
              <a:ext uri="{FF2B5EF4-FFF2-40B4-BE49-F238E27FC236}">
                <a16:creationId xmlns:a16="http://schemas.microsoft.com/office/drawing/2014/main" id="{F4283764-EBB9-CEA6-8838-3969555E4F66}"/>
              </a:ext>
            </a:extLst>
          </p:cNvPr>
          <p:cNvPicPr>
            <a:picLocks noChangeAspect="1"/>
          </p:cNvPicPr>
          <p:nvPr/>
        </p:nvPicPr>
        <p:blipFill>
          <a:blip r:embed="rId4"/>
          <a:stretch>
            <a:fillRect/>
          </a:stretch>
        </p:blipFill>
        <p:spPr>
          <a:xfrm>
            <a:off x="517553" y="197542"/>
            <a:ext cx="390522" cy="390522"/>
          </a:xfrm>
          <a:prstGeom prst="rect">
            <a:avLst/>
          </a:prstGeom>
        </p:spPr>
      </p:pic>
      <p:pic>
        <p:nvPicPr>
          <p:cNvPr id="19" name="Billede 18">
            <a:extLst>
              <a:ext uri="{FF2B5EF4-FFF2-40B4-BE49-F238E27FC236}">
                <a16:creationId xmlns:a16="http://schemas.microsoft.com/office/drawing/2014/main" id="{79292253-4AFA-A496-B336-4AA38258CF0B}"/>
              </a:ext>
            </a:extLst>
          </p:cNvPr>
          <p:cNvPicPr>
            <a:picLocks noChangeAspect="1"/>
          </p:cNvPicPr>
          <p:nvPr/>
        </p:nvPicPr>
        <p:blipFill>
          <a:blip r:embed="rId5"/>
          <a:stretch>
            <a:fillRect/>
          </a:stretch>
        </p:blipFill>
        <p:spPr>
          <a:xfrm>
            <a:off x="525273" y="187677"/>
            <a:ext cx="400387" cy="400387"/>
          </a:xfrm>
          <a:prstGeom prst="rect">
            <a:avLst/>
          </a:prstGeom>
        </p:spPr>
      </p:pic>
      <p:sp>
        <p:nvSpPr>
          <p:cNvPr id="20" name="Text 3">
            <a:extLst>
              <a:ext uri="{FF2B5EF4-FFF2-40B4-BE49-F238E27FC236}">
                <a16:creationId xmlns:a16="http://schemas.microsoft.com/office/drawing/2014/main" id="{A99D6C98-7230-ED3F-FAE4-18EB07CC0F1D}"/>
              </a:ext>
            </a:extLst>
          </p:cNvPr>
          <p:cNvSpPr/>
          <p:nvPr/>
        </p:nvSpPr>
        <p:spPr>
          <a:xfrm>
            <a:off x="-178832" y="638645"/>
            <a:ext cx="1818327" cy="462798"/>
          </a:xfrm>
          <a:prstGeom prst="rect">
            <a:avLst/>
          </a:prstGeom>
          <a:noFill/>
          <a:ln/>
        </p:spPr>
        <p:txBody>
          <a:bodyPr wrap="square" rtlCol="0" anchor="ctr"/>
          <a:lstStyle/>
          <a:p>
            <a:pPr algn="ctr" defTabSz="685800">
              <a:defRPr/>
            </a:pP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Søren kan få overblik</a:t>
            </a:r>
            <a:b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over sine aftaler</a:t>
            </a:r>
            <a:b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med jobcenteret</a:t>
            </a:r>
          </a:p>
        </p:txBody>
      </p:sp>
      <p:pic>
        <p:nvPicPr>
          <p:cNvPr id="13" name="Billede 12">
            <a:extLst>
              <a:ext uri="{FF2B5EF4-FFF2-40B4-BE49-F238E27FC236}">
                <a16:creationId xmlns:a16="http://schemas.microsoft.com/office/drawing/2014/main" id="{63014E76-B96F-1A85-C94B-02109A97F4EE}"/>
              </a:ext>
            </a:extLst>
          </p:cNvPr>
          <p:cNvPicPr>
            <a:picLocks noChangeAspect="1"/>
          </p:cNvPicPr>
          <p:nvPr/>
        </p:nvPicPr>
        <p:blipFill>
          <a:blip r:embed="rId6"/>
          <a:stretch>
            <a:fillRect/>
          </a:stretch>
        </p:blipFill>
        <p:spPr>
          <a:xfrm>
            <a:off x="366069" y="1412022"/>
            <a:ext cx="2501206" cy="1943872"/>
          </a:xfrm>
          <a:prstGeom prst="rect">
            <a:avLst/>
          </a:prstGeom>
        </p:spPr>
      </p:pic>
      <p:pic>
        <p:nvPicPr>
          <p:cNvPr id="7" name="Billede 6">
            <a:extLst>
              <a:ext uri="{FF2B5EF4-FFF2-40B4-BE49-F238E27FC236}">
                <a16:creationId xmlns:a16="http://schemas.microsoft.com/office/drawing/2014/main" id="{B0F35E7C-107B-6ECB-F72F-FA5A91A4D070}"/>
              </a:ext>
            </a:extLst>
          </p:cNvPr>
          <p:cNvPicPr>
            <a:picLocks noChangeAspect="1"/>
          </p:cNvPicPr>
          <p:nvPr/>
        </p:nvPicPr>
        <p:blipFill>
          <a:blip r:embed="rId7"/>
          <a:stretch>
            <a:fillRect/>
          </a:stretch>
        </p:blipFill>
        <p:spPr>
          <a:xfrm>
            <a:off x="3400781" y="615504"/>
            <a:ext cx="5555301" cy="3931444"/>
          </a:xfrm>
          <a:prstGeom prst="rect">
            <a:avLst/>
          </a:prstGeom>
        </p:spPr>
      </p:pic>
    </p:spTree>
    <p:extLst>
      <p:ext uri="{BB962C8B-B14F-4D97-AF65-F5344CB8AC3E}">
        <p14:creationId xmlns:p14="http://schemas.microsoft.com/office/powerpoint/2010/main" val="35359235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E03353-3C8D-821D-B2A5-18027BD72F65}"/>
            </a:ext>
          </a:extLst>
        </p:cNvPr>
        <p:cNvGrpSpPr/>
        <p:nvPr/>
      </p:nvGrpSpPr>
      <p:grpSpPr>
        <a:xfrm>
          <a:off x="0" y="0"/>
          <a:ext cx="0" cy="0"/>
          <a:chOff x="0" y="0"/>
          <a:chExt cx="0" cy="0"/>
        </a:xfrm>
      </p:grpSpPr>
      <p:sp>
        <p:nvSpPr>
          <p:cNvPr id="17" name="Tekstfelt 16">
            <a:extLst>
              <a:ext uri="{FF2B5EF4-FFF2-40B4-BE49-F238E27FC236}">
                <a16:creationId xmlns:a16="http://schemas.microsoft.com/office/drawing/2014/main" id="{B8C515D7-2D6E-5524-752C-0AEC071785FA}"/>
              </a:ext>
            </a:extLst>
          </p:cNvPr>
          <p:cNvSpPr txBox="1"/>
          <p:nvPr/>
        </p:nvSpPr>
        <p:spPr>
          <a:xfrm>
            <a:off x="2286550" y="2433250"/>
            <a:ext cx="4573098" cy="300082"/>
          </a:xfrm>
          <a:prstGeom prst="rect">
            <a:avLst/>
          </a:prstGeom>
          <a:noFill/>
        </p:spPr>
        <p:txBody>
          <a:bodyPr wrap="square">
            <a:spAutoFit/>
          </a:bodyPr>
          <a:lstStyle/>
          <a:p>
            <a:pPr defTabSz="685800">
              <a:defRPr/>
            </a:pPr>
            <a:endParaRPr lang="da-DK" sz="1350">
              <a:solidFill>
                <a:srgbClr val="000000"/>
              </a:solidFill>
              <a:latin typeface="Franklin Gothic Book"/>
            </a:endParaRPr>
          </a:p>
        </p:txBody>
      </p:sp>
      <p:grpSp>
        <p:nvGrpSpPr>
          <p:cNvPr id="12" name="Gruppe 11">
            <a:extLst>
              <a:ext uri="{FF2B5EF4-FFF2-40B4-BE49-F238E27FC236}">
                <a16:creationId xmlns:a16="http://schemas.microsoft.com/office/drawing/2014/main" id="{207C8089-F62D-EFF9-1DBB-70718BBA426E}"/>
              </a:ext>
            </a:extLst>
          </p:cNvPr>
          <p:cNvGrpSpPr/>
          <p:nvPr/>
        </p:nvGrpSpPr>
        <p:grpSpPr>
          <a:xfrm>
            <a:off x="2270085" y="927920"/>
            <a:ext cx="4603831" cy="3489233"/>
            <a:chOff x="3026780" y="1162277"/>
            <a:chExt cx="6138441" cy="4652310"/>
          </a:xfrm>
        </p:grpSpPr>
        <p:sp>
          <p:nvSpPr>
            <p:cNvPr id="2" name="Shape 0">
              <a:extLst>
                <a:ext uri="{FF2B5EF4-FFF2-40B4-BE49-F238E27FC236}">
                  <a16:creationId xmlns:a16="http://schemas.microsoft.com/office/drawing/2014/main" id="{96157405-1836-3413-C2A2-EF7C57743D7F}"/>
                </a:ext>
              </a:extLst>
            </p:cNvPr>
            <p:cNvSpPr/>
            <p:nvPr/>
          </p:nvSpPr>
          <p:spPr>
            <a:xfrm>
              <a:off x="4351215" y="1162277"/>
              <a:ext cx="3526366" cy="3526366"/>
            </a:xfrm>
            <a:prstGeom prst="ellipse">
              <a:avLst/>
            </a:prstGeom>
            <a:solidFill>
              <a:schemeClr val="bg1"/>
            </a:solidFill>
            <a:ln w="12700">
              <a:solidFill>
                <a:srgbClr val="44831E"/>
              </a:solidFill>
              <a:prstDash val="solid"/>
            </a:ln>
          </p:spPr>
          <p:txBody>
            <a:bodyPr/>
            <a:lstStyle/>
            <a:p>
              <a:pPr defTabSz="685800">
                <a:defRPr/>
              </a:pPr>
              <a:endParaRPr lang="da-DK">
                <a:solidFill>
                  <a:srgbClr val="000000"/>
                </a:solidFill>
                <a:latin typeface="Franklin Gothic Book"/>
              </a:endParaRPr>
            </a:p>
          </p:txBody>
        </p:sp>
        <p:sp>
          <p:nvSpPr>
            <p:cNvPr id="3" name="Shape 1">
              <a:extLst>
                <a:ext uri="{FF2B5EF4-FFF2-40B4-BE49-F238E27FC236}">
                  <a16:creationId xmlns:a16="http://schemas.microsoft.com/office/drawing/2014/main" id="{198F57F3-AF08-3AA7-E1AF-03C2658BF26E}"/>
                </a:ext>
              </a:extLst>
            </p:cNvPr>
            <p:cNvSpPr/>
            <p:nvPr/>
          </p:nvSpPr>
          <p:spPr>
            <a:xfrm>
              <a:off x="5538736" y="1742965"/>
              <a:ext cx="1622539" cy="2049523"/>
            </a:xfrm>
            <a:prstGeom prst="rect">
              <a:avLst/>
            </a:prstGeom>
            <a:noFill/>
            <a:ln/>
          </p:spPr>
          <p:txBody>
            <a:bodyPr/>
            <a:lstStyle/>
            <a:p>
              <a:pPr defTabSz="685800">
                <a:defRPr/>
              </a:pPr>
              <a:endParaRPr lang="da-DK">
                <a:solidFill>
                  <a:srgbClr val="000000"/>
                </a:solidFill>
                <a:latin typeface="Franklin Gothic Book"/>
              </a:endParaRPr>
            </a:p>
          </p:txBody>
        </p:sp>
        <p:sp>
          <p:nvSpPr>
            <p:cNvPr id="34" name="Text 11">
              <a:extLst>
                <a:ext uri="{FF2B5EF4-FFF2-40B4-BE49-F238E27FC236}">
                  <a16:creationId xmlns:a16="http://schemas.microsoft.com/office/drawing/2014/main" id="{91810A69-AC56-4B08-97FC-B4745F2C964B}"/>
                </a:ext>
              </a:extLst>
            </p:cNvPr>
            <p:cNvSpPr/>
            <p:nvPr/>
          </p:nvSpPr>
          <p:spPr>
            <a:xfrm>
              <a:off x="4976184" y="3789512"/>
              <a:ext cx="2276428" cy="429308"/>
            </a:xfrm>
            <a:prstGeom prst="rect">
              <a:avLst/>
            </a:prstGeom>
            <a:noFill/>
            <a:ln/>
          </p:spPr>
          <p:txBody>
            <a:bodyPr wrap="square" rtlCol="0" anchor="ctr"/>
            <a:lstStyle/>
            <a:p>
              <a:pPr algn="ctr" defTabSz="685800">
                <a:defRPr/>
              </a:pPr>
              <a:r>
                <a:rPr lang="da-DK" sz="750">
                  <a:solidFill>
                    <a:srgbClr val="0B2432">
                      <a:alpha val="99000"/>
                    </a:srgbClr>
                  </a:solidFill>
                  <a:latin typeface="Open Sans" panose="020B0606030504020204" pitchFamily="34" charset="0"/>
                  <a:ea typeface="Open Sans" panose="020B0606030504020204" pitchFamily="34" charset="0"/>
                  <a:cs typeface="Open Sans" panose="020B0606030504020204" pitchFamily="34" charset="0"/>
                </a:rPr>
                <a:t>39 år. Fraskilt.</a:t>
              </a:r>
              <a:br>
                <a:rPr lang="da-DK" sz="750">
                  <a:solidFill>
                    <a:srgbClr val="0B2432">
                      <a:alpha val="99000"/>
                    </a:srgbClr>
                  </a:solidFill>
                  <a:latin typeface="Open Sans" panose="020B0606030504020204" pitchFamily="34" charset="0"/>
                  <a:ea typeface="Open Sans" panose="020B0606030504020204" pitchFamily="34" charset="0"/>
                  <a:cs typeface="Open Sans" panose="020B0606030504020204" pitchFamily="34" charset="0"/>
                </a:rPr>
              </a:br>
              <a:r>
                <a:rPr lang="da-DK" sz="750">
                  <a:solidFill>
                    <a:srgbClr val="0B2432">
                      <a:alpha val="99000"/>
                    </a:srgbClr>
                  </a:solidFill>
                  <a:latin typeface="Open Sans" panose="020B0606030504020204" pitchFamily="34" charset="0"/>
                  <a:ea typeface="Open Sans" panose="020B0606030504020204" pitchFamily="34" charset="0"/>
                  <a:cs typeface="Open Sans" panose="020B0606030504020204" pitchFamily="34" charset="0"/>
                </a:rPr>
                <a:t>Datter på 4 år.</a:t>
              </a:r>
              <a:endParaRPr lang="da-DK" sz="75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 name="Text 12">
              <a:extLst>
                <a:ext uri="{FF2B5EF4-FFF2-40B4-BE49-F238E27FC236}">
                  <a16:creationId xmlns:a16="http://schemas.microsoft.com/office/drawing/2014/main" id="{FE2F2FC6-FB94-B758-3B81-34446D95D7D3}"/>
                </a:ext>
              </a:extLst>
            </p:cNvPr>
            <p:cNvSpPr/>
            <p:nvPr/>
          </p:nvSpPr>
          <p:spPr>
            <a:xfrm>
              <a:off x="4903679" y="3589018"/>
              <a:ext cx="2421438" cy="190188"/>
            </a:xfrm>
            <a:prstGeom prst="rect">
              <a:avLst/>
            </a:prstGeom>
            <a:noFill/>
            <a:ln/>
          </p:spPr>
          <p:txBody>
            <a:bodyPr wrap="square" rtlCol="0" anchor="ctr"/>
            <a:lstStyle/>
            <a:p>
              <a:pPr algn="ctr" defTabSz="685800">
                <a:lnSpc>
                  <a:spcPts val="1226"/>
                </a:lnSpc>
                <a:defRPr/>
              </a:pPr>
              <a:r>
                <a:rPr lang="en-US" sz="1350" b="1">
                  <a:solidFill>
                    <a:srgbClr val="0B2432">
                      <a:alpha val="99000"/>
                    </a:srgbClr>
                  </a:solidFill>
                  <a:latin typeface="Open Sans" pitchFamily="34" charset="0"/>
                  <a:ea typeface="Open Sans" pitchFamily="34" charset="-122"/>
                  <a:cs typeface="Open Sans" pitchFamily="34" charset="-120"/>
                </a:rPr>
                <a:t>Josefine Borgersen</a:t>
              </a:r>
              <a:endParaRPr lang="en-US" sz="1350">
                <a:solidFill>
                  <a:srgbClr val="000000"/>
                </a:solidFill>
                <a:latin typeface="Franklin Gothic Book"/>
              </a:endParaRPr>
            </a:p>
          </p:txBody>
        </p:sp>
        <p:grpSp>
          <p:nvGrpSpPr>
            <p:cNvPr id="9" name="Gruppe 8">
              <a:extLst>
                <a:ext uri="{FF2B5EF4-FFF2-40B4-BE49-F238E27FC236}">
                  <a16:creationId xmlns:a16="http://schemas.microsoft.com/office/drawing/2014/main" id="{D02B2D32-D943-5567-7E42-9CE18C4D02F7}"/>
                </a:ext>
              </a:extLst>
            </p:cNvPr>
            <p:cNvGrpSpPr/>
            <p:nvPr/>
          </p:nvGrpSpPr>
          <p:grpSpPr>
            <a:xfrm>
              <a:off x="3026780" y="4886603"/>
              <a:ext cx="6138441" cy="927984"/>
              <a:chOff x="3048733" y="4886603"/>
              <a:chExt cx="6138441" cy="927984"/>
            </a:xfrm>
          </p:grpSpPr>
          <p:sp>
            <p:nvSpPr>
              <p:cNvPr id="53" name="Shape 2">
                <a:extLst>
                  <a:ext uri="{FF2B5EF4-FFF2-40B4-BE49-F238E27FC236}">
                    <a16:creationId xmlns:a16="http://schemas.microsoft.com/office/drawing/2014/main" id="{44B3698A-2E06-E5AE-B244-34360D07C1DE}"/>
                  </a:ext>
                </a:extLst>
              </p:cNvPr>
              <p:cNvSpPr/>
              <p:nvPr/>
            </p:nvSpPr>
            <p:spPr>
              <a:xfrm rot="1306">
                <a:off x="4166631" y="5140277"/>
                <a:ext cx="3911218" cy="0"/>
              </a:xfrm>
              <a:prstGeom prst="line">
                <a:avLst/>
              </a:prstGeom>
              <a:noFill/>
              <a:ln w="12700">
                <a:solidFill>
                  <a:srgbClr val="44831E"/>
                </a:solidFill>
                <a:prstDash val="solid"/>
              </a:ln>
            </p:spPr>
            <p:txBody>
              <a:bodyPr/>
              <a:lstStyle/>
              <a:p>
                <a:pPr defTabSz="685800">
                  <a:defRPr/>
                </a:pPr>
                <a:endParaRPr lang="da-DK">
                  <a:solidFill>
                    <a:srgbClr val="000000"/>
                  </a:solidFill>
                  <a:latin typeface="Franklin Gothic Book"/>
                </a:endParaRPr>
              </a:p>
            </p:txBody>
          </p:sp>
          <p:sp>
            <p:nvSpPr>
              <p:cNvPr id="41" name="Shape 3">
                <a:extLst>
                  <a:ext uri="{FF2B5EF4-FFF2-40B4-BE49-F238E27FC236}">
                    <a16:creationId xmlns:a16="http://schemas.microsoft.com/office/drawing/2014/main" id="{67FE1F50-D543-3ACC-5323-20CEBCC50400}"/>
                  </a:ext>
                </a:extLst>
              </p:cNvPr>
              <p:cNvSpPr/>
              <p:nvPr/>
            </p:nvSpPr>
            <p:spPr>
              <a:xfrm>
                <a:off x="3994188" y="4886603"/>
                <a:ext cx="444500" cy="444500"/>
              </a:xfrm>
              <a:prstGeom prst="ellipse">
                <a:avLst/>
              </a:prstGeom>
              <a:solidFill>
                <a:srgbClr val="FFFFFF"/>
              </a:solidFill>
              <a:ln w="12700">
                <a:solidFill>
                  <a:srgbClr val="44831E"/>
                </a:solidFill>
                <a:prstDash val="solid"/>
              </a:ln>
            </p:spPr>
            <p:txBody>
              <a:bodyPr/>
              <a:lstStyle/>
              <a:p>
                <a:pPr defTabSz="685800">
                  <a:defRPr/>
                </a:pPr>
                <a:endParaRPr lang="da-DK">
                  <a:solidFill>
                    <a:srgbClr val="000000"/>
                  </a:solidFill>
                  <a:latin typeface="Franklin Gothic Book"/>
                </a:endParaRPr>
              </a:p>
            </p:txBody>
          </p:sp>
          <p:sp>
            <p:nvSpPr>
              <p:cNvPr id="43" name="Shape 5">
                <a:extLst>
                  <a:ext uri="{FF2B5EF4-FFF2-40B4-BE49-F238E27FC236}">
                    <a16:creationId xmlns:a16="http://schemas.microsoft.com/office/drawing/2014/main" id="{C14EE550-DCB4-CF8F-A2BE-8592C8B4A556}"/>
                  </a:ext>
                </a:extLst>
              </p:cNvPr>
              <p:cNvSpPr/>
              <p:nvPr/>
            </p:nvSpPr>
            <p:spPr>
              <a:xfrm>
                <a:off x="7792905" y="4889251"/>
                <a:ext cx="432916" cy="432916"/>
              </a:xfrm>
              <a:prstGeom prst="ellipse">
                <a:avLst/>
              </a:prstGeom>
              <a:solidFill>
                <a:srgbClr val="FFFFFF"/>
              </a:solidFill>
              <a:ln w="12700">
                <a:solidFill>
                  <a:srgbClr val="44831E"/>
                </a:solidFill>
                <a:prstDash val="solid"/>
              </a:ln>
            </p:spPr>
            <p:txBody>
              <a:bodyPr/>
              <a:lstStyle/>
              <a:p>
                <a:pPr defTabSz="685800">
                  <a:defRPr/>
                </a:pPr>
                <a:endParaRPr lang="da-DK">
                  <a:solidFill>
                    <a:srgbClr val="000000"/>
                  </a:solidFill>
                  <a:latin typeface="Franklin Gothic Book"/>
                </a:endParaRPr>
              </a:p>
            </p:txBody>
          </p:sp>
          <p:sp>
            <p:nvSpPr>
              <p:cNvPr id="50" name="Text 13">
                <a:extLst>
                  <a:ext uri="{FF2B5EF4-FFF2-40B4-BE49-F238E27FC236}">
                    <a16:creationId xmlns:a16="http://schemas.microsoft.com/office/drawing/2014/main" id="{3FFA6014-D521-8B69-7C69-6CC5E806A444}"/>
                  </a:ext>
                </a:extLst>
              </p:cNvPr>
              <p:cNvSpPr/>
              <p:nvPr/>
            </p:nvSpPr>
            <p:spPr>
              <a:xfrm>
                <a:off x="3048733" y="5450827"/>
                <a:ext cx="2436751" cy="363760"/>
              </a:xfrm>
              <a:prstGeom prst="rect">
                <a:avLst/>
              </a:prstGeom>
              <a:noFill/>
              <a:ln/>
            </p:spPr>
            <p:txBody>
              <a:bodyPr wrap="square" rtlCol="0" anchor="ctr"/>
              <a:lstStyle/>
              <a:p>
                <a:pPr algn="ctr" defTabSz="685800">
                  <a:defRPr/>
                </a:pP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Josefine følger med </a:t>
                </a:r>
                <a:b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i sin boligstøttesag</a:t>
                </a:r>
              </a:p>
            </p:txBody>
          </p:sp>
          <p:sp>
            <p:nvSpPr>
              <p:cNvPr id="52" name="Text 15">
                <a:extLst>
                  <a:ext uri="{FF2B5EF4-FFF2-40B4-BE49-F238E27FC236}">
                    <a16:creationId xmlns:a16="http://schemas.microsoft.com/office/drawing/2014/main" id="{EE25EA35-2526-E34D-95F0-5D3FD7137059}"/>
                  </a:ext>
                </a:extLst>
              </p:cNvPr>
              <p:cNvSpPr/>
              <p:nvPr/>
            </p:nvSpPr>
            <p:spPr>
              <a:xfrm>
                <a:off x="6879551" y="5450827"/>
                <a:ext cx="2307623" cy="363760"/>
              </a:xfrm>
              <a:prstGeom prst="rect">
                <a:avLst/>
              </a:prstGeom>
              <a:noFill/>
              <a:ln/>
            </p:spPr>
            <p:txBody>
              <a:bodyPr wrap="square" rtlCol="0" anchor="ctr"/>
              <a:lstStyle/>
              <a:p>
                <a:pPr algn="ctr" defTabSz="685800">
                  <a:defRPr/>
                </a:pP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Josefine kan se </a:t>
                </a:r>
              </a:p>
              <a:p>
                <a:pPr algn="ctr" defTabSz="685800">
                  <a:defRPr/>
                </a:pP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detaljer for sin gæld</a:t>
                </a:r>
              </a:p>
            </p:txBody>
          </p:sp>
        </p:grpSp>
        <p:pic>
          <p:nvPicPr>
            <p:cNvPr id="5" name="Billede 4">
              <a:extLst>
                <a:ext uri="{FF2B5EF4-FFF2-40B4-BE49-F238E27FC236}">
                  <a16:creationId xmlns:a16="http://schemas.microsoft.com/office/drawing/2014/main" id="{822EF370-15FA-A657-9E3D-2F34E9119672}"/>
                </a:ext>
              </a:extLst>
            </p:cNvPr>
            <p:cNvPicPr>
              <a:picLocks noChangeAspect="1"/>
            </p:cNvPicPr>
            <p:nvPr/>
          </p:nvPicPr>
          <p:blipFill>
            <a:blip r:embed="rId3"/>
            <a:stretch>
              <a:fillRect/>
            </a:stretch>
          </p:blipFill>
          <p:spPr>
            <a:xfrm>
              <a:off x="4876398" y="1543878"/>
              <a:ext cx="1981200" cy="1879600"/>
            </a:xfrm>
            <a:prstGeom prst="rect">
              <a:avLst/>
            </a:prstGeom>
          </p:spPr>
        </p:pic>
        <p:pic>
          <p:nvPicPr>
            <p:cNvPr id="8" name="Billede 7">
              <a:extLst>
                <a:ext uri="{FF2B5EF4-FFF2-40B4-BE49-F238E27FC236}">
                  <a16:creationId xmlns:a16="http://schemas.microsoft.com/office/drawing/2014/main" id="{5BB60299-5F5B-BD01-901D-3757AEA2EFA0}"/>
                </a:ext>
              </a:extLst>
            </p:cNvPr>
            <p:cNvPicPr>
              <a:picLocks noChangeAspect="1"/>
            </p:cNvPicPr>
            <p:nvPr/>
          </p:nvPicPr>
          <p:blipFill>
            <a:blip r:embed="rId4"/>
            <a:stretch>
              <a:fillRect/>
            </a:stretch>
          </p:blipFill>
          <p:spPr>
            <a:xfrm>
              <a:off x="7860575" y="4963645"/>
              <a:ext cx="291648" cy="302450"/>
            </a:xfrm>
            <a:prstGeom prst="rect">
              <a:avLst/>
            </a:prstGeom>
          </p:spPr>
        </p:pic>
        <p:pic>
          <p:nvPicPr>
            <p:cNvPr id="10" name="Billede 9">
              <a:extLst>
                <a:ext uri="{FF2B5EF4-FFF2-40B4-BE49-F238E27FC236}">
                  <a16:creationId xmlns:a16="http://schemas.microsoft.com/office/drawing/2014/main" id="{FE0438C5-AC40-0C50-1B1A-0B609E9057B0}"/>
                </a:ext>
              </a:extLst>
            </p:cNvPr>
            <p:cNvPicPr>
              <a:picLocks noChangeAspect="1"/>
            </p:cNvPicPr>
            <p:nvPr/>
          </p:nvPicPr>
          <p:blipFill>
            <a:blip r:embed="rId5"/>
            <a:stretch>
              <a:fillRect/>
            </a:stretch>
          </p:blipFill>
          <p:spPr>
            <a:xfrm>
              <a:off x="4048351" y="4963645"/>
              <a:ext cx="292268" cy="303093"/>
            </a:xfrm>
            <a:prstGeom prst="rect">
              <a:avLst/>
            </a:prstGeom>
          </p:spPr>
        </p:pic>
      </p:grpSp>
      <p:sp>
        <p:nvSpPr>
          <p:cNvPr id="6" name="Tekstfelt 5">
            <a:extLst>
              <a:ext uri="{FF2B5EF4-FFF2-40B4-BE49-F238E27FC236}">
                <a16:creationId xmlns:a16="http://schemas.microsoft.com/office/drawing/2014/main" id="{E7CB4031-5865-0331-A19F-D51F3C49BB90}"/>
              </a:ext>
            </a:extLst>
          </p:cNvPr>
          <p:cNvSpPr txBox="1"/>
          <p:nvPr/>
        </p:nvSpPr>
        <p:spPr>
          <a:xfrm>
            <a:off x="358486" y="426029"/>
            <a:ext cx="4016087" cy="415498"/>
          </a:xfrm>
          <a:prstGeom prst="rect">
            <a:avLst/>
          </a:prstGeom>
          <a:noFill/>
        </p:spPr>
        <p:txBody>
          <a:bodyPr wrap="square" lIns="0" tIns="0" rIns="0" bIns="0" rtlCol="0">
            <a:spAutoFit/>
          </a:bodyPr>
          <a:lstStyle/>
          <a:p>
            <a:pPr defTabSz="685800">
              <a:defRPr/>
            </a:pPr>
            <a:r>
              <a:rPr lang="da-DK" sz="1350">
                <a:solidFill>
                  <a:srgbClr val="212121"/>
                </a:solidFill>
                <a:latin typeface="Open Sans" panose="020B0606030504020204" pitchFamily="34" charset="0"/>
                <a:ea typeface="Open Sans" panose="020B0606030504020204" pitchFamily="34" charset="0"/>
                <a:cs typeface="Open Sans" panose="020B0606030504020204" pitchFamily="34" charset="0"/>
              </a:rPr>
              <a:t>Case 3</a:t>
            </a:r>
            <a:br>
              <a:rPr lang="da-DK" sz="1350">
                <a:solidFill>
                  <a:srgbClr val="4D7836"/>
                </a:solidFill>
                <a:latin typeface="Open Sans" panose="020B0606030504020204" pitchFamily="34" charset="0"/>
                <a:ea typeface="Open Sans" panose="020B0606030504020204" pitchFamily="34" charset="0"/>
                <a:cs typeface="Open Sans" panose="020B0606030504020204" pitchFamily="34" charset="0"/>
              </a:rPr>
            </a:br>
            <a:r>
              <a:rPr lang="da-DK" sz="1350" b="1">
                <a:solidFill>
                  <a:srgbClr val="4D7836"/>
                </a:solidFill>
                <a:latin typeface="Open Sans" panose="020B0606030504020204" pitchFamily="34" charset="0"/>
                <a:ea typeface="Open Sans" panose="020B0606030504020204" pitchFamily="34" charset="0"/>
                <a:cs typeface="Open Sans" panose="020B0606030504020204" pitchFamily="34" charset="0"/>
              </a:rPr>
              <a:t>Boligstøttesag og gæld</a:t>
            </a:r>
          </a:p>
        </p:txBody>
      </p:sp>
      <p:pic>
        <p:nvPicPr>
          <p:cNvPr id="7" name="Image 0" descr="preencoded.png">
            <a:extLst>
              <a:ext uri="{FF2B5EF4-FFF2-40B4-BE49-F238E27FC236}">
                <a16:creationId xmlns:a16="http://schemas.microsoft.com/office/drawing/2014/main" id="{AD5AF5D0-C86F-0981-3819-772B4F8FABC9}"/>
              </a:ext>
            </a:extLst>
          </p:cNvPr>
          <p:cNvPicPr>
            <a:picLocks noChangeAspect="1"/>
          </p:cNvPicPr>
          <p:nvPr/>
        </p:nvPicPr>
        <p:blipFill>
          <a:blip r:embed="rId6"/>
          <a:stretch>
            <a:fillRect/>
          </a:stretch>
        </p:blipFill>
        <p:spPr>
          <a:xfrm>
            <a:off x="291762" y="4661698"/>
            <a:ext cx="1911307" cy="273044"/>
          </a:xfrm>
          <a:prstGeom prst="rect">
            <a:avLst/>
          </a:prstGeom>
        </p:spPr>
      </p:pic>
      <p:grpSp>
        <p:nvGrpSpPr>
          <p:cNvPr id="13" name="Gruppe 12">
            <a:extLst>
              <a:ext uri="{FF2B5EF4-FFF2-40B4-BE49-F238E27FC236}">
                <a16:creationId xmlns:a16="http://schemas.microsoft.com/office/drawing/2014/main" id="{E48564E0-5736-14FC-83EA-28D27B5088B3}"/>
              </a:ext>
            </a:extLst>
          </p:cNvPr>
          <p:cNvGrpSpPr/>
          <p:nvPr/>
        </p:nvGrpSpPr>
        <p:grpSpPr>
          <a:xfrm>
            <a:off x="5339568" y="522652"/>
            <a:ext cx="2238522" cy="1667270"/>
            <a:chOff x="7119424" y="621919"/>
            <a:chExt cx="2984696" cy="2223027"/>
          </a:xfrm>
        </p:grpSpPr>
        <p:sp>
          <p:nvSpPr>
            <p:cNvPr id="39" name="Afrundet rektangulær billedforklaring 38">
              <a:extLst>
                <a:ext uri="{FF2B5EF4-FFF2-40B4-BE49-F238E27FC236}">
                  <a16:creationId xmlns:a16="http://schemas.microsoft.com/office/drawing/2014/main" id="{65678764-4E29-B949-CCD7-777E8153F930}"/>
                </a:ext>
              </a:extLst>
            </p:cNvPr>
            <p:cNvSpPr/>
            <p:nvPr/>
          </p:nvSpPr>
          <p:spPr>
            <a:xfrm>
              <a:off x="7119424" y="621919"/>
              <a:ext cx="2984696" cy="2223027"/>
            </a:xfrm>
            <a:prstGeom prst="wedgeRoundRectCallout">
              <a:avLst>
                <a:gd name="adj1" fmla="val -63142"/>
                <a:gd name="adj2" fmla="val 21881"/>
                <a:gd name="adj3" fmla="val 16667"/>
              </a:avLst>
            </a:prstGeom>
            <a:solidFill>
              <a:srgbClr val="F5F1E6"/>
            </a:solidFill>
            <a:ln>
              <a:solidFill>
                <a:srgbClr val="4D7836"/>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defTabSz="685800">
                <a:defRPr/>
              </a:pPr>
              <a:endParaRPr lang="da-DK" sz="900" err="1">
                <a:solidFill>
                  <a:srgbClr val="514860"/>
                </a:solidFill>
                <a:latin typeface="Franklin Gothic Book"/>
              </a:endParaRPr>
            </a:p>
          </p:txBody>
        </p:sp>
        <p:sp>
          <p:nvSpPr>
            <p:cNvPr id="40" name="Tekstfelt 39">
              <a:extLst>
                <a:ext uri="{FF2B5EF4-FFF2-40B4-BE49-F238E27FC236}">
                  <a16:creationId xmlns:a16="http://schemas.microsoft.com/office/drawing/2014/main" id="{66AC9A4B-1DA4-6D0E-03CF-5D0540C76803}"/>
                </a:ext>
              </a:extLst>
            </p:cNvPr>
            <p:cNvSpPr txBox="1"/>
            <p:nvPr/>
          </p:nvSpPr>
          <p:spPr>
            <a:xfrm>
              <a:off x="7286211" y="836439"/>
              <a:ext cx="2749611" cy="1815882"/>
            </a:xfrm>
            <a:prstGeom prst="rect">
              <a:avLst/>
            </a:prstGeom>
            <a:noFill/>
          </p:spPr>
          <p:txBody>
            <a:bodyPr wrap="square">
              <a:spAutoFit/>
            </a:bodyPr>
            <a:lstStyle/>
            <a:p>
              <a:pPr defTabSz="685800">
                <a:defRPr/>
              </a:pP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Jeg er for nylig flyttet i en mindre bolig og har søgt om boligstøtte. Jeg bruger Mit Overblik til at holde styr på </a:t>
              </a:r>
              <a:r>
                <a:rPr lang="da-DK" sz="825" err="1">
                  <a:solidFill>
                    <a:srgbClr val="000000"/>
                  </a:solidFill>
                  <a:latin typeface="Open Sans" panose="020B0606030504020204" pitchFamily="34" charset="0"/>
                  <a:ea typeface="Open Sans" panose="020B0606030504020204" pitchFamily="34" charset="0"/>
                  <a:cs typeface="Open Sans" panose="020B0606030504020204" pitchFamily="34" charset="0"/>
                </a:rPr>
                <a:t>børne-bidrag</a:t>
              </a: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 og følge med i min boligstøttesag. </a:t>
              </a:r>
            </a:p>
            <a:p>
              <a:pPr defTabSz="685800">
                <a:defRPr/>
              </a:pPr>
              <a:endPar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defTabSz="685800">
                <a:defRPr/>
              </a:pPr>
              <a:r>
                <a:rPr lang="da-DK" sz="825">
                  <a:solidFill>
                    <a:srgbClr val="000000"/>
                  </a:solidFill>
                  <a:latin typeface="Open Sans" panose="020B0606030504020204" pitchFamily="34" charset="0"/>
                  <a:ea typeface="Open Sans" panose="020B0606030504020204" pitchFamily="34" charset="0"/>
                  <a:cs typeface="Open Sans" panose="020B0606030504020204" pitchFamily="34" charset="0"/>
                </a:rPr>
                <a:t>Da jeg ikke kunne betale børnebidrag i en periode, er det blevet til gæld. Når jeg får råd til at betale min gæld, kan jeg gøre det via Mit Overblik.</a:t>
              </a:r>
            </a:p>
          </p:txBody>
        </p:sp>
      </p:grpSp>
    </p:spTree>
    <p:extLst>
      <p:ext uri="{BB962C8B-B14F-4D97-AF65-F5344CB8AC3E}">
        <p14:creationId xmlns:p14="http://schemas.microsoft.com/office/powerpoint/2010/main" val="36726410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353637-7466-7C92-F3AF-C852E40234D0}"/>
            </a:ext>
          </a:extLst>
        </p:cNvPr>
        <p:cNvGrpSpPr/>
        <p:nvPr/>
      </p:nvGrpSpPr>
      <p:grpSpPr>
        <a:xfrm>
          <a:off x="0" y="0"/>
          <a:ext cx="0" cy="0"/>
          <a:chOff x="0" y="0"/>
          <a:chExt cx="0" cy="0"/>
        </a:xfrm>
      </p:grpSpPr>
      <p:sp>
        <p:nvSpPr>
          <p:cNvPr id="11" name="Ellipse 10">
            <a:extLst>
              <a:ext uri="{FF2B5EF4-FFF2-40B4-BE49-F238E27FC236}">
                <a16:creationId xmlns:a16="http://schemas.microsoft.com/office/drawing/2014/main" id="{F715C52A-515B-A24E-167D-0D3565F5B7AD}"/>
              </a:ext>
            </a:extLst>
          </p:cNvPr>
          <p:cNvSpPr/>
          <p:nvPr/>
        </p:nvSpPr>
        <p:spPr>
          <a:xfrm>
            <a:off x="495184" y="164605"/>
            <a:ext cx="452843" cy="452843"/>
          </a:xfrm>
          <a:prstGeom prst="ellipse">
            <a:avLst/>
          </a:prstGeom>
          <a:solidFill>
            <a:srgbClr val="44831E"/>
          </a:solidFill>
          <a:ln>
            <a:solidFill>
              <a:srgbClr val="44831E"/>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defRPr/>
            </a:pPr>
            <a:endParaRPr lang="da-DK" sz="1200" err="1">
              <a:solidFill>
                <a:srgbClr val="FFFFFF"/>
              </a:solidFill>
              <a:latin typeface="Franklin Gothic Book"/>
            </a:endParaRPr>
          </a:p>
        </p:txBody>
      </p:sp>
      <p:sp>
        <p:nvSpPr>
          <p:cNvPr id="4" name="Shape 2">
            <a:extLst>
              <a:ext uri="{FF2B5EF4-FFF2-40B4-BE49-F238E27FC236}">
                <a16:creationId xmlns:a16="http://schemas.microsoft.com/office/drawing/2014/main" id="{F5F039F8-2898-37D6-2189-4DB22165A470}"/>
              </a:ext>
            </a:extLst>
          </p:cNvPr>
          <p:cNvSpPr/>
          <p:nvPr/>
        </p:nvSpPr>
        <p:spPr>
          <a:xfrm>
            <a:off x="259620" y="3289066"/>
            <a:ext cx="4429897" cy="890561"/>
          </a:xfrm>
          <a:prstGeom prst="roundRect">
            <a:avLst/>
          </a:prstGeom>
          <a:noFill/>
          <a:ln w="12700">
            <a:solidFill>
              <a:srgbClr val="44831E"/>
            </a:solidFill>
            <a:prstDash val="solid"/>
          </a:ln>
        </p:spPr>
        <p:txBody>
          <a:bodyPr/>
          <a:lstStyle/>
          <a:p>
            <a:pPr defTabSz="685800">
              <a:defRPr/>
            </a:pPr>
            <a:endParaRPr lang="da-DK">
              <a:solidFill>
                <a:srgbClr val="000000"/>
              </a:solidFill>
              <a:latin typeface="Franklin Gothic Book"/>
            </a:endParaRPr>
          </a:p>
        </p:txBody>
      </p:sp>
      <p:pic>
        <p:nvPicPr>
          <p:cNvPr id="5" name="Image 0" descr="preencoded.png">
            <a:extLst>
              <a:ext uri="{FF2B5EF4-FFF2-40B4-BE49-F238E27FC236}">
                <a16:creationId xmlns:a16="http://schemas.microsoft.com/office/drawing/2014/main" id="{5077E5C0-4AF7-DDEA-65A0-E5A5632E6AAA}"/>
              </a:ext>
            </a:extLst>
          </p:cNvPr>
          <p:cNvPicPr>
            <a:picLocks noChangeAspect="1"/>
          </p:cNvPicPr>
          <p:nvPr/>
        </p:nvPicPr>
        <p:blipFill>
          <a:blip r:embed="rId3"/>
          <a:stretch>
            <a:fillRect/>
          </a:stretch>
        </p:blipFill>
        <p:spPr>
          <a:xfrm>
            <a:off x="291762" y="4661698"/>
            <a:ext cx="1911307" cy="273044"/>
          </a:xfrm>
          <a:prstGeom prst="rect">
            <a:avLst/>
          </a:prstGeom>
        </p:spPr>
      </p:pic>
      <p:sp>
        <p:nvSpPr>
          <p:cNvPr id="6" name="Tekstfelt 5">
            <a:extLst>
              <a:ext uri="{FF2B5EF4-FFF2-40B4-BE49-F238E27FC236}">
                <a16:creationId xmlns:a16="http://schemas.microsoft.com/office/drawing/2014/main" id="{99FCD548-B9CC-EE35-2B52-4B34D34D2B36}"/>
              </a:ext>
            </a:extLst>
          </p:cNvPr>
          <p:cNvSpPr txBox="1"/>
          <p:nvPr/>
        </p:nvSpPr>
        <p:spPr>
          <a:xfrm>
            <a:off x="381226" y="3422722"/>
            <a:ext cx="4308340" cy="646331"/>
          </a:xfrm>
          <a:prstGeom prst="rect">
            <a:avLst/>
          </a:prstGeom>
          <a:noFill/>
        </p:spPr>
        <p:txBody>
          <a:bodyPr wrap="square">
            <a:spAutoFit/>
          </a:bodyPr>
          <a:lstStyle/>
          <a:p>
            <a:pPr defTabSz="685800">
              <a:defRPr/>
            </a:pPr>
            <a:r>
              <a:rPr lang="da-DK" sz="900">
                <a:solidFill>
                  <a:srgbClr val="000000"/>
                </a:solidFill>
                <a:latin typeface="Open Sans" panose="020B0606030504020204" pitchFamily="34" charset="0"/>
                <a:ea typeface="Open Sans" panose="020B0606030504020204" pitchFamily="34" charset="0"/>
                <a:cs typeface="Open Sans" panose="020B0606030504020204" pitchFamily="34" charset="0"/>
              </a:rPr>
              <a:t>Josefine har åbnet “Sager” på Mit Overblik. Her kan hun få overblik over alle sine sager. På sin sag om boligstøtte kan hun se en tidslinje for sit sagsforløb. Her fremgår det, hvad der er sket i sagen, hvad status er, og hvad der skal ske, før sagen er afgjort. Hun kan også få genveje til relevant Digital Post. </a:t>
            </a:r>
          </a:p>
        </p:txBody>
      </p:sp>
      <p:sp>
        <p:nvSpPr>
          <p:cNvPr id="3" name="Shape 0">
            <a:extLst>
              <a:ext uri="{FF2B5EF4-FFF2-40B4-BE49-F238E27FC236}">
                <a16:creationId xmlns:a16="http://schemas.microsoft.com/office/drawing/2014/main" id="{FE39CD5D-C2D2-6385-4986-BC763F393AB2}"/>
              </a:ext>
            </a:extLst>
          </p:cNvPr>
          <p:cNvSpPr/>
          <p:nvPr/>
        </p:nvSpPr>
        <p:spPr>
          <a:xfrm flipV="1">
            <a:off x="549934" y="392803"/>
            <a:ext cx="8594066" cy="0"/>
          </a:xfrm>
          <a:prstGeom prst="line">
            <a:avLst/>
          </a:prstGeom>
          <a:noFill/>
          <a:ln w="12700">
            <a:solidFill>
              <a:srgbClr val="44831E"/>
            </a:solidFill>
            <a:prstDash val="solid"/>
          </a:ln>
        </p:spPr>
        <p:txBody>
          <a:bodyPr/>
          <a:lstStyle/>
          <a:p>
            <a:pPr defTabSz="685800">
              <a:defRPr/>
            </a:pPr>
            <a:endParaRPr lang="da-DK">
              <a:solidFill>
                <a:srgbClr val="000000"/>
              </a:solidFill>
              <a:latin typeface="Franklin Gothic Book"/>
            </a:endParaRPr>
          </a:p>
        </p:txBody>
      </p:sp>
      <p:pic>
        <p:nvPicPr>
          <p:cNvPr id="12" name="Billede 11">
            <a:extLst>
              <a:ext uri="{FF2B5EF4-FFF2-40B4-BE49-F238E27FC236}">
                <a16:creationId xmlns:a16="http://schemas.microsoft.com/office/drawing/2014/main" id="{CCD3502D-E866-07ED-1DFD-45CA667F436A}"/>
              </a:ext>
            </a:extLst>
          </p:cNvPr>
          <p:cNvPicPr>
            <a:picLocks noChangeAspect="1"/>
          </p:cNvPicPr>
          <p:nvPr/>
        </p:nvPicPr>
        <p:blipFill>
          <a:blip r:embed="rId4"/>
          <a:stretch>
            <a:fillRect/>
          </a:stretch>
        </p:blipFill>
        <p:spPr>
          <a:xfrm>
            <a:off x="517553" y="197542"/>
            <a:ext cx="390522" cy="390522"/>
          </a:xfrm>
          <a:prstGeom prst="rect">
            <a:avLst/>
          </a:prstGeom>
        </p:spPr>
      </p:pic>
      <p:sp>
        <p:nvSpPr>
          <p:cNvPr id="13" name="Text 3">
            <a:extLst>
              <a:ext uri="{FF2B5EF4-FFF2-40B4-BE49-F238E27FC236}">
                <a16:creationId xmlns:a16="http://schemas.microsoft.com/office/drawing/2014/main" id="{729451F1-C986-E75C-1534-3DF7F98B5B26}"/>
              </a:ext>
            </a:extLst>
          </p:cNvPr>
          <p:cNvSpPr/>
          <p:nvPr/>
        </p:nvSpPr>
        <p:spPr>
          <a:xfrm>
            <a:off x="-178832" y="638645"/>
            <a:ext cx="1818327" cy="462798"/>
          </a:xfrm>
          <a:prstGeom prst="rect">
            <a:avLst/>
          </a:prstGeom>
          <a:noFill/>
          <a:ln/>
        </p:spPr>
        <p:txBody>
          <a:bodyPr wrap="square" rtlCol="0" anchor="ctr"/>
          <a:lstStyle/>
          <a:p>
            <a:pPr algn="ctr" defTabSz="685800">
              <a:defRPr/>
            </a:pP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Josefine følger </a:t>
            </a:r>
            <a:b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med i sin </a:t>
            </a:r>
            <a:b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boligstøttesag</a:t>
            </a:r>
          </a:p>
        </p:txBody>
      </p:sp>
      <p:pic>
        <p:nvPicPr>
          <p:cNvPr id="8" name="Billede 7">
            <a:extLst>
              <a:ext uri="{FF2B5EF4-FFF2-40B4-BE49-F238E27FC236}">
                <a16:creationId xmlns:a16="http://schemas.microsoft.com/office/drawing/2014/main" id="{10F56992-5DDF-270F-3C87-05F010DFA03E}"/>
              </a:ext>
            </a:extLst>
          </p:cNvPr>
          <p:cNvPicPr>
            <a:picLocks noChangeAspect="1"/>
          </p:cNvPicPr>
          <p:nvPr/>
        </p:nvPicPr>
        <p:blipFill>
          <a:blip r:embed="rId5"/>
          <a:stretch>
            <a:fillRect/>
          </a:stretch>
        </p:blipFill>
        <p:spPr>
          <a:xfrm>
            <a:off x="530139" y="192609"/>
            <a:ext cx="400387" cy="400387"/>
          </a:xfrm>
          <a:prstGeom prst="rect">
            <a:avLst/>
          </a:prstGeom>
        </p:spPr>
      </p:pic>
      <p:pic>
        <p:nvPicPr>
          <p:cNvPr id="15" name="Billede 14">
            <a:extLst>
              <a:ext uri="{FF2B5EF4-FFF2-40B4-BE49-F238E27FC236}">
                <a16:creationId xmlns:a16="http://schemas.microsoft.com/office/drawing/2014/main" id="{0B8E77EF-B219-592F-74E8-6AEBE61D9F72}"/>
              </a:ext>
            </a:extLst>
          </p:cNvPr>
          <p:cNvPicPr>
            <a:picLocks noChangeAspect="1"/>
          </p:cNvPicPr>
          <p:nvPr/>
        </p:nvPicPr>
        <p:blipFill>
          <a:blip r:embed="rId6"/>
          <a:stretch>
            <a:fillRect/>
          </a:stretch>
        </p:blipFill>
        <p:spPr>
          <a:xfrm>
            <a:off x="381226" y="1235101"/>
            <a:ext cx="3374910" cy="2099120"/>
          </a:xfrm>
          <a:prstGeom prst="rect">
            <a:avLst/>
          </a:prstGeom>
        </p:spPr>
      </p:pic>
      <p:pic>
        <p:nvPicPr>
          <p:cNvPr id="2" name="Billede 1">
            <a:extLst>
              <a:ext uri="{FF2B5EF4-FFF2-40B4-BE49-F238E27FC236}">
                <a16:creationId xmlns:a16="http://schemas.microsoft.com/office/drawing/2014/main" id="{69068120-0A69-E52C-B53D-E8126D24F6A3}"/>
              </a:ext>
            </a:extLst>
          </p:cNvPr>
          <p:cNvPicPr>
            <a:picLocks noChangeAspect="1"/>
          </p:cNvPicPr>
          <p:nvPr/>
        </p:nvPicPr>
        <p:blipFill>
          <a:blip r:embed="rId7"/>
          <a:stretch>
            <a:fillRect/>
          </a:stretch>
        </p:blipFill>
        <p:spPr>
          <a:xfrm>
            <a:off x="4802797" y="184049"/>
            <a:ext cx="3791270" cy="4750693"/>
          </a:xfrm>
          <a:prstGeom prst="rect">
            <a:avLst/>
          </a:prstGeom>
        </p:spPr>
      </p:pic>
    </p:spTree>
    <p:extLst>
      <p:ext uri="{BB962C8B-B14F-4D97-AF65-F5344CB8AC3E}">
        <p14:creationId xmlns:p14="http://schemas.microsoft.com/office/powerpoint/2010/main" val="2974229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EAE243-65D0-B935-AD97-26818C66FB8C}"/>
            </a:ext>
          </a:extLst>
        </p:cNvPr>
        <p:cNvGrpSpPr/>
        <p:nvPr/>
      </p:nvGrpSpPr>
      <p:grpSpPr>
        <a:xfrm>
          <a:off x="0" y="0"/>
          <a:ext cx="0" cy="0"/>
          <a:chOff x="0" y="0"/>
          <a:chExt cx="0" cy="0"/>
        </a:xfrm>
      </p:grpSpPr>
      <p:sp>
        <p:nvSpPr>
          <p:cNvPr id="18" name="Ellipse 17">
            <a:extLst>
              <a:ext uri="{FF2B5EF4-FFF2-40B4-BE49-F238E27FC236}">
                <a16:creationId xmlns:a16="http://schemas.microsoft.com/office/drawing/2014/main" id="{5705841C-5C7E-19AE-9A49-A488FDC387E7}"/>
              </a:ext>
            </a:extLst>
          </p:cNvPr>
          <p:cNvSpPr/>
          <p:nvPr/>
        </p:nvSpPr>
        <p:spPr>
          <a:xfrm>
            <a:off x="503910" y="166381"/>
            <a:ext cx="452843" cy="452843"/>
          </a:xfrm>
          <a:prstGeom prst="ellipse">
            <a:avLst/>
          </a:prstGeom>
          <a:solidFill>
            <a:srgbClr val="44831E"/>
          </a:solidFill>
          <a:ln>
            <a:solidFill>
              <a:srgbClr val="44831E"/>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defRPr/>
            </a:pPr>
            <a:endParaRPr lang="da-DK" sz="1200" err="1">
              <a:solidFill>
                <a:srgbClr val="FFFFFF"/>
              </a:solidFill>
              <a:latin typeface="Franklin Gothic Book"/>
            </a:endParaRPr>
          </a:p>
        </p:txBody>
      </p:sp>
      <p:sp>
        <p:nvSpPr>
          <p:cNvPr id="4" name="Shape 2">
            <a:extLst>
              <a:ext uri="{FF2B5EF4-FFF2-40B4-BE49-F238E27FC236}">
                <a16:creationId xmlns:a16="http://schemas.microsoft.com/office/drawing/2014/main" id="{A2CA2A76-7C71-DEE1-0B44-6F262C70AD31}"/>
              </a:ext>
            </a:extLst>
          </p:cNvPr>
          <p:cNvSpPr/>
          <p:nvPr/>
        </p:nvSpPr>
        <p:spPr>
          <a:xfrm>
            <a:off x="259620" y="3289065"/>
            <a:ext cx="3951388" cy="969247"/>
          </a:xfrm>
          <a:prstGeom prst="roundRect">
            <a:avLst/>
          </a:prstGeom>
          <a:noFill/>
          <a:ln w="12700">
            <a:solidFill>
              <a:srgbClr val="44831E"/>
            </a:solidFill>
            <a:prstDash val="solid"/>
          </a:ln>
        </p:spPr>
        <p:txBody>
          <a:bodyPr/>
          <a:lstStyle/>
          <a:p>
            <a:pPr defTabSz="685800">
              <a:defRPr/>
            </a:pPr>
            <a:endParaRPr lang="da-DK">
              <a:solidFill>
                <a:srgbClr val="000000"/>
              </a:solidFill>
              <a:latin typeface="Franklin Gothic Book"/>
            </a:endParaRPr>
          </a:p>
        </p:txBody>
      </p:sp>
      <p:pic>
        <p:nvPicPr>
          <p:cNvPr id="5" name="Image 0" descr="preencoded.png">
            <a:extLst>
              <a:ext uri="{FF2B5EF4-FFF2-40B4-BE49-F238E27FC236}">
                <a16:creationId xmlns:a16="http://schemas.microsoft.com/office/drawing/2014/main" id="{AE0F42C7-835F-C3A0-0A09-050AF4785AB0}"/>
              </a:ext>
            </a:extLst>
          </p:cNvPr>
          <p:cNvPicPr>
            <a:picLocks noChangeAspect="1"/>
          </p:cNvPicPr>
          <p:nvPr/>
        </p:nvPicPr>
        <p:blipFill>
          <a:blip r:embed="rId3"/>
          <a:stretch>
            <a:fillRect/>
          </a:stretch>
        </p:blipFill>
        <p:spPr>
          <a:xfrm>
            <a:off x="291762" y="4661698"/>
            <a:ext cx="1911307" cy="273044"/>
          </a:xfrm>
          <a:prstGeom prst="rect">
            <a:avLst/>
          </a:prstGeom>
        </p:spPr>
      </p:pic>
      <p:sp>
        <p:nvSpPr>
          <p:cNvPr id="6" name="Tekstfelt 5">
            <a:extLst>
              <a:ext uri="{FF2B5EF4-FFF2-40B4-BE49-F238E27FC236}">
                <a16:creationId xmlns:a16="http://schemas.microsoft.com/office/drawing/2014/main" id="{B69CA066-0F23-4136-56D0-3EC44979A251}"/>
              </a:ext>
            </a:extLst>
          </p:cNvPr>
          <p:cNvSpPr txBox="1"/>
          <p:nvPr/>
        </p:nvSpPr>
        <p:spPr>
          <a:xfrm>
            <a:off x="381226" y="3422722"/>
            <a:ext cx="3670512" cy="784830"/>
          </a:xfrm>
          <a:prstGeom prst="rect">
            <a:avLst/>
          </a:prstGeom>
          <a:noFill/>
        </p:spPr>
        <p:txBody>
          <a:bodyPr wrap="square">
            <a:spAutoFit/>
          </a:bodyPr>
          <a:lstStyle/>
          <a:p>
            <a:pPr defTabSz="685800">
              <a:defRPr/>
            </a:pPr>
            <a:r>
              <a:rPr lang="da-DK" sz="900">
                <a:solidFill>
                  <a:srgbClr val="212121"/>
                </a:solidFill>
                <a:latin typeface="Open Sans" panose="020B0606030504020204" pitchFamily="34" charset="0"/>
                <a:ea typeface="Open Sans" panose="020B0606030504020204" pitchFamily="34" charset="0"/>
                <a:cs typeface="Open Sans" panose="020B0606030504020204" pitchFamily="34" charset="0"/>
              </a:rPr>
              <a:t>Josefine har åbnet “Betalinger og gæld” på Mit Overblik. Her kan hun få overblik over, hvad hun skal betale til det offentlige - fx børnebidrag. Hun kan også se, hvis en af hendes betalinger er blevet til gæld. Hun kan finde link til selvbetjeningen, hvor hun kan betale.</a:t>
            </a:r>
          </a:p>
        </p:txBody>
      </p:sp>
      <p:sp>
        <p:nvSpPr>
          <p:cNvPr id="3" name="Shape 0">
            <a:extLst>
              <a:ext uri="{FF2B5EF4-FFF2-40B4-BE49-F238E27FC236}">
                <a16:creationId xmlns:a16="http://schemas.microsoft.com/office/drawing/2014/main" id="{6D742425-1F45-A559-B0FC-099FA3EC1EEC}"/>
              </a:ext>
            </a:extLst>
          </p:cNvPr>
          <p:cNvSpPr/>
          <p:nvPr/>
        </p:nvSpPr>
        <p:spPr>
          <a:xfrm flipV="1">
            <a:off x="549934" y="392803"/>
            <a:ext cx="8594066" cy="0"/>
          </a:xfrm>
          <a:prstGeom prst="line">
            <a:avLst/>
          </a:prstGeom>
          <a:noFill/>
          <a:ln w="12700">
            <a:solidFill>
              <a:srgbClr val="44831E"/>
            </a:solidFill>
            <a:prstDash val="solid"/>
          </a:ln>
        </p:spPr>
        <p:txBody>
          <a:bodyPr/>
          <a:lstStyle/>
          <a:p>
            <a:pPr defTabSz="685800">
              <a:defRPr/>
            </a:pPr>
            <a:endParaRPr lang="da-DK">
              <a:solidFill>
                <a:srgbClr val="000000"/>
              </a:solidFill>
              <a:latin typeface="Franklin Gothic Book"/>
            </a:endParaRPr>
          </a:p>
        </p:txBody>
      </p:sp>
      <p:pic>
        <p:nvPicPr>
          <p:cNvPr id="12" name="Billede 11">
            <a:extLst>
              <a:ext uri="{FF2B5EF4-FFF2-40B4-BE49-F238E27FC236}">
                <a16:creationId xmlns:a16="http://schemas.microsoft.com/office/drawing/2014/main" id="{8DD4787E-51CC-66B5-8E35-8EA25216D6E0}"/>
              </a:ext>
            </a:extLst>
          </p:cNvPr>
          <p:cNvPicPr>
            <a:picLocks noChangeAspect="1"/>
          </p:cNvPicPr>
          <p:nvPr/>
        </p:nvPicPr>
        <p:blipFill>
          <a:blip r:embed="rId4"/>
          <a:stretch>
            <a:fillRect/>
          </a:stretch>
        </p:blipFill>
        <p:spPr>
          <a:xfrm>
            <a:off x="517553" y="197542"/>
            <a:ext cx="390522" cy="390522"/>
          </a:xfrm>
          <a:prstGeom prst="rect">
            <a:avLst/>
          </a:prstGeom>
        </p:spPr>
      </p:pic>
      <p:sp>
        <p:nvSpPr>
          <p:cNvPr id="13" name="Text 3">
            <a:extLst>
              <a:ext uri="{FF2B5EF4-FFF2-40B4-BE49-F238E27FC236}">
                <a16:creationId xmlns:a16="http://schemas.microsoft.com/office/drawing/2014/main" id="{B0015E5E-E092-0039-4444-15AADC99A2D9}"/>
              </a:ext>
            </a:extLst>
          </p:cNvPr>
          <p:cNvSpPr/>
          <p:nvPr/>
        </p:nvSpPr>
        <p:spPr>
          <a:xfrm>
            <a:off x="-178832" y="638645"/>
            <a:ext cx="1818327" cy="462798"/>
          </a:xfrm>
          <a:prstGeom prst="rect">
            <a:avLst/>
          </a:prstGeom>
          <a:noFill/>
          <a:ln/>
        </p:spPr>
        <p:txBody>
          <a:bodyPr wrap="square" rtlCol="0" anchor="ctr"/>
          <a:lstStyle/>
          <a:p>
            <a:pPr algn="ctr" defTabSz="685800">
              <a:defRPr/>
            </a:pP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Josefine kan se</a:t>
            </a:r>
            <a:b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br>
            <a: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t>detaljer for sin gæld</a:t>
            </a:r>
            <a:br>
              <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rPr>
            </a:br>
            <a:endParaRPr lang="da-DK" sz="825">
              <a:solidFill>
                <a:srgbClr val="21212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 name="Billede 7">
            <a:extLst>
              <a:ext uri="{FF2B5EF4-FFF2-40B4-BE49-F238E27FC236}">
                <a16:creationId xmlns:a16="http://schemas.microsoft.com/office/drawing/2014/main" id="{6AB539DB-6B35-526D-2665-50D77B73642B}"/>
              </a:ext>
            </a:extLst>
          </p:cNvPr>
          <p:cNvPicPr>
            <a:picLocks noChangeAspect="1"/>
          </p:cNvPicPr>
          <p:nvPr/>
        </p:nvPicPr>
        <p:blipFill>
          <a:blip r:embed="rId5"/>
          <a:stretch>
            <a:fillRect/>
          </a:stretch>
        </p:blipFill>
        <p:spPr>
          <a:xfrm>
            <a:off x="530139" y="192609"/>
            <a:ext cx="400387" cy="400387"/>
          </a:xfrm>
          <a:prstGeom prst="rect">
            <a:avLst/>
          </a:prstGeom>
        </p:spPr>
      </p:pic>
      <p:pic>
        <p:nvPicPr>
          <p:cNvPr id="10" name="Billede 9">
            <a:extLst>
              <a:ext uri="{FF2B5EF4-FFF2-40B4-BE49-F238E27FC236}">
                <a16:creationId xmlns:a16="http://schemas.microsoft.com/office/drawing/2014/main" id="{12A30D16-836A-8FEA-F52A-B1176E897BFB}"/>
              </a:ext>
            </a:extLst>
          </p:cNvPr>
          <p:cNvPicPr>
            <a:picLocks noChangeAspect="1"/>
          </p:cNvPicPr>
          <p:nvPr/>
        </p:nvPicPr>
        <p:blipFill>
          <a:blip r:embed="rId6"/>
          <a:stretch>
            <a:fillRect/>
          </a:stretch>
        </p:blipFill>
        <p:spPr>
          <a:xfrm>
            <a:off x="538931" y="208759"/>
            <a:ext cx="389882" cy="379305"/>
          </a:xfrm>
          <a:prstGeom prst="rect">
            <a:avLst/>
          </a:prstGeom>
        </p:spPr>
      </p:pic>
      <p:pic>
        <p:nvPicPr>
          <p:cNvPr id="7" name="Billede 6">
            <a:extLst>
              <a:ext uri="{FF2B5EF4-FFF2-40B4-BE49-F238E27FC236}">
                <a16:creationId xmlns:a16="http://schemas.microsoft.com/office/drawing/2014/main" id="{B209AA6F-1824-132B-F0BD-5D5215109094}"/>
              </a:ext>
            </a:extLst>
          </p:cNvPr>
          <p:cNvPicPr>
            <a:picLocks noChangeAspect="1"/>
          </p:cNvPicPr>
          <p:nvPr/>
        </p:nvPicPr>
        <p:blipFill>
          <a:blip r:embed="rId7"/>
          <a:stretch>
            <a:fillRect/>
          </a:stretch>
        </p:blipFill>
        <p:spPr>
          <a:xfrm>
            <a:off x="381226" y="1330059"/>
            <a:ext cx="3355202" cy="1990999"/>
          </a:xfrm>
          <a:prstGeom prst="rect">
            <a:avLst/>
          </a:prstGeom>
        </p:spPr>
      </p:pic>
      <p:pic>
        <p:nvPicPr>
          <p:cNvPr id="2" name="Billede 1">
            <a:extLst>
              <a:ext uri="{FF2B5EF4-FFF2-40B4-BE49-F238E27FC236}">
                <a16:creationId xmlns:a16="http://schemas.microsoft.com/office/drawing/2014/main" id="{8104FC7F-A959-5E2D-C6B9-634C97EF0D67}"/>
              </a:ext>
            </a:extLst>
          </p:cNvPr>
          <p:cNvPicPr>
            <a:picLocks noChangeAspect="1"/>
          </p:cNvPicPr>
          <p:nvPr/>
        </p:nvPicPr>
        <p:blipFill>
          <a:blip r:embed="rId8"/>
          <a:stretch>
            <a:fillRect/>
          </a:stretch>
        </p:blipFill>
        <p:spPr>
          <a:xfrm>
            <a:off x="4572000" y="148672"/>
            <a:ext cx="3832922" cy="4876709"/>
          </a:xfrm>
          <a:prstGeom prst="rect">
            <a:avLst/>
          </a:prstGeom>
        </p:spPr>
      </p:pic>
    </p:spTree>
    <p:extLst>
      <p:ext uri="{BB962C8B-B14F-4D97-AF65-F5344CB8AC3E}">
        <p14:creationId xmlns:p14="http://schemas.microsoft.com/office/powerpoint/2010/main" val="28196718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222258-ADF5-FBD0-4165-62B286D34F4A}"/>
            </a:ext>
          </a:extLst>
        </p:cNvPr>
        <p:cNvGrpSpPr/>
        <p:nvPr/>
      </p:nvGrpSpPr>
      <p:grpSpPr>
        <a:xfrm>
          <a:off x="0" y="0"/>
          <a:ext cx="0" cy="0"/>
          <a:chOff x="0" y="0"/>
          <a:chExt cx="0" cy="0"/>
        </a:xfrm>
      </p:grpSpPr>
      <p:pic>
        <p:nvPicPr>
          <p:cNvPr id="7" name="Billede 6">
            <a:extLst>
              <a:ext uri="{FF2B5EF4-FFF2-40B4-BE49-F238E27FC236}">
                <a16:creationId xmlns:a16="http://schemas.microsoft.com/office/drawing/2014/main" id="{A10C8732-3B03-F507-A52E-81486FB79D9E}"/>
              </a:ext>
            </a:extLst>
          </p:cNvPr>
          <p:cNvPicPr>
            <a:picLocks noChangeAspect="1"/>
          </p:cNvPicPr>
          <p:nvPr/>
        </p:nvPicPr>
        <p:blipFill>
          <a:blip r:embed="rId3"/>
          <a:srcRect b="7258"/>
          <a:stretch/>
        </p:blipFill>
        <p:spPr>
          <a:xfrm>
            <a:off x="3245062" y="468177"/>
            <a:ext cx="4682564" cy="3213289"/>
          </a:xfrm>
          <a:prstGeom prst="rect">
            <a:avLst/>
          </a:prstGeom>
        </p:spPr>
      </p:pic>
      <p:sp>
        <p:nvSpPr>
          <p:cNvPr id="2" name="Pladsholder til sidefod 1">
            <a:extLst>
              <a:ext uri="{FF2B5EF4-FFF2-40B4-BE49-F238E27FC236}">
                <a16:creationId xmlns:a16="http://schemas.microsoft.com/office/drawing/2014/main" id="{620F6620-5F38-67E0-AC52-3AA819766C8A}"/>
              </a:ext>
            </a:extLst>
          </p:cNvPr>
          <p:cNvSpPr>
            <a:spLocks noGrp="1"/>
          </p:cNvSpPr>
          <p:nvPr>
            <p:ph type="ftr" sz="quarter" idx="16"/>
          </p:nvPr>
        </p:nvSpPr>
        <p:spPr/>
        <p:txBody>
          <a:bodyPr/>
          <a:lstStyle/>
          <a:p>
            <a:pPr defTabSz="685800"/>
            <a:r>
              <a:rPr lang="da-DK">
                <a:latin typeface="Franklin Gothic Book"/>
              </a:rPr>
              <a:t>Digitaliseringsstyrelsen</a:t>
            </a:r>
          </a:p>
        </p:txBody>
      </p:sp>
      <p:sp>
        <p:nvSpPr>
          <p:cNvPr id="3" name="Pladsholder til slidenummer 2">
            <a:extLst>
              <a:ext uri="{FF2B5EF4-FFF2-40B4-BE49-F238E27FC236}">
                <a16:creationId xmlns:a16="http://schemas.microsoft.com/office/drawing/2014/main" id="{0B89790D-0503-FB8A-28DF-1EA900392242}"/>
              </a:ext>
            </a:extLst>
          </p:cNvPr>
          <p:cNvSpPr>
            <a:spLocks noGrp="1"/>
          </p:cNvSpPr>
          <p:nvPr>
            <p:ph type="sldNum" sz="quarter" idx="17"/>
          </p:nvPr>
        </p:nvSpPr>
        <p:spPr/>
        <p:txBody>
          <a:bodyPr/>
          <a:lstStyle/>
          <a:p>
            <a:pPr defTabSz="685800"/>
            <a:fld id="{24C8C45C-947F-4981-8B3F-4F32E973C901}" type="slidenum">
              <a:rPr lang="da-DK">
                <a:latin typeface="Franklin Gothic Book"/>
              </a:rPr>
              <a:pPr defTabSz="685800"/>
              <a:t>47</a:t>
            </a:fld>
            <a:endParaRPr lang="da-DK">
              <a:latin typeface="Franklin Gothic Book"/>
            </a:endParaRPr>
          </a:p>
        </p:txBody>
      </p:sp>
      <p:sp>
        <p:nvSpPr>
          <p:cNvPr id="5" name="Titel 4">
            <a:extLst>
              <a:ext uri="{FF2B5EF4-FFF2-40B4-BE49-F238E27FC236}">
                <a16:creationId xmlns:a16="http://schemas.microsoft.com/office/drawing/2014/main" id="{61645C8C-0BE8-6947-2382-C128C9C30136}"/>
              </a:ext>
            </a:extLst>
          </p:cNvPr>
          <p:cNvSpPr>
            <a:spLocks noGrp="1"/>
          </p:cNvSpPr>
          <p:nvPr>
            <p:ph type="ctrTitle"/>
          </p:nvPr>
        </p:nvSpPr>
        <p:spPr>
          <a:xfrm>
            <a:off x="389588" y="2354376"/>
            <a:ext cx="5505209" cy="893429"/>
          </a:xfrm>
        </p:spPr>
        <p:txBody>
          <a:bodyPr/>
          <a:lstStyle/>
          <a:p>
            <a:r>
              <a:rPr lang="da-DK"/>
              <a:t>SPØRGSMÅL?</a:t>
            </a:r>
            <a:br>
              <a:rPr lang="da-DK"/>
            </a:br>
            <a:br>
              <a:rPr lang="da-DK"/>
            </a:br>
            <a:br>
              <a:rPr lang="da-DK"/>
            </a:br>
            <a:br>
              <a:rPr lang="da-DK"/>
            </a:br>
            <a:br>
              <a:rPr lang="da-DK"/>
            </a:br>
            <a:r>
              <a:rPr lang="da-DK" sz="1500"/>
              <a:t>Hent materiale her: 	digst.dk/mit-overblik-information</a:t>
            </a:r>
            <a:br>
              <a:rPr lang="da-DK" sz="1500"/>
            </a:br>
            <a:r>
              <a:rPr lang="da-DK" sz="1500"/>
              <a:t>Skriv til os på: 		admin@borger.dk</a:t>
            </a:r>
          </a:p>
        </p:txBody>
      </p:sp>
      <p:pic>
        <p:nvPicPr>
          <p:cNvPr id="4" name="Billede 3">
            <a:extLst>
              <a:ext uri="{FF2B5EF4-FFF2-40B4-BE49-F238E27FC236}">
                <a16:creationId xmlns:a16="http://schemas.microsoft.com/office/drawing/2014/main" id="{6CC3BF35-D38C-99FC-9703-8F54DFCA3032}"/>
              </a:ext>
            </a:extLst>
          </p:cNvPr>
          <p:cNvPicPr>
            <a:picLocks noChangeAspect="1"/>
          </p:cNvPicPr>
          <p:nvPr/>
        </p:nvPicPr>
        <p:blipFill>
          <a:blip r:embed="rId4"/>
          <a:stretch>
            <a:fillRect/>
          </a:stretch>
        </p:blipFill>
        <p:spPr>
          <a:xfrm>
            <a:off x="6315040" y="2631568"/>
            <a:ext cx="2745428" cy="1647257"/>
          </a:xfrm>
          <a:prstGeom prst="rect">
            <a:avLst/>
          </a:prstGeom>
        </p:spPr>
      </p:pic>
    </p:spTree>
    <p:extLst>
      <p:ext uri="{BB962C8B-B14F-4D97-AF65-F5344CB8AC3E}">
        <p14:creationId xmlns:p14="http://schemas.microsoft.com/office/powerpoint/2010/main" val="11084956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67B88B-E464-0CD7-2EAA-8F6B02057DD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D344132-C853-7E41-0845-3CC07F48B278}"/>
              </a:ext>
            </a:extLst>
          </p:cNvPr>
          <p:cNvSpPr>
            <a:spLocks noGrp="1"/>
          </p:cNvSpPr>
          <p:nvPr>
            <p:ph type="title"/>
          </p:nvPr>
        </p:nvSpPr>
        <p:spPr>
          <a:xfrm>
            <a:off x="1397556" y="1998350"/>
            <a:ext cx="7092404" cy="792088"/>
          </a:xfrm>
        </p:spPr>
        <p:txBody>
          <a:bodyPr/>
          <a:lstStyle/>
          <a:p>
            <a:r>
              <a:rPr lang="da-DK" dirty="0"/>
              <a:t>Regionsmøder</a:t>
            </a:r>
            <a:endParaRPr lang="da-DK" b="0" dirty="0"/>
          </a:p>
        </p:txBody>
      </p:sp>
      <p:sp>
        <p:nvSpPr>
          <p:cNvPr id="3" name="Pladsholder til tekst 2">
            <a:extLst>
              <a:ext uri="{FF2B5EF4-FFF2-40B4-BE49-F238E27FC236}">
                <a16:creationId xmlns:a16="http://schemas.microsoft.com/office/drawing/2014/main" id="{13C515E9-76CA-7E3C-7BE4-42905CEA52DE}"/>
              </a:ext>
            </a:extLst>
          </p:cNvPr>
          <p:cNvSpPr>
            <a:spLocks noGrp="1"/>
          </p:cNvSpPr>
          <p:nvPr>
            <p:ph type="body" sz="quarter" idx="18"/>
          </p:nvPr>
        </p:nvSpPr>
        <p:spPr/>
        <p:txBody>
          <a:bodyPr/>
          <a:lstStyle/>
          <a:p>
            <a:endParaRPr lang="da-DK"/>
          </a:p>
        </p:txBody>
      </p:sp>
    </p:spTree>
    <p:extLst>
      <p:ext uri="{BB962C8B-B14F-4D97-AF65-F5344CB8AC3E}">
        <p14:creationId xmlns:p14="http://schemas.microsoft.com/office/powerpoint/2010/main" val="33303285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EC7449A9-2794-F906-9B82-96854069129D}"/>
              </a:ext>
            </a:extLst>
          </p:cNvPr>
          <p:cNvSpPr>
            <a:spLocks noGrp="1"/>
          </p:cNvSpPr>
          <p:nvPr>
            <p:ph type="title"/>
          </p:nvPr>
        </p:nvSpPr>
        <p:spPr/>
        <p:txBody>
          <a:bodyPr/>
          <a:lstStyle/>
          <a:p>
            <a:r>
              <a:rPr lang="da-DK" dirty="0"/>
              <a:t>Regionsmøder</a:t>
            </a:r>
          </a:p>
        </p:txBody>
      </p:sp>
      <p:sp>
        <p:nvSpPr>
          <p:cNvPr id="6" name="Pladsholder til tekst 5">
            <a:extLst>
              <a:ext uri="{FF2B5EF4-FFF2-40B4-BE49-F238E27FC236}">
                <a16:creationId xmlns:a16="http://schemas.microsoft.com/office/drawing/2014/main" id="{9870B786-1454-E86C-D118-FA0143350142}"/>
              </a:ext>
            </a:extLst>
          </p:cNvPr>
          <p:cNvSpPr>
            <a:spLocks noGrp="1"/>
          </p:cNvSpPr>
          <p:nvPr>
            <p:ph type="body" sz="quarter" idx="10"/>
          </p:nvPr>
        </p:nvSpPr>
        <p:spPr/>
        <p:txBody>
          <a:bodyPr/>
          <a:lstStyle/>
          <a:p>
            <a:pPr marL="171450" indent="-171450">
              <a:buFont typeface="Arial" panose="020B0604020202020204" pitchFamily="34" charset="0"/>
              <a:buChar char="•"/>
            </a:pPr>
            <a:r>
              <a:rPr lang="da-DK" sz="1600" dirty="0"/>
              <a:t>Fem møder gennemført</a:t>
            </a:r>
          </a:p>
          <a:p>
            <a:pPr marL="171450" indent="-171450">
              <a:buFont typeface="Arial" panose="020B0604020202020204" pitchFamily="34" charset="0"/>
              <a:buChar char="•"/>
            </a:pPr>
            <a:r>
              <a:rPr lang="da-DK" sz="1600" dirty="0"/>
              <a:t>Bliver gentaget igen i 2026</a:t>
            </a:r>
          </a:p>
          <a:p>
            <a:pPr marL="171450" indent="-171450">
              <a:buFont typeface="Arial" panose="020B0604020202020204" pitchFamily="34" charset="0"/>
              <a:buChar char="•"/>
            </a:pPr>
            <a:r>
              <a:rPr lang="da-DK" sz="1600" dirty="0"/>
              <a:t>Er der stemning for en opfølgning i januar?</a:t>
            </a:r>
          </a:p>
          <a:p>
            <a:endParaRPr lang="da-DK" dirty="0"/>
          </a:p>
        </p:txBody>
      </p:sp>
      <p:sp>
        <p:nvSpPr>
          <p:cNvPr id="7" name="Pladsholder til tekst 6">
            <a:extLst>
              <a:ext uri="{FF2B5EF4-FFF2-40B4-BE49-F238E27FC236}">
                <a16:creationId xmlns:a16="http://schemas.microsoft.com/office/drawing/2014/main" id="{B936BF9F-AF35-890C-2459-C3F986EFE13B}"/>
              </a:ext>
            </a:extLst>
          </p:cNvPr>
          <p:cNvSpPr>
            <a:spLocks noGrp="1"/>
          </p:cNvSpPr>
          <p:nvPr>
            <p:ph type="body" sz="quarter" idx="11"/>
          </p:nvPr>
        </p:nvSpPr>
        <p:spPr/>
        <p:txBody>
          <a:bodyPr/>
          <a:lstStyle/>
          <a:p>
            <a:r>
              <a:rPr lang="da-DK" dirty="0"/>
              <a:t>Dialogmøde dec. 2025</a:t>
            </a:r>
          </a:p>
        </p:txBody>
      </p:sp>
      <p:pic>
        <p:nvPicPr>
          <p:cNvPr id="11" name="Picture 8">
            <a:extLst>
              <a:ext uri="{FF2B5EF4-FFF2-40B4-BE49-F238E27FC236}">
                <a16:creationId xmlns:a16="http://schemas.microsoft.com/office/drawing/2014/main" id="{C38DE849-34CD-1E9E-1ADB-B79F3DF356C2}"/>
              </a:ext>
            </a:extLst>
          </p:cNvPr>
          <p:cNvPicPr>
            <a:picLocks noChangeAspect="1" noChangeArrowheads="1"/>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b="18644"/>
          <a:stretch>
            <a:fillRect/>
          </a:stretch>
        </p:blipFill>
        <p:spPr bwMode="auto">
          <a:xfrm>
            <a:off x="4876538" y="537742"/>
            <a:ext cx="3736960" cy="4258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05836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dsholder til billede 6">
            <a:extLst>
              <a:ext uri="{FF2B5EF4-FFF2-40B4-BE49-F238E27FC236}">
                <a16:creationId xmlns:a16="http://schemas.microsoft.com/office/drawing/2014/main" id="{ABEF304F-B60E-52FA-C3AE-F8118F57984E}"/>
              </a:ext>
            </a:extLst>
          </p:cNvPr>
          <p:cNvPicPr>
            <a:picLocks noGrp="1" noChangeAspect="1"/>
          </p:cNvPicPr>
          <p:nvPr>
            <p:ph type="pic" sz="quarter" idx="10"/>
          </p:nvPr>
        </p:nvPicPr>
        <p:blipFill>
          <a:blip r:embed="rId3"/>
          <a:srcRect r="-1" b="22498"/>
          <a:stretch>
            <a:fillRect/>
          </a:stretch>
        </p:blipFill>
        <p:spPr>
          <a:xfrm>
            <a:off x="3452326" y="931985"/>
            <a:ext cx="4744424" cy="3024319"/>
          </a:xfrm>
          <a:noFill/>
        </p:spPr>
      </p:pic>
      <p:sp>
        <p:nvSpPr>
          <p:cNvPr id="12" name="Title 2">
            <a:extLst>
              <a:ext uri="{FF2B5EF4-FFF2-40B4-BE49-F238E27FC236}">
                <a16:creationId xmlns:a16="http://schemas.microsoft.com/office/drawing/2014/main" id="{BF657A99-8DB6-B0CE-0F4D-4EC233913AF5}"/>
              </a:ext>
            </a:extLst>
          </p:cNvPr>
          <p:cNvSpPr>
            <a:spLocks noGrp="1"/>
          </p:cNvSpPr>
          <p:nvPr>
            <p:ph type="title"/>
          </p:nvPr>
        </p:nvSpPr>
        <p:spPr>
          <a:xfrm>
            <a:off x="971600" y="2068092"/>
            <a:ext cx="2088232" cy="1152127"/>
          </a:xfrm>
        </p:spPr>
        <p:txBody>
          <a:bodyPr/>
          <a:lstStyle/>
          <a:p>
            <a:r>
              <a:rPr lang="da-DK" noProof="0" dirty="0"/>
              <a:t>Se eller gense slides</a:t>
            </a:r>
            <a:br>
              <a:rPr lang="da-DK" noProof="0" dirty="0"/>
            </a:br>
            <a:br>
              <a:rPr lang="da-DK" noProof="0" dirty="0"/>
            </a:br>
            <a:endParaRPr lang="da-DK" noProof="0" dirty="0"/>
          </a:p>
        </p:txBody>
      </p:sp>
      <p:sp>
        <p:nvSpPr>
          <p:cNvPr id="14" name="Text Placeholder 3">
            <a:extLst>
              <a:ext uri="{FF2B5EF4-FFF2-40B4-BE49-F238E27FC236}">
                <a16:creationId xmlns:a16="http://schemas.microsoft.com/office/drawing/2014/main" id="{029DB91C-6362-B9B0-9E57-BD619E8E1974}"/>
              </a:ext>
            </a:extLst>
          </p:cNvPr>
          <p:cNvSpPr>
            <a:spLocks noGrp="1"/>
          </p:cNvSpPr>
          <p:nvPr>
            <p:ph type="body" sz="quarter" idx="15"/>
          </p:nvPr>
        </p:nvSpPr>
        <p:spPr>
          <a:xfrm>
            <a:off x="971600" y="1635646"/>
            <a:ext cx="2088232" cy="360437"/>
          </a:xfrm>
        </p:spPr>
        <p:txBody>
          <a:bodyPr/>
          <a:lstStyle/>
          <a:p>
            <a:r>
              <a:rPr lang="da-DK" dirty="0">
                <a:hlinkClick r:id="rId4"/>
              </a:rPr>
              <a:t>Borgerblikkets dokumentbibliotek</a:t>
            </a:r>
            <a:endParaRPr lang="en-US" dirty="0"/>
          </a:p>
        </p:txBody>
      </p:sp>
      <p:sp>
        <p:nvSpPr>
          <p:cNvPr id="16" name="Text Placeholder 4">
            <a:extLst>
              <a:ext uri="{FF2B5EF4-FFF2-40B4-BE49-F238E27FC236}">
                <a16:creationId xmlns:a16="http://schemas.microsoft.com/office/drawing/2014/main" id="{8B343BC1-DF5C-FACE-9F72-D6AF36A96DA9}"/>
              </a:ext>
            </a:extLst>
          </p:cNvPr>
          <p:cNvSpPr>
            <a:spLocks noGrp="1"/>
          </p:cNvSpPr>
          <p:nvPr>
            <p:ph type="body" sz="quarter" idx="18"/>
          </p:nvPr>
        </p:nvSpPr>
        <p:spPr>
          <a:xfrm>
            <a:off x="186110" y="4728638"/>
            <a:ext cx="219600" cy="219600"/>
          </a:xfrm>
        </p:spPr>
        <p:txBody>
          <a:bodyPr/>
          <a:lstStyle/>
          <a:p>
            <a:endParaRPr lang="en-US"/>
          </a:p>
        </p:txBody>
      </p:sp>
    </p:spTree>
    <p:extLst>
      <p:ext uri="{BB962C8B-B14F-4D97-AF65-F5344CB8AC3E}">
        <p14:creationId xmlns:p14="http://schemas.microsoft.com/office/powerpoint/2010/main" val="49091849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B45CCA-2F0E-62C9-F6FC-FE6E1661657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4894305-B8F0-75E3-208F-DA4DC02B0080}"/>
              </a:ext>
            </a:extLst>
          </p:cNvPr>
          <p:cNvSpPr>
            <a:spLocks noGrp="1"/>
          </p:cNvSpPr>
          <p:nvPr>
            <p:ph type="title"/>
          </p:nvPr>
        </p:nvSpPr>
        <p:spPr>
          <a:xfrm>
            <a:off x="1397556" y="1998350"/>
            <a:ext cx="7092404" cy="792088"/>
          </a:xfrm>
        </p:spPr>
        <p:txBody>
          <a:bodyPr/>
          <a:lstStyle/>
          <a:p>
            <a:pPr>
              <a:spcBef>
                <a:spcPts val="150"/>
              </a:spcBef>
            </a:pPr>
            <a:r>
              <a:rPr lang="da-DK" dirty="0">
                <a:latin typeface="Arial" panose="020B0604020202020204" pitchFamily="34" charset="0"/>
                <a:ea typeface="Aptos" panose="020B0004020202020204" pitchFamily="34" charset="0"/>
                <a:cs typeface="Aptos" panose="020B0004020202020204" pitchFamily="34" charset="0"/>
              </a:rPr>
              <a:t>Gæld &amp; betalinger</a:t>
            </a:r>
            <a:br>
              <a:rPr lang="da-DK" dirty="0">
                <a:latin typeface="Arial" panose="020B0604020202020204" pitchFamily="34" charset="0"/>
                <a:ea typeface="Aptos" panose="020B0004020202020204" pitchFamily="34" charset="0"/>
                <a:cs typeface="Aptos" panose="020B0004020202020204" pitchFamily="34" charset="0"/>
              </a:rPr>
            </a:br>
            <a:r>
              <a:rPr lang="da-DK" sz="2000" dirty="0">
                <a:latin typeface="Arial" panose="020B0604020202020204" pitchFamily="34" charset="0"/>
                <a:ea typeface="Aptos" panose="020B0004020202020204" pitchFamily="34" charset="0"/>
                <a:cs typeface="Aptos" panose="020B0004020202020204" pitchFamily="34" charset="0"/>
              </a:rPr>
              <a:t>Status på den nye løsning</a:t>
            </a:r>
          </a:p>
        </p:txBody>
      </p:sp>
      <p:sp>
        <p:nvSpPr>
          <p:cNvPr id="3" name="Pladsholder til tekst 2">
            <a:extLst>
              <a:ext uri="{FF2B5EF4-FFF2-40B4-BE49-F238E27FC236}">
                <a16:creationId xmlns:a16="http://schemas.microsoft.com/office/drawing/2014/main" id="{82B13983-F5A8-7AA7-811F-EB4A4B67567D}"/>
              </a:ext>
            </a:extLst>
          </p:cNvPr>
          <p:cNvSpPr>
            <a:spLocks noGrp="1"/>
          </p:cNvSpPr>
          <p:nvPr>
            <p:ph type="body" sz="quarter" idx="18"/>
          </p:nvPr>
        </p:nvSpPr>
        <p:spPr/>
        <p:txBody>
          <a:bodyPr/>
          <a:lstStyle/>
          <a:p>
            <a:endParaRPr lang="da-DK"/>
          </a:p>
        </p:txBody>
      </p:sp>
    </p:spTree>
    <p:extLst>
      <p:ext uri="{BB962C8B-B14F-4D97-AF65-F5344CB8AC3E}">
        <p14:creationId xmlns:p14="http://schemas.microsoft.com/office/powerpoint/2010/main" val="4598984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F68D2B-D4EB-D34E-165B-AE751405775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20B1B1C-D92A-BDE2-73AB-8F2BAEE6D43C}"/>
              </a:ext>
            </a:extLst>
          </p:cNvPr>
          <p:cNvSpPr>
            <a:spLocks noGrp="1"/>
          </p:cNvSpPr>
          <p:nvPr>
            <p:ph type="title"/>
          </p:nvPr>
        </p:nvSpPr>
        <p:spPr/>
        <p:txBody>
          <a:bodyPr/>
          <a:lstStyle/>
          <a:p>
            <a:r>
              <a:rPr lang="da-DK" dirty="0"/>
              <a:t>De første debitorsystemer i den nye Gæld &amp; betalinger går live til januar!</a:t>
            </a:r>
          </a:p>
        </p:txBody>
      </p:sp>
      <p:sp>
        <p:nvSpPr>
          <p:cNvPr id="3" name="Pladsholder til tekst 2">
            <a:extLst>
              <a:ext uri="{FF2B5EF4-FFF2-40B4-BE49-F238E27FC236}">
                <a16:creationId xmlns:a16="http://schemas.microsoft.com/office/drawing/2014/main" id="{B6AB1AC0-A36E-D7CD-3701-6F8315DAF70F}"/>
              </a:ext>
            </a:extLst>
          </p:cNvPr>
          <p:cNvSpPr>
            <a:spLocks noGrp="1"/>
          </p:cNvSpPr>
          <p:nvPr>
            <p:ph type="body" sz="quarter" idx="10"/>
          </p:nvPr>
        </p:nvSpPr>
        <p:spPr>
          <a:xfrm>
            <a:off x="468313" y="1419225"/>
            <a:ext cx="8207376" cy="3168650"/>
          </a:xfrm>
        </p:spPr>
        <p:txBody>
          <a:bodyPr/>
          <a:lstStyle/>
          <a:p>
            <a:pPr marL="0" indent="0">
              <a:buNone/>
            </a:pPr>
            <a:r>
              <a:rPr lang="da-DK" b="1" dirty="0"/>
              <a:t>Formålet</a:t>
            </a:r>
          </a:p>
          <a:p>
            <a:pPr lvl="1"/>
            <a:r>
              <a:rPr lang="da-DK" dirty="0"/>
              <a:t>Vis samtlige fordringer som borgeren allerede kan se på kommunernes selvbetjeningsløsning</a:t>
            </a:r>
          </a:p>
          <a:p>
            <a:pPr lvl="2">
              <a:buFont typeface="Wingdings" panose="05000000000000000000" pitchFamily="2" charset="2"/>
              <a:buChar char="Ø"/>
            </a:pPr>
            <a:r>
              <a:rPr lang="da-DK" dirty="0"/>
              <a:t>Både FK-ØKO og ikke FK-ØKO fordringer </a:t>
            </a:r>
          </a:p>
          <a:p>
            <a:pPr marL="252000" lvl="2" indent="0">
              <a:buNone/>
            </a:pPr>
            <a:endParaRPr lang="da-DK" dirty="0"/>
          </a:p>
          <a:p>
            <a:pPr marL="0" indent="0">
              <a:buNone/>
            </a:pPr>
            <a:r>
              <a:rPr lang="da-DK" b="1" dirty="0"/>
              <a:t>Status</a:t>
            </a:r>
            <a:r>
              <a:rPr lang="da-DK" dirty="0"/>
              <a:t> </a:t>
            </a:r>
          </a:p>
          <a:p>
            <a:pPr lvl="1"/>
            <a:r>
              <a:rPr lang="da-DK" dirty="0"/>
              <a:t>FK-ØKO ny service er nu i produktion på Serviceplatformen</a:t>
            </a:r>
          </a:p>
          <a:p>
            <a:pPr lvl="1"/>
            <a:r>
              <a:rPr lang="da-DK" dirty="0"/>
              <a:t>Borgerblikket er klar til at understøtte den nye service</a:t>
            </a:r>
          </a:p>
          <a:p>
            <a:pPr lvl="1"/>
            <a:r>
              <a:rPr lang="da-DK" dirty="0"/>
              <a:t>Integrationstestsforløbet med EG og KMD er næsten udført </a:t>
            </a:r>
          </a:p>
          <a:p>
            <a:pPr lvl="1"/>
            <a:r>
              <a:rPr lang="da-DK" dirty="0"/>
              <a:t>Opgraderingen fra debitorsystemerne følger i tre bølger: </a:t>
            </a:r>
          </a:p>
          <a:p>
            <a:pPr lvl="2">
              <a:buFont typeface="Wingdings" panose="05000000000000000000" pitchFamily="2" charset="2"/>
              <a:buChar char="Ø"/>
            </a:pPr>
            <a:r>
              <a:rPr lang="da-DK" dirty="0"/>
              <a:t>EG kommuner: uge 2 </a:t>
            </a:r>
          </a:p>
          <a:p>
            <a:pPr lvl="2">
              <a:buFont typeface="Wingdings" panose="05000000000000000000" pitchFamily="2" charset="2"/>
              <a:buChar char="Ø"/>
            </a:pPr>
            <a:r>
              <a:rPr lang="da-DK" dirty="0"/>
              <a:t>KMD kommuner: uge 2 </a:t>
            </a:r>
          </a:p>
          <a:p>
            <a:pPr lvl="2">
              <a:buFont typeface="Wingdings" panose="05000000000000000000" pitchFamily="2" charset="2"/>
              <a:buChar char="Ø"/>
            </a:pPr>
            <a:r>
              <a:rPr lang="da-DK" dirty="0"/>
              <a:t>Schultz: Q2 2026 (sandsynligvis senere)</a:t>
            </a:r>
          </a:p>
          <a:p>
            <a:pPr lvl="1"/>
            <a:r>
              <a:rPr lang="da-DK" dirty="0"/>
              <a:t>KLIK-opgaven skal publiceres</a:t>
            </a:r>
          </a:p>
          <a:p>
            <a:pPr lvl="1"/>
            <a:r>
              <a:rPr lang="da-DK" dirty="0"/>
              <a:t>Webinar for debitoransvarlige &amp; systemansvarlige på Borgerblikket i uge 2-3 (EG og KMD)</a:t>
            </a:r>
          </a:p>
        </p:txBody>
      </p:sp>
      <p:sp>
        <p:nvSpPr>
          <p:cNvPr id="4" name="Pladsholder til tekst 3">
            <a:extLst>
              <a:ext uri="{FF2B5EF4-FFF2-40B4-BE49-F238E27FC236}">
                <a16:creationId xmlns:a16="http://schemas.microsoft.com/office/drawing/2014/main" id="{D2394BB5-96A1-FBC0-8E44-37D0EDF89129}"/>
              </a:ext>
            </a:extLst>
          </p:cNvPr>
          <p:cNvSpPr>
            <a:spLocks noGrp="1"/>
          </p:cNvSpPr>
          <p:nvPr>
            <p:ph type="body" sz="quarter" idx="11"/>
          </p:nvPr>
        </p:nvSpPr>
        <p:spPr/>
        <p:txBody>
          <a:bodyPr/>
          <a:lstStyle/>
          <a:p>
            <a:endParaRPr lang="da-DK"/>
          </a:p>
        </p:txBody>
      </p:sp>
    </p:spTree>
    <p:extLst>
      <p:ext uri="{BB962C8B-B14F-4D97-AF65-F5344CB8AC3E}">
        <p14:creationId xmlns:p14="http://schemas.microsoft.com/office/powerpoint/2010/main" val="26551223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318DF8-AEAF-2A15-8EFF-06AC52326BCD}"/>
              </a:ext>
            </a:extLst>
          </p:cNvPr>
          <p:cNvSpPr>
            <a:spLocks noGrp="1"/>
          </p:cNvSpPr>
          <p:nvPr>
            <p:ph type="title"/>
          </p:nvPr>
        </p:nvSpPr>
        <p:spPr/>
        <p:txBody>
          <a:bodyPr/>
          <a:lstStyle/>
          <a:p>
            <a:r>
              <a:rPr lang="da-DK" dirty="0"/>
              <a:t>Tentativ plan for idriftsættelse af EG på version 1.4</a:t>
            </a:r>
          </a:p>
        </p:txBody>
      </p:sp>
      <p:sp>
        <p:nvSpPr>
          <p:cNvPr id="3" name="Pladsholder til tekst 2">
            <a:extLst>
              <a:ext uri="{FF2B5EF4-FFF2-40B4-BE49-F238E27FC236}">
                <a16:creationId xmlns:a16="http://schemas.microsoft.com/office/drawing/2014/main" id="{638AA38D-36F1-F9B3-4FD1-2AC212966844}"/>
              </a:ext>
            </a:extLst>
          </p:cNvPr>
          <p:cNvSpPr>
            <a:spLocks noGrp="1"/>
          </p:cNvSpPr>
          <p:nvPr>
            <p:ph type="body" sz="quarter" idx="10"/>
          </p:nvPr>
        </p:nvSpPr>
        <p:spPr/>
        <p:txBody>
          <a:bodyPr/>
          <a:lstStyle/>
          <a:p>
            <a:r>
              <a:rPr lang="da-DK" dirty="0"/>
              <a:t>EG vil klargøre releasen den 8. jan. 2026. Derefter vil de lægge version på hos de forskellige kommuner den 12. og 13. jan. 2026.</a:t>
            </a:r>
          </a:p>
          <a:p>
            <a:r>
              <a:rPr lang="da-DK" dirty="0"/>
              <a:t>Dog med undtagelse af to kommuner, der ikke ønsker nogle ændring i forbindelse med årsafslutning.</a:t>
            </a:r>
          </a:p>
          <a:p>
            <a:r>
              <a:rPr lang="da-DK" dirty="0"/>
              <a:t>Netcompany vil om aftenen den 13. jan. 2026 ændre de kommuner, der er klar til at overgå til version 1.4, ud fra </a:t>
            </a:r>
            <a:r>
              <a:rPr lang="da-DK" dirty="0" err="1"/>
              <a:t>EG’s</a:t>
            </a:r>
            <a:r>
              <a:rPr lang="da-DK" dirty="0"/>
              <a:t> liste.</a:t>
            </a:r>
          </a:p>
          <a:p>
            <a:r>
              <a:rPr lang="da-DK" dirty="0"/>
              <a:t>14. jan. 2026 afholder KOMBIT et webinar for alle EG-kommuner. Her vil vi gennemgå, hvilke ændringer der skal foretages for at version 1.4 virker. Dette webinar vil blive optaget.</a:t>
            </a:r>
          </a:p>
          <a:p>
            <a:endParaRPr lang="da-DK" dirty="0"/>
          </a:p>
        </p:txBody>
      </p:sp>
      <p:sp>
        <p:nvSpPr>
          <p:cNvPr id="4" name="Pladsholder til tekst 3">
            <a:extLst>
              <a:ext uri="{FF2B5EF4-FFF2-40B4-BE49-F238E27FC236}">
                <a16:creationId xmlns:a16="http://schemas.microsoft.com/office/drawing/2014/main" id="{F9AE3145-CBAF-60D5-E879-668F0754C256}"/>
              </a:ext>
            </a:extLst>
          </p:cNvPr>
          <p:cNvSpPr>
            <a:spLocks noGrp="1"/>
          </p:cNvSpPr>
          <p:nvPr>
            <p:ph type="body" sz="quarter" idx="11"/>
          </p:nvPr>
        </p:nvSpPr>
        <p:spPr/>
        <p:txBody>
          <a:bodyPr/>
          <a:lstStyle/>
          <a:p>
            <a:endParaRPr lang="da-DK"/>
          </a:p>
        </p:txBody>
      </p:sp>
    </p:spTree>
    <p:extLst>
      <p:ext uri="{BB962C8B-B14F-4D97-AF65-F5344CB8AC3E}">
        <p14:creationId xmlns:p14="http://schemas.microsoft.com/office/powerpoint/2010/main" val="39451940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9C8647-6860-5AC9-F1A2-0C5803EE2D7E}"/>
              </a:ext>
            </a:extLst>
          </p:cNvPr>
          <p:cNvSpPr>
            <a:spLocks noGrp="1"/>
          </p:cNvSpPr>
          <p:nvPr>
            <p:ph type="title"/>
          </p:nvPr>
        </p:nvSpPr>
        <p:spPr/>
        <p:txBody>
          <a:bodyPr/>
          <a:lstStyle/>
          <a:p>
            <a:r>
              <a:rPr lang="da-DK" dirty="0"/>
              <a:t>Konfigurationsmodulen</a:t>
            </a:r>
          </a:p>
        </p:txBody>
      </p:sp>
      <p:sp>
        <p:nvSpPr>
          <p:cNvPr id="3" name="Pladsholder til tekst 2">
            <a:extLst>
              <a:ext uri="{FF2B5EF4-FFF2-40B4-BE49-F238E27FC236}">
                <a16:creationId xmlns:a16="http://schemas.microsoft.com/office/drawing/2014/main" id="{D891E5D8-2E01-8198-2561-0259F5D85EC5}"/>
              </a:ext>
            </a:extLst>
          </p:cNvPr>
          <p:cNvSpPr>
            <a:spLocks noGrp="1"/>
          </p:cNvSpPr>
          <p:nvPr>
            <p:ph type="body" sz="quarter" idx="10"/>
          </p:nvPr>
        </p:nvSpPr>
        <p:spPr/>
        <p:txBody>
          <a:bodyPr/>
          <a:lstStyle/>
          <a:p>
            <a:endParaRPr lang="da-DK"/>
          </a:p>
        </p:txBody>
      </p:sp>
      <p:sp>
        <p:nvSpPr>
          <p:cNvPr id="4" name="Pladsholder til tekst 3">
            <a:extLst>
              <a:ext uri="{FF2B5EF4-FFF2-40B4-BE49-F238E27FC236}">
                <a16:creationId xmlns:a16="http://schemas.microsoft.com/office/drawing/2014/main" id="{34A648A6-2546-F6B6-48C8-7084AB78D949}"/>
              </a:ext>
            </a:extLst>
          </p:cNvPr>
          <p:cNvSpPr>
            <a:spLocks noGrp="1"/>
          </p:cNvSpPr>
          <p:nvPr>
            <p:ph type="body" sz="quarter" idx="11"/>
          </p:nvPr>
        </p:nvSpPr>
        <p:spPr/>
        <p:txBody>
          <a:bodyPr/>
          <a:lstStyle/>
          <a:p>
            <a:endParaRPr lang="da-DK"/>
          </a:p>
        </p:txBody>
      </p:sp>
      <p:pic>
        <p:nvPicPr>
          <p:cNvPr id="6" name="Billede 5">
            <a:extLst>
              <a:ext uri="{FF2B5EF4-FFF2-40B4-BE49-F238E27FC236}">
                <a16:creationId xmlns:a16="http://schemas.microsoft.com/office/drawing/2014/main" id="{7BCCEC18-0EFA-8871-C01D-D37606B29E67}"/>
              </a:ext>
            </a:extLst>
          </p:cNvPr>
          <p:cNvPicPr>
            <a:picLocks noChangeAspect="1"/>
          </p:cNvPicPr>
          <p:nvPr/>
        </p:nvPicPr>
        <p:blipFill>
          <a:blip r:embed="rId2"/>
          <a:srcRect b="11888"/>
          <a:stretch>
            <a:fillRect/>
          </a:stretch>
        </p:blipFill>
        <p:spPr>
          <a:xfrm>
            <a:off x="404516" y="1275035"/>
            <a:ext cx="8533776" cy="3710641"/>
          </a:xfrm>
          <a:prstGeom prst="rect">
            <a:avLst/>
          </a:prstGeom>
        </p:spPr>
      </p:pic>
      <p:sp>
        <p:nvSpPr>
          <p:cNvPr id="7" name="Rektangel 6">
            <a:extLst>
              <a:ext uri="{FF2B5EF4-FFF2-40B4-BE49-F238E27FC236}">
                <a16:creationId xmlns:a16="http://schemas.microsoft.com/office/drawing/2014/main" id="{566F4739-B777-2C9B-EBA3-C0FE450CC292}"/>
              </a:ext>
            </a:extLst>
          </p:cNvPr>
          <p:cNvSpPr/>
          <p:nvPr/>
        </p:nvSpPr>
        <p:spPr>
          <a:xfrm>
            <a:off x="1609060" y="2034363"/>
            <a:ext cx="1460205" cy="375684"/>
          </a:xfrm>
          <a:prstGeom prst="rect">
            <a:avLst/>
          </a:prstGeom>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300"/>
              </a:spcAft>
            </a:pPr>
            <a:endParaRPr lang="da-DK" sz="1000" dirty="0">
              <a:solidFill>
                <a:schemeClr val="tx1"/>
              </a:solidFill>
              <a:latin typeface="Neue Haas Grotesk Text Pro" panose="020B0504020202020204" pitchFamily="34" charset="77"/>
              <a:cs typeface="Arial"/>
            </a:endParaRPr>
          </a:p>
        </p:txBody>
      </p:sp>
    </p:spTree>
    <p:extLst>
      <p:ext uri="{BB962C8B-B14F-4D97-AF65-F5344CB8AC3E}">
        <p14:creationId xmlns:p14="http://schemas.microsoft.com/office/powerpoint/2010/main" val="17796095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D30D7E-5160-AADE-1235-C6E6CF5F26A2}"/>
              </a:ext>
            </a:extLst>
          </p:cNvPr>
          <p:cNvSpPr>
            <a:spLocks noGrp="1"/>
          </p:cNvSpPr>
          <p:nvPr>
            <p:ph type="title"/>
          </p:nvPr>
        </p:nvSpPr>
        <p:spPr/>
        <p:txBody>
          <a:bodyPr/>
          <a:lstStyle/>
          <a:p>
            <a:endParaRPr lang="da-DK"/>
          </a:p>
        </p:txBody>
      </p:sp>
      <p:sp>
        <p:nvSpPr>
          <p:cNvPr id="3" name="Pladsholder til tekst 2">
            <a:extLst>
              <a:ext uri="{FF2B5EF4-FFF2-40B4-BE49-F238E27FC236}">
                <a16:creationId xmlns:a16="http://schemas.microsoft.com/office/drawing/2014/main" id="{1DFC0D4C-05EF-0C29-B77E-B5B2CFE9F320}"/>
              </a:ext>
            </a:extLst>
          </p:cNvPr>
          <p:cNvSpPr>
            <a:spLocks noGrp="1"/>
          </p:cNvSpPr>
          <p:nvPr>
            <p:ph type="body" sz="quarter" idx="10"/>
          </p:nvPr>
        </p:nvSpPr>
        <p:spPr/>
        <p:txBody>
          <a:bodyPr/>
          <a:lstStyle/>
          <a:p>
            <a:endParaRPr lang="da-DK"/>
          </a:p>
        </p:txBody>
      </p:sp>
      <p:sp>
        <p:nvSpPr>
          <p:cNvPr id="4" name="Pladsholder til tekst 3">
            <a:extLst>
              <a:ext uri="{FF2B5EF4-FFF2-40B4-BE49-F238E27FC236}">
                <a16:creationId xmlns:a16="http://schemas.microsoft.com/office/drawing/2014/main" id="{E646FA6E-1BBD-B7E6-6C7A-C26142963871}"/>
              </a:ext>
            </a:extLst>
          </p:cNvPr>
          <p:cNvSpPr>
            <a:spLocks noGrp="1"/>
          </p:cNvSpPr>
          <p:nvPr>
            <p:ph type="body" sz="quarter" idx="11"/>
          </p:nvPr>
        </p:nvSpPr>
        <p:spPr/>
        <p:txBody>
          <a:bodyPr/>
          <a:lstStyle/>
          <a:p>
            <a:endParaRPr lang="da-DK"/>
          </a:p>
        </p:txBody>
      </p:sp>
      <p:pic>
        <p:nvPicPr>
          <p:cNvPr id="6" name="Billede 5">
            <a:extLst>
              <a:ext uri="{FF2B5EF4-FFF2-40B4-BE49-F238E27FC236}">
                <a16:creationId xmlns:a16="http://schemas.microsoft.com/office/drawing/2014/main" id="{46035664-AE90-AABF-A611-9FADA15EF0C9}"/>
              </a:ext>
            </a:extLst>
          </p:cNvPr>
          <p:cNvPicPr>
            <a:picLocks noChangeAspect="1"/>
          </p:cNvPicPr>
          <p:nvPr/>
        </p:nvPicPr>
        <p:blipFill>
          <a:blip r:embed="rId2"/>
          <a:stretch>
            <a:fillRect/>
          </a:stretch>
        </p:blipFill>
        <p:spPr>
          <a:xfrm>
            <a:off x="418213" y="235071"/>
            <a:ext cx="8605284" cy="4773734"/>
          </a:xfrm>
          <a:prstGeom prst="rect">
            <a:avLst/>
          </a:prstGeom>
        </p:spPr>
      </p:pic>
    </p:spTree>
    <p:extLst>
      <p:ext uri="{BB962C8B-B14F-4D97-AF65-F5344CB8AC3E}">
        <p14:creationId xmlns:p14="http://schemas.microsoft.com/office/powerpoint/2010/main" val="24546997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F867B8-940A-C96D-39B3-1F2B8145952B}"/>
              </a:ext>
            </a:extLst>
          </p:cNvPr>
          <p:cNvSpPr>
            <a:spLocks noGrp="1"/>
          </p:cNvSpPr>
          <p:nvPr>
            <p:ph type="title"/>
          </p:nvPr>
        </p:nvSpPr>
        <p:spPr/>
        <p:txBody>
          <a:bodyPr/>
          <a:lstStyle/>
          <a:p>
            <a:r>
              <a:rPr lang="da-DK" dirty="0"/>
              <a:t>Kalenderaftaler &amp; frister</a:t>
            </a:r>
            <a:br>
              <a:rPr lang="da-DK" dirty="0"/>
            </a:br>
            <a:r>
              <a:rPr lang="da-DK" sz="1400" dirty="0"/>
              <a:t>Forretningsmæssig behovsanalyse hos udvalgte kommuner</a:t>
            </a:r>
            <a:endParaRPr lang="da-DK" dirty="0"/>
          </a:p>
        </p:txBody>
      </p:sp>
      <p:sp>
        <p:nvSpPr>
          <p:cNvPr id="3" name="Pladsholder til tekst 2">
            <a:extLst>
              <a:ext uri="{FF2B5EF4-FFF2-40B4-BE49-F238E27FC236}">
                <a16:creationId xmlns:a16="http://schemas.microsoft.com/office/drawing/2014/main" id="{46BF0503-00B7-BD6F-2BB5-F4B931DAFBDE}"/>
              </a:ext>
            </a:extLst>
          </p:cNvPr>
          <p:cNvSpPr>
            <a:spLocks noGrp="1"/>
          </p:cNvSpPr>
          <p:nvPr>
            <p:ph type="body" sz="quarter" idx="18"/>
          </p:nvPr>
        </p:nvSpPr>
        <p:spPr/>
        <p:txBody>
          <a:bodyPr/>
          <a:lstStyle/>
          <a:p>
            <a:endParaRPr lang="da-DK"/>
          </a:p>
        </p:txBody>
      </p:sp>
    </p:spTree>
    <p:extLst>
      <p:ext uri="{BB962C8B-B14F-4D97-AF65-F5344CB8AC3E}">
        <p14:creationId xmlns:p14="http://schemas.microsoft.com/office/powerpoint/2010/main" val="284004898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Database med massiv udfyldning">
            <a:extLst>
              <a:ext uri="{FF2B5EF4-FFF2-40B4-BE49-F238E27FC236}">
                <a16:creationId xmlns:a16="http://schemas.microsoft.com/office/drawing/2014/main" id="{8034901D-5972-3C42-5733-58D76FCC7F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2211" y="3072973"/>
            <a:ext cx="394710" cy="394710"/>
          </a:xfrm>
          <a:prstGeom prst="rect">
            <a:avLst/>
          </a:prstGeom>
        </p:spPr>
      </p:pic>
      <p:sp>
        <p:nvSpPr>
          <p:cNvPr id="6" name="Rektangel 5">
            <a:extLst>
              <a:ext uri="{FF2B5EF4-FFF2-40B4-BE49-F238E27FC236}">
                <a16:creationId xmlns:a16="http://schemas.microsoft.com/office/drawing/2014/main" id="{98E3BA0A-A4DF-816B-C8DD-4C8616493D40}"/>
              </a:ext>
            </a:extLst>
          </p:cNvPr>
          <p:cNvSpPr/>
          <p:nvPr/>
        </p:nvSpPr>
        <p:spPr>
          <a:xfrm>
            <a:off x="4413954" y="2276925"/>
            <a:ext cx="1020899" cy="262086"/>
          </a:xfrm>
          <a:prstGeom prst="rect">
            <a:avLst/>
          </a:prstGeom>
          <a:noFill/>
          <a:ln w="12700">
            <a:solidFill>
              <a:srgbClr val="7030A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a:solidFill>
                  <a:srgbClr val="7030A0"/>
                </a:solidFill>
                <a:latin typeface="Arial"/>
                <a:cs typeface="Arial"/>
              </a:rPr>
              <a:t>Borgerblikket</a:t>
            </a:r>
          </a:p>
        </p:txBody>
      </p:sp>
      <p:sp>
        <p:nvSpPr>
          <p:cNvPr id="7" name="Rektangel 6">
            <a:extLst>
              <a:ext uri="{FF2B5EF4-FFF2-40B4-BE49-F238E27FC236}">
                <a16:creationId xmlns:a16="http://schemas.microsoft.com/office/drawing/2014/main" id="{0E49E650-F90B-A1A8-3D71-DBCABFBE6F64}"/>
              </a:ext>
            </a:extLst>
          </p:cNvPr>
          <p:cNvSpPr/>
          <p:nvPr/>
        </p:nvSpPr>
        <p:spPr>
          <a:xfrm>
            <a:off x="652501" y="1152852"/>
            <a:ext cx="1026236" cy="250048"/>
          </a:xfrm>
          <a:prstGeom prst="rect">
            <a:avLst/>
          </a:prstGeom>
          <a:noFill/>
          <a:ln w="12700">
            <a:solidFill>
              <a:srgbClr val="00B05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800">
                <a:solidFill>
                  <a:srgbClr val="00B050"/>
                </a:solidFill>
                <a:latin typeface="Arial"/>
                <a:cs typeface="Arial"/>
              </a:rPr>
              <a:t>NSP </a:t>
            </a:r>
            <a:br>
              <a:rPr lang="da-DK" sz="800">
                <a:solidFill>
                  <a:srgbClr val="00B050"/>
                </a:solidFill>
                <a:latin typeface="Arial"/>
                <a:cs typeface="Arial"/>
              </a:rPr>
            </a:br>
            <a:r>
              <a:rPr lang="da-DK" sz="500">
                <a:solidFill>
                  <a:srgbClr val="00B050"/>
                </a:solidFill>
                <a:latin typeface="Arial"/>
                <a:cs typeface="Arial"/>
              </a:rPr>
              <a:t>(Samlet Patientoverblik)</a:t>
            </a:r>
            <a:endParaRPr lang="da-DK" sz="800">
              <a:solidFill>
                <a:srgbClr val="00B050"/>
              </a:solidFill>
              <a:latin typeface="Arial"/>
              <a:cs typeface="Arial"/>
            </a:endParaRPr>
          </a:p>
        </p:txBody>
      </p:sp>
      <p:sp>
        <p:nvSpPr>
          <p:cNvPr id="8" name="Rektangel 7">
            <a:extLst>
              <a:ext uri="{FF2B5EF4-FFF2-40B4-BE49-F238E27FC236}">
                <a16:creationId xmlns:a16="http://schemas.microsoft.com/office/drawing/2014/main" id="{00EA0715-2F9D-1A65-521E-790C88FE082C}"/>
              </a:ext>
            </a:extLst>
          </p:cNvPr>
          <p:cNvSpPr/>
          <p:nvPr/>
        </p:nvSpPr>
        <p:spPr>
          <a:xfrm>
            <a:off x="652499" y="1539756"/>
            <a:ext cx="1026237" cy="250048"/>
          </a:xfrm>
          <a:prstGeom prst="rect">
            <a:avLst/>
          </a:prstGeom>
          <a:noFill/>
          <a:ln w="12700">
            <a:solidFill>
              <a:srgbClr val="00B05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800">
                <a:solidFill>
                  <a:srgbClr val="00B050"/>
                </a:solidFill>
                <a:latin typeface="Arial"/>
                <a:cs typeface="Arial"/>
              </a:rPr>
              <a:t>DFDG </a:t>
            </a:r>
            <a:br>
              <a:rPr lang="da-DK" sz="800">
                <a:solidFill>
                  <a:srgbClr val="00B050"/>
                </a:solidFill>
                <a:latin typeface="Arial"/>
                <a:cs typeface="Arial"/>
              </a:rPr>
            </a:br>
            <a:r>
              <a:rPr lang="da-DK" sz="500">
                <a:solidFill>
                  <a:srgbClr val="00B050"/>
                </a:solidFill>
                <a:latin typeface="Arial"/>
                <a:cs typeface="Arial"/>
              </a:rPr>
              <a:t>(</a:t>
            </a:r>
            <a:r>
              <a:rPr lang="da-DK" sz="500" err="1">
                <a:solidFill>
                  <a:srgbClr val="00B050"/>
                </a:solidFill>
                <a:latin typeface="Arial"/>
                <a:cs typeface="Arial"/>
              </a:rPr>
              <a:t>JobNet</a:t>
            </a:r>
            <a:r>
              <a:rPr lang="da-DK" sz="500">
                <a:solidFill>
                  <a:srgbClr val="00B050"/>
                </a:solidFill>
                <a:latin typeface="Arial"/>
                <a:cs typeface="Arial"/>
              </a:rPr>
              <a:t>)</a:t>
            </a:r>
            <a:endParaRPr lang="da-DK" sz="800">
              <a:solidFill>
                <a:srgbClr val="00B050"/>
              </a:solidFill>
              <a:latin typeface="Arial"/>
              <a:cs typeface="Arial"/>
            </a:endParaRPr>
          </a:p>
        </p:txBody>
      </p:sp>
      <p:sp>
        <p:nvSpPr>
          <p:cNvPr id="13" name="Rektangel 12">
            <a:extLst>
              <a:ext uri="{FF2B5EF4-FFF2-40B4-BE49-F238E27FC236}">
                <a16:creationId xmlns:a16="http://schemas.microsoft.com/office/drawing/2014/main" id="{A9A7DC31-37B4-9C7B-2ABB-9613E3F610AD}"/>
              </a:ext>
            </a:extLst>
          </p:cNvPr>
          <p:cNvSpPr/>
          <p:nvPr/>
        </p:nvSpPr>
        <p:spPr>
          <a:xfrm>
            <a:off x="652501" y="1907793"/>
            <a:ext cx="1026237" cy="250048"/>
          </a:xfrm>
          <a:prstGeom prst="rect">
            <a:avLst/>
          </a:prstGeom>
          <a:noFill/>
          <a:ln w="12700">
            <a:solidFill>
              <a:srgbClr val="0070C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800">
                <a:solidFill>
                  <a:srgbClr val="0070C0"/>
                </a:solidFill>
                <a:latin typeface="Arial"/>
                <a:cs typeface="Arial"/>
              </a:rPr>
              <a:t>NOVAX Sundhed</a:t>
            </a:r>
          </a:p>
          <a:p>
            <a:pPr algn="ctr"/>
            <a:r>
              <a:rPr lang="da-DK" sz="500">
                <a:solidFill>
                  <a:srgbClr val="0070C0"/>
                </a:solidFill>
                <a:latin typeface="Arial"/>
                <a:cs typeface="Arial"/>
              </a:rPr>
              <a:t>(Sundhedspleje)</a:t>
            </a:r>
          </a:p>
        </p:txBody>
      </p:sp>
      <p:sp>
        <p:nvSpPr>
          <p:cNvPr id="21" name="Rektangel 20">
            <a:extLst>
              <a:ext uri="{FF2B5EF4-FFF2-40B4-BE49-F238E27FC236}">
                <a16:creationId xmlns:a16="http://schemas.microsoft.com/office/drawing/2014/main" id="{D2613D3C-7088-5111-AD74-46B4D79BD5AC}"/>
              </a:ext>
            </a:extLst>
          </p:cNvPr>
          <p:cNvSpPr/>
          <p:nvPr/>
        </p:nvSpPr>
        <p:spPr>
          <a:xfrm>
            <a:off x="652501" y="2337015"/>
            <a:ext cx="1026236" cy="250048"/>
          </a:xfrm>
          <a:prstGeom prst="rect">
            <a:avLst/>
          </a:prstGeom>
          <a:noFill/>
          <a:ln w="12700">
            <a:solidFill>
              <a:srgbClr val="0070C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800">
                <a:solidFill>
                  <a:srgbClr val="0070C0"/>
                </a:solidFill>
                <a:latin typeface="Arial"/>
                <a:cs typeface="Arial"/>
              </a:rPr>
              <a:t>T2K Booking</a:t>
            </a:r>
            <a:br>
              <a:rPr lang="da-DK" sz="800">
                <a:solidFill>
                  <a:srgbClr val="0070C0"/>
                </a:solidFill>
                <a:latin typeface="Arial"/>
                <a:cs typeface="Arial"/>
              </a:rPr>
            </a:br>
            <a:r>
              <a:rPr lang="da-DK" sz="500">
                <a:solidFill>
                  <a:srgbClr val="0070C0"/>
                </a:solidFill>
                <a:latin typeface="Arial"/>
                <a:cs typeface="Arial"/>
              </a:rPr>
              <a:t>(Tandpleje)</a:t>
            </a:r>
            <a:endParaRPr lang="da-DK" sz="800">
              <a:solidFill>
                <a:srgbClr val="0070C0"/>
              </a:solidFill>
              <a:latin typeface="Arial"/>
              <a:cs typeface="Arial"/>
            </a:endParaRPr>
          </a:p>
        </p:txBody>
      </p:sp>
      <p:sp>
        <p:nvSpPr>
          <p:cNvPr id="23" name="Rektangel 22">
            <a:extLst>
              <a:ext uri="{FF2B5EF4-FFF2-40B4-BE49-F238E27FC236}">
                <a16:creationId xmlns:a16="http://schemas.microsoft.com/office/drawing/2014/main" id="{BF78A880-CA4F-2F13-2107-1E99E7280939}"/>
              </a:ext>
            </a:extLst>
          </p:cNvPr>
          <p:cNvSpPr/>
          <p:nvPr/>
        </p:nvSpPr>
        <p:spPr>
          <a:xfrm>
            <a:off x="6020499" y="2282945"/>
            <a:ext cx="967656" cy="250048"/>
          </a:xfrm>
          <a:prstGeom prst="rect">
            <a:avLst/>
          </a:prstGeom>
          <a:noFill/>
          <a:ln w="12700">
            <a:solidFill>
              <a:srgbClr val="FFC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800">
                <a:solidFill>
                  <a:srgbClr val="FFC000"/>
                </a:solidFill>
                <a:latin typeface="Arial"/>
                <a:cs typeface="Arial"/>
              </a:rPr>
              <a:t>Orkestrerings</a:t>
            </a:r>
          </a:p>
          <a:p>
            <a:pPr algn="ctr"/>
            <a:r>
              <a:rPr lang="da-DK" sz="800">
                <a:solidFill>
                  <a:srgbClr val="FFC000"/>
                </a:solidFill>
                <a:latin typeface="Arial"/>
                <a:cs typeface="Arial"/>
              </a:rPr>
              <a:t>komponent</a:t>
            </a:r>
          </a:p>
        </p:txBody>
      </p:sp>
      <p:sp>
        <p:nvSpPr>
          <p:cNvPr id="25" name="Rektangel 24">
            <a:extLst>
              <a:ext uri="{FF2B5EF4-FFF2-40B4-BE49-F238E27FC236}">
                <a16:creationId xmlns:a16="http://schemas.microsoft.com/office/drawing/2014/main" id="{CA85C16C-09A0-2386-1295-EF1195AF23E7}"/>
              </a:ext>
            </a:extLst>
          </p:cNvPr>
          <p:cNvSpPr/>
          <p:nvPr/>
        </p:nvSpPr>
        <p:spPr>
          <a:xfrm>
            <a:off x="4413954" y="3290985"/>
            <a:ext cx="1026236" cy="257550"/>
          </a:xfrm>
          <a:prstGeom prst="rect">
            <a:avLst/>
          </a:prstGeom>
          <a:noFill/>
          <a:ln w="12700">
            <a:solidFill>
              <a:srgbClr val="FFC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a:solidFill>
                  <a:srgbClr val="FFC000"/>
                </a:solidFill>
                <a:latin typeface="Arial"/>
                <a:cs typeface="Arial"/>
              </a:rPr>
              <a:t>SAPA</a:t>
            </a:r>
          </a:p>
        </p:txBody>
      </p:sp>
      <p:sp>
        <p:nvSpPr>
          <p:cNvPr id="27" name="Rektangel 26">
            <a:extLst>
              <a:ext uri="{FF2B5EF4-FFF2-40B4-BE49-F238E27FC236}">
                <a16:creationId xmlns:a16="http://schemas.microsoft.com/office/drawing/2014/main" id="{4CC29B45-92B0-9026-EFD8-10D129236491}"/>
              </a:ext>
            </a:extLst>
          </p:cNvPr>
          <p:cNvSpPr/>
          <p:nvPr/>
        </p:nvSpPr>
        <p:spPr>
          <a:xfrm>
            <a:off x="6020500" y="2916666"/>
            <a:ext cx="1020899" cy="257550"/>
          </a:xfrm>
          <a:prstGeom prst="rect">
            <a:avLst/>
          </a:prstGeom>
          <a:noFill/>
          <a:ln w="12700">
            <a:solidFill>
              <a:srgbClr val="FFC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a:solidFill>
                  <a:srgbClr val="FFC000"/>
                </a:solidFill>
                <a:latin typeface="Arial"/>
                <a:cs typeface="Arial"/>
              </a:rPr>
              <a:t>MUNI/KIRI</a:t>
            </a:r>
          </a:p>
          <a:p>
            <a:pPr algn="ctr"/>
            <a:r>
              <a:rPr lang="da-DK" sz="500">
                <a:solidFill>
                  <a:srgbClr val="FFC000"/>
                </a:solidFill>
                <a:latin typeface="Arial"/>
                <a:cs typeface="Arial"/>
              </a:rPr>
              <a:t>(</a:t>
            </a:r>
            <a:r>
              <a:rPr lang="da-DK" sz="500" err="1">
                <a:solidFill>
                  <a:srgbClr val="FFC000"/>
                </a:solidFill>
                <a:latin typeface="Arial"/>
                <a:cs typeface="Arial"/>
              </a:rPr>
              <a:t>Chatbots</a:t>
            </a:r>
            <a:r>
              <a:rPr lang="da-DK" sz="500">
                <a:solidFill>
                  <a:srgbClr val="FFC000"/>
                </a:solidFill>
                <a:latin typeface="Arial"/>
                <a:cs typeface="Arial"/>
              </a:rPr>
              <a:t>)</a:t>
            </a:r>
          </a:p>
        </p:txBody>
      </p:sp>
      <p:sp>
        <p:nvSpPr>
          <p:cNvPr id="46" name="Tekstfelt 45">
            <a:extLst>
              <a:ext uri="{FF2B5EF4-FFF2-40B4-BE49-F238E27FC236}">
                <a16:creationId xmlns:a16="http://schemas.microsoft.com/office/drawing/2014/main" id="{4C9EAD9F-9B86-0B80-F007-C746E479ED72}"/>
              </a:ext>
            </a:extLst>
          </p:cNvPr>
          <p:cNvSpPr txBox="1"/>
          <p:nvPr/>
        </p:nvSpPr>
        <p:spPr>
          <a:xfrm>
            <a:off x="4413953" y="2569470"/>
            <a:ext cx="914400" cy="505220"/>
          </a:xfrm>
          <a:prstGeom prst="rect">
            <a:avLst/>
          </a:prstGeom>
          <a:noFill/>
          <a:ln>
            <a:noFill/>
          </a:ln>
        </p:spPr>
        <p:txBody>
          <a:bodyPr wrap="none" rtlCol="0">
            <a:noAutofit/>
          </a:bodyPr>
          <a:lstStyle/>
          <a:p>
            <a:pPr algn="ctr"/>
            <a:r>
              <a:rPr lang="da-DK" sz="800" i="1">
                <a:latin typeface="Helvetica" pitchFamily="2" charset="0"/>
                <a:cs typeface="Arial"/>
              </a:rPr>
              <a:t>Konfigurering</a:t>
            </a:r>
          </a:p>
          <a:p>
            <a:pPr algn="ctr"/>
            <a:r>
              <a:rPr lang="da-DK" sz="800" i="1">
                <a:latin typeface="Helvetica" pitchFamily="2" charset="0"/>
                <a:cs typeface="Arial"/>
              </a:rPr>
              <a:t>Filtrering</a:t>
            </a:r>
          </a:p>
          <a:p>
            <a:pPr algn="ctr"/>
            <a:r>
              <a:rPr lang="da-DK" sz="800" i="1">
                <a:latin typeface="Helvetica" pitchFamily="2" charset="0"/>
                <a:cs typeface="Arial"/>
              </a:rPr>
              <a:t>Verificering</a:t>
            </a:r>
          </a:p>
          <a:p>
            <a:pPr algn="ctr"/>
            <a:r>
              <a:rPr lang="da-DK" sz="800" i="1">
                <a:latin typeface="Helvetica" pitchFamily="2" charset="0"/>
                <a:cs typeface="Arial"/>
              </a:rPr>
              <a:t>Transformering</a:t>
            </a:r>
          </a:p>
        </p:txBody>
      </p:sp>
      <p:sp>
        <p:nvSpPr>
          <p:cNvPr id="36" name="Rektangel 35">
            <a:extLst>
              <a:ext uri="{FF2B5EF4-FFF2-40B4-BE49-F238E27FC236}">
                <a16:creationId xmlns:a16="http://schemas.microsoft.com/office/drawing/2014/main" id="{57D852BD-E841-AF30-EE62-4A8F62CCB328}"/>
              </a:ext>
            </a:extLst>
          </p:cNvPr>
          <p:cNvSpPr/>
          <p:nvPr/>
        </p:nvSpPr>
        <p:spPr>
          <a:xfrm>
            <a:off x="652501" y="2743623"/>
            <a:ext cx="1026236" cy="250048"/>
          </a:xfrm>
          <a:prstGeom prst="rect">
            <a:avLst/>
          </a:prstGeom>
          <a:noFill/>
          <a:ln w="12700">
            <a:solidFill>
              <a:srgbClr val="0070C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800">
                <a:solidFill>
                  <a:srgbClr val="0070C0"/>
                </a:solidFill>
                <a:latin typeface="Arial"/>
                <a:cs typeface="Arial"/>
              </a:rPr>
              <a:t>TM Tand</a:t>
            </a:r>
            <a:br>
              <a:rPr lang="da-DK" sz="800">
                <a:solidFill>
                  <a:srgbClr val="0070C0"/>
                </a:solidFill>
                <a:latin typeface="Arial"/>
                <a:cs typeface="Arial"/>
              </a:rPr>
            </a:br>
            <a:r>
              <a:rPr lang="da-DK" sz="500">
                <a:solidFill>
                  <a:srgbClr val="0070C0"/>
                </a:solidFill>
                <a:latin typeface="Arial"/>
                <a:cs typeface="Arial"/>
              </a:rPr>
              <a:t>(Tandpleje)</a:t>
            </a:r>
            <a:endParaRPr lang="da-DK" sz="800">
              <a:solidFill>
                <a:srgbClr val="0070C0"/>
              </a:solidFill>
              <a:latin typeface="Arial"/>
              <a:cs typeface="Arial"/>
            </a:endParaRPr>
          </a:p>
        </p:txBody>
      </p:sp>
      <p:sp>
        <p:nvSpPr>
          <p:cNvPr id="37" name="Rektangel 36">
            <a:extLst>
              <a:ext uri="{FF2B5EF4-FFF2-40B4-BE49-F238E27FC236}">
                <a16:creationId xmlns:a16="http://schemas.microsoft.com/office/drawing/2014/main" id="{8D3189F4-9BB5-1879-20B7-6AEE88E2C7C5}"/>
              </a:ext>
            </a:extLst>
          </p:cNvPr>
          <p:cNvSpPr/>
          <p:nvPr/>
        </p:nvSpPr>
        <p:spPr>
          <a:xfrm>
            <a:off x="652501" y="3150231"/>
            <a:ext cx="1026236" cy="250048"/>
          </a:xfrm>
          <a:prstGeom prst="rect">
            <a:avLst/>
          </a:prstGeom>
          <a:noFill/>
          <a:ln w="12700">
            <a:solidFill>
              <a:srgbClr val="0070C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800">
                <a:solidFill>
                  <a:srgbClr val="0070C0"/>
                </a:solidFill>
                <a:latin typeface="Arial"/>
                <a:cs typeface="Arial"/>
              </a:rPr>
              <a:t>WFP</a:t>
            </a:r>
          </a:p>
          <a:p>
            <a:pPr algn="ctr"/>
            <a:r>
              <a:rPr lang="da-DK" sz="600">
                <a:solidFill>
                  <a:srgbClr val="0070C0"/>
                </a:solidFill>
                <a:latin typeface="Arial"/>
                <a:cs typeface="Arial"/>
              </a:rPr>
              <a:t>(Borgerservice)</a:t>
            </a:r>
          </a:p>
        </p:txBody>
      </p:sp>
      <p:cxnSp>
        <p:nvCxnSpPr>
          <p:cNvPr id="70" name="Lige pilforbindelse 69">
            <a:extLst>
              <a:ext uri="{FF2B5EF4-FFF2-40B4-BE49-F238E27FC236}">
                <a16:creationId xmlns:a16="http://schemas.microsoft.com/office/drawing/2014/main" id="{5AC0B539-E561-43C1-C02F-1FAFF7BDF0F3}"/>
              </a:ext>
            </a:extLst>
          </p:cNvPr>
          <p:cNvCxnSpPr>
            <a:cxnSpLocks/>
            <a:stCxn id="6" idx="3"/>
            <a:endCxn id="23" idx="1"/>
          </p:cNvCxnSpPr>
          <p:nvPr/>
        </p:nvCxnSpPr>
        <p:spPr bwMode="auto">
          <a:xfrm>
            <a:off x="5434853" y="2407968"/>
            <a:ext cx="585647" cy="0"/>
          </a:xfrm>
          <a:prstGeom prst="straightConnector1">
            <a:avLst/>
          </a:prstGeom>
          <a:noFill/>
          <a:ln w="9525" algn="ctr">
            <a:solidFill>
              <a:schemeClr val="bg1">
                <a:lumMod val="50000"/>
              </a:schemeClr>
            </a:solidFill>
            <a:prstDash val="sysDot"/>
            <a:round/>
            <a:headEnd type="none" w="med" len="med"/>
            <a:tailEnd type="triangle"/>
          </a:ln>
          <a:extLst>
            <a:ext uri="{909E8E84-426E-40dd-AFC4-6F175D3DCCD1}">
              <a14:hiddenFill xmlns="" xmlns:a14="http://schemas.microsoft.com/office/drawing/2010/main">
                <a:noFill/>
              </a14:hiddenFill>
            </a:ext>
          </a:extLst>
        </p:spPr>
      </p:cxnSp>
      <p:sp>
        <p:nvSpPr>
          <p:cNvPr id="90" name="Rektangel 89">
            <a:extLst>
              <a:ext uri="{FF2B5EF4-FFF2-40B4-BE49-F238E27FC236}">
                <a16:creationId xmlns:a16="http://schemas.microsoft.com/office/drawing/2014/main" id="{DC2C7042-D703-70A4-71BD-2600B2D4140B}"/>
              </a:ext>
            </a:extLst>
          </p:cNvPr>
          <p:cNvSpPr/>
          <p:nvPr/>
        </p:nvSpPr>
        <p:spPr>
          <a:xfrm>
            <a:off x="652501" y="3540855"/>
            <a:ext cx="1026236" cy="250048"/>
          </a:xfrm>
          <a:prstGeom prst="rect">
            <a:avLst/>
          </a:prstGeom>
          <a:noFill/>
          <a:ln w="12700">
            <a:solidFill>
              <a:srgbClr val="C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800" err="1">
                <a:solidFill>
                  <a:srgbClr val="C00000"/>
                </a:solidFill>
                <a:latin typeface="Arial"/>
                <a:cs typeface="Arial"/>
              </a:rPr>
              <a:t>FrontDesk</a:t>
            </a:r>
            <a:r>
              <a:rPr lang="da-DK" sz="800">
                <a:solidFill>
                  <a:srgbClr val="C00000"/>
                </a:solidFill>
                <a:latin typeface="Arial"/>
                <a:cs typeface="Arial"/>
              </a:rPr>
              <a:t> </a:t>
            </a:r>
          </a:p>
          <a:p>
            <a:pPr algn="ctr"/>
            <a:r>
              <a:rPr lang="da-DK" sz="600">
                <a:solidFill>
                  <a:srgbClr val="C00000"/>
                </a:solidFill>
                <a:latin typeface="Arial"/>
                <a:cs typeface="Arial"/>
              </a:rPr>
              <a:t>(Borgerservice)</a:t>
            </a:r>
          </a:p>
        </p:txBody>
      </p:sp>
      <p:sp>
        <p:nvSpPr>
          <p:cNvPr id="91" name="Rektangel 90">
            <a:extLst>
              <a:ext uri="{FF2B5EF4-FFF2-40B4-BE49-F238E27FC236}">
                <a16:creationId xmlns:a16="http://schemas.microsoft.com/office/drawing/2014/main" id="{11BD09CD-700A-67D8-8530-00BAA8E96C44}"/>
              </a:ext>
            </a:extLst>
          </p:cNvPr>
          <p:cNvSpPr/>
          <p:nvPr/>
        </p:nvSpPr>
        <p:spPr>
          <a:xfrm>
            <a:off x="652501" y="3920969"/>
            <a:ext cx="1026236" cy="250048"/>
          </a:xfrm>
          <a:prstGeom prst="rect">
            <a:avLst/>
          </a:prstGeom>
          <a:noFill/>
          <a:ln w="12700">
            <a:solidFill>
              <a:srgbClr val="C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800">
                <a:solidFill>
                  <a:srgbClr val="C00000"/>
                </a:solidFill>
                <a:latin typeface="Arial"/>
                <a:cs typeface="Arial"/>
              </a:rPr>
              <a:t>AULA</a:t>
            </a:r>
          </a:p>
        </p:txBody>
      </p:sp>
      <p:cxnSp>
        <p:nvCxnSpPr>
          <p:cNvPr id="92" name="Lige pilforbindelse 91">
            <a:extLst>
              <a:ext uri="{FF2B5EF4-FFF2-40B4-BE49-F238E27FC236}">
                <a16:creationId xmlns:a16="http://schemas.microsoft.com/office/drawing/2014/main" id="{5B21855F-920E-533F-B3FD-6C13998B92FF}"/>
              </a:ext>
            </a:extLst>
          </p:cNvPr>
          <p:cNvCxnSpPr>
            <a:cxnSpLocks/>
            <a:stCxn id="90" idx="3"/>
            <a:endCxn id="5" idx="1"/>
          </p:cNvCxnSpPr>
          <p:nvPr/>
        </p:nvCxnSpPr>
        <p:spPr bwMode="auto">
          <a:xfrm flipV="1">
            <a:off x="1678738" y="3270328"/>
            <a:ext cx="1373474" cy="395550"/>
          </a:xfrm>
          <a:prstGeom prst="straightConnector1">
            <a:avLst/>
          </a:prstGeom>
          <a:noFill/>
          <a:ln w="9525" algn="ctr">
            <a:solidFill>
              <a:schemeClr val="bg1">
                <a:lumMod val="50000"/>
              </a:schemeClr>
            </a:solidFill>
            <a:prstDash val="sysDot"/>
            <a:round/>
            <a:headEnd type="none" w="med" len="med"/>
            <a:tailEnd type="triangle"/>
          </a:ln>
          <a:extLst>
            <a:ext uri="{909E8E84-426E-40dd-AFC4-6F175D3DCCD1}">
              <a14:hiddenFill xmlns="" xmlns:a14="http://schemas.microsoft.com/office/drawing/2010/main">
                <a:noFill/>
              </a14:hiddenFill>
            </a:ext>
          </a:extLst>
        </p:spPr>
      </p:cxnSp>
      <p:cxnSp>
        <p:nvCxnSpPr>
          <p:cNvPr id="94" name="Lige pilforbindelse 93">
            <a:extLst>
              <a:ext uri="{FF2B5EF4-FFF2-40B4-BE49-F238E27FC236}">
                <a16:creationId xmlns:a16="http://schemas.microsoft.com/office/drawing/2014/main" id="{8BD33D15-75EC-8893-901B-1B14619A34EB}"/>
              </a:ext>
            </a:extLst>
          </p:cNvPr>
          <p:cNvCxnSpPr>
            <a:cxnSpLocks/>
            <a:stCxn id="91" idx="3"/>
            <a:endCxn id="5" idx="1"/>
          </p:cNvCxnSpPr>
          <p:nvPr/>
        </p:nvCxnSpPr>
        <p:spPr bwMode="auto">
          <a:xfrm flipV="1">
            <a:off x="1678738" y="3270328"/>
            <a:ext cx="1373474" cy="775664"/>
          </a:xfrm>
          <a:prstGeom prst="straightConnector1">
            <a:avLst/>
          </a:prstGeom>
          <a:noFill/>
          <a:ln w="9525" algn="ctr">
            <a:solidFill>
              <a:schemeClr val="bg1">
                <a:lumMod val="50000"/>
              </a:schemeClr>
            </a:solidFill>
            <a:prstDash val="sysDot"/>
            <a:round/>
            <a:headEnd type="none" w="med" len="med"/>
            <a:tailEnd type="triangle"/>
          </a:ln>
          <a:extLst>
            <a:ext uri="{909E8E84-426E-40dd-AFC4-6F175D3DCCD1}">
              <a14:hiddenFill xmlns="" xmlns:a14="http://schemas.microsoft.com/office/drawing/2010/main">
                <a:noFill/>
              </a14:hiddenFill>
            </a:ext>
          </a:extLst>
        </p:spPr>
      </p:cxnSp>
      <p:sp>
        <p:nvSpPr>
          <p:cNvPr id="98" name="Tekstfelt 97">
            <a:extLst>
              <a:ext uri="{FF2B5EF4-FFF2-40B4-BE49-F238E27FC236}">
                <a16:creationId xmlns:a16="http://schemas.microsoft.com/office/drawing/2014/main" id="{44E3ED88-6ED6-B28C-3DB8-A21DC84EB5DF}"/>
              </a:ext>
            </a:extLst>
          </p:cNvPr>
          <p:cNvSpPr txBox="1"/>
          <p:nvPr/>
        </p:nvSpPr>
        <p:spPr>
          <a:xfrm>
            <a:off x="2856963" y="3447657"/>
            <a:ext cx="914400" cy="250048"/>
          </a:xfrm>
          <a:prstGeom prst="rect">
            <a:avLst/>
          </a:prstGeom>
          <a:noFill/>
          <a:ln>
            <a:noFill/>
          </a:ln>
        </p:spPr>
        <p:txBody>
          <a:bodyPr wrap="none" rtlCol="0">
            <a:noAutofit/>
          </a:bodyPr>
          <a:lstStyle/>
          <a:p>
            <a:pPr algn="l"/>
            <a:r>
              <a:rPr lang="da-DK" sz="800">
                <a:latin typeface="Helvetica" pitchFamily="2" charset="0"/>
                <a:cs typeface="Arial"/>
              </a:rPr>
              <a:t>Aftaleindeks</a:t>
            </a:r>
          </a:p>
        </p:txBody>
      </p:sp>
      <p:cxnSp>
        <p:nvCxnSpPr>
          <p:cNvPr id="105" name="Lige pilforbindelse 104">
            <a:extLst>
              <a:ext uri="{FF2B5EF4-FFF2-40B4-BE49-F238E27FC236}">
                <a16:creationId xmlns:a16="http://schemas.microsoft.com/office/drawing/2014/main" id="{B7EE8E72-D36B-F4D9-AA50-B8ABAED0D665}"/>
              </a:ext>
            </a:extLst>
          </p:cNvPr>
          <p:cNvCxnSpPr>
            <a:cxnSpLocks/>
            <a:stCxn id="5" idx="3"/>
            <a:endCxn id="25" idx="1"/>
          </p:cNvCxnSpPr>
          <p:nvPr/>
        </p:nvCxnSpPr>
        <p:spPr bwMode="auto">
          <a:xfrm>
            <a:off x="3446921" y="3270328"/>
            <a:ext cx="967032" cy="149432"/>
          </a:xfrm>
          <a:prstGeom prst="straightConnector1">
            <a:avLst/>
          </a:prstGeom>
          <a:noFill/>
          <a:ln w="9525" algn="ctr">
            <a:solidFill>
              <a:schemeClr val="bg1">
                <a:lumMod val="50000"/>
              </a:schemeClr>
            </a:solidFill>
            <a:prstDash val="sysDot"/>
            <a:round/>
            <a:headEnd type="none" w="med" len="med"/>
            <a:tailEnd type="triangle"/>
          </a:ln>
          <a:extLst>
            <a:ext uri="{909E8E84-426E-40dd-AFC4-6F175D3DCCD1}">
              <a14:hiddenFill xmlns="" xmlns:a14="http://schemas.microsoft.com/office/drawing/2010/main">
                <a:noFill/>
              </a14:hiddenFill>
            </a:ext>
          </a:extLst>
        </p:spPr>
      </p:cxnSp>
      <p:cxnSp>
        <p:nvCxnSpPr>
          <p:cNvPr id="119" name="Lige pilforbindelse 118">
            <a:extLst>
              <a:ext uri="{FF2B5EF4-FFF2-40B4-BE49-F238E27FC236}">
                <a16:creationId xmlns:a16="http://schemas.microsoft.com/office/drawing/2014/main" id="{277D092C-D738-49FC-7F4C-4F648CAD1EA2}"/>
              </a:ext>
            </a:extLst>
          </p:cNvPr>
          <p:cNvCxnSpPr>
            <a:cxnSpLocks/>
            <a:endCxn id="5" idx="1"/>
          </p:cNvCxnSpPr>
          <p:nvPr/>
        </p:nvCxnSpPr>
        <p:spPr bwMode="auto">
          <a:xfrm flipV="1">
            <a:off x="1678738" y="3270329"/>
            <a:ext cx="1373474" cy="1176658"/>
          </a:xfrm>
          <a:prstGeom prst="straightConnector1">
            <a:avLst/>
          </a:prstGeom>
          <a:noFill/>
          <a:ln w="9525" algn="ctr">
            <a:solidFill>
              <a:schemeClr val="bg1">
                <a:lumMod val="50000"/>
              </a:schemeClr>
            </a:solidFill>
            <a:prstDash val="sysDot"/>
            <a:round/>
            <a:headEnd type="none" w="med" len="med"/>
            <a:tailEnd type="triangle"/>
          </a:ln>
          <a:extLst>
            <a:ext uri="{909E8E84-426E-40dd-AFC4-6F175D3DCCD1}">
              <a14:hiddenFill xmlns="" xmlns:a14="http://schemas.microsoft.com/office/drawing/2010/main">
                <a:noFill/>
              </a14:hiddenFill>
            </a:ext>
          </a:extLst>
        </p:spPr>
      </p:cxnSp>
      <p:cxnSp>
        <p:nvCxnSpPr>
          <p:cNvPr id="125" name="Lige pilforbindelse 124">
            <a:extLst>
              <a:ext uri="{FF2B5EF4-FFF2-40B4-BE49-F238E27FC236}">
                <a16:creationId xmlns:a16="http://schemas.microsoft.com/office/drawing/2014/main" id="{D40F67F3-3FDE-684C-8FBC-81CCB9B36B60}"/>
              </a:ext>
            </a:extLst>
          </p:cNvPr>
          <p:cNvCxnSpPr>
            <a:cxnSpLocks/>
            <a:stCxn id="37" idx="3"/>
            <a:endCxn id="6" idx="1"/>
          </p:cNvCxnSpPr>
          <p:nvPr/>
        </p:nvCxnSpPr>
        <p:spPr bwMode="auto">
          <a:xfrm flipV="1">
            <a:off x="1678738" y="2407969"/>
            <a:ext cx="2735216" cy="867287"/>
          </a:xfrm>
          <a:prstGeom prst="straightConnector1">
            <a:avLst/>
          </a:prstGeom>
          <a:noFill/>
          <a:ln w="9525" algn="ctr">
            <a:solidFill>
              <a:schemeClr val="bg1">
                <a:lumMod val="50000"/>
              </a:schemeClr>
            </a:solidFill>
            <a:prstDash val="sysDot"/>
            <a:round/>
            <a:headEnd type="none" w="med" len="med"/>
            <a:tailEnd type="triangle"/>
          </a:ln>
          <a:extLst>
            <a:ext uri="{909E8E84-426E-40dd-AFC4-6F175D3DCCD1}">
              <a14:hiddenFill xmlns="" xmlns:a14="http://schemas.microsoft.com/office/drawing/2010/main">
                <a:noFill/>
              </a14:hiddenFill>
            </a:ext>
          </a:extLst>
        </p:spPr>
      </p:cxnSp>
      <p:cxnSp>
        <p:nvCxnSpPr>
          <p:cNvPr id="128" name="Lige pilforbindelse 127">
            <a:extLst>
              <a:ext uri="{FF2B5EF4-FFF2-40B4-BE49-F238E27FC236}">
                <a16:creationId xmlns:a16="http://schemas.microsoft.com/office/drawing/2014/main" id="{D8B95510-352E-DAAC-16B4-36A3BD43CCDF}"/>
              </a:ext>
            </a:extLst>
          </p:cNvPr>
          <p:cNvCxnSpPr>
            <a:cxnSpLocks/>
            <a:stCxn id="36" idx="3"/>
            <a:endCxn id="6" idx="1"/>
          </p:cNvCxnSpPr>
          <p:nvPr/>
        </p:nvCxnSpPr>
        <p:spPr bwMode="auto">
          <a:xfrm flipV="1">
            <a:off x="1678738" y="2407969"/>
            <a:ext cx="2735216" cy="460679"/>
          </a:xfrm>
          <a:prstGeom prst="straightConnector1">
            <a:avLst/>
          </a:prstGeom>
          <a:noFill/>
          <a:ln w="9525" algn="ctr">
            <a:solidFill>
              <a:schemeClr val="bg1">
                <a:lumMod val="50000"/>
              </a:schemeClr>
            </a:solidFill>
            <a:prstDash val="sysDot"/>
            <a:round/>
            <a:headEnd type="none" w="med" len="med"/>
            <a:tailEnd type="triangle"/>
          </a:ln>
          <a:extLst>
            <a:ext uri="{909E8E84-426E-40dd-AFC4-6F175D3DCCD1}">
              <a14:hiddenFill xmlns="" xmlns:a14="http://schemas.microsoft.com/office/drawing/2010/main">
                <a:noFill/>
              </a14:hiddenFill>
            </a:ext>
          </a:extLst>
        </p:spPr>
      </p:cxnSp>
      <p:cxnSp>
        <p:nvCxnSpPr>
          <p:cNvPr id="131" name="Lige pilforbindelse 130">
            <a:extLst>
              <a:ext uri="{FF2B5EF4-FFF2-40B4-BE49-F238E27FC236}">
                <a16:creationId xmlns:a16="http://schemas.microsoft.com/office/drawing/2014/main" id="{011363B8-5F89-A8E9-7EA8-877CE6060A25}"/>
              </a:ext>
            </a:extLst>
          </p:cNvPr>
          <p:cNvCxnSpPr>
            <a:cxnSpLocks/>
            <a:stCxn id="21" idx="3"/>
            <a:endCxn id="6" idx="1"/>
          </p:cNvCxnSpPr>
          <p:nvPr/>
        </p:nvCxnSpPr>
        <p:spPr bwMode="auto">
          <a:xfrm flipV="1">
            <a:off x="1678738" y="2407969"/>
            <a:ext cx="2735216" cy="54071"/>
          </a:xfrm>
          <a:prstGeom prst="straightConnector1">
            <a:avLst/>
          </a:prstGeom>
          <a:noFill/>
          <a:ln w="9525" algn="ctr">
            <a:solidFill>
              <a:schemeClr val="bg1">
                <a:lumMod val="50000"/>
              </a:schemeClr>
            </a:solidFill>
            <a:prstDash val="sysDot"/>
            <a:round/>
            <a:headEnd type="none" w="med" len="med"/>
            <a:tailEnd type="triangle"/>
          </a:ln>
          <a:extLst>
            <a:ext uri="{909E8E84-426E-40dd-AFC4-6F175D3DCCD1}">
              <a14:hiddenFill xmlns="" xmlns:a14="http://schemas.microsoft.com/office/drawing/2010/main">
                <a:noFill/>
              </a14:hiddenFill>
            </a:ext>
          </a:extLst>
        </p:spPr>
      </p:cxnSp>
      <p:cxnSp>
        <p:nvCxnSpPr>
          <p:cNvPr id="134" name="Lige pilforbindelse 133">
            <a:extLst>
              <a:ext uri="{FF2B5EF4-FFF2-40B4-BE49-F238E27FC236}">
                <a16:creationId xmlns:a16="http://schemas.microsoft.com/office/drawing/2014/main" id="{C0DFBB82-F9E6-8146-B7C8-B39601B4C31D}"/>
              </a:ext>
            </a:extLst>
          </p:cNvPr>
          <p:cNvCxnSpPr>
            <a:cxnSpLocks/>
            <a:stCxn id="13" idx="3"/>
            <a:endCxn id="6" idx="1"/>
          </p:cNvCxnSpPr>
          <p:nvPr/>
        </p:nvCxnSpPr>
        <p:spPr bwMode="auto">
          <a:xfrm>
            <a:off x="1678738" y="2032816"/>
            <a:ext cx="2735216" cy="375152"/>
          </a:xfrm>
          <a:prstGeom prst="straightConnector1">
            <a:avLst/>
          </a:prstGeom>
          <a:noFill/>
          <a:ln w="9525" algn="ctr">
            <a:solidFill>
              <a:schemeClr val="bg1">
                <a:lumMod val="50000"/>
              </a:schemeClr>
            </a:solidFill>
            <a:prstDash val="sysDot"/>
            <a:round/>
            <a:headEnd type="none" w="med" len="med"/>
            <a:tailEnd type="triangle"/>
          </a:ln>
          <a:extLst>
            <a:ext uri="{909E8E84-426E-40dd-AFC4-6F175D3DCCD1}">
              <a14:hiddenFill xmlns="" xmlns:a14="http://schemas.microsoft.com/office/drawing/2010/main">
                <a:noFill/>
              </a14:hiddenFill>
            </a:ext>
          </a:extLst>
        </p:spPr>
      </p:cxnSp>
      <p:cxnSp>
        <p:nvCxnSpPr>
          <p:cNvPr id="149" name="Lige pilforbindelse 148">
            <a:extLst>
              <a:ext uri="{FF2B5EF4-FFF2-40B4-BE49-F238E27FC236}">
                <a16:creationId xmlns:a16="http://schemas.microsoft.com/office/drawing/2014/main" id="{18042A95-9B3F-0CCE-9533-86458E45C793}"/>
              </a:ext>
            </a:extLst>
          </p:cNvPr>
          <p:cNvCxnSpPr>
            <a:cxnSpLocks/>
            <a:stCxn id="6" idx="3"/>
            <a:endCxn id="27" idx="1"/>
          </p:cNvCxnSpPr>
          <p:nvPr/>
        </p:nvCxnSpPr>
        <p:spPr bwMode="auto">
          <a:xfrm>
            <a:off x="5434853" y="2407969"/>
            <a:ext cx="585647" cy="637473"/>
          </a:xfrm>
          <a:prstGeom prst="straightConnector1">
            <a:avLst/>
          </a:prstGeom>
          <a:noFill/>
          <a:ln w="9525" algn="ctr">
            <a:solidFill>
              <a:schemeClr val="bg1">
                <a:lumMod val="50000"/>
              </a:schemeClr>
            </a:solidFill>
            <a:prstDash val="sysDot"/>
            <a:round/>
            <a:headEnd type="none" w="med" len="med"/>
            <a:tailEnd type="triangle"/>
          </a:ln>
          <a:extLst>
            <a:ext uri="{909E8E84-426E-40dd-AFC4-6F175D3DCCD1}">
              <a14:hiddenFill xmlns="" xmlns:a14="http://schemas.microsoft.com/office/drawing/2010/main">
                <a:noFill/>
              </a14:hiddenFill>
            </a:ext>
          </a:extLst>
        </p:spPr>
      </p:cxnSp>
      <p:cxnSp>
        <p:nvCxnSpPr>
          <p:cNvPr id="160" name="Lige pilforbindelse 159">
            <a:extLst>
              <a:ext uri="{FF2B5EF4-FFF2-40B4-BE49-F238E27FC236}">
                <a16:creationId xmlns:a16="http://schemas.microsoft.com/office/drawing/2014/main" id="{F0215281-0AAB-FCA6-C6CF-862BD89F2F0B}"/>
              </a:ext>
            </a:extLst>
          </p:cNvPr>
          <p:cNvCxnSpPr>
            <a:cxnSpLocks/>
            <a:stCxn id="5" idx="3"/>
            <a:endCxn id="6" idx="1"/>
          </p:cNvCxnSpPr>
          <p:nvPr/>
        </p:nvCxnSpPr>
        <p:spPr bwMode="auto">
          <a:xfrm flipV="1">
            <a:off x="3446921" y="2407968"/>
            <a:ext cx="967032" cy="862360"/>
          </a:xfrm>
          <a:prstGeom prst="straightConnector1">
            <a:avLst/>
          </a:prstGeom>
          <a:noFill/>
          <a:ln w="9525" algn="ctr">
            <a:solidFill>
              <a:schemeClr val="bg1">
                <a:lumMod val="50000"/>
              </a:schemeClr>
            </a:solidFill>
            <a:prstDash val="sysDot"/>
            <a:round/>
            <a:headEnd type="none" w="med" len="med"/>
            <a:tailEnd type="triangle"/>
          </a:ln>
          <a:extLst>
            <a:ext uri="{909E8E84-426E-40dd-AFC4-6F175D3DCCD1}">
              <a14:hiddenFill xmlns="" xmlns:a14="http://schemas.microsoft.com/office/drawing/2010/main">
                <a:noFill/>
              </a14:hiddenFill>
            </a:ext>
          </a:extLst>
        </p:spPr>
      </p:cxnSp>
      <p:cxnSp>
        <p:nvCxnSpPr>
          <p:cNvPr id="32" name="Lige pilforbindelse 31">
            <a:extLst>
              <a:ext uri="{FF2B5EF4-FFF2-40B4-BE49-F238E27FC236}">
                <a16:creationId xmlns:a16="http://schemas.microsoft.com/office/drawing/2014/main" id="{449FC1CE-EFB4-6418-521A-5BEEA861EB59}"/>
              </a:ext>
            </a:extLst>
          </p:cNvPr>
          <p:cNvCxnSpPr>
            <a:cxnSpLocks/>
            <a:stCxn id="8" idx="3"/>
            <a:endCxn id="6" idx="1"/>
          </p:cNvCxnSpPr>
          <p:nvPr/>
        </p:nvCxnSpPr>
        <p:spPr bwMode="auto">
          <a:xfrm>
            <a:off x="1678736" y="1664779"/>
            <a:ext cx="2735217" cy="743189"/>
          </a:xfrm>
          <a:prstGeom prst="straightConnector1">
            <a:avLst/>
          </a:prstGeom>
          <a:noFill/>
          <a:ln w="9525" algn="ctr">
            <a:solidFill>
              <a:schemeClr val="bg1">
                <a:lumMod val="50000"/>
              </a:schemeClr>
            </a:solidFill>
            <a:prstDash val="sysDot"/>
            <a:round/>
            <a:headEnd type="none" w="med" len="med"/>
            <a:tailEnd type="triangle"/>
          </a:ln>
          <a:extLst>
            <a:ext uri="{909E8E84-426E-40dd-AFC4-6F175D3DCCD1}">
              <a14:hiddenFill xmlns="" xmlns:a14="http://schemas.microsoft.com/office/drawing/2010/main">
                <a:noFill/>
              </a14:hiddenFill>
            </a:ext>
          </a:extLst>
        </p:spPr>
      </p:cxnSp>
      <p:cxnSp>
        <p:nvCxnSpPr>
          <p:cNvPr id="35" name="Lige pilforbindelse 34">
            <a:extLst>
              <a:ext uri="{FF2B5EF4-FFF2-40B4-BE49-F238E27FC236}">
                <a16:creationId xmlns:a16="http://schemas.microsoft.com/office/drawing/2014/main" id="{0ACC650C-EB65-F0EC-C1E7-F640F6B8336A}"/>
              </a:ext>
            </a:extLst>
          </p:cNvPr>
          <p:cNvCxnSpPr>
            <a:cxnSpLocks/>
            <a:stCxn id="7" idx="3"/>
            <a:endCxn id="23" idx="0"/>
          </p:cNvCxnSpPr>
          <p:nvPr/>
        </p:nvCxnSpPr>
        <p:spPr bwMode="auto">
          <a:xfrm>
            <a:off x="1678737" y="1277877"/>
            <a:ext cx="4825591" cy="1005068"/>
          </a:xfrm>
          <a:prstGeom prst="straightConnector1">
            <a:avLst/>
          </a:prstGeom>
          <a:noFill/>
          <a:ln w="9525" algn="ctr">
            <a:solidFill>
              <a:schemeClr val="bg1">
                <a:lumMod val="50000"/>
              </a:schemeClr>
            </a:solidFill>
            <a:prstDash val="sysDot"/>
            <a:round/>
            <a:headEnd type="none" w="med" len="med"/>
            <a:tailEnd type="triangle"/>
          </a:ln>
          <a:extLst>
            <a:ext uri="{909E8E84-426E-40dd-AFC4-6F175D3DCCD1}">
              <a14:hiddenFill xmlns="" xmlns:a14="http://schemas.microsoft.com/office/drawing/2010/main">
                <a:noFill/>
              </a14:hiddenFill>
            </a:ext>
          </a:extLst>
        </p:spPr>
      </p:cxnSp>
      <p:sp>
        <p:nvSpPr>
          <p:cNvPr id="73" name="Titel 3">
            <a:extLst>
              <a:ext uri="{FF2B5EF4-FFF2-40B4-BE49-F238E27FC236}">
                <a16:creationId xmlns:a16="http://schemas.microsoft.com/office/drawing/2014/main" id="{1F3C95C9-D389-1246-A502-8998C520BB78}"/>
              </a:ext>
            </a:extLst>
          </p:cNvPr>
          <p:cNvSpPr txBox="1">
            <a:spLocks/>
          </p:cNvSpPr>
          <p:nvPr/>
        </p:nvSpPr>
        <p:spPr>
          <a:xfrm>
            <a:off x="2155523" y="239281"/>
            <a:ext cx="4194831" cy="647973"/>
          </a:xfrm>
          <a:prstGeom prst="rect">
            <a:avLst/>
          </a:prstGeom>
        </p:spPr>
        <p:txBody>
          <a:bodyPr vert="horz" lIns="0" tIns="0" rIns="0" bIns="0" rtlCol="0" anchor="t">
            <a:noAutofit/>
          </a:bodyPr>
          <a:lstStyle>
            <a:lvl1pPr algn="l" defTabSz="457200" rtl="0" eaLnBrk="1" latinLnBrk="0" hangingPunct="1">
              <a:lnSpc>
                <a:spcPct val="80000"/>
              </a:lnSpc>
              <a:spcBef>
                <a:spcPct val="0"/>
              </a:spcBef>
              <a:buNone/>
              <a:defRPr lang="da-DK" sz="2200" b="1" i="0" kern="0" spc="0" baseline="0" noProof="0" dirty="0">
                <a:solidFill>
                  <a:schemeClr val="tx1"/>
                </a:solidFill>
                <a:latin typeface="Neue Haas Grotesk Text Pro" panose="020B0504020202020204" pitchFamily="34" charset="77"/>
                <a:ea typeface="+mj-ea"/>
                <a:cs typeface="Arial"/>
              </a:defRPr>
            </a:lvl1pPr>
          </a:lstStyle>
          <a:p>
            <a:pPr algn="ctr">
              <a:lnSpc>
                <a:spcPct val="100000"/>
              </a:lnSpc>
            </a:pPr>
            <a:r>
              <a:rPr lang="da-DK" dirty="0"/>
              <a:t>Strategien</a:t>
            </a:r>
          </a:p>
          <a:p>
            <a:pPr algn="ctr">
              <a:lnSpc>
                <a:spcPct val="100000"/>
              </a:lnSpc>
            </a:pPr>
            <a:r>
              <a:rPr lang="da-DK" sz="1600" b="0" dirty="0"/>
              <a:t>Gradvis integration til Kalenderaftaleindeks</a:t>
            </a:r>
          </a:p>
        </p:txBody>
      </p:sp>
      <p:sp>
        <p:nvSpPr>
          <p:cNvPr id="38" name="Tekstfelt 37">
            <a:extLst>
              <a:ext uri="{FF2B5EF4-FFF2-40B4-BE49-F238E27FC236}">
                <a16:creationId xmlns:a16="http://schemas.microsoft.com/office/drawing/2014/main" id="{8934E73B-C912-D7EB-1981-56BD8257DD26}"/>
              </a:ext>
            </a:extLst>
          </p:cNvPr>
          <p:cNvSpPr txBox="1"/>
          <p:nvPr/>
        </p:nvSpPr>
        <p:spPr>
          <a:xfrm>
            <a:off x="7327993" y="1277876"/>
            <a:ext cx="1565763" cy="2863886"/>
          </a:xfrm>
          <a:prstGeom prst="rect">
            <a:avLst/>
          </a:prstGeom>
          <a:noFill/>
          <a:ln>
            <a:solidFill>
              <a:schemeClr val="tx1"/>
            </a:solidFill>
            <a:prstDash val="sysDot"/>
          </a:ln>
        </p:spPr>
        <p:txBody>
          <a:bodyPr wrap="square" rtlCol="0">
            <a:noAutofit/>
          </a:bodyPr>
          <a:lstStyle/>
          <a:p>
            <a:pPr algn="ctr"/>
            <a:r>
              <a:rPr lang="da-DK" sz="800" b="1">
                <a:latin typeface="Helvetica" pitchFamily="2" charset="0"/>
                <a:cs typeface="Arial"/>
              </a:rPr>
              <a:t>Foreslået forløb</a:t>
            </a:r>
          </a:p>
          <a:p>
            <a:endParaRPr lang="da-DK" sz="800" b="1">
              <a:latin typeface="Helvetica" pitchFamily="2" charset="0"/>
              <a:cs typeface="Arial"/>
            </a:endParaRPr>
          </a:p>
          <a:p>
            <a:r>
              <a:rPr lang="da-DK" sz="800" b="1">
                <a:latin typeface="Helvetica" pitchFamily="2" charset="0"/>
                <a:cs typeface="Arial"/>
              </a:rPr>
              <a:t>1. </a:t>
            </a:r>
            <a:r>
              <a:rPr lang="da-DK" sz="800">
                <a:latin typeface="Helvetica" pitchFamily="2" charset="0"/>
                <a:cs typeface="Arial"/>
              </a:rPr>
              <a:t>Sundhedsdatastyrelsen er i dialog med Digitaliserings-styrelsen mht. at udstille bl.a. kommunale aftaler fra ”Samlet Patientoverblik” på Mit Overblik</a:t>
            </a:r>
          </a:p>
          <a:p>
            <a:endParaRPr lang="da-DK" sz="800" b="1">
              <a:latin typeface="Helvetica" pitchFamily="2" charset="0"/>
              <a:cs typeface="Arial"/>
            </a:endParaRPr>
          </a:p>
          <a:p>
            <a:r>
              <a:rPr lang="da-DK" sz="800" b="1">
                <a:latin typeface="Helvetica" pitchFamily="2" charset="0"/>
                <a:cs typeface="Arial"/>
              </a:rPr>
              <a:t>2. </a:t>
            </a:r>
            <a:r>
              <a:rPr lang="da-DK" sz="800">
                <a:latin typeface="Helvetica" pitchFamily="2" charset="0"/>
                <a:cs typeface="Arial"/>
              </a:rPr>
              <a:t>Etablering af punkt til punkt integrationer mellem fagsystemer/infrastruktur komponenter og Borgerblikket mht. at udstille aftaledata på Mit Overblik</a:t>
            </a:r>
          </a:p>
          <a:p>
            <a:endParaRPr lang="da-DK" sz="800">
              <a:latin typeface="Helvetica" pitchFamily="2" charset="0"/>
              <a:cs typeface="Arial"/>
            </a:endParaRPr>
          </a:p>
          <a:p>
            <a:r>
              <a:rPr lang="da-DK" sz="800" b="1">
                <a:latin typeface="Helvetica" pitchFamily="2" charset="0"/>
                <a:cs typeface="Arial"/>
              </a:rPr>
              <a:t>3. </a:t>
            </a:r>
            <a:r>
              <a:rPr lang="da-DK" sz="800">
                <a:latin typeface="Helvetica" pitchFamily="2" charset="0"/>
                <a:cs typeface="Arial"/>
              </a:rPr>
              <a:t>Etablering af et aftaleindeks og flytning af eksisterende integrationer til indekset. </a:t>
            </a:r>
          </a:p>
          <a:p>
            <a:endParaRPr lang="da-DK" sz="800" b="1">
              <a:latin typeface="Helvetica" pitchFamily="2" charset="0"/>
              <a:cs typeface="Arial"/>
            </a:endParaRPr>
          </a:p>
          <a:p>
            <a:r>
              <a:rPr lang="da-DK" sz="800" b="1">
                <a:latin typeface="Helvetica" pitchFamily="2" charset="0"/>
                <a:cs typeface="Arial"/>
              </a:rPr>
              <a:t>4. </a:t>
            </a:r>
            <a:r>
              <a:rPr lang="da-DK" sz="800" err="1">
                <a:latin typeface="Helvetica" pitchFamily="2" charset="0"/>
                <a:cs typeface="Arial"/>
              </a:rPr>
              <a:t>Onboarding</a:t>
            </a:r>
            <a:r>
              <a:rPr lang="da-DK" sz="800">
                <a:latin typeface="Helvetica" pitchFamily="2" charset="0"/>
                <a:cs typeface="Arial"/>
              </a:rPr>
              <a:t> af de ”resterende” fagsystemer på aftaleindekset</a:t>
            </a:r>
          </a:p>
          <a:p>
            <a:pPr algn="l"/>
            <a:endParaRPr lang="da-DK" sz="800">
              <a:latin typeface="Helvetica" pitchFamily="2" charset="0"/>
              <a:cs typeface="Arial"/>
            </a:endParaRPr>
          </a:p>
          <a:p>
            <a:pPr algn="l"/>
            <a:endParaRPr lang="da-DK" sz="800">
              <a:latin typeface="Helvetica" pitchFamily="2" charset="0"/>
              <a:cs typeface="Arial"/>
            </a:endParaRPr>
          </a:p>
        </p:txBody>
      </p:sp>
      <p:sp>
        <p:nvSpPr>
          <p:cNvPr id="79" name="Ellipse 78">
            <a:extLst>
              <a:ext uri="{FF2B5EF4-FFF2-40B4-BE49-F238E27FC236}">
                <a16:creationId xmlns:a16="http://schemas.microsoft.com/office/drawing/2014/main" id="{8D179421-5FEE-B63E-6A30-BE75622C2D69}"/>
              </a:ext>
            </a:extLst>
          </p:cNvPr>
          <p:cNvSpPr/>
          <p:nvPr/>
        </p:nvSpPr>
        <p:spPr>
          <a:xfrm>
            <a:off x="6008457" y="1923424"/>
            <a:ext cx="281233" cy="249975"/>
          </a:xfrm>
          <a:prstGeom prst="ellipse">
            <a:avLst/>
          </a:prstGeom>
          <a:solidFill>
            <a:schemeClr val="bg2"/>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300"/>
              </a:spcAft>
            </a:pPr>
            <a:r>
              <a:rPr lang="da-DK" sz="1000">
                <a:solidFill>
                  <a:schemeClr val="tx1"/>
                </a:solidFill>
                <a:latin typeface="Neue Haas Grotesk Text Pro" panose="020B0504020202020204" pitchFamily="34" charset="77"/>
                <a:cs typeface="Arial"/>
              </a:rPr>
              <a:t>1</a:t>
            </a:r>
          </a:p>
        </p:txBody>
      </p:sp>
      <p:sp>
        <p:nvSpPr>
          <p:cNvPr id="80" name="Ellipse 79">
            <a:extLst>
              <a:ext uri="{FF2B5EF4-FFF2-40B4-BE49-F238E27FC236}">
                <a16:creationId xmlns:a16="http://schemas.microsoft.com/office/drawing/2014/main" id="{00E3A3EF-0584-AF65-A8A3-C54F0760C7B8}"/>
              </a:ext>
            </a:extLst>
          </p:cNvPr>
          <p:cNvSpPr/>
          <p:nvPr/>
        </p:nvSpPr>
        <p:spPr>
          <a:xfrm>
            <a:off x="3867906" y="2288660"/>
            <a:ext cx="281233" cy="249975"/>
          </a:xfrm>
          <a:prstGeom prst="ellipse">
            <a:avLst/>
          </a:prstGeom>
          <a:solidFill>
            <a:schemeClr val="bg2"/>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300"/>
              </a:spcAft>
            </a:pPr>
            <a:r>
              <a:rPr lang="da-DK" sz="1000">
                <a:solidFill>
                  <a:schemeClr val="tx1"/>
                </a:solidFill>
                <a:latin typeface="Neue Haas Grotesk Text Pro" panose="020B0504020202020204" pitchFamily="34" charset="77"/>
                <a:cs typeface="Arial"/>
              </a:rPr>
              <a:t>2</a:t>
            </a:r>
          </a:p>
        </p:txBody>
      </p:sp>
      <p:sp>
        <p:nvSpPr>
          <p:cNvPr id="81" name="Ellipse 80">
            <a:extLst>
              <a:ext uri="{FF2B5EF4-FFF2-40B4-BE49-F238E27FC236}">
                <a16:creationId xmlns:a16="http://schemas.microsoft.com/office/drawing/2014/main" id="{90ECACB4-525B-BF0D-43B4-7D41D1A672B7}"/>
              </a:ext>
            </a:extLst>
          </p:cNvPr>
          <p:cNvSpPr/>
          <p:nvPr/>
        </p:nvSpPr>
        <p:spPr>
          <a:xfrm>
            <a:off x="2482277" y="3348824"/>
            <a:ext cx="281233" cy="249975"/>
          </a:xfrm>
          <a:prstGeom prst="ellipse">
            <a:avLst/>
          </a:prstGeom>
          <a:solidFill>
            <a:schemeClr val="bg2"/>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300"/>
              </a:spcAft>
            </a:pPr>
            <a:r>
              <a:rPr lang="da-DK" sz="1000">
                <a:solidFill>
                  <a:schemeClr val="tx1"/>
                </a:solidFill>
                <a:latin typeface="Neue Haas Grotesk Text Pro" panose="020B0504020202020204" pitchFamily="34" charset="77"/>
                <a:cs typeface="Arial"/>
              </a:rPr>
              <a:t>4</a:t>
            </a:r>
          </a:p>
        </p:txBody>
      </p:sp>
      <p:sp>
        <p:nvSpPr>
          <p:cNvPr id="82" name="Pil: nedad 81">
            <a:extLst>
              <a:ext uri="{FF2B5EF4-FFF2-40B4-BE49-F238E27FC236}">
                <a16:creationId xmlns:a16="http://schemas.microsoft.com/office/drawing/2014/main" id="{781E55F6-99FA-029E-CF35-D0CCF13AE842}"/>
              </a:ext>
            </a:extLst>
          </p:cNvPr>
          <p:cNvSpPr/>
          <p:nvPr/>
        </p:nvSpPr>
        <p:spPr>
          <a:xfrm>
            <a:off x="3118200" y="1566843"/>
            <a:ext cx="281233" cy="1490401"/>
          </a:xfrm>
          <a:prstGeom prst="downArrow">
            <a:avLst/>
          </a:prstGeom>
          <a:solidFill>
            <a:schemeClr val="bg2"/>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300"/>
              </a:spcAft>
            </a:pPr>
            <a:endParaRPr lang="da-DK" sz="1000">
              <a:solidFill>
                <a:schemeClr val="tx1"/>
              </a:solidFill>
              <a:latin typeface="Neue Haas Grotesk Text Pro" panose="020B0504020202020204" pitchFamily="34" charset="77"/>
              <a:cs typeface="Arial"/>
            </a:endParaRPr>
          </a:p>
        </p:txBody>
      </p:sp>
      <p:sp>
        <p:nvSpPr>
          <p:cNvPr id="83" name="Rektangel 82">
            <a:extLst>
              <a:ext uri="{FF2B5EF4-FFF2-40B4-BE49-F238E27FC236}">
                <a16:creationId xmlns:a16="http://schemas.microsoft.com/office/drawing/2014/main" id="{3A7D00E7-26BC-9B64-D156-9405B2DDB2A5}"/>
              </a:ext>
            </a:extLst>
          </p:cNvPr>
          <p:cNvSpPr/>
          <p:nvPr/>
        </p:nvSpPr>
        <p:spPr>
          <a:xfrm>
            <a:off x="4402567" y="3963350"/>
            <a:ext cx="1026236" cy="257550"/>
          </a:xfrm>
          <a:prstGeom prst="rect">
            <a:avLst/>
          </a:prstGeom>
          <a:noFill/>
          <a:ln w="12700">
            <a:solidFill>
              <a:srgbClr val="FFC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800">
                <a:solidFill>
                  <a:srgbClr val="FFC000"/>
                </a:solidFill>
                <a:latin typeface="Arial"/>
                <a:cs typeface="Arial"/>
              </a:rPr>
              <a:t>Andre fagsystem</a:t>
            </a:r>
          </a:p>
        </p:txBody>
      </p:sp>
      <p:cxnSp>
        <p:nvCxnSpPr>
          <p:cNvPr id="84" name="Lige pilforbindelse 83">
            <a:extLst>
              <a:ext uri="{FF2B5EF4-FFF2-40B4-BE49-F238E27FC236}">
                <a16:creationId xmlns:a16="http://schemas.microsoft.com/office/drawing/2014/main" id="{8144A390-8021-03AA-A9E6-DF96D5F7978F}"/>
              </a:ext>
            </a:extLst>
          </p:cNvPr>
          <p:cNvCxnSpPr>
            <a:cxnSpLocks/>
            <a:stCxn id="5" idx="3"/>
            <a:endCxn id="83" idx="1"/>
          </p:cNvCxnSpPr>
          <p:nvPr/>
        </p:nvCxnSpPr>
        <p:spPr bwMode="auto">
          <a:xfrm>
            <a:off x="3446922" y="3270329"/>
            <a:ext cx="955646" cy="821797"/>
          </a:xfrm>
          <a:prstGeom prst="straightConnector1">
            <a:avLst/>
          </a:prstGeom>
          <a:noFill/>
          <a:ln w="9525" algn="ctr">
            <a:solidFill>
              <a:schemeClr val="bg1">
                <a:lumMod val="50000"/>
              </a:schemeClr>
            </a:solidFill>
            <a:prstDash val="sysDot"/>
            <a:round/>
            <a:headEnd type="none" w="med" len="med"/>
            <a:tailEnd type="triangle"/>
          </a:ln>
          <a:extLst>
            <a:ext uri="{909E8E84-426E-40dd-AFC4-6F175D3DCCD1}">
              <a14:hiddenFill xmlns="" xmlns:a14="http://schemas.microsoft.com/office/drawing/2010/main">
                <a:noFill/>
              </a14:hiddenFill>
            </a:ext>
          </a:extLst>
        </p:spPr>
      </p:cxnSp>
      <p:sp>
        <p:nvSpPr>
          <p:cNvPr id="89" name="Ellipse 88">
            <a:extLst>
              <a:ext uri="{FF2B5EF4-FFF2-40B4-BE49-F238E27FC236}">
                <a16:creationId xmlns:a16="http://schemas.microsoft.com/office/drawing/2014/main" id="{A8DD5317-9B09-A214-C960-C6B06B5726AB}"/>
              </a:ext>
            </a:extLst>
          </p:cNvPr>
          <p:cNvSpPr/>
          <p:nvPr/>
        </p:nvSpPr>
        <p:spPr>
          <a:xfrm>
            <a:off x="3118200" y="2501032"/>
            <a:ext cx="281233" cy="249975"/>
          </a:xfrm>
          <a:prstGeom prst="ellipse">
            <a:avLst/>
          </a:prstGeom>
          <a:solidFill>
            <a:schemeClr val="bg2"/>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300"/>
              </a:spcAft>
            </a:pPr>
            <a:r>
              <a:rPr lang="da-DK" sz="1000">
                <a:solidFill>
                  <a:schemeClr val="tx1"/>
                </a:solidFill>
                <a:latin typeface="Neue Haas Grotesk Text Pro" panose="020B0504020202020204" pitchFamily="34" charset="77"/>
                <a:cs typeface="Arial"/>
              </a:rPr>
              <a:t>3</a:t>
            </a:r>
          </a:p>
        </p:txBody>
      </p:sp>
      <p:sp>
        <p:nvSpPr>
          <p:cNvPr id="16" name="Rektangel 15">
            <a:extLst>
              <a:ext uri="{FF2B5EF4-FFF2-40B4-BE49-F238E27FC236}">
                <a16:creationId xmlns:a16="http://schemas.microsoft.com/office/drawing/2014/main" id="{A5BD3DFD-1B51-2A64-7DE9-B70085B76355}"/>
              </a:ext>
            </a:extLst>
          </p:cNvPr>
          <p:cNvSpPr/>
          <p:nvPr/>
        </p:nvSpPr>
        <p:spPr>
          <a:xfrm>
            <a:off x="744836" y="4890947"/>
            <a:ext cx="88900" cy="95250"/>
          </a:xfrm>
          <a:prstGeom prst="rect">
            <a:avLst/>
          </a:prstGeom>
          <a:solidFill>
            <a:schemeClr val="bg1"/>
          </a:solidFill>
          <a:ln w="12700">
            <a:solidFill>
              <a:srgbClr val="92D05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300"/>
              </a:spcAft>
            </a:pPr>
            <a:endParaRPr lang="da-DK" sz="1000">
              <a:solidFill>
                <a:schemeClr val="tx1"/>
              </a:solidFill>
              <a:latin typeface="Neue Haas Grotesk Text Pro" panose="020B0504020202020204" pitchFamily="34" charset="77"/>
              <a:cs typeface="Arial"/>
            </a:endParaRPr>
          </a:p>
        </p:txBody>
      </p:sp>
      <p:sp>
        <p:nvSpPr>
          <p:cNvPr id="17" name="Tekstfelt 16">
            <a:extLst>
              <a:ext uri="{FF2B5EF4-FFF2-40B4-BE49-F238E27FC236}">
                <a16:creationId xmlns:a16="http://schemas.microsoft.com/office/drawing/2014/main" id="{54B6324F-A96A-154C-9C35-A9C22E18CF01}"/>
              </a:ext>
            </a:extLst>
          </p:cNvPr>
          <p:cNvSpPr txBox="1"/>
          <p:nvPr/>
        </p:nvSpPr>
        <p:spPr>
          <a:xfrm>
            <a:off x="823830" y="4793843"/>
            <a:ext cx="1351864" cy="250048"/>
          </a:xfrm>
          <a:prstGeom prst="rect">
            <a:avLst/>
          </a:prstGeom>
          <a:noFill/>
          <a:ln>
            <a:noFill/>
          </a:ln>
        </p:spPr>
        <p:txBody>
          <a:bodyPr wrap="none" rtlCol="0">
            <a:noAutofit/>
          </a:bodyPr>
          <a:lstStyle/>
          <a:p>
            <a:pPr>
              <a:spcAft>
                <a:spcPts val="300"/>
              </a:spcAft>
            </a:pPr>
            <a:r>
              <a:rPr lang="da-DK" sz="600" kern="0">
                <a:latin typeface="Neue Haas Grotesk Text Pro" panose="020B0504020202020204" pitchFamily="34" charset="77"/>
                <a:cs typeface="Arial"/>
              </a:rPr>
              <a:t>Systemer som</a:t>
            </a:r>
          </a:p>
          <a:p>
            <a:pPr>
              <a:spcAft>
                <a:spcPts val="300"/>
              </a:spcAft>
            </a:pPr>
            <a:r>
              <a:rPr lang="da-DK" sz="600" kern="0">
                <a:latin typeface="Neue Haas Grotesk Text Pro" panose="020B0504020202020204" pitchFamily="34" charset="77"/>
                <a:cs typeface="Arial"/>
              </a:rPr>
              <a:t>allerede udstiller aftaleoplysninger</a:t>
            </a:r>
          </a:p>
        </p:txBody>
      </p:sp>
      <p:sp>
        <p:nvSpPr>
          <p:cNvPr id="18" name="Rektangel 17">
            <a:extLst>
              <a:ext uri="{FF2B5EF4-FFF2-40B4-BE49-F238E27FC236}">
                <a16:creationId xmlns:a16="http://schemas.microsoft.com/office/drawing/2014/main" id="{112D0BC3-B2E7-5543-79BB-76635CF0E7C9}"/>
              </a:ext>
            </a:extLst>
          </p:cNvPr>
          <p:cNvSpPr/>
          <p:nvPr/>
        </p:nvSpPr>
        <p:spPr>
          <a:xfrm>
            <a:off x="2236521" y="4890947"/>
            <a:ext cx="88900" cy="95250"/>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300"/>
              </a:spcAft>
            </a:pPr>
            <a:endParaRPr lang="da-DK" sz="1000">
              <a:solidFill>
                <a:schemeClr val="tx1"/>
              </a:solidFill>
              <a:latin typeface="Neue Haas Grotesk Text Pro" panose="020B0504020202020204" pitchFamily="34" charset="77"/>
              <a:cs typeface="Arial"/>
            </a:endParaRPr>
          </a:p>
        </p:txBody>
      </p:sp>
      <p:sp>
        <p:nvSpPr>
          <p:cNvPr id="19" name="Tekstfelt 18">
            <a:extLst>
              <a:ext uri="{FF2B5EF4-FFF2-40B4-BE49-F238E27FC236}">
                <a16:creationId xmlns:a16="http://schemas.microsoft.com/office/drawing/2014/main" id="{2510919E-ED4C-9064-2280-06592C7EA37A}"/>
              </a:ext>
            </a:extLst>
          </p:cNvPr>
          <p:cNvSpPr txBox="1"/>
          <p:nvPr/>
        </p:nvSpPr>
        <p:spPr>
          <a:xfrm>
            <a:off x="2313133" y="4801640"/>
            <a:ext cx="2225868" cy="250048"/>
          </a:xfrm>
          <a:prstGeom prst="rect">
            <a:avLst/>
          </a:prstGeom>
          <a:noFill/>
          <a:ln>
            <a:noFill/>
          </a:ln>
        </p:spPr>
        <p:txBody>
          <a:bodyPr wrap="none" rtlCol="0">
            <a:noAutofit/>
          </a:bodyPr>
          <a:lstStyle/>
          <a:p>
            <a:pPr>
              <a:spcAft>
                <a:spcPts val="300"/>
              </a:spcAft>
            </a:pPr>
            <a:r>
              <a:rPr lang="da-DK" sz="600" kern="0">
                <a:latin typeface="Neue Haas Grotesk Text Pro" panose="020B0504020202020204" pitchFamily="34" charset="77"/>
                <a:cs typeface="Arial"/>
              </a:rPr>
              <a:t>Systemer som vil ”hurtigt” kunne </a:t>
            </a:r>
          </a:p>
          <a:p>
            <a:pPr>
              <a:spcAft>
                <a:spcPts val="300"/>
              </a:spcAft>
            </a:pPr>
            <a:r>
              <a:rPr lang="da-DK" sz="600" kern="0">
                <a:latin typeface="Neue Haas Grotesk Text Pro" panose="020B0504020202020204" pitchFamily="34" charset="77"/>
                <a:cs typeface="Arial"/>
              </a:rPr>
              <a:t>dele aftaleoplysninger</a:t>
            </a:r>
          </a:p>
        </p:txBody>
      </p:sp>
      <p:sp>
        <p:nvSpPr>
          <p:cNvPr id="20" name="Rektangel 19">
            <a:extLst>
              <a:ext uri="{FF2B5EF4-FFF2-40B4-BE49-F238E27FC236}">
                <a16:creationId xmlns:a16="http://schemas.microsoft.com/office/drawing/2014/main" id="{970B04F0-5632-00B0-A140-D4D50535F206}"/>
              </a:ext>
            </a:extLst>
          </p:cNvPr>
          <p:cNvSpPr/>
          <p:nvPr/>
        </p:nvSpPr>
        <p:spPr>
          <a:xfrm>
            <a:off x="3906572" y="4890947"/>
            <a:ext cx="88900" cy="95250"/>
          </a:xfrm>
          <a:prstGeom prst="rect">
            <a:avLst/>
          </a:prstGeom>
          <a:solidFill>
            <a:schemeClr val="bg1"/>
          </a:solidFill>
          <a:ln w="19050">
            <a:solidFill>
              <a:srgbClr val="C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300"/>
              </a:spcAft>
            </a:pPr>
            <a:endParaRPr lang="da-DK" sz="1000">
              <a:solidFill>
                <a:srgbClr val="C00000"/>
              </a:solidFill>
              <a:latin typeface="Neue Haas Grotesk Text Pro" panose="020B0504020202020204" pitchFamily="34" charset="77"/>
              <a:cs typeface="Arial"/>
            </a:endParaRPr>
          </a:p>
        </p:txBody>
      </p:sp>
      <p:sp>
        <p:nvSpPr>
          <p:cNvPr id="22" name="Tekstfelt 21">
            <a:extLst>
              <a:ext uri="{FF2B5EF4-FFF2-40B4-BE49-F238E27FC236}">
                <a16:creationId xmlns:a16="http://schemas.microsoft.com/office/drawing/2014/main" id="{EED9C774-7851-ACEF-A290-4097FAE06AAA}"/>
              </a:ext>
            </a:extLst>
          </p:cNvPr>
          <p:cNvSpPr txBox="1"/>
          <p:nvPr/>
        </p:nvSpPr>
        <p:spPr>
          <a:xfrm>
            <a:off x="3977881" y="4795925"/>
            <a:ext cx="2225868" cy="250048"/>
          </a:xfrm>
          <a:prstGeom prst="rect">
            <a:avLst/>
          </a:prstGeom>
          <a:noFill/>
          <a:ln>
            <a:noFill/>
          </a:ln>
        </p:spPr>
        <p:txBody>
          <a:bodyPr wrap="none" rtlCol="0">
            <a:noAutofit/>
          </a:bodyPr>
          <a:lstStyle/>
          <a:p>
            <a:pPr>
              <a:spcAft>
                <a:spcPts val="300"/>
              </a:spcAft>
            </a:pPr>
            <a:r>
              <a:rPr lang="da-DK" sz="600" kern="0">
                <a:latin typeface="Neue Haas Grotesk Text Pro" panose="020B0504020202020204" pitchFamily="34" charset="77"/>
                <a:cs typeface="Arial"/>
              </a:rPr>
              <a:t>Systemer som er ikke klar til at </a:t>
            </a:r>
          </a:p>
          <a:p>
            <a:pPr>
              <a:spcAft>
                <a:spcPts val="300"/>
              </a:spcAft>
            </a:pPr>
            <a:r>
              <a:rPr lang="da-DK" sz="600" kern="0">
                <a:latin typeface="Neue Haas Grotesk Text Pro" panose="020B0504020202020204" pitchFamily="34" charset="77"/>
                <a:cs typeface="Arial"/>
              </a:rPr>
              <a:t>dele aftaleoplysninger</a:t>
            </a:r>
          </a:p>
        </p:txBody>
      </p:sp>
      <p:sp>
        <p:nvSpPr>
          <p:cNvPr id="24" name="Rektangel 23">
            <a:extLst>
              <a:ext uri="{FF2B5EF4-FFF2-40B4-BE49-F238E27FC236}">
                <a16:creationId xmlns:a16="http://schemas.microsoft.com/office/drawing/2014/main" id="{DB6BA130-9B27-67CA-92FC-6B9A5196F14F}"/>
              </a:ext>
            </a:extLst>
          </p:cNvPr>
          <p:cNvSpPr/>
          <p:nvPr/>
        </p:nvSpPr>
        <p:spPr>
          <a:xfrm>
            <a:off x="5506772" y="4890947"/>
            <a:ext cx="88900" cy="95250"/>
          </a:xfrm>
          <a:prstGeom prst="rect">
            <a:avLst/>
          </a:prstGeom>
          <a:solidFill>
            <a:schemeClr val="bg1"/>
          </a:solidFill>
          <a:ln w="19050">
            <a:solidFill>
              <a:srgbClr val="FFC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300"/>
              </a:spcAft>
            </a:pPr>
            <a:endParaRPr lang="da-DK" sz="1000">
              <a:solidFill>
                <a:srgbClr val="C00000"/>
              </a:solidFill>
              <a:latin typeface="Neue Haas Grotesk Text Pro" panose="020B0504020202020204" pitchFamily="34" charset="77"/>
              <a:cs typeface="Arial"/>
            </a:endParaRPr>
          </a:p>
        </p:txBody>
      </p:sp>
      <p:sp>
        <p:nvSpPr>
          <p:cNvPr id="26" name="Tekstfelt 25">
            <a:extLst>
              <a:ext uri="{FF2B5EF4-FFF2-40B4-BE49-F238E27FC236}">
                <a16:creationId xmlns:a16="http://schemas.microsoft.com/office/drawing/2014/main" id="{2A06DB56-DF80-DD14-B9E9-8651B85D3A8A}"/>
              </a:ext>
            </a:extLst>
          </p:cNvPr>
          <p:cNvSpPr txBox="1"/>
          <p:nvPr/>
        </p:nvSpPr>
        <p:spPr>
          <a:xfrm>
            <a:off x="5607845" y="4803250"/>
            <a:ext cx="2225868" cy="250048"/>
          </a:xfrm>
          <a:prstGeom prst="rect">
            <a:avLst/>
          </a:prstGeom>
          <a:noFill/>
          <a:ln>
            <a:noFill/>
          </a:ln>
        </p:spPr>
        <p:txBody>
          <a:bodyPr wrap="none" rtlCol="0">
            <a:noAutofit/>
          </a:bodyPr>
          <a:lstStyle/>
          <a:p>
            <a:pPr>
              <a:spcAft>
                <a:spcPts val="300"/>
              </a:spcAft>
            </a:pPr>
            <a:r>
              <a:rPr lang="da-DK" sz="600" kern="0">
                <a:latin typeface="Neue Haas Grotesk Text Pro" panose="020B0504020202020204" pitchFamily="34" charset="77"/>
                <a:cs typeface="Arial"/>
              </a:rPr>
              <a:t>Potentielle anvendersystemer til </a:t>
            </a:r>
          </a:p>
          <a:p>
            <a:pPr>
              <a:spcAft>
                <a:spcPts val="300"/>
              </a:spcAft>
            </a:pPr>
            <a:r>
              <a:rPr lang="da-DK" sz="600" kern="0">
                <a:latin typeface="Neue Haas Grotesk Text Pro" panose="020B0504020202020204" pitchFamily="34" charset="77"/>
                <a:cs typeface="Arial"/>
              </a:rPr>
              <a:t>en aftaleløsning</a:t>
            </a:r>
          </a:p>
        </p:txBody>
      </p:sp>
      <p:sp>
        <p:nvSpPr>
          <p:cNvPr id="29" name="Rektangel 28">
            <a:extLst>
              <a:ext uri="{FF2B5EF4-FFF2-40B4-BE49-F238E27FC236}">
                <a16:creationId xmlns:a16="http://schemas.microsoft.com/office/drawing/2014/main" id="{692D5479-A0B2-085D-3814-0E0B3A6723CA}"/>
              </a:ext>
            </a:extLst>
          </p:cNvPr>
          <p:cNvSpPr/>
          <p:nvPr/>
        </p:nvSpPr>
        <p:spPr>
          <a:xfrm>
            <a:off x="652501" y="4293895"/>
            <a:ext cx="1026236" cy="250048"/>
          </a:xfrm>
          <a:prstGeom prst="rect">
            <a:avLst/>
          </a:prstGeom>
          <a:noFill/>
          <a:ln w="12700">
            <a:solidFill>
              <a:srgbClr val="C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800" err="1">
                <a:solidFill>
                  <a:srgbClr val="C00000"/>
                </a:solidFill>
                <a:latin typeface="Arial"/>
                <a:cs typeface="Arial"/>
              </a:rPr>
              <a:t>Sensum</a:t>
            </a:r>
            <a:endParaRPr lang="da-DK" sz="800">
              <a:solidFill>
                <a:srgbClr val="C00000"/>
              </a:solidFill>
              <a:latin typeface="Arial"/>
              <a:cs typeface="Arial"/>
            </a:endParaRPr>
          </a:p>
        </p:txBody>
      </p:sp>
    </p:spTree>
    <p:extLst>
      <p:ext uri="{BB962C8B-B14F-4D97-AF65-F5344CB8AC3E}">
        <p14:creationId xmlns:p14="http://schemas.microsoft.com/office/powerpoint/2010/main" val="3005530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F07992-C009-A6E4-B297-914C748455F2}"/>
              </a:ext>
            </a:extLst>
          </p:cNvPr>
          <p:cNvSpPr>
            <a:spLocks noGrp="1"/>
          </p:cNvSpPr>
          <p:nvPr>
            <p:ph type="title"/>
          </p:nvPr>
        </p:nvSpPr>
        <p:spPr/>
        <p:txBody>
          <a:bodyPr/>
          <a:lstStyle/>
          <a:p>
            <a:r>
              <a:rPr lang="da-DK" dirty="0"/>
              <a:t>Forretningsmæssig behovsanalyse</a:t>
            </a:r>
          </a:p>
        </p:txBody>
      </p:sp>
      <p:sp>
        <p:nvSpPr>
          <p:cNvPr id="3" name="Pladsholder til tekst 2">
            <a:extLst>
              <a:ext uri="{FF2B5EF4-FFF2-40B4-BE49-F238E27FC236}">
                <a16:creationId xmlns:a16="http://schemas.microsoft.com/office/drawing/2014/main" id="{7511D6FC-CEC6-F801-AD0F-98DF0C9BC220}"/>
              </a:ext>
            </a:extLst>
          </p:cNvPr>
          <p:cNvSpPr>
            <a:spLocks noGrp="1"/>
          </p:cNvSpPr>
          <p:nvPr>
            <p:ph type="body" sz="quarter" idx="10"/>
          </p:nvPr>
        </p:nvSpPr>
        <p:spPr/>
        <p:txBody>
          <a:bodyPr/>
          <a:lstStyle/>
          <a:p>
            <a:pPr marL="0" indent="0">
              <a:buNone/>
            </a:pPr>
            <a:r>
              <a:rPr lang="da-DK" b="1" dirty="0"/>
              <a:t>Formål</a:t>
            </a:r>
          </a:p>
          <a:p>
            <a:pPr marL="0" indent="0">
              <a:buNone/>
            </a:pPr>
            <a:r>
              <a:rPr lang="da-DK" dirty="0"/>
              <a:t>At sandsynliggøre værdien af en mere struktureret registrering af kalenderaftaler og opbygning af et samlet kalenderaftaleindeks til brug for borgere og medarbejdere.</a:t>
            </a:r>
          </a:p>
          <a:p>
            <a:pPr marL="0" indent="0">
              <a:buNone/>
            </a:pPr>
            <a:r>
              <a:rPr lang="da-DK" b="1" dirty="0"/>
              <a:t>Hovedpointer</a:t>
            </a:r>
          </a:p>
          <a:p>
            <a:r>
              <a:rPr lang="da-DK" dirty="0"/>
              <a:t>Krav alene driver ikke ændring</a:t>
            </a:r>
          </a:p>
          <a:p>
            <a:r>
              <a:rPr lang="da-DK" dirty="0"/>
              <a:t>Dokumentation af den forretningsmæssige værdi ved etablering af </a:t>
            </a:r>
            <a:r>
              <a:rPr lang="da-DK"/>
              <a:t>et kalenderaftaleindeks</a:t>
            </a:r>
          </a:p>
          <a:p>
            <a:r>
              <a:rPr lang="da-DK"/>
              <a:t>Afdækning </a:t>
            </a:r>
            <a:r>
              <a:rPr lang="da-DK" dirty="0"/>
              <a:t>af nuværende praksis (As-Is)</a:t>
            </a:r>
          </a:p>
          <a:p>
            <a:r>
              <a:rPr lang="da-DK" dirty="0"/>
              <a:t>Fremtidig praksis (To-Be)</a:t>
            </a:r>
          </a:p>
        </p:txBody>
      </p:sp>
      <p:sp>
        <p:nvSpPr>
          <p:cNvPr id="4" name="Pladsholder til tekst 3">
            <a:extLst>
              <a:ext uri="{FF2B5EF4-FFF2-40B4-BE49-F238E27FC236}">
                <a16:creationId xmlns:a16="http://schemas.microsoft.com/office/drawing/2014/main" id="{49A31883-0B09-4C46-E276-9F4662FA0E44}"/>
              </a:ext>
            </a:extLst>
          </p:cNvPr>
          <p:cNvSpPr>
            <a:spLocks noGrp="1"/>
          </p:cNvSpPr>
          <p:nvPr>
            <p:ph type="body" sz="quarter" idx="11"/>
          </p:nvPr>
        </p:nvSpPr>
        <p:spPr/>
        <p:txBody>
          <a:bodyPr/>
          <a:lstStyle/>
          <a:p>
            <a:endParaRPr lang="da-DK"/>
          </a:p>
        </p:txBody>
      </p:sp>
    </p:spTree>
    <p:extLst>
      <p:ext uri="{BB962C8B-B14F-4D97-AF65-F5344CB8AC3E}">
        <p14:creationId xmlns:p14="http://schemas.microsoft.com/office/powerpoint/2010/main" val="38554660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CA1D20-61BB-CAA2-BBB7-248752F4FD82}"/>
              </a:ext>
            </a:extLst>
          </p:cNvPr>
          <p:cNvSpPr>
            <a:spLocks noGrp="1"/>
          </p:cNvSpPr>
          <p:nvPr>
            <p:ph type="title"/>
          </p:nvPr>
        </p:nvSpPr>
        <p:spPr/>
        <p:txBody>
          <a:bodyPr/>
          <a:lstStyle/>
          <a:p>
            <a:r>
              <a:rPr lang="da-DK"/>
              <a:t>Processuel tilgang - proces</a:t>
            </a:r>
          </a:p>
        </p:txBody>
      </p:sp>
      <p:sp>
        <p:nvSpPr>
          <p:cNvPr id="3" name="Pladsholder til tekst 2">
            <a:extLst>
              <a:ext uri="{FF2B5EF4-FFF2-40B4-BE49-F238E27FC236}">
                <a16:creationId xmlns:a16="http://schemas.microsoft.com/office/drawing/2014/main" id="{044B47CF-C1AB-970C-A763-3727C5E09628}"/>
              </a:ext>
            </a:extLst>
          </p:cNvPr>
          <p:cNvSpPr>
            <a:spLocks noGrp="1"/>
          </p:cNvSpPr>
          <p:nvPr>
            <p:ph type="body" sz="quarter" idx="10"/>
          </p:nvPr>
        </p:nvSpPr>
        <p:spPr>
          <a:xfrm>
            <a:off x="468311" y="1203598"/>
            <a:ext cx="8207376" cy="3168650"/>
          </a:xfrm>
        </p:spPr>
        <p:txBody>
          <a:bodyPr/>
          <a:lstStyle/>
          <a:p>
            <a:r>
              <a:rPr lang="da-DK" dirty="0"/>
              <a:t>Behovsanalysen foretages hos kommunerne med repræsentanter for de relevante fagområder.</a:t>
            </a:r>
          </a:p>
          <a:p>
            <a:r>
              <a:rPr lang="da-DK" dirty="0"/>
              <a:t>Behovsanalysen gennemføres som et antal workshops, hvor kommunale repræsentanter mødes inden for et fagområde og diskuterer nuværende praksis</a:t>
            </a:r>
          </a:p>
          <a:p>
            <a:r>
              <a:rPr lang="da-DK" dirty="0"/>
              <a:t>Efter gennemførsel af workshops samles input i en rapport, som verificeres med flere kommuner sammen med en indikation af forventet værdi.</a:t>
            </a:r>
          </a:p>
          <a:p>
            <a:pPr marL="0" indent="0">
              <a:buNone/>
            </a:pPr>
            <a:endParaRPr lang="da-DK" b="1" dirty="0"/>
          </a:p>
          <a:p>
            <a:pPr marL="0" indent="0">
              <a:buNone/>
            </a:pPr>
            <a:r>
              <a:rPr lang="da-DK" b="1" dirty="0"/>
              <a:t>Overordnet proces:</a:t>
            </a:r>
          </a:p>
        </p:txBody>
      </p:sp>
      <p:sp>
        <p:nvSpPr>
          <p:cNvPr id="4" name="Pladsholder til tekst 3">
            <a:extLst>
              <a:ext uri="{FF2B5EF4-FFF2-40B4-BE49-F238E27FC236}">
                <a16:creationId xmlns:a16="http://schemas.microsoft.com/office/drawing/2014/main" id="{6AA2F02E-9313-B2D8-4A02-03F7D09611E3}"/>
              </a:ext>
            </a:extLst>
          </p:cNvPr>
          <p:cNvSpPr>
            <a:spLocks noGrp="1"/>
          </p:cNvSpPr>
          <p:nvPr>
            <p:ph type="body" sz="quarter" idx="11"/>
          </p:nvPr>
        </p:nvSpPr>
        <p:spPr/>
        <p:txBody>
          <a:bodyPr/>
          <a:lstStyle/>
          <a:p>
            <a:endParaRPr lang="da-DK"/>
          </a:p>
        </p:txBody>
      </p:sp>
      <p:sp>
        <p:nvSpPr>
          <p:cNvPr id="5" name="Pil: pentagon 4">
            <a:extLst>
              <a:ext uri="{FF2B5EF4-FFF2-40B4-BE49-F238E27FC236}">
                <a16:creationId xmlns:a16="http://schemas.microsoft.com/office/drawing/2014/main" id="{5DCAC1FE-5AEF-0A25-7549-EAC180BC4AB2}"/>
              </a:ext>
            </a:extLst>
          </p:cNvPr>
          <p:cNvSpPr/>
          <p:nvPr/>
        </p:nvSpPr>
        <p:spPr>
          <a:xfrm>
            <a:off x="468313" y="3488453"/>
            <a:ext cx="1623534" cy="647973"/>
          </a:xfrm>
          <a:prstGeom prst="homePlate">
            <a:avLst/>
          </a:prstGeom>
          <a:solidFill>
            <a:schemeClr val="accent3">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300"/>
              </a:spcAft>
            </a:pPr>
            <a:r>
              <a:rPr lang="da-DK" sz="1400" dirty="0">
                <a:solidFill>
                  <a:schemeClr val="tx1"/>
                </a:solidFill>
                <a:latin typeface="Neue Haas Grotesk Text Pro" panose="020B0504020202020204" pitchFamily="34" charset="77"/>
                <a:cs typeface="Arial"/>
              </a:rPr>
              <a:t>Forberedelse af workshops</a:t>
            </a:r>
          </a:p>
        </p:txBody>
      </p:sp>
      <p:sp>
        <p:nvSpPr>
          <p:cNvPr id="6" name="Pil: pentagon 5">
            <a:extLst>
              <a:ext uri="{FF2B5EF4-FFF2-40B4-BE49-F238E27FC236}">
                <a16:creationId xmlns:a16="http://schemas.microsoft.com/office/drawing/2014/main" id="{59F7291C-B85F-BC70-4C71-CEB9B24EA33D}"/>
              </a:ext>
            </a:extLst>
          </p:cNvPr>
          <p:cNvSpPr/>
          <p:nvPr/>
        </p:nvSpPr>
        <p:spPr>
          <a:xfrm>
            <a:off x="2272060" y="3488453"/>
            <a:ext cx="3051501" cy="647973"/>
          </a:xfrm>
          <a:prstGeom prst="homePlate">
            <a:avLst/>
          </a:prstGeom>
          <a:solidFill>
            <a:schemeClr val="accent3">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300"/>
              </a:spcAft>
            </a:pPr>
            <a:r>
              <a:rPr lang="da-DK" sz="1400">
                <a:solidFill>
                  <a:schemeClr val="tx1"/>
                </a:solidFill>
                <a:latin typeface="Neue Haas Grotesk Text Pro" panose="020B0504020202020204" pitchFamily="34" charset="77"/>
                <a:cs typeface="Arial"/>
              </a:rPr>
              <a:t>Gennemførsel af X workshops</a:t>
            </a:r>
          </a:p>
        </p:txBody>
      </p:sp>
      <p:sp>
        <p:nvSpPr>
          <p:cNvPr id="7" name="Pil: pentagon 6">
            <a:extLst>
              <a:ext uri="{FF2B5EF4-FFF2-40B4-BE49-F238E27FC236}">
                <a16:creationId xmlns:a16="http://schemas.microsoft.com/office/drawing/2014/main" id="{B07864AA-0705-35F2-9B6D-96C062E41B8E}"/>
              </a:ext>
            </a:extLst>
          </p:cNvPr>
          <p:cNvSpPr/>
          <p:nvPr/>
        </p:nvSpPr>
        <p:spPr>
          <a:xfrm>
            <a:off x="5503774" y="3488453"/>
            <a:ext cx="1773848" cy="647973"/>
          </a:xfrm>
          <a:prstGeom prst="homePlate">
            <a:avLst/>
          </a:prstGeom>
          <a:solidFill>
            <a:schemeClr val="accent3">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300"/>
              </a:spcAft>
            </a:pPr>
            <a:r>
              <a:rPr lang="da-DK" sz="1400">
                <a:solidFill>
                  <a:schemeClr val="tx1"/>
                </a:solidFill>
                <a:latin typeface="Neue Haas Grotesk Text Pro" panose="020B0504020202020204" pitchFamily="34" charset="77"/>
                <a:cs typeface="Arial"/>
              </a:rPr>
              <a:t>Kondensering af behov/værdier</a:t>
            </a:r>
          </a:p>
        </p:txBody>
      </p:sp>
      <p:sp>
        <p:nvSpPr>
          <p:cNvPr id="8" name="Pil: pentagon 7">
            <a:extLst>
              <a:ext uri="{FF2B5EF4-FFF2-40B4-BE49-F238E27FC236}">
                <a16:creationId xmlns:a16="http://schemas.microsoft.com/office/drawing/2014/main" id="{2FDE1C13-7BC7-A788-E997-96D9E3270E42}"/>
              </a:ext>
            </a:extLst>
          </p:cNvPr>
          <p:cNvSpPr/>
          <p:nvPr/>
        </p:nvSpPr>
        <p:spPr>
          <a:xfrm>
            <a:off x="7457835" y="3488453"/>
            <a:ext cx="1316647" cy="647973"/>
          </a:xfrm>
          <a:prstGeom prst="homePlate">
            <a:avLst/>
          </a:prstGeom>
          <a:solidFill>
            <a:schemeClr val="accent3">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300"/>
              </a:spcAft>
            </a:pPr>
            <a:r>
              <a:rPr lang="da-DK" sz="1400">
                <a:solidFill>
                  <a:schemeClr val="tx1"/>
                </a:solidFill>
                <a:latin typeface="Neue Haas Grotesk Text Pro" panose="020B0504020202020204" pitchFamily="34" charset="77"/>
                <a:cs typeface="Arial"/>
              </a:rPr>
              <a:t>Bredere validering</a:t>
            </a:r>
          </a:p>
        </p:txBody>
      </p:sp>
    </p:spTree>
    <p:extLst>
      <p:ext uri="{BB962C8B-B14F-4D97-AF65-F5344CB8AC3E}">
        <p14:creationId xmlns:p14="http://schemas.microsoft.com/office/powerpoint/2010/main" val="563452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6EFD98-2F93-B293-98D8-22DA3E0FA76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F6EA2AA-D8C2-114B-FDA5-4A16986C0328}"/>
              </a:ext>
            </a:extLst>
          </p:cNvPr>
          <p:cNvSpPr>
            <a:spLocks noGrp="1"/>
          </p:cNvSpPr>
          <p:nvPr>
            <p:ph type="title"/>
          </p:nvPr>
        </p:nvSpPr>
        <p:spPr/>
        <p:txBody>
          <a:bodyPr/>
          <a:lstStyle/>
          <a:p>
            <a:r>
              <a:rPr lang="da-DK"/>
              <a:t>Processuel tilgang – trinvis analyse</a:t>
            </a:r>
          </a:p>
        </p:txBody>
      </p:sp>
      <p:sp>
        <p:nvSpPr>
          <p:cNvPr id="3" name="Pladsholder til tekst 2">
            <a:extLst>
              <a:ext uri="{FF2B5EF4-FFF2-40B4-BE49-F238E27FC236}">
                <a16:creationId xmlns:a16="http://schemas.microsoft.com/office/drawing/2014/main" id="{58E20DB8-7B9E-6C7F-5085-4353738B60D8}"/>
              </a:ext>
            </a:extLst>
          </p:cNvPr>
          <p:cNvSpPr>
            <a:spLocks noGrp="1"/>
          </p:cNvSpPr>
          <p:nvPr>
            <p:ph type="body" sz="quarter" idx="10"/>
          </p:nvPr>
        </p:nvSpPr>
        <p:spPr>
          <a:xfrm>
            <a:off x="468313" y="1270299"/>
            <a:ext cx="8207376" cy="3168650"/>
          </a:xfrm>
        </p:spPr>
        <p:txBody>
          <a:bodyPr/>
          <a:lstStyle/>
          <a:p>
            <a:r>
              <a:rPr lang="da-DK" dirty="0"/>
              <a:t>For ikke at starte på alle områder på én gang, starter analysen på det </a:t>
            </a:r>
            <a:r>
              <a:rPr lang="da-DK" b="1" dirty="0"/>
              <a:t>sociale børn- og ungeområde</a:t>
            </a:r>
            <a:endParaRPr lang="da-DK" dirty="0"/>
          </a:p>
          <a:p>
            <a:r>
              <a:rPr lang="da-DK" dirty="0"/>
              <a:t>Formålet med at tage dette område først er, at hvis det ikke lykkes at finde faglig værdi i en større praksisændring i forhold til registrering af kalenderaftaler, så bør det overvejes, om det giver mening at fortsætte analysen på de øvrige områder.</a:t>
            </a:r>
          </a:p>
          <a:p>
            <a:pPr marL="0" indent="0">
              <a:buNone/>
            </a:pPr>
            <a:endParaRPr lang="da-DK" b="1" dirty="0"/>
          </a:p>
          <a:p>
            <a:pPr marL="0" indent="0">
              <a:buNone/>
            </a:pPr>
            <a:r>
              <a:rPr lang="da-DK" b="1" dirty="0"/>
              <a:t>Trinvis proces:</a:t>
            </a:r>
          </a:p>
        </p:txBody>
      </p:sp>
      <p:sp>
        <p:nvSpPr>
          <p:cNvPr id="4" name="Pladsholder til tekst 3">
            <a:extLst>
              <a:ext uri="{FF2B5EF4-FFF2-40B4-BE49-F238E27FC236}">
                <a16:creationId xmlns:a16="http://schemas.microsoft.com/office/drawing/2014/main" id="{04397FB0-9446-5A9C-62A4-AE5B95553FF6}"/>
              </a:ext>
            </a:extLst>
          </p:cNvPr>
          <p:cNvSpPr>
            <a:spLocks noGrp="1"/>
          </p:cNvSpPr>
          <p:nvPr>
            <p:ph type="body" sz="quarter" idx="11"/>
          </p:nvPr>
        </p:nvSpPr>
        <p:spPr/>
        <p:txBody>
          <a:bodyPr/>
          <a:lstStyle/>
          <a:p>
            <a:endParaRPr lang="da-DK"/>
          </a:p>
        </p:txBody>
      </p:sp>
      <p:sp>
        <p:nvSpPr>
          <p:cNvPr id="5" name="Pil: pentagon 4">
            <a:extLst>
              <a:ext uri="{FF2B5EF4-FFF2-40B4-BE49-F238E27FC236}">
                <a16:creationId xmlns:a16="http://schemas.microsoft.com/office/drawing/2014/main" id="{4A6D046D-7249-BD28-615F-5A2A2C13D271}"/>
              </a:ext>
            </a:extLst>
          </p:cNvPr>
          <p:cNvSpPr/>
          <p:nvPr/>
        </p:nvSpPr>
        <p:spPr>
          <a:xfrm>
            <a:off x="468313" y="3626286"/>
            <a:ext cx="1239695" cy="494778"/>
          </a:xfrm>
          <a:prstGeom prst="homePlate">
            <a:avLst/>
          </a:prstGeom>
          <a:solidFill>
            <a:schemeClr val="accent3">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300"/>
              </a:spcAft>
            </a:pPr>
            <a:r>
              <a:rPr lang="da-DK" sz="1050">
                <a:solidFill>
                  <a:schemeClr val="tx1"/>
                </a:solidFill>
                <a:latin typeface="Neue Haas Grotesk Text Pro" panose="020B0504020202020204" pitchFamily="34" charset="77"/>
                <a:cs typeface="Arial"/>
              </a:rPr>
              <a:t>Forberedelse af workshops</a:t>
            </a:r>
          </a:p>
        </p:txBody>
      </p:sp>
      <p:sp>
        <p:nvSpPr>
          <p:cNvPr id="6" name="Pil: pentagon 5">
            <a:extLst>
              <a:ext uri="{FF2B5EF4-FFF2-40B4-BE49-F238E27FC236}">
                <a16:creationId xmlns:a16="http://schemas.microsoft.com/office/drawing/2014/main" id="{82DD7B85-70F0-08F5-05B6-FF77638CED2D}"/>
              </a:ext>
            </a:extLst>
          </p:cNvPr>
          <p:cNvSpPr/>
          <p:nvPr/>
        </p:nvSpPr>
        <p:spPr>
          <a:xfrm>
            <a:off x="1802335" y="3626286"/>
            <a:ext cx="1239695" cy="494778"/>
          </a:xfrm>
          <a:prstGeom prst="homePlate">
            <a:avLst/>
          </a:prstGeom>
          <a:solidFill>
            <a:schemeClr val="accent3">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300"/>
              </a:spcAft>
            </a:pPr>
            <a:r>
              <a:rPr lang="da-DK" sz="1050">
                <a:solidFill>
                  <a:schemeClr val="tx1"/>
                </a:solidFill>
                <a:latin typeface="Neue Haas Grotesk Text Pro" panose="020B0504020202020204" pitchFamily="34" charset="77"/>
                <a:cs typeface="Arial"/>
              </a:rPr>
              <a:t>Første bølge workshops</a:t>
            </a:r>
          </a:p>
        </p:txBody>
      </p:sp>
      <p:sp>
        <p:nvSpPr>
          <p:cNvPr id="7" name="Pil: pentagon 6">
            <a:extLst>
              <a:ext uri="{FF2B5EF4-FFF2-40B4-BE49-F238E27FC236}">
                <a16:creationId xmlns:a16="http://schemas.microsoft.com/office/drawing/2014/main" id="{4140A6EA-CDBF-9A80-EDCE-2E5AC71B282B}"/>
              </a:ext>
            </a:extLst>
          </p:cNvPr>
          <p:cNvSpPr/>
          <p:nvPr/>
        </p:nvSpPr>
        <p:spPr>
          <a:xfrm>
            <a:off x="4617477" y="3626286"/>
            <a:ext cx="1120695" cy="494778"/>
          </a:xfrm>
          <a:prstGeom prst="homePlate">
            <a:avLst/>
          </a:prstGeom>
          <a:solidFill>
            <a:schemeClr val="accent3">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300"/>
              </a:spcAft>
            </a:pPr>
            <a:r>
              <a:rPr lang="da-DK" sz="1050">
                <a:solidFill>
                  <a:schemeClr val="tx1"/>
                </a:solidFill>
                <a:latin typeface="Neue Haas Grotesk Text Pro" panose="020B0504020202020204" pitchFamily="34" charset="77"/>
                <a:cs typeface="Arial"/>
              </a:rPr>
              <a:t>Anden bølge workshops</a:t>
            </a:r>
          </a:p>
        </p:txBody>
      </p:sp>
      <p:sp>
        <p:nvSpPr>
          <p:cNvPr id="8" name="Pil: pentagon 7">
            <a:extLst>
              <a:ext uri="{FF2B5EF4-FFF2-40B4-BE49-F238E27FC236}">
                <a16:creationId xmlns:a16="http://schemas.microsoft.com/office/drawing/2014/main" id="{12D40EDD-B728-11BE-DC8E-C371F54414D7}"/>
              </a:ext>
            </a:extLst>
          </p:cNvPr>
          <p:cNvSpPr/>
          <p:nvPr/>
        </p:nvSpPr>
        <p:spPr>
          <a:xfrm>
            <a:off x="7311118" y="3626285"/>
            <a:ext cx="1458897" cy="494778"/>
          </a:xfrm>
          <a:prstGeom prst="homePlate">
            <a:avLst/>
          </a:prstGeom>
          <a:solidFill>
            <a:schemeClr val="accent3">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300"/>
              </a:spcAft>
            </a:pPr>
            <a:r>
              <a:rPr lang="da-DK" sz="1050">
                <a:solidFill>
                  <a:schemeClr val="tx1"/>
                </a:solidFill>
                <a:latin typeface="Neue Haas Grotesk Text Pro" panose="020B0504020202020204" pitchFamily="34" charset="77"/>
                <a:cs typeface="Arial"/>
              </a:rPr>
              <a:t>Bredere validering og afrapportering</a:t>
            </a:r>
          </a:p>
        </p:txBody>
      </p:sp>
      <p:sp>
        <p:nvSpPr>
          <p:cNvPr id="9" name="Pil: pentagon 8">
            <a:extLst>
              <a:ext uri="{FF2B5EF4-FFF2-40B4-BE49-F238E27FC236}">
                <a16:creationId xmlns:a16="http://schemas.microsoft.com/office/drawing/2014/main" id="{ED75084E-A0B2-C665-F35F-2D17E3311646}"/>
              </a:ext>
            </a:extLst>
          </p:cNvPr>
          <p:cNvSpPr/>
          <p:nvPr/>
        </p:nvSpPr>
        <p:spPr>
          <a:xfrm>
            <a:off x="3136357" y="3626286"/>
            <a:ext cx="1120695" cy="494778"/>
          </a:xfrm>
          <a:prstGeom prst="homePlate">
            <a:avLst/>
          </a:prstGeom>
          <a:solidFill>
            <a:schemeClr val="accent3">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300"/>
              </a:spcAft>
            </a:pPr>
            <a:r>
              <a:rPr lang="da-DK" sz="1050">
                <a:solidFill>
                  <a:schemeClr val="tx1"/>
                </a:solidFill>
                <a:latin typeface="Neue Haas Grotesk Text Pro" panose="020B0504020202020204" pitchFamily="34" charset="77"/>
                <a:cs typeface="Arial"/>
              </a:rPr>
              <a:t>Opsamling og vurdering</a:t>
            </a:r>
          </a:p>
        </p:txBody>
      </p:sp>
      <p:sp>
        <p:nvSpPr>
          <p:cNvPr id="10" name="Rombe 9">
            <a:extLst>
              <a:ext uri="{FF2B5EF4-FFF2-40B4-BE49-F238E27FC236}">
                <a16:creationId xmlns:a16="http://schemas.microsoft.com/office/drawing/2014/main" id="{9C310823-4AB0-4930-D178-60B04DF5530B}"/>
              </a:ext>
            </a:extLst>
          </p:cNvPr>
          <p:cNvSpPr/>
          <p:nvPr/>
        </p:nvSpPr>
        <p:spPr>
          <a:xfrm>
            <a:off x="4305741" y="3742151"/>
            <a:ext cx="263047" cy="263047"/>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300"/>
              </a:spcAft>
            </a:pPr>
            <a:endParaRPr lang="da-DK" sz="1000">
              <a:solidFill>
                <a:schemeClr val="tx1"/>
              </a:solidFill>
              <a:latin typeface="Neue Haas Grotesk Text Pro" panose="020B0504020202020204" pitchFamily="34" charset="77"/>
              <a:cs typeface="Arial"/>
            </a:endParaRPr>
          </a:p>
        </p:txBody>
      </p:sp>
      <p:sp>
        <p:nvSpPr>
          <p:cNvPr id="11" name="Pil: pentagon 10">
            <a:extLst>
              <a:ext uri="{FF2B5EF4-FFF2-40B4-BE49-F238E27FC236}">
                <a16:creationId xmlns:a16="http://schemas.microsoft.com/office/drawing/2014/main" id="{B0599003-2A13-4D22-4B97-71C5B87F790C}"/>
              </a:ext>
            </a:extLst>
          </p:cNvPr>
          <p:cNvSpPr/>
          <p:nvPr/>
        </p:nvSpPr>
        <p:spPr>
          <a:xfrm>
            <a:off x="5834298" y="3626286"/>
            <a:ext cx="1380694" cy="494778"/>
          </a:xfrm>
          <a:prstGeom prst="homePlate">
            <a:avLst/>
          </a:prstGeom>
          <a:solidFill>
            <a:schemeClr val="accent3">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300"/>
              </a:spcAft>
            </a:pPr>
            <a:r>
              <a:rPr lang="da-DK" sz="1050">
                <a:solidFill>
                  <a:schemeClr val="tx1"/>
                </a:solidFill>
                <a:latin typeface="Neue Haas Grotesk Text Pro" panose="020B0504020202020204" pitchFamily="34" charset="77"/>
                <a:cs typeface="Arial"/>
              </a:rPr>
              <a:t>Kondensering af behov/værdier</a:t>
            </a:r>
          </a:p>
        </p:txBody>
      </p:sp>
      <p:sp>
        <p:nvSpPr>
          <p:cNvPr id="13" name="Tekstfelt 12">
            <a:extLst>
              <a:ext uri="{FF2B5EF4-FFF2-40B4-BE49-F238E27FC236}">
                <a16:creationId xmlns:a16="http://schemas.microsoft.com/office/drawing/2014/main" id="{90ECD25B-F839-8810-DA2A-C12583E55952}"/>
              </a:ext>
            </a:extLst>
          </p:cNvPr>
          <p:cNvSpPr txBox="1"/>
          <p:nvPr/>
        </p:nvSpPr>
        <p:spPr>
          <a:xfrm>
            <a:off x="4001985" y="4187765"/>
            <a:ext cx="870558" cy="400110"/>
          </a:xfrm>
          <a:prstGeom prst="rect">
            <a:avLst/>
          </a:prstGeom>
          <a:noFill/>
          <a:ln>
            <a:noFill/>
          </a:ln>
        </p:spPr>
        <p:txBody>
          <a:bodyPr wrap="square">
            <a:spAutoFit/>
          </a:bodyPr>
          <a:lstStyle/>
          <a:p>
            <a:pPr algn="ctr"/>
            <a:r>
              <a:rPr lang="da-DK" sz="1000">
                <a:solidFill>
                  <a:schemeClr val="tx1"/>
                </a:solidFill>
                <a:latin typeface="Neue Haas Grotesk Text Pro" panose="020B0504020202020204" pitchFamily="34" charset="77"/>
                <a:cs typeface="Arial"/>
              </a:rPr>
              <a:t>”Skal vi fortsætte?”</a:t>
            </a:r>
            <a:endParaRPr lang="da-DK" sz="1000"/>
          </a:p>
        </p:txBody>
      </p:sp>
      <p:cxnSp>
        <p:nvCxnSpPr>
          <p:cNvPr id="15" name="Lige pilforbindelse 14">
            <a:extLst>
              <a:ext uri="{FF2B5EF4-FFF2-40B4-BE49-F238E27FC236}">
                <a16:creationId xmlns:a16="http://schemas.microsoft.com/office/drawing/2014/main" id="{676F4323-A836-3727-82EB-2DA6B3B2B37D}"/>
              </a:ext>
            </a:extLst>
          </p:cNvPr>
          <p:cNvCxnSpPr>
            <a:stCxn id="10" idx="2"/>
            <a:endCxn id="13" idx="0"/>
          </p:cNvCxnSpPr>
          <p:nvPr/>
        </p:nvCxnSpPr>
        <p:spPr bwMode="auto">
          <a:xfrm flipH="1">
            <a:off x="4437264" y="4005198"/>
            <a:ext cx="1" cy="182567"/>
          </a:xfrm>
          <a:prstGeom prst="straightConnector1">
            <a:avLst/>
          </a:prstGeom>
          <a:noFill/>
          <a:ln w="9525" algn="ctr">
            <a:solidFill>
              <a:schemeClr val="tx1"/>
            </a:solidFill>
            <a:prstDash val="solid"/>
            <a:round/>
            <a:headEnd type="none" w="med" len="med"/>
            <a:tailEnd type="triangle"/>
          </a:ln>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val="6778808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93D05F-770E-40DE-890E-F698A2D083C2}"/>
            </a:ext>
          </a:extLst>
        </p:cNvPr>
        <p:cNvGrpSpPr/>
        <p:nvPr/>
      </p:nvGrpSpPr>
      <p:grpSpPr>
        <a:xfrm>
          <a:off x="0" y="0"/>
          <a:ext cx="0" cy="0"/>
          <a:chOff x="0" y="0"/>
          <a:chExt cx="0" cy="0"/>
        </a:xfrm>
      </p:grpSpPr>
      <p:pic>
        <p:nvPicPr>
          <p:cNvPr id="5" name="Billede 4">
            <a:extLst>
              <a:ext uri="{FF2B5EF4-FFF2-40B4-BE49-F238E27FC236}">
                <a16:creationId xmlns:a16="http://schemas.microsoft.com/office/drawing/2014/main" id="{E0487218-4C33-B799-1E74-62615E1BDB53}"/>
              </a:ext>
            </a:extLst>
          </p:cNvPr>
          <p:cNvPicPr>
            <a:picLocks noChangeAspect="1"/>
          </p:cNvPicPr>
          <p:nvPr/>
        </p:nvPicPr>
        <p:blipFill>
          <a:blip r:embed="rId3"/>
          <a:srcRect r="9104" b="1"/>
          <a:stretch>
            <a:fillRect/>
          </a:stretch>
        </p:blipFill>
        <p:spPr>
          <a:xfrm>
            <a:off x="3452326" y="968122"/>
            <a:ext cx="4744424" cy="2988182"/>
          </a:xfrm>
          <a:prstGeom prst="roundRect">
            <a:avLst>
              <a:gd name="adj" fmla="val 2613"/>
            </a:avLst>
          </a:prstGeom>
          <a:noFill/>
          <a:ln>
            <a:noFill/>
          </a:ln>
        </p:spPr>
      </p:pic>
      <p:sp>
        <p:nvSpPr>
          <p:cNvPr id="12" name="Title 2">
            <a:extLst>
              <a:ext uri="{FF2B5EF4-FFF2-40B4-BE49-F238E27FC236}">
                <a16:creationId xmlns:a16="http://schemas.microsoft.com/office/drawing/2014/main" id="{E47830D1-E4E4-FEF9-E40B-687F067843F7}"/>
              </a:ext>
            </a:extLst>
          </p:cNvPr>
          <p:cNvSpPr>
            <a:spLocks noGrp="1"/>
          </p:cNvSpPr>
          <p:nvPr>
            <p:ph type="title"/>
          </p:nvPr>
        </p:nvSpPr>
        <p:spPr>
          <a:xfrm>
            <a:off x="971600" y="2068092"/>
            <a:ext cx="2088232" cy="1152127"/>
          </a:xfrm>
        </p:spPr>
        <p:txBody>
          <a:bodyPr anchor="t">
            <a:normAutofit/>
          </a:bodyPr>
          <a:lstStyle/>
          <a:p>
            <a:r>
              <a:rPr lang="da-DK" sz="1500" noProof="0"/>
              <a:t>HUSK</a:t>
            </a:r>
            <a:r>
              <a:rPr lang="da-DK" sz="1500" b="0" noProof="0"/>
              <a:t>, at du kan finde diverse dokumenter, videoguides, slides mv. på Borgerblikkets dokument-bibliotek</a:t>
            </a:r>
            <a:br>
              <a:rPr lang="da-DK" sz="1500" noProof="0"/>
            </a:br>
            <a:endParaRPr lang="da-DK" sz="1500" noProof="0"/>
          </a:p>
        </p:txBody>
      </p:sp>
      <p:sp>
        <p:nvSpPr>
          <p:cNvPr id="14" name="Text Placeholder 3">
            <a:extLst>
              <a:ext uri="{FF2B5EF4-FFF2-40B4-BE49-F238E27FC236}">
                <a16:creationId xmlns:a16="http://schemas.microsoft.com/office/drawing/2014/main" id="{A3343DBB-DC51-46ED-F5EC-02F59380C893}"/>
              </a:ext>
            </a:extLst>
          </p:cNvPr>
          <p:cNvSpPr>
            <a:spLocks noGrp="1"/>
          </p:cNvSpPr>
          <p:nvPr>
            <p:ph type="body" sz="quarter" idx="15"/>
          </p:nvPr>
        </p:nvSpPr>
        <p:spPr>
          <a:xfrm>
            <a:off x="971600" y="1635646"/>
            <a:ext cx="2088232" cy="360437"/>
          </a:xfrm>
        </p:spPr>
        <p:txBody>
          <a:bodyPr anchor="b">
            <a:normAutofit/>
          </a:bodyPr>
          <a:lstStyle/>
          <a:p>
            <a:r>
              <a:rPr lang="da-DK" dirty="0">
                <a:hlinkClick r:id="rId4"/>
              </a:rPr>
              <a:t>Borgerblikkets dokumentbibliotek</a:t>
            </a:r>
            <a:endParaRPr lang="en-US" dirty="0"/>
          </a:p>
        </p:txBody>
      </p:sp>
      <p:sp>
        <p:nvSpPr>
          <p:cNvPr id="21" name="Text Placeholder 4">
            <a:extLst>
              <a:ext uri="{FF2B5EF4-FFF2-40B4-BE49-F238E27FC236}">
                <a16:creationId xmlns:a16="http://schemas.microsoft.com/office/drawing/2014/main" id="{7632D871-BEAC-272D-FB05-7A961FC8B96C}"/>
              </a:ext>
            </a:extLst>
          </p:cNvPr>
          <p:cNvSpPr>
            <a:spLocks noGrp="1"/>
          </p:cNvSpPr>
          <p:nvPr>
            <p:ph type="body" sz="quarter" idx="18"/>
          </p:nvPr>
        </p:nvSpPr>
        <p:spPr>
          <a:xfrm>
            <a:off x="186110" y="4728638"/>
            <a:ext cx="219600" cy="219600"/>
          </a:xfrm>
        </p:spPr>
        <p:txBody>
          <a:bodyPr/>
          <a:lstStyle/>
          <a:p>
            <a:endParaRPr lang="en-US"/>
          </a:p>
        </p:txBody>
      </p:sp>
    </p:spTree>
    <p:extLst>
      <p:ext uri="{BB962C8B-B14F-4D97-AF65-F5344CB8AC3E}">
        <p14:creationId xmlns:p14="http://schemas.microsoft.com/office/powerpoint/2010/main" val="249411600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3A17A3-4146-FA9F-FEB1-7DD6DC08E3B0}"/>
              </a:ext>
            </a:extLst>
          </p:cNvPr>
          <p:cNvSpPr>
            <a:spLocks noGrp="1"/>
          </p:cNvSpPr>
          <p:nvPr>
            <p:ph type="title"/>
          </p:nvPr>
        </p:nvSpPr>
        <p:spPr/>
        <p:txBody>
          <a:bodyPr/>
          <a:lstStyle/>
          <a:p>
            <a:r>
              <a:rPr lang="da-DK" dirty="0"/>
              <a:t>Status</a:t>
            </a:r>
          </a:p>
        </p:txBody>
      </p:sp>
      <p:sp>
        <p:nvSpPr>
          <p:cNvPr id="3" name="Pladsholder til tekst 2">
            <a:extLst>
              <a:ext uri="{FF2B5EF4-FFF2-40B4-BE49-F238E27FC236}">
                <a16:creationId xmlns:a16="http://schemas.microsoft.com/office/drawing/2014/main" id="{FE3676F3-9739-3845-6DA9-355E8851A8FC}"/>
              </a:ext>
            </a:extLst>
          </p:cNvPr>
          <p:cNvSpPr>
            <a:spLocks noGrp="1"/>
          </p:cNvSpPr>
          <p:nvPr>
            <p:ph type="body" sz="quarter" idx="10"/>
          </p:nvPr>
        </p:nvSpPr>
        <p:spPr/>
        <p:txBody>
          <a:bodyPr/>
          <a:lstStyle/>
          <a:p>
            <a:pPr marL="285750" indent="-285750">
              <a:buFont typeface="Arial" panose="020B0604020202020204" pitchFamily="34" charset="0"/>
              <a:buChar char="•"/>
            </a:pPr>
            <a:r>
              <a:rPr lang="da-DK" sz="1600" dirty="0"/>
              <a:t>Interviewguiden er på plads</a:t>
            </a:r>
          </a:p>
          <a:p>
            <a:pPr marL="285750" indent="-285750">
              <a:buFont typeface="Arial" panose="020B0604020202020204" pitchFamily="34" charset="0"/>
              <a:buChar char="•"/>
            </a:pPr>
            <a:r>
              <a:rPr lang="da-DK" sz="1600" dirty="0"/>
              <a:t>Otte kommuner er identificeret</a:t>
            </a:r>
          </a:p>
          <a:p>
            <a:pPr marL="423450" lvl="2" indent="-171450">
              <a:buFont typeface="Arial" panose="020B0604020202020204" pitchFamily="34" charset="0"/>
              <a:buChar char="•"/>
            </a:pPr>
            <a:r>
              <a:rPr lang="da-DK" sz="1100" dirty="0"/>
              <a:t>Børne-/familie</a:t>
            </a:r>
          </a:p>
          <a:p>
            <a:pPr marL="423450" lvl="2" indent="-171450">
              <a:buFont typeface="Arial" panose="020B0604020202020204" pitchFamily="34" charset="0"/>
              <a:buChar char="•"/>
            </a:pPr>
            <a:r>
              <a:rPr lang="da-DK" sz="1100" dirty="0"/>
              <a:t>PPR/LTT</a:t>
            </a:r>
          </a:p>
          <a:p>
            <a:pPr marL="423450" lvl="2" indent="-171450">
              <a:buFont typeface="Arial" panose="020B0604020202020204" pitchFamily="34" charset="0"/>
              <a:buChar char="•"/>
            </a:pPr>
            <a:r>
              <a:rPr lang="da-DK" sz="1100" dirty="0" err="1"/>
              <a:t>Uddanelses</a:t>
            </a:r>
            <a:r>
              <a:rPr lang="da-DK" sz="1100" dirty="0"/>
              <a:t>-vejledning</a:t>
            </a:r>
          </a:p>
          <a:p>
            <a:pPr marL="423450" lvl="2" indent="-171450">
              <a:buFont typeface="Arial" panose="020B0604020202020204" pitchFamily="34" charset="0"/>
              <a:buChar char="•"/>
            </a:pPr>
            <a:r>
              <a:rPr lang="da-DK" sz="1100" dirty="0"/>
              <a:t>Sundhedsplejen</a:t>
            </a:r>
          </a:p>
          <a:p>
            <a:pPr marL="285750" indent="-285750">
              <a:buFont typeface="Arial" panose="020B0604020202020204" pitchFamily="34" charset="0"/>
              <a:buChar char="•"/>
            </a:pPr>
            <a:r>
              <a:rPr lang="da-DK" sz="1600" dirty="0"/>
              <a:t>Indkald til interview i januar/februar</a:t>
            </a:r>
          </a:p>
          <a:p>
            <a:endParaRPr lang="da-DK" dirty="0"/>
          </a:p>
        </p:txBody>
      </p:sp>
      <p:sp>
        <p:nvSpPr>
          <p:cNvPr id="5" name="Pladsholder til tekst 4">
            <a:extLst>
              <a:ext uri="{FF2B5EF4-FFF2-40B4-BE49-F238E27FC236}">
                <a16:creationId xmlns:a16="http://schemas.microsoft.com/office/drawing/2014/main" id="{459BB3B8-CF97-DE31-7E58-13203AFBE538}"/>
              </a:ext>
            </a:extLst>
          </p:cNvPr>
          <p:cNvSpPr>
            <a:spLocks noGrp="1"/>
          </p:cNvSpPr>
          <p:nvPr>
            <p:ph type="body" sz="quarter" idx="11"/>
          </p:nvPr>
        </p:nvSpPr>
        <p:spPr/>
        <p:txBody>
          <a:bodyPr/>
          <a:lstStyle/>
          <a:p>
            <a:endParaRPr lang="da-DK"/>
          </a:p>
        </p:txBody>
      </p:sp>
      <p:pic>
        <p:nvPicPr>
          <p:cNvPr id="1026" name="Picture 2" descr="The New Meaning of Progress - TeacherToolkit">
            <a:extLst>
              <a:ext uri="{FF2B5EF4-FFF2-40B4-BE49-F238E27FC236}">
                <a16:creationId xmlns:a16="http://schemas.microsoft.com/office/drawing/2014/main" id="{BEAC7C09-13D5-DA28-E7A9-9D61EA1E85E3}"/>
              </a:ext>
            </a:extLst>
          </p:cNvPr>
          <p:cNvPicPr>
            <a:picLocks noGrp="1" noChangeAspect="1" noChangeArrowheads="1"/>
          </p:cNvPicPr>
          <p:nvPr>
            <p:ph type="pic" sz="quarter" idx="12"/>
          </p:nvPr>
        </p:nvPicPr>
        <p:blipFill>
          <a:blip r:embed="rId3">
            <a:extLst>
              <a:ext uri="{28A0092B-C50C-407E-A947-70E740481C1C}">
                <a14:useLocalDpi xmlns:a14="http://schemas.microsoft.com/office/drawing/2010/main" val="0"/>
              </a:ext>
            </a:extLst>
          </a:blip>
          <a:srcRect l="20370" r="20370"/>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00414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5FF035-BBFA-DBD1-E6EB-217A148DD48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76DCE92-A14D-6136-E5F2-6172D2827681}"/>
              </a:ext>
            </a:extLst>
          </p:cNvPr>
          <p:cNvSpPr>
            <a:spLocks noGrp="1"/>
          </p:cNvSpPr>
          <p:nvPr>
            <p:ph type="title"/>
          </p:nvPr>
        </p:nvSpPr>
        <p:spPr>
          <a:xfrm>
            <a:off x="1397556" y="1998350"/>
            <a:ext cx="7092404" cy="792088"/>
          </a:xfrm>
        </p:spPr>
        <p:txBody>
          <a:bodyPr/>
          <a:lstStyle/>
          <a:p>
            <a:pPr>
              <a:spcBef>
                <a:spcPts val="150"/>
              </a:spcBef>
            </a:pPr>
            <a:r>
              <a:rPr lang="da-DK" dirty="0">
                <a:latin typeface="Arial" panose="020B0604020202020204" pitchFamily="34" charset="0"/>
                <a:ea typeface="Aptos" panose="020B0004020202020204" pitchFamily="34" charset="0"/>
                <a:cs typeface="Aptos" panose="020B0004020202020204" pitchFamily="34" charset="0"/>
              </a:rPr>
              <a:t>Nyt fra Borgerblikket i Tal</a:t>
            </a:r>
          </a:p>
        </p:txBody>
      </p:sp>
      <p:sp>
        <p:nvSpPr>
          <p:cNvPr id="3" name="Pladsholder til tekst 2">
            <a:extLst>
              <a:ext uri="{FF2B5EF4-FFF2-40B4-BE49-F238E27FC236}">
                <a16:creationId xmlns:a16="http://schemas.microsoft.com/office/drawing/2014/main" id="{64A723E3-9291-E7B7-4A5C-397342B36658}"/>
              </a:ext>
            </a:extLst>
          </p:cNvPr>
          <p:cNvSpPr>
            <a:spLocks noGrp="1"/>
          </p:cNvSpPr>
          <p:nvPr>
            <p:ph type="body" sz="quarter" idx="18"/>
          </p:nvPr>
        </p:nvSpPr>
        <p:spPr/>
        <p:txBody>
          <a:bodyPr/>
          <a:lstStyle/>
          <a:p>
            <a:endParaRPr lang="da-DK"/>
          </a:p>
        </p:txBody>
      </p:sp>
    </p:spTree>
    <p:extLst>
      <p:ext uri="{BB962C8B-B14F-4D97-AF65-F5344CB8AC3E}">
        <p14:creationId xmlns:p14="http://schemas.microsoft.com/office/powerpoint/2010/main" val="373537192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7F010D-22F5-FB6C-5909-19DDBBB3CED0}"/>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34B58D7-8795-D957-18D4-BA43B951B2B5}"/>
              </a:ext>
            </a:extLst>
          </p:cNvPr>
          <p:cNvSpPr>
            <a:spLocks noGrp="1"/>
          </p:cNvSpPr>
          <p:nvPr>
            <p:ph type="body" sz="quarter" idx="10"/>
          </p:nvPr>
        </p:nvSpPr>
        <p:spPr>
          <a:xfrm>
            <a:off x="-380773" y="2119312"/>
            <a:ext cx="8207376" cy="3168650"/>
          </a:xfrm>
        </p:spPr>
        <p:txBody>
          <a:bodyPr/>
          <a:lstStyle/>
          <a:p>
            <a:endParaRPr lang="da-DK" dirty="0"/>
          </a:p>
        </p:txBody>
      </p:sp>
      <p:sp>
        <p:nvSpPr>
          <p:cNvPr id="4" name="Text Placeholder 3">
            <a:extLst>
              <a:ext uri="{FF2B5EF4-FFF2-40B4-BE49-F238E27FC236}">
                <a16:creationId xmlns:a16="http://schemas.microsoft.com/office/drawing/2014/main" id="{06C47DC0-54E0-34F9-4D62-8994A95E8ED6}"/>
              </a:ext>
            </a:extLst>
          </p:cNvPr>
          <p:cNvSpPr>
            <a:spLocks noGrp="1"/>
          </p:cNvSpPr>
          <p:nvPr>
            <p:ph type="body" sz="quarter" idx="11"/>
          </p:nvPr>
        </p:nvSpPr>
        <p:spPr/>
        <p:txBody>
          <a:bodyPr/>
          <a:lstStyle/>
          <a:p>
            <a:endParaRPr lang="da-DK"/>
          </a:p>
        </p:txBody>
      </p:sp>
      <p:pic>
        <p:nvPicPr>
          <p:cNvPr id="8" name="Picture 7">
            <a:extLst>
              <a:ext uri="{FF2B5EF4-FFF2-40B4-BE49-F238E27FC236}">
                <a16:creationId xmlns:a16="http://schemas.microsoft.com/office/drawing/2014/main" id="{0C0B906B-D434-4EB2-04B6-40D13CD65A10}"/>
              </a:ext>
            </a:extLst>
          </p:cNvPr>
          <p:cNvPicPr>
            <a:picLocks noChangeAspect="1"/>
          </p:cNvPicPr>
          <p:nvPr/>
        </p:nvPicPr>
        <p:blipFill>
          <a:blip r:embed="rId2"/>
          <a:stretch>
            <a:fillRect/>
          </a:stretch>
        </p:blipFill>
        <p:spPr>
          <a:xfrm>
            <a:off x="0" y="0"/>
            <a:ext cx="7948349" cy="2812024"/>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5D009796-DF54-CC04-BB1B-D1B47A62F6BA}"/>
              </a:ext>
            </a:extLst>
          </p:cNvPr>
          <p:cNvPicPr>
            <a:picLocks noChangeAspect="1"/>
          </p:cNvPicPr>
          <p:nvPr/>
        </p:nvPicPr>
        <p:blipFill>
          <a:blip r:embed="rId3"/>
          <a:stretch>
            <a:fillRect/>
          </a:stretch>
        </p:blipFill>
        <p:spPr>
          <a:xfrm>
            <a:off x="2047954" y="2974411"/>
            <a:ext cx="7096046" cy="210876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3193489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4E62A-3CDB-5E68-B592-8054377E27B8}"/>
              </a:ext>
            </a:extLst>
          </p:cNvPr>
          <p:cNvSpPr>
            <a:spLocks noGrp="1"/>
          </p:cNvSpPr>
          <p:nvPr>
            <p:ph type="title"/>
          </p:nvPr>
        </p:nvSpPr>
        <p:spPr/>
        <p:txBody>
          <a:bodyPr/>
          <a:lstStyle/>
          <a:p>
            <a:r>
              <a:rPr lang="da-DK" dirty="0"/>
              <a:t>Unges data</a:t>
            </a:r>
          </a:p>
        </p:txBody>
      </p:sp>
      <p:sp>
        <p:nvSpPr>
          <p:cNvPr id="3" name="Text Placeholder 2">
            <a:extLst>
              <a:ext uri="{FF2B5EF4-FFF2-40B4-BE49-F238E27FC236}">
                <a16:creationId xmlns:a16="http://schemas.microsoft.com/office/drawing/2014/main" id="{BF6ED898-7771-C2A6-D33C-5AD50B365F74}"/>
              </a:ext>
            </a:extLst>
          </p:cNvPr>
          <p:cNvSpPr>
            <a:spLocks noGrp="1"/>
          </p:cNvSpPr>
          <p:nvPr>
            <p:ph type="body" sz="quarter" idx="10"/>
          </p:nvPr>
        </p:nvSpPr>
        <p:spPr>
          <a:xfrm>
            <a:off x="468312" y="1042814"/>
            <a:ext cx="8207376" cy="551718"/>
          </a:xfrm>
        </p:spPr>
        <p:txBody>
          <a:bodyPr/>
          <a:lstStyle/>
          <a:p>
            <a:r>
              <a:rPr lang="da-DK" dirty="0"/>
              <a:t>Overblik over hvor mange og på hvilke KLE-numre der er åbnet for unges data, er tilføjet flere steder.</a:t>
            </a:r>
          </a:p>
        </p:txBody>
      </p:sp>
      <p:sp>
        <p:nvSpPr>
          <p:cNvPr id="4" name="Text Placeholder 3">
            <a:extLst>
              <a:ext uri="{FF2B5EF4-FFF2-40B4-BE49-F238E27FC236}">
                <a16:creationId xmlns:a16="http://schemas.microsoft.com/office/drawing/2014/main" id="{F01FB49E-A234-5B2A-4DC3-46C0184FE4C6}"/>
              </a:ext>
            </a:extLst>
          </p:cNvPr>
          <p:cNvSpPr>
            <a:spLocks noGrp="1"/>
          </p:cNvSpPr>
          <p:nvPr>
            <p:ph type="body" sz="quarter" idx="11"/>
          </p:nvPr>
        </p:nvSpPr>
        <p:spPr/>
        <p:txBody>
          <a:bodyPr/>
          <a:lstStyle/>
          <a:p>
            <a:endParaRPr lang="da-DK"/>
          </a:p>
        </p:txBody>
      </p:sp>
      <p:pic>
        <p:nvPicPr>
          <p:cNvPr id="8" name="Picture 7">
            <a:extLst>
              <a:ext uri="{FF2B5EF4-FFF2-40B4-BE49-F238E27FC236}">
                <a16:creationId xmlns:a16="http://schemas.microsoft.com/office/drawing/2014/main" id="{B6396D1A-0809-2B92-086F-774A608C29A6}"/>
              </a:ext>
            </a:extLst>
          </p:cNvPr>
          <p:cNvPicPr>
            <a:picLocks noChangeAspect="1"/>
          </p:cNvPicPr>
          <p:nvPr/>
        </p:nvPicPr>
        <p:blipFill>
          <a:blip r:embed="rId2"/>
          <a:stretch>
            <a:fillRect/>
          </a:stretch>
        </p:blipFill>
        <p:spPr>
          <a:xfrm>
            <a:off x="408080" y="1549994"/>
            <a:ext cx="8584780" cy="3037881"/>
          </a:xfrm>
          <a:prstGeom prst="rect">
            <a:avLst/>
          </a:prstGeom>
        </p:spPr>
      </p:pic>
    </p:spTree>
    <p:extLst>
      <p:ext uri="{BB962C8B-B14F-4D97-AF65-F5344CB8AC3E}">
        <p14:creationId xmlns:p14="http://schemas.microsoft.com/office/powerpoint/2010/main" val="77811077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2A6AA7-291D-3BE9-677D-B55EFA0ED71E}"/>
              </a:ext>
            </a:extLst>
          </p:cNvPr>
          <p:cNvSpPr>
            <a:spLocks noGrp="1"/>
          </p:cNvSpPr>
          <p:nvPr>
            <p:ph type="title"/>
          </p:nvPr>
        </p:nvSpPr>
        <p:spPr/>
        <p:txBody>
          <a:bodyPr/>
          <a:lstStyle/>
          <a:p>
            <a:r>
              <a:rPr lang="da-DK" dirty="0"/>
              <a:t>Antal kommuner der udstiller KLE-emne</a:t>
            </a:r>
          </a:p>
        </p:txBody>
      </p:sp>
      <p:sp>
        <p:nvSpPr>
          <p:cNvPr id="3" name="Text Placeholder 2">
            <a:extLst>
              <a:ext uri="{FF2B5EF4-FFF2-40B4-BE49-F238E27FC236}">
                <a16:creationId xmlns:a16="http://schemas.microsoft.com/office/drawing/2014/main" id="{5DAEE97E-7335-2F3F-61DD-A956426849B0}"/>
              </a:ext>
            </a:extLst>
          </p:cNvPr>
          <p:cNvSpPr>
            <a:spLocks noGrp="1"/>
          </p:cNvSpPr>
          <p:nvPr>
            <p:ph type="body" sz="quarter" idx="10"/>
          </p:nvPr>
        </p:nvSpPr>
        <p:spPr>
          <a:xfrm>
            <a:off x="468313" y="1275035"/>
            <a:ext cx="2992005" cy="3168650"/>
          </a:xfrm>
        </p:spPr>
        <p:txBody>
          <a:bodyPr/>
          <a:lstStyle/>
          <a:p>
            <a:pPr marL="0" indent="0">
              <a:lnSpc>
                <a:spcPct val="150000"/>
              </a:lnSpc>
              <a:buNone/>
            </a:pPr>
            <a:r>
              <a:rPr lang="da-DK" sz="1200" dirty="0"/>
              <a:t>Tabellen viser, hvor mange kommuner der har åbnet for visning af de forskellige KLE-emner. </a:t>
            </a:r>
          </a:p>
          <a:p>
            <a:pPr marL="0" indent="0">
              <a:lnSpc>
                <a:spcPct val="150000"/>
              </a:lnSpc>
              <a:buNone/>
            </a:pPr>
            <a:r>
              <a:rPr lang="da-DK" sz="1200" dirty="0"/>
              <a:t>Det er også muligt at se, hvilke kommuner der har åbnet. Dette kan måske give lidt inspiration til, hvad der nemt kan åbnes op for.</a:t>
            </a:r>
          </a:p>
          <a:p>
            <a:endParaRPr lang="da-DK" dirty="0"/>
          </a:p>
        </p:txBody>
      </p:sp>
      <p:sp>
        <p:nvSpPr>
          <p:cNvPr id="4" name="Text Placeholder 3">
            <a:extLst>
              <a:ext uri="{FF2B5EF4-FFF2-40B4-BE49-F238E27FC236}">
                <a16:creationId xmlns:a16="http://schemas.microsoft.com/office/drawing/2014/main" id="{01B01BF9-1773-7590-A0D1-BB827773D394}"/>
              </a:ext>
            </a:extLst>
          </p:cNvPr>
          <p:cNvSpPr>
            <a:spLocks noGrp="1"/>
          </p:cNvSpPr>
          <p:nvPr>
            <p:ph type="body" sz="quarter" idx="11"/>
          </p:nvPr>
        </p:nvSpPr>
        <p:spPr/>
        <p:txBody>
          <a:bodyPr/>
          <a:lstStyle/>
          <a:p>
            <a:endParaRPr lang="da-DK"/>
          </a:p>
        </p:txBody>
      </p:sp>
      <p:pic>
        <p:nvPicPr>
          <p:cNvPr id="5" name="Picture 4">
            <a:extLst>
              <a:ext uri="{FF2B5EF4-FFF2-40B4-BE49-F238E27FC236}">
                <a16:creationId xmlns:a16="http://schemas.microsoft.com/office/drawing/2014/main" id="{8EEEB18F-611B-DE20-53C8-6786D89BDA0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6474"/>
          <a:stretch>
            <a:fillRect/>
          </a:stretch>
        </p:blipFill>
        <p:spPr bwMode="auto">
          <a:xfrm>
            <a:off x="3460318" y="1203598"/>
            <a:ext cx="5547656" cy="3868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56762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A74A0-B761-3DCE-D7A4-690479042BE8}"/>
              </a:ext>
            </a:extLst>
          </p:cNvPr>
          <p:cNvSpPr>
            <a:spLocks noGrp="1"/>
          </p:cNvSpPr>
          <p:nvPr>
            <p:ph type="title"/>
          </p:nvPr>
        </p:nvSpPr>
        <p:spPr/>
        <p:txBody>
          <a:bodyPr/>
          <a:lstStyle/>
          <a:p>
            <a:r>
              <a:rPr lang="da-DK" dirty="0"/>
              <a:t>Nyt filter - obligatoriske KLE-emner</a:t>
            </a:r>
          </a:p>
        </p:txBody>
      </p:sp>
      <p:sp>
        <p:nvSpPr>
          <p:cNvPr id="3" name="Text Placeholder 2">
            <a:extLst>
              <a:ext uri="{FF2B5EF4-FFF2-40B4-BE49-F238E27FC236}">
                <a16:creationId xmlns:a16="http://schemas.microsoft.com/office/drawing/2014/main" id="{BFF74B79-CD4B-0FD8-A6FA-8F75471CEE4A}"/>
              </a:ext>
            </a:extLst>
          </p:cNvPr>
          <p:cNvSpPr>
            <a:spLocks noGrp="1"/>
          </p:cNvSpPr>
          <p:nvPr>
            <p:ph type="body" sz="quarter" idx="10"/>
          </p:nvPr>
        </p:nvSpPr>
        <p:spPr>
          <a:xfrm>
            <a:off x="468313" y="4231781"/>
            <a:ext cx="8207376" cy="356094"/>
          </a:xfrm>
        </p:spPr>
        <p:txBody>
          <a:bodyPr/>
          <a:lstStyle/>
          <a:p>
            <a:r>
              <a:rPr lang="da-DK" dirty="0"/>
              <a:t>Der tages ikke hensyn til enkelte kommuners dispensationer.</a:t>
            </a:r>
          </a:p>
        </p:txBody>
      </p:sp>
      <p:sp>
        <p:nvSpPr>
          <p:cNvPr id="4" name="Text Placeholder 3">
            <a:extLst>
              <a:ext uri="{FF2B5EF4-FFF2-40B4-BE49-F238E27FC236}">
                <a16:creationId xmlns:a16="http://schemas.microsoft.com/office/drawing/2014/main" id="{E48FA6D5-0518-AAB7-9B75-770ED4A383D7}"/>
              </a:ext>
            </a:extLst>
          </p:cNvPr>
          <p:cNvSpPr>
            <a:spLocks noGrp="1"/>
          </p:cNvSpPr>
          <p:nvPr>
            <p:ph type="body" sz="quarter" idx="11"/>
          </p:nvPr>
        </p:nvSpPr>
        <p:spPr/>
        <p:txBody>
          <a:bodyPr/>
          <a:lstStyle/>
          <a:p>
            <a:endParaRPr lang="da-DK"/>
          </a:p>
        </p:txBody>
      </p:sp>
      <p:pic>
        <p:nvPicPr>
          <p:cNvPr id="2050" name="Picture 2">
            <a:extLst>
              <a:ext uri="{FF2B5EF4-FFF2-40B4-BE49-F238E27FC236}">
                <a16:creationId xmlns:a16="http://schemas.microsoft.com/office/drawing/2014/main" id="{9778505E-308A-AB6E-EF91-8A9E3F5F07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395" y="879611"/>
            <a:ext cx="5051084" cy="173026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EDBDE366-5387-4255-626A-A4578D7B04E3}"/>
              </a:ext>
            </a:extLst>
          </p:cNvPr>
          <p:cNvPicPr>
            <a:picLocks noChangeAspect="1"/>
          </p:cNvPicPr>
          <p:nvPr/>
        </p:nvPicPr>
        <p:blipFill>
          <a:blip r:embed="rId3"/>
          <a:stretch>
            <a:fillRect/>
          </a:stretch>
        </p:blipFill>
        <p:spPr>
          <a:xfrm>
            <a:off x="5368479" y="1348468"/>
            <a:ext cx="3124471" cy="792549"/>
          </a:xfrm>
          <a:prstGeom prst="rect">
            <a:avLst/>
          </a:prstGeom>
        </p:spPr>
      </p:pic>
      <p:pic>
        <p:nvPicPr>
          <p:cNvPr id="10" name="Picture 9">
            <a:extLst>
              <a:ext uri="{FF2B5EF4-FFF2-40B4-BE49-F238E27FC236}">
                <a16:creationId xmlns:a16="http://schemas.microsoft.com/office/drawing/2014/main" id="{AAD4F7AE-4142-8ADE-5CE1-2E7D4421152D}"/>
              </a:ext>
            </a:extLst>
          </p:cNvPr>
          <p:cNvPicPr>
            <a:picLocks noChangeAspect="1"/>
          </p:cNvPicPr>
          <p:nvPr/>
        </p:nvPicPr>
        <p:blipFill>
          <a:blip r:embed="rId4"/>
          <a:stretch>
            <a:fillRect/>
          </a:stretch>
        </p:blipFill>
        <p:spPr>
          <a:xfrm>
            <a:off x="353964" y="2825503"/>
            <a:ext cx="8436071" cy="1287892"/>
          </a:xfrm>
          <a:prstGeom prst="rect">
            <a:avLst/>
          </a:prstGeom>
        </p:spPr>
      </p:pic>
    </p:spTree>
    <p:extLst>
      <p:ext uri="{BB962C8B-B14F-4D97-AF65-F5344CB8AC3E}">
        <p14:creationId xmlns:p14="http://schemas.microsoft.com/office/powerpoint/2010/main" val="364523922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1A61DF-4DA5-592F-BC5E-1A0FCB798DF6}"/>
              </a:ext>
            </a:extLst>
          </p:cNvPr>
          <p:cNvSpPr>
            <a:spLocks noGrp="1"/>
          </p:cNvSpPr>
          <p:nvPr>
            <p:ph type="title"/>
          </p:nvPr>
        </p:nvSpPr>
        <p:spPr/>
        <p:txBody>
          <a:bodyPr/>
          <a:lstStyle/>
          <a:p>
            <a:r>
              <a:rPr lang="da-DK" dirty="0"/>
              <a:t>Brugsstatistikker nu på Teams</a:t>
            </a:r>
          </a:p>
        </p:txBody>
      </p:sp>
      <p:sp>
        <p:nvSpPr>
          <p:cNvPr id="3" name="Text Placeholder 2">
            <a:extLst>
              <a:ext uri="{FF2B5EF4-FFF2-40B4-BE49-F238E27FC236}">
                <a16:creationId xmlns:a16="http://schemas.microsoft.com/office/drawing/2014/main" id="{7EE1BABB-4BA8-6B94-391A-866D92A96C27}"/>
              </a:ext>
            </a:extLst>
          </p:cNvPr>
          <p:cNvSpPr>
            <a:spLocks noGrp="1"/>
          </p:cNvSpPr>
          <p:nvPr>
            <p:ph type="body" sz="quarter" idx="10"/>
          </p:nvPr>
        </p:nvSpPr>
        <p:spPr>
          <a:xfrm>
            <a:off x="468312" y="1419225"/>
            <a:ext cx="8037513" cy="3168650"/>
          </a:xfrm>
        </p:spPr>
        <p:txBody>
          <a:bodyPr/>
          <a:lstStyle/>
          <a:p>
            <a:r>
              <a:rPr lang="en-US" dirty="0"/>
              <a:t>I takt med at jeres udstilling af borgerdata bliver større og større har vi været nødt til at ændre en smule på den måde vi deler brugsstatistikker med jer. </a:t>
            </a:r>
            <a:r>
              <a:rPr lang="da-DK" dirty="0"/>
              <a:t>Fremover vil I kunne finde rapporterne inde i dashboardet ’Borgerblikket i Tal’.</a:t>
            </a:r>
          </a:p>
          <a:p>
            <a:endParaRPr lang="da-DK" dirty="0"/>
          </a:p>
          <a:p>
            <a:endParaRPr lang="da-DK" dirty="0"/>
          </a:p>
        </p:txBody>
      </p:sp>
      <p:sp>
        <p:nvSpPr>
          <p:cNvPr id="4" name="Text Placeholder 3">
            <a:extLst>
              <a:ext uri="{FF2B5EF4-FFF2-40B4-BE49-F238E27FC236}">
                <a16:creationId xmlns:a16="http://schemas.microsoft.com/office/drawing/2014/main" id="{8B7596A6-7917-FCE7-E20E-11DC13363B48}"/>
              </a:ext>
            </a:extLst>
          </p:cNvPr>
          <p:cNvSpPr>
            <a:spLocks noGrp="1"/>
          </p:cNvSpPr>
          <p:nvPr>
            <p:ph type="body" sz="quarter" idx="11"/>
          </p:nvPr>
        </p:nvSpPr>
        <p:spPr/>
        <p:txBody>
          <a:bodyPr/>
          <a:lstStyle/>
          <a:p>
            <a:endParaRPr lang="da-DK"/>
          </a:p>
        </p:txBody>
      </p:sp>
      <p:pic>
        <p:nvPicPr>
          <p:cNvPr id="6" name="Picture 5">
            <a:extLst>
              <a:ext uri="{FF2B5EF4-FFF2-40B4-BE49-F238E27FC236}">
                <a16:creationId xmlns:a16="http://schemas.microsoft.com/office/drawing/2014/main" id="{2E82640F-D866-BAF3-C669-B1DCC9821285}"/>
              </a:ext>
            </a:extLst>
          </p:cNvPr>
          <p:cNvPicPr>
            <a:picLocks noChangeAspect="1"/>
          </p:cNvPicPr>
          <p:nvPr/>
        </p:nvPicPr>
        <p:blipFill>
          <a:blip r:embed="rId2"/>
          <a:stretch>
            <a:fillRect/>
          </a:stretch>
        </p:blipFill>
        <p:spPr>
          <a:xfrm>
            <a:off x="5353079" y="2697951"/>
            <a:ext cx="3322608" cy="1889924"/>
          </a:xfrm>
          <a:prstGeom prst="rect">
            <a:avLst/>
          </a:prstGeom>
        </p:spPr>
      </p:pic>
      <p:sp>
        <p:nvSpPr>
          <p:cNvPr id="7" name="Tekstfelt 6">
            <a:extLst>
              <a:ext uri="{FF2B5EF4-FFF2-40B4-BE49-F238E27FC236}">
                <a16:creationId xmlns:a16="http://schemas.microsoft.com/office/drawing/2014/main" id="{F893FE10-A16D-CF3D-4D03-DF57807E9BEC}"/>
              </a:ext>
            </a:extLst>
          </p:cNvPr>
          <p:cNvSpPr txBox="1"/>
          <p:nvPr/>
        </p:nvSpPr>
        <p:spPr>
          <a:xfrm>
            <a:off x="392112" y="2303358"/>
            <a:ext cx="4572000" cy="1400383"/>
          </a:xfrm>
          <a:prstGeom prst="rect">
            <a:avLst/>
          </a:prstGeom>
          <a:noFill/>
          <a:ln>
            <a:noFill/>
          </a:ln>
        </p:spPr>
        <p:txBody>
          <a:bodyPr wrap="square">
            <a:spAutoFit/>
          </a:bodyPr>
          <a:lstStyle/>
          <a:p>
            <a:pPr marL="252000" indent="-252000">
              <a:spcBef>
                <a:spcPts val="300"/>
              </a:spcBef>
              <a:spcAft>
                <a:spcPts val="600"/>
              </a:spcAft>
              <a:buClr>
                <a:srgbClr val="EB052F"/>
              </a:buClr>
              <a:buFont typeface="Wingdings" pitchFamily="2" charset="2"/>
              <a:buChar char="§"/>
            </a:pPr>
            <a:r>
              <a:rPr lang="da-DK" sz="1400" kern="0" dirty="0">
                <a:latin typeface="Neue Haas Grotesk Text Pro" panose="020B0504020202020204" pitchFamily="34" charset="77"/>
                <a:cs typeface="Arial"/>
              </a:rPr>
              <a:t>Vi beholder kommunemapperne til fildeling. </a:t>
            </a:r>
          </a:p>
          <a:p>
            <a:pPr marL="252000" indent="-252000">
              <a:spcBef>
                <a:spcPts val="300"/>
              </a:spcBef>
              <a:spcAft>
                <a:spcPts val="600"/>
              </a:spcAft>
              <a:buClr>
                <a:srgbClr val="EB052F"/>
              </a:buClr>
              <a:buFont typeface="Wingdings" pitchFamily="2" charset="2"/>
              <a:buChar char="§"/>
            </a:pPr>
            <a:endParaRPr lang="da-DK" sz="1400" kern="0" dirty="0">
              <a:latin typeface="Neue Haas Grotesk Text Pro" panose="020B0504020202020204" pitchFamily="34" charset="77"/>
              <a:cs typeface="Arial"/>
            </a:endParaRPr>
          </a:p>
          <a:p>
            <a:pPr marL="252000" indent="-252000">
              <a:spcBef>
                <a:spcPts val="300"/>
              </a:spcBef>
              <a:spcAft>
                <a:spcPts val="600"/>
              </a:spcAft>
              <a:buClr>
                <a:srgbClr val="EB052F"/>
              </a:buClr>
              <a:buFont typeface="Wingdings" pitchFamily="2" charset="2"/>
              <a:buChar char="§"/>
            </a:pPr>
            <a:r>
              <a:rPr lang="da-DK" sz="1400" kern="0" dirty="0">
                <a:latin typeface="Neue Haas Grotesk Text Pro" panose="020B0504020202020204" pitchFamily="34" charset="77"/>
                <a:cs typeface="Arial"/>
              </a:rPr>
              <a:t>Der ligger en beskrivelse af ændringen i jeres </a:t>
            </a:r>
            <a:br>
              <a:rPr lang="da-DK" sz="1400" kern="0" dirty="0">
                <a:latin typeface="Neue Haas Grotesk Text Pro" panose="020B0504020202020204" pitchFamily="34" charset="77"/>
                <a:cs typeface="Arial"/>
              </a:rPr>
            </a:br>
            <a:r>
              <a:rPr lang="da-DK" sz="1400" kern="0" dirty="0">
                <a:latin typeface="Neue Haas Grotesk Text Pro" panose="020B0504020202020204" pitchFamily="34" charset="77"/>
                <a:cs typeface="Arial"/>
              </a:rPr>
              <a:t>mapper. Denne forklarer hvordan I får adgang, hvis I ikke har det endnu.</a:t>
            </a:r>
          </a:p>
        </p:txBody>
      </p:sp>
    </p:spTree>
    <p:extLst>
      <p:ext uri="{BB962C8B-B14F-4D97-AF65-F5344CB8AC3E}">
        <p14:creationId xmlns:p14="http://schemas.microsoft.com/office/powerpoint/2010/main" val="24054937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333C2-94CA-1427-E956-2B92E244218C}"/>
              </a:ext>
            </a:extLst>
          </p:cNvPr>
          <p:cNvSpPr>
            <a:spLocks noGrp="1"/>
          </p:cNvSpPr>
          <p:nvPr>
            <p:ph type="title"/>
          </p:nvPr>
        </p:nvSpPr>
        <p:spPr/>
        <p:txBody>
          <a:bodyPr/>
          <a:lstStyle/>
          <a:p>
            <a:r>
              <a:rPr lang="da-DK" dirty="0"/>
              <a:t>Brugsstatistikker nu kun på Teams</a:t>
            </a:r>
          </a:p>
        </p:txBody>
      </p:sp>
      <p:sp>
        <p:nvSpPr>
          <p:cNvPr id="3" name="Text Placeholder 2">
            <a:extLst>
              <a:ext uri="{FF2B5EF4-FFF2-40B4-BE49-F238E27FC236}">
                <a16:creationId xmlns:a16="http://schemas.microsoft.com/office/drawing/2014/main" id="{612C4C73-F65B-9DF9-B11F-502E96B372E0}"/>
              </a:ext>
            </a:extLst>
          </p:cNvPr>
          <p:cNvSpPr>
            <a:spLocks noGrp="1"/>
          </p:cNvSpPr>
          <p:nvPr>
            <p:ph type="body" sz="quarter" idx="10"/>
          </p:nvPr>
        </p:nvSpPr>
        <p:spPr/>
        <p:txBody>
          <a:bodyPr/>
          <a:lstStyle/>
          <a:p>
            <a:endParaRPr lang="da-DK" dirty="0"/>
          </a:p>
        </p:txBody>
      </p:sp>
      <p:sp>
        <p:nvSpPr>
          <p:cNvPr id="4" name="Text Placeholder 3">
            <a:extLst>
              <a:ext uri="{FF2B5EF4-FFF2-40B4-BE49-F238E27FC236}">
                <a16:creationId xmlns:a16="http://schemas.microsoft.com/office/drawing/2014/main" id="{29C0A479-0BB4-550A-9AD5-5E99098AA297}"/>
              </a:ext>
            </a:extLst>
          </p:cNvPr>
          <p:cNvSpPr>
            <a:spLocks noGrp="1"/>
          </p:cNvSpPr>
          <p:nvPr>
            <p:ph type="body" sz="quarter" idx="11"/>
          </p:nvPr>
        </p:nvSpPr>
        <p:spPr/>
        <p:txBody>
          <a:bodyPr/>
          <a:lstStyle/>
          <a:p>
            <a:endParaRPr lang="da-DK"/>
          </a:p>
        </p:txBody>
      </p:sp>
      <p:pic>
        <p:nvPicPr>
          <p:cNvPr id="8" name="Picture 7">
            <a:extLst>
              <a:ext uri="{FF2B5EF4-FFF2-40B4-BE49-F238E27FC236}">
                <a16:creationId xmlns:a16="http://schemas.microsoft.com/office/drawing/2014/main" id="{3A42C9AB-7B53-F46B-D0AE-124D48CFED89}"/>
              </a:ext>
            </a:extLst>
          </p:cNvPr>
          <p:cNvPicPr>
            <a:picLocks noChangeAspect="1"/>
          </p:cNvPicPr>
          <p:nvPr/>
        </p:nvPicPr>
        <p:blipFill>
          <a:blip r:embed="rId2"/>
          <a:stretch>
            <a:fillRect/>
          </a:stretch>
        </p:blipFill>
        <p:spPr>
          <a:xfrm>
            <a:off x="468311" y="935662"/>
            <a:ext cx="7658894" cy="4026360"/>
          </a:xfrm>
          <a:prstGeom prst="rect">
            <a:avLst/>
          </a:prstGeom>
        </p:spPr>
      </p:pic>
    </p:spTree>
    <p:extLst>
      <p:ext uri="{BB962C8B-B14F-4D97-AF65-F5344CB8AC3E}">
        <p14:creationId xmlns:p14="http://schemas.microsoft.com/office/powerpoint/2010/main" val="402837648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53767-B509-658C-0F5B-2E02DC367A4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6AF82DE-E796-A3DB-1FF8-288188B85305}"/>
              </a:ext>
            </a:extLst>
          </p:cNvPr>
          <p:cNvSpPr>
            <a:spLocks noGrp="1"/>
          </p:cNvSpPr>
          <p:nvPr>
            <p:ph type="title"/>
          </p:nvPr>
        </p:nvSpPr>
        <p:spPr>
          <a:xfrm>
            <a:off x="1397556" y="1998350"/>
            <a:ext cx="7092404" cy="792088"/>
          </a:xfrm>
        </p:spPr>
        <p:txBody>
          <a:bodyPr/>
          <a:lstStyle/>
          <a:p>
            <a:pPr>
              <a:spcBef>
                <a:spcPts val="150"/>
              </a:spcBef>
            </a:pPr>
            <a:r>
              <a:rPr lang="da-DK" dirty="0" err="1">
                <a:latin typeface="Arial" panose="020B0604020202020204" pitchFamily="34" charset="0"/>
                <a:ea typeface="Aptos" panose="020B0004020202020204" pitchFamily="34" charset="0"/>
                <a:cs typeface="Aptos" panose="020B0004020202020204" pitchFamily="34" charset="0"/>
              </a:rPr>
              <a:t>Borgerblikkets</a:t>
            </a:r>
            <a:r>
              <a:rPr lang="da-DK" dirty="0">
                <a:latin typeface="Arial" panose="020B0604020202020204" pitchFamily="34" charset="0"/>
                <a:ea typeface="Aptos" panose="020B0004020202020204" pitchFamily="34" charset="0"/>
                <a:cs typeface="Aptos" panose="020B0004020202020204" pitchFamily="34" charset="0"/>
              </a:rPr>
              <a:t> </a:t>
            </a:r>
            <a:r>
              <a:rPr lang="da-DK" dirty="0" err="1">
                <a:latin typeface="Arial" panose="020B0604020202020204" pitchFamily="34" charset="0"/>
                <a:ea typeface="Aptos" panose="020B0004020202020204" pitchFamily="34" charset="0"/>
                <a:cs typeface="Aptos" panose="020B0004020202020204" pitchFamily="34" charset="0"/>
              </a:rPr>
              <a:t>Teamsgruppe</a:t>
            </a:r>
            <a:endParaRPr lang="da-DK" dirty="0">
              <a:latin typeface="Arial" panose="020B0604020202020204" pitchFamily="34" charset="0"/>
              <a:ea typeface="Aptos" panose="020B0004020202020204" pitchFamily="34" charset="0"/>
              <a:cs typeface="Aptos" panose="020B0004020202020204" pitchFamily="34" charset="0"/>
            </a:endParaRPr>
          </a:p>
        </p:txBody>
      </p:sp>
      <p:sp>
        <p:nvSpPr>
          <p:cNvPr id="3" name="Pladsholder til tekst 2">
            <a:extLst>
              <a:ext uri="{FF2B5EF4-FFF2-40B4-BE49-F238E27FC236}">
                <a16:creationId xmlns:a16="http://schemas.microsoft.com/office/drawing/2014/main" id="{2639B494-3D3A-2BAA-DA55-EC4F267C24E0}"/>
              </a:ext>
            </a:extLst>
          </p:cNvPr>
          <p:cNvSpPr>
            <a:spLocks noGrp="1"/>
          </p:cNvSpPr>
          <p:nvPr>
            <p:ph type="body" sz="quarter" idx="18"/>
          </p:nvPr>
        </p:nvSpPr>
        <p:spPr/>
        <p:txBody>
          <a:bodyPr/>
          <a:lstStyle/>
          <a:p>
            <a:endParaRPr lang="da-DK"/>
          </a:p>
        </p:txBody>
      </p:sp>
    </p:spTree>
    <p:extLst>
      <p:ext uri="{BB962C8B-B14F-4D97-AF65-F5344CB8AC3E}">
        <p14:creationId xmlns:p14="http://schemas.microsoft.com/office/powerpoint/2010/main" val="348746841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B8EB4-1BD6-8735-8F96-A645CC906E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0435FC-6C0F-8D1E-114C-AF5E9DA58045}"/>
              </a:ext>
            </a:extLst>
          </p:cNvPr>
          <p:cNvSpPr>
            <a:spLocks noGrp="1"/>
          </p:cNvSpPr>
          <p:nvPr>
            <p:ph type="title"/>
          </p:nvPr>
        </p:nvSpPr>
        <p:spPr>
          <a:xfrm>
            <a:off x="468314" y="555625"/>
            <a:ext cx="4408116" cy="647973"/>
          </a:xfrm>
        </p:spPr>
        <p:txBody>
          <a:bodyPr/>
          <a:lstStyle/>
          <a:p>
            <a:r>
              <a:rPr lang="da-DK" dirty="0" err="1"/>
              <a:t>Borgerblikkets</a:t>
            </a:r>
            <a:r>
              <a:rPr lang="da-DK" dirty="0"/>
              <a:t> </a:t>
            </a:r>
            <a:r>
              <a:rPr lang="da-DK" dirty="0" err="1"/>
              <a:t>Teamsgruppe</a:t>
            </a:r>
            <a:endParaRPr lang="da-DK" dirty="0"/>
          </a:p>
        </p:txBody>
      </p:sp>
      <p:sp>
        <p:nvSpPr>
          <p:cNvPr id="3" name="Text Placeholder 2">
            <a:extLst>
              <a:ext uri="{FF2B5EF4-FFF2-40B4-BE49-F238E27FC236}">
                <a16:creationId xmlns:a16="http://schemas.microsoft.com/office/drawing/2014/main" id="{19C10F2E-3C73-C628-F531-510334084895}"/>
              </a:ext>
            </a:extLst>
          </p:cNvPr>
          <p:cNvSpPr>
            <a:spLocks noGrp="1"/>
          </p:cNvSpPr>
          <p:nvPr>
            <p:ph type="body" sz="quarter" idx="10"/>
          </p:nvPr>
        </p:nvSpPr>
        <p:spPr>
          <a:xfrm>
            <a:off x="468313" y="1419225"/>
            <a:ext cx="4408117" cy="3168650"/>
          </a:xfrm>
        </p:spPr>
        <p:txBody>
          <a:bodyPr/>
          <a:lstStyle/>
          <a:p>
            <a:r>
              <a:rPr lang="da-DK" dirty="0"/>
              <a:t>Alle 98 kommuner er nu repræsenteret.</a:t>
            </a:r>
          </a:p>
          <a:p>
            <a:endParaRPr lang="da-DK" dirty="0"/>
          </a:p>
          <a:p>
            <a:r>
              <a:rPr lang="da-DK" dirty="0"/>
              <a:t>Tak! Og husk at bruge det ;-) </a:t>
            </a:r>
          </a:p>
        </p:txBody>
      </p:sp>
      <p:sp>
        <p:nvSpPr>
          <p:cNvPr id="4" name="Text Placeholder 3">
            <a:extLst>
              <a:ext uri="{FF2B5EF4-FFF2-40B4-BE49-F238E27FC236}">
                <a16:creationId xmlns:a16="http://schemas.microsoft.com/office/drawing/2014/main" id="{06B1C9DC-B67B-0FB7-F113-A930875C2783}"/>
              </a:ext>
            </a:extLst>
          </p:cNvPr>
          <p:cNvSpPr>
            <a:spLocks noGrp="1"/>
          </p:cNvSpPr>
          <p:nvPr>
            <p:ph type="body" sz="quarter" idx="11"/>
          </p:nvPr>
        </p:nvSpPr>
        <p:spPr/>
        <p:txBody>
          <a:bodyPr/>
          <a:lstStyle/>
          <a:p>
            <a:r>
              <a:rPr lang="da-DK" dirty="0"/>
              <a:t>Dialogmøde </a:t>
            </a:r>
            <a:r>
              <a:rPr lang="da-DK" dirty="0" err="1"/>
              <a:t>dec</a:t>
            </a:r>
            <a:r>
              <a:rPr lang="da-DK" dirty="0"/>
              <a:t> 2025</a:t>
            </a:r>
          </a:p>
        </p:txBody>
      </p:sp>
      <p:pic>
        <p:nvPicPr>
          <p:cNvPr id="8" name="Picture 7">
            <a:extLst>
              <a:ext uri="{FF2B5EF4-FFF2-40B4-BE49-F238E27FC236}">
                <a16:creationId xmlns:a16="http://schemas.microsoft.com/office/drawing/2014/main" id="{72474804-369D-A5E2-FE58-C54B07E8132B}"/>
              </a:ext>
            </a:extLst>
          </p:cNvPr>
          <p:cNvPicPr>
            <a:picLocks noChangeAspect="1"/>
          </p:cNvPicPr>
          <p:nvPr/>
        </p:nvPicPr>
        <p:blipFill>
          <a:blip r:embed="rId2"/>
          <a:stretch>
            <a:fillRect/>
          </a:stretch>
        </p:blipFill>
        <p:spPr>
          <a:xfrm>
            <a:off x="4876430" y="91225"/>
            <a:ext cx="4267570" cy="4961050"/>
          </a:xfrm>
          <a:prstGeom prst="rect">
            <a:avLst/>
          </a:prstGeom>
        </p:spPr>
      </p:pic>
    </p:spTree>
    <p:extLst>
      <p:ext uri="{BB962C8B-B14F-4D97-AF65-F5344CB8AC3E}">
        <p14:creationId xmlns:p14="http://schemas.microsoft.com/office/powerpoint/2010/main" val="31629162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BB1B26-32CD-0653-4B92-996C46D8E0DB}"/>
              </a:ext>
            </a:extLst>
          </p:cNvPr>
          <p:cNvSpPr>
            <a:spLocks noGrp="1"/>
          </p:cNvSpPr>
          <p:nvPr>
            <p:ph type="title"/>
          </p:nvPr>
        </p:nvSpPr>
        <p:spPr>
          <a:xfrm>
            <a:off x="4572000" y="764234"/>
            <a:ext cx="4133844" cy="792088"/>
          </a:xfrm>
        </p:spPr>
        <p:txBody>
          <a:bodyPr anchor="t">
            <a:normAutofit/>
          </a:bodyPr>
          <a:lstStyle/>
          <a:p>
            <a:r>
              <a:rPr lang="da-DK" dirty="0"/>
              <a:t>Dagsorden</a:t>
            </a:r>
          </a:p>
        </p:txBody>
      </p:sp>
      <p:pic>
        <p:nvPicPr>
          <p:cNvPr id="6" name="Pladsholder til billede 5" descr="Et billede, der indeholder person, bærbar, indendørs, tøj&#10;&#10;Automatisk genereret beskrivelse">
            <a:extLst>
              <a:ext uri="{FF2B5EF4-FFF2-40B4-BE49-F238E27FC236}">
                <a16:creationId xmlns:a16="http://schemas.microsoft.com/office/drawing/2014/main" id="{56DE2CC3-22F8-ABAB-B02B-671DEAB8D6BE}"/>
              </a:ext>
            </a:extLst>
          </p:cNvPr>
          <p:cNvPicPr>
            <a:picLocks noGrp="1" noChangeAspect="1"/>
          </p:cNvPicPr>
          <p:nvPr>
            <p:ph type="pic" sz="quarter" idx="10"/>
          </p:nvPr>
        </p:nvPicPr>
        <p:blipFill rotWithShape="1">
          <a:blip r:embed="rId3"/>
          <a:srcRect l="22819" r="31122"/>
          <a:stretch/>
        </p:blipFill>
        <p:spPr>
          <a:xfrm>
            <a:off x="20" y="1"/>
            <a:ext cx="4211618" cy="5143500"/>
          </a:xfrm>
          <a:noFill/>
        </p:spPr>
      </p:pic>
      <p:sp>
        <p:nvSpPr>
          <p:cNvPr id="11" name="Text Placeholder 3">
            <a:extLst>
              <a:ext uri="{FF2B5EF4-FFF2-40B4-BE49-F238E27FC236}">
                <a16:creationId xmlns:a16="http://schemas.microsoft.com/office/drawing/2014/main" id="{279A4C13-7563-F68B-1020-190BEBF7811B}"/>
              </a:ext>
            </a:extLst>
          </p:cNvPr>
          <p:cNvSpPr>
            <a:spLocks noGrp="1"/>
          </p:cNvSpPr>
          <p:nvPr>
            <p:ph type="body" sz="quarter" idx="15"/>
          </p:nvPr>
        </p:nvSpPr>
        <p:spPr>
          <a:xfrm>
            <a:off x="4572000" y="1173508"/>
            <a:ext cx="4109413" cy="3735887"/>
          </a:xfrm>
          <a:ln>
            <a:solidFill>
              <a:schemeClr val="bg1"/>
            </a:solidFill>
          </a:ln>
        </p:spPr>
        <p:style>
          <a:lnRef idx="2">
            <a:schemeClr val="accent4"/>
          </a:lnRef>
          <a:fillRef idx="1">
            <a:schemeClr val="lt1"/>
          </a:fillRef>
          <a:effectRef idx="0">
            <a:schemeClr val="accent4"/>
          </a:effectRef>
          <a:fontRef idx="minor">
            <a:schemeClr val="dk1"/>
          </a:fontRef>
        </p:style>
        <p:txBody>
          <a:bodyPr lIns="180000"/>
          <a:lstStyle/>
          <a:p>
            <a:pPr marL="228600" indent="-228600">
              <a:spcBef>
                <a:spcPts val="150"/>
              </a:spcBef>
              <a:buFont typeface="+mj-lt"/>
              <a:buAutoNum type="arabicPeriod"/>
            </a:pPr>
            <a:r>
              <a:rPr lang="da-DK" sz="1200" dirty="0">
                <a:latin typeface="Arial" panose="020B0604020202020204" pitchFamily="34" charset="0"/>
                <a:ea typeface="Aptos" panose="020B0004020202020204" pitchFamily="34" charset="0"/>
                <a:cs typeface="Aptos" panose="020B0004020202020204" pitchFamily="34" charset="0"/>
              </a:rPr>
              <a:t>Fuldmagt</a:t>
            </a:r>
          </a:p>
          <a:p>
            <a:pPr marL="228600" indent="-228600">
              <a:spcBef>
                <a:spcPts val="150"/>
              </a:spcBef>
              <a:buFont typeface="+mj-lt"/>
              <a:buAutoNum type="arabicPeriod"/>
            </a:pPr>
            <a:r>
              <a:rPr lang="da-DK" sz="1200" dirty="0">
                <a:effectLst/>
                <a:latin typeface="Arial" panose="020B0604020202020204" pitchFamily="34" charset="0"/>
                <a:ea typeface="Aptos" panose="020B0004020202020204" pitchFamily="34" charset="0"/>
                <a:cs typeface="Aptos" panose="020B0004020202020204" pitchFamily="34" charset="0"/>
              </a:rPr>
              <a:t>Regionsmøder</a:t>
            </a:r>
          </a:p>
          <a:p>
            <a:pPr marL="228600" indent="-228600">
              <a:spcBef>
                <a:spcPts val="150"/>
              </a:spcBef>
              <a:buFont typeface="+mj-lt"/>
              <a:buAutoNum type="arabicPeriod"/>
            </a:pPr>
            <a:r>
              <a:rPr lang="da-DK" sz="1200" dirty="0">
                <a:latin typeface="Arial" panose="020B0604020202020204" pitchFamily="34" charset="0"/>
                <a:ea typeface="Aptos" panose="020B0004020202020204" pitchFamily="34" charset="0"/>
                <a:cs typeface="Aptos" panose="020B0004020202020204" pitchFamily="34" charset="0"/>
              </a:rPr>
              <a:t>Kalenderaftaler og frister</a:t>
            </a:r>
          </a:p>
          <a:p>
            <a:pPr marL="228600" indent="-228600">
              <a:spcBef>
                <a:spcPts val="150"/>
              </a:spcBef>
              <a:buFont typeface="+mj-lt"/>
              <a:buAutoNum type="arabicPeriod"/>
            </a:pPr>
            <a:r>
              <a:rPr lang="da-DK" sz="1200" dirty="0">
                <a:latin typeface="Arial" panose="020B0604020202020204" pitchFamily="34" charset="0"/>
                <a:ea typeface="Aptos" panose="020B0004020202020204" pitchFamily="34" charset="0"/>
                <a:cs typeface="Aptos" panose="020B0004020202020204" pitchFamily="34" charset="0"/>
              </a:rPr>
              <a:t>Gæld og betalinger</a:t>
            </a:r>
          </a:p>
          <a:p>
            <a:pPr marL="228600" indent="-228600">
              <a:spcBef>
                <a:spcPts val="150"/>
              </a:spcBef>
              <a:buFont typeface="+mj-lt"/>
              <a:buAutoNum type="arabicPeriod"/>
            </a:pPr>
            <a:r>
              <a:rPr lang="da-DK" sz="1200" dirty="0">
                <a:latin typeface="Arial" panose="020B0604020202020204" pitchFamily="34" charset="0"/>
                <a:ea typeface="Aptos" panose="020B0004020202020204" pitchFamily="34" charset="0"/>
                <a:cs typeface="Aptos" panose="020B0004020202020204" pitchFamily="34" charset="0"/>
              </a:rPr>
              <a:t>Nyt fra Borgerblikket i tal</a:t>
            </a:r>
          </a:p>
          <a:p>
            <a:pPr marL="228600" indent="-228600">
              <a:spcBef>
                <a:spcPts val="150"/>
              </a:spcBef>
              <a:buFont typeface="+mj-lt"/>
              <a:buAutoNum type="arabicPeriod"/>
            </a:pPr>
            <a:r>
              <a:rPr lang="da-DK" sz="1200" dirty="0">
                <a:latin typeface="Arial" panose="020B0604020202020204" pitchFamily="34" charset="0"/>
                <a:ea typeface="Aptos" panose="020B0004020202020204" pitchFamily="34" charset="0"/>
                <a:cs typeface="Aptos" panose="020B0004020202020204" pitchFamily="34" charset="0"/>
              </a:rPr>
              <a:t>Teams-gruppe for Borgerblikket</a:t>
            </a:r>
          </a:p>
          <a:p>
            <a:pPr marL="228600" indent="-228600">
              <a:spcBef>
                <a:spcPts val="150"/>
              </a:spcBef>
              <a:buFont typeface="+mj-lt"/>
              <a:buAutoNum type="arabicPeriod"/>
            </a:pPr>
            <a:r>
              <a:rPr lang="da-DK" sz="1200" dirty="0">
                <a:latin typeface="Arial" panose="020B0604020202020204" pitchFamily="34" charset="0"/>
                <a:ea typeface="Aptos" panose="020B0004020202020204" pitchFamily="34" charset="0"/>
                <a:cs typeface="Aptos" panose="020B0004020202020204" pitchFamily="34" charset="0"/>
              </a:rPr>
              <a:t>Implementér i bund</a:t>
            </a:r>
          </a:p>
          <a:p>
            <a:pPr marL="228600" indent="-228600">
              <a:spcBef>
                <a:spcPts val="150"/>
              </a:spcBef>
              <a:buFont typeface="+mj-lt"/>
              <a:buAutoNum type="arabicPeriod"/>
            </a:pPr>
            <a:r>
              <a:rPr lang="da-DK" sz="1200" dirty="0">
                <a:latin typeface="Arial" panose="020B0604020202020204" pitchFamily="34" charset="0"/>
                <a:ea typeface="Aptos" panose="020B0004020202020204" pitchFamily="34" charset="0"/>
                <a:cs typeface="Aptos" panose="020B0004020202020204" pitchFamily="34" charset="0"/>
              </a:rPr>
              <a:t>Året der gik, og året der kommer</a:t>
            </a:r>
          </a:p>
          <a:p>
            <a:pPr marL="228600" indent="-228600">
              <a:spcBef>
                <a:spcPts val="150"/>
              </a:spcBef>
              <a:buFont typeface="+mj-lt"/>
              <a:buAutoNum type="arabicPeriod"/>
            </a:pPr>
            <a:r>
              <a:rPr lang="da-DK" sz="1200" dirty="0">
                <a:latin typeface="Arial" panose="020B0604020202020204" pitchFamily="34" charset="0"/>
                <a:ea typeface="Aptos" panose="020B0004020202020204" pitchFamily="34" charset="0"/>
                <a:cs typeface="Aptos" panose="020B0004020202020204" pitchFamily="34" charset="0"/>
              </a:rPr>
              <a:t>Spørgsmål &amp; tak for i dag</a:t>
            </a:r>
          </a:p>
          <a:p>
            <a:pPr marL="228600" indent="-228600">
              <a:spcBef>
                <a:spcPts val="150"/>
              </a:spcBef>
              <a:buFont typeface="+mj-lt"/>
              <a:buAutoNum type="arabicPeriod"/>
            </a:pPr>
            <a:endParaRPr lang="da-DK" sz="1000" dirty="0"/>
          </a:p>
          <a:p>
            <a:pPr marL="228600" indent="-228600">
              <a:spcBef>
                <a:spcPts val="150"/>
              </a:spcBef>
              <a:buAutoNum type="arabicPeriod"/>
            </a:pPr>
            <a:endParaRPr lang="da-DK" sz="1000" dirty="0"/>
          </a:p>
          <a:p>
            <a:pPr>
              <a:spcBef>
                <a:spcPts val="150"/>
              </a:spcBef>
            </a:pPr>
            <a:endParaRPr lang="da-DK" sz="1000" dirty="0"/>
          </a:p>
        </p:txBody>
      </p:sp>
      <p:sp>
        <p:nvSpPr>
          <p:cNvPr id="13" name="Text Placeholder 4">
            <a:extLst>
              <a:ext uri="{FF2B5EF4-FFF2-40B4-BE49-F238E27FC236}">
                <a16:creationId xmlns:a16="http://schemas.microsoft.com/office/drawing/2014/main" id="{958FFE2D-5187-1262-9024-23F43644F9AB}"/>
              </a:ext>
            </a:extLst>
          </p:cNvPr>
          <p:cNvSpPr>
            <a:spLocks noGrp="1"/>
          </p:cNvSpPr>
          <p:nvPr>
            <p:ph type="body" sz="quarter" idx="18"/>
          </p:nvPr>
        </p:nvSpPr>
        <p:spPr>
          <a:xfrm>
            <a:off x="186110" y="4728638"/>
            <a:ext cx="1321200" cy="219600"/>
          </a:xfrm>
        </p:spPr>
        <p:txBody>
          <a:bodyPr/>
          <a:lstStyle/>
          <a:p>
            <a:endParaRPr lang="en-US"/>
          </a:p>
        </p:txBody>
      </p:sp>
      <p:sp>
        <p:nvSpPr>
          <p:cNvPr id="15" name="Text Placeholder 5">
            <a:extLst>
              <a:ext uri="{FF2B5EF4-FFF2-40B4-BE49-F238E27FC236}">
                <a16:creationId xmlns:a16="http://schemas.microsoft.com/office/drawing/2014/main" id="{6343073D-E7F0-A611-760D-AA9BEBF5FDCC}"/>
              </a:ext>
            </a:extLst>
          </p:cNvPr>
          <p:cNvSpPr>
            <a:spLocks noGrp="1"/>
          </p:cNvSpPr>
          <p:nvPr>
            <p:ph type="body" sz="quarter" idx="11"/>
          </p:nvPr>
        </p:nvSpPr>
        <p:spPr>
          <a:xfrm>
            <a:off x="4572001" y="492086"/>
            <a:ext cx="4103687" cy="144190"/>
          </a:xfrm>
        </p:spPr>
        <p:txBody>
          <a:bodyPr vert="horz" lIns="14400" tIns="0" rIns="0" bIns="0" rtlCol="0" anchor="t">
            <a:noAutofit/>
          </a:bodyPr>
          <a:lstStyle/>
          <a:p>
            <a:r>
              <a:rPr lang="en-US" dirty="0">
                <a:latin typeface="Neue Haas Grotesk Text Pro"/>
              </a:rPr>
              <a:t>Borgerblikkets </a:t>
            </a:r>
            <a:r>
              <a:rPr lang="en-US" dirty="0" err="1">
                <a:latin typeface="Neue Haas Grotesk Text Pro"/>
              </a:rPr>
              <a:t>dialogmøde</a:t>
            </a:r>
            <a:r>
              <a:rPr lang="en-US" dirty="0">
                <a:latin typeface="Neue Haas Grotesk Text Pro"/>
              </a:rPr>
              <a:t> 9/12 2025</a:t>
            </a:r>
            <a:endParaRPr lang="en-US" dirty="0"/>
          </a:p>
        </p:txBody>
      </p:sp>
    </p:spTree>
    <p:extLst>
      <p:ext uri="{BB962C8B-B14F-4D97-AF65-F5344CB8AC3E}">
        <p14:creationId xmlns:p14="http://schemas.microsoft.com/office/powerpoint/2010/main" val="155657936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7EA5D3-8327-A01C-0BA7-87C9AAA77F8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FE2552D-06DB-6A6E-167D-692B32F5517B}"/>
              </a:ext>
            </a:extLst>
          </p:cNvPr>
          <p:cNvSpPr>
            <a:spLocks noGrp="1"/>
          </p:cNvSpPr>
          <p:nvPr>
            <p:ph type="title"/>
          </p:nvPr>
        </p:nvSpPr>
        <p:spPr>
          <a:xfrm>
            <a:off x="1397556" y="1998350"/>
            <a:ext cx="7092404" cy="792088"/>
          </a:xfrm>
        </p:spPr>
        <p:txBody>
          <a:bodyPr/>
          <a:lstStyle/>
          <a:p>
            <a:pPr>
              <a:spcBef>
                <a:spcPts val="150"/>
              </a:spcBef>
            </a:pPr>
            <a:r>
              <a:rPr lang="da-DK" dirty="0">
                <a:latin typeface="Arial" panose="020B0604020202020204" pitchFamily="34" charset="0"/>
                <a:ea typeface="Aptos" panose="020B0004020202020204" pitchFamily="34" charset="0"/>
                <a:cs typeface="Aptos" panose="020B0004020202020204" pitchFamily="34" charset="0"/>
              </a:rPr>
              <a:t>Implementer i bund</a:t>
            </a:r>
          </a:p>
        </p:txBody>
      </p:sp>
      <p:sp>
        <p:nvSpPr>
          <p:cNvPr id="3" name="Pladsholder til tekst 2">
            <a:extLst>
              <a:ext uri="{FF2B5EF4-FFF2-40B4-BE49-F238E27FC236}">
                <a16:creationId xmlns:a16="http://schemas.microsoft.com/office/drawing/2014/main" id="{7D857704-D632-1FEA-FD4D-16BDC1E452EF}"/>
              </a:ext>
            </a:extLst>
          </p:cNvPr>
          <p:cNvSpPr>
            <a:spLocks noGrp="1"/>
          </p:cNvSpPr>
          <p:nvPr>
            <p:ph type="body" sz="quarter" idx="18"/>
          </p:nvPr>
        </p:nvSpPr>
        <p:spPr/>
        <p:txBody>
          <a:bodyPr/>
          <a:lstStyle/>
          <a:p>
            <a:endParaRPr lang="da-DK"/>
          </a:p>
        </p:txBody>
      </p:sp>
    </p:spTree>
    <p:extLst>
      <p:ext uri="{BB962C8B-B14F-4D97-AF65-F5344CB8AC3E}">
        <p14:creationId xmlns:p14="http://schemas.microsoft.com/office/powerpoint/2010/main" val="156458217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3812DF-35B0-EC41-BD6B-342317A8890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13C7FC8-B242-D367-AF89-7CF8FBDA7633}"/>
              </a:ext>
            </a:extLst>
          </p:cNvPr>
          <p:cNvSpPr>
            <a:spLocks noGrp="1"/>
          </p:cNvSpPr>
          <p:nvPr>
            <p:ph type="title"/>
          </p:nvPr>
        </p:nvSpPr>
        <p:spPr/>
        <p:txBody>
          <a:bodyPr/>
          <a:lstStyle/>
          <a:p>
            <a:r>
              <a:rPr lang="da-DK"/>
              <a:t>Hvad mener vi? </a:t>
            </a:r>
            <a:endParaRPr lang="da-DK">
              <a:highlight>
                <a:srgbClr val="FFFF00"/>
              </a:highlight>
            </a:endParaRPr>
          </a:p>
        </p:txBody>
      </p:sp>
      <p:sp>
        <p:nvSpPr>
          <p:cNvPr id="3" name="Pladsholder til tekst 2">
            <a:extLst>
              <a:ext uri="{FF2B5EF4-FFF2-40B4-BE49-F238E27FC236}">
                <a16:creationId xmlns:a16="http://schemas.microsoft.com/office/drawing/2014/main" id="{FBBD3D52-51F7-C5CC-BE0C-E54709A11A98}"/>
              </a:ext>
            </a:extLst>
          </p:cNvPr>
          <p:cNvSpPr>
            <a:spLocks noGrp="1"/>
          </p:cNvSpPr>
          <p:nvPr>
            <p:ph type="body" sz="quarter" idx="10"/>
          </p:nvPr>
        </p:nvSpPr>
        <p:spPr/>
        <p:txBody>
          <a:bodyPr/>
          <a:lstStyle/>
          <a:p>
            <a:pPr marL="0" indent="0">
              <a:buNone/>
            </a:pPr>
            <a:r>
              <a:rPr lang="da-DK" b="1"/>
              <a:t>”Implementer i bund” – hvad mener vi?</a:t>
            </a:r>
          </a:p>
          <a:p>
            <a:pPr marL="171450" indent="-171450">
              <a:buFont typeface="Arial" panose="020B0604020202020204" pitchFamily="34" charset="0"/>
              <a:buChar char="•"/>
            </a:pPr>
            <a:r>
              <a:rPr lang="da-DK" err="1"/>
              <a:t>KLs</a:t>
            </a:r>
            <a:r>
              <a:rPr lang="da-DK"/>
              <a:t> strategi </a:t>
            </a:r>
          </a:p>
          <a:p>
            <a:pPr marL="171450" indent="-171450">
              <a:buFont typeface="Arial" panose="020B0604020202020204" pitchFamily="34" charset="0"/>
              <a:buChar char="•"/>
            </a:pPr>
            <a:r>
              <a:rPr lang="da-DK"/>
              <a:t>FODS (fællesoffentlig digitaliseringsstrategi)</a:t>
            </a:r>
          </a:p>
          <a:p>
            <a:pPr marL="171450" indent="-171450">
              <a:buFont typeface="Arial" panose="020B0604020202020204" pitchFamily="34" charset="0"/>
              <a:buChar char="•"/>
            </a:pPr>
            <a:r>
              <a:rPr lang="da-DK"/>
              <a:t>Økonomiaftale</a:t>
            </a:r>
          </a:p>
          <a:p>
            <a:pPr marL="0" indent="0">
              <a:buNone/>
            </a:pPr>
            <a:endParaRPr lang="da-DK"/>
          </a:p>
          <a:p>
            <a:pPr marL="0" indent="0">
              <a:buNone/>
            </a:pPr>
            <a:r>
              <a:rPr lang="da-DK" b="1"/>
              <a:t>Åbne op i bredden og dybden – i den gode brugeroplevelses tjeneste</a:t>
            </a:r>
          </a:p>
          <a:p>
            <a:pPr marL="171450" indent="-171450">
              <a:buFont typeface="Arial" panose="020B0604020202020204" pitchFamily="34" charset="0"/>
              <a:buChar char="•"/>
            </a:pPr>
            <a:r>
              <a:rPr lang="da-DK"/>
              <a:t>”Borgervendte” KLE-emner </a:t>
            </a:r>
          </a:p>
          <a:p>
            <a:pPr marL="171450" indent="-171450">
              <a:buFont typeface="Arial" panose="020B0604020202020204" pitchFamily="34" charset="0"/>
              <a:buChar char="•"/>
            </a:pPr>
            <a:r>
              <a:rPr lang="da-DK"/>
              <a:t>Aktindsigtsløsning</a:t>
            </a:r>
          </a:p>
          <a:p>
            <a:pPr marL="171450" indent="-171450">
              <a:buFont typeface="Arial" panose="020B0604020202020204" pitchFamily="34" charset="0"/>
              <a:buChar char="•"/>
            </a:pPr>
            <a:r>
              <a:rPr lang="da-DK"/>
              <a:t>Dokumenttitler</a:t>
            </a:r>
          </a:p>
          <a:p>
            <a:pPr marL="171450" indent="-171450">
              <a:buFont typeface="Arial" panose="020B0604020202020204" pitchFamily="34" charset="0"/>
              <a:buChar char="•"/>
            </a:pPr>
            <a:r>
              <a:rPr lang="da-DK"/>
              <a:t>Journalnotater </a:t>
            </a:r>
          </a:p>
          <a:p>
            <a:endParaRPr lang="da-DK"/>
          </a:p>
          <a:p>
            <a:endParaRPr lang="da-DK"/>
          </a:p>
          <a:p>
            <a:endParaRPr lang="da-DK"/>
          </a:p>
        </p:txBody>
      </p:sp>
      <p:sp>
        <p:nvSpPr>
          <p:cNvPr id="4" name="Pladsholder til tekst 3">
            <a:extLst>
              <a:ext uri="{FF2B5EF4-FFF2-40B4-BE49-F238E27FC236}">
                <a16:creationId xmlns:a16="http://schemas.microsoft.com/office/drawing/2014/main" id="{A4BE5D6F-B4DB-E574-FD3D-3831689CEF34}"/>
              </a:ext>
            </a:extLst>
          </p:cNvPr>
          <p:cNvSpPr>
            <a:spLocks noGrp="1"/>
          </p:cNvSpPr>
          <p:nvPr>
            <p:ph type="body" sz="quarter" idx="11"/>
          </p:nvPr>
        </p:nvSpPr>
        <p:spPr/>
        <p:txBody>
          <a:bodyPr/>
          <a:lstStyle/>
          <a:p>
            <a:r>
              <a:rPr lang="da-DK"/>
              <a:t>Borgerblikkets dialogmøde 18/6-2024</a:t>
            </a:r>
          </a:p>
          <a:p>
            <a:endParaRPr lang="da-DK"/>
          </a:p>
        </p:txBody>
      </p:sp>
      <p:pic>
        <p:nvPicPr>
          <p:cNvPr id="7" name="Pladsholder til billede 6">
            <a:extLst>
              <a:ext uri="{FF2B5EF4-FFF2-40B4-BE49-F238E27FC236}">
                <a16:creationId xmlns:a16="http://schemas.microsoft.com/office/drawing/2014/main" id="{BC407B9B-781B-BFA0-93DC-F4F0BDD9C1A2}"/>
              </a:ext>
            </a:extLst>
          </p:cNvPr>
          <p:cNvPicPr>
            <a:picLocks noGrp="1" noChangeAspect="1"/>
          </p:cNvPicPr>
          <p:nvPr>
            <p:ph type="pic" sz="quarter" idx="12"/>
          </p:nvPr>
        </p:nvPicPr>
        <p:blipFill rotWithShape="1">
          <a:blip r:embed="rId3"/>
          <a:srcRect l="36058" r="13942"/>
          <a:stretch/>
        </p:blipFill>
        <p:spPr>
          <a:xfrm>
            <a:off x="4572000" y="0"/>
            <a:ext cx="4572000" cy="5143500"/>
          </a:xfrm>
        </p:spPr>
      </p:pic>
      <p:sp>
        <p:nvSpPr>
          <p:cNvPr id="5" name="Ellipse 4">
            <a:extLst>
              <a:ext uri="{FF2B5EF4-FFF2-40B4-BE49-F238E27FC236}">
                <a16:creationId xmlns:a16="http://schemas.microsoft.com/office/drawing/2014/main" id="{BD16F9FC-786C-FA0D-5309-57AFC509F929}"/>
              </a:ext>
            </a:extLst>
          </p:cNvPr>
          <p:cNvSpPr/>
          <p:nvPr/>
        </p:nvSpPr>
        <p:spPr>
          <a:xfrm>
            <a:off x="2307265" y="106326"/>
            <a:ext cx="1424763" cy="449299"/>
          </a:xfrm>
          <a:prstGeom prst="ellipse">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300"/>
              </a:spcAft>
            </a:pPr>
            <a:endParaRPr lang="da-DK" sz="1000">
              <a:solidFill>
                <a:schemeClr val="tx1"/>
              </a:solidFill>
              <a:latin typeface="Neue Haas Grotesk Text Pro" panose="020B0504020202020204" pitchFamily="34" charset="77"/>
              <a:cs typeface="Arial"/>
            </a:endParaRPr>
          </a:p>
        </p:txBody>
      </p:sp>
      <p:sp>
        <p:nvSpPr>
          <p:cNvPr id="6" name="Tekstfelt 5">
            <a:extLst>
              <a:ext uri="{FF2B5EF4-FFF2-40B4-BE49-F238E27FC236}">
                <a16:creationId xmlns:a16="http://schemas.microsoft.com/office/drawing/2014/main" id="{C7E3C107-0042-D090-3069-C107466556D0}"/>
              </a:ext>
            </a:extLst>
          </p:cNvPr>
          <p:cNvSpPr txBox="1"/>
          <p:nvPr/>
        </p:nvSpPr>
        <p:spPr>
          <a:xfrm rot="726813">
            <a:off x="4627086" y="2103918"/>
            <a:ext cx="3870251" cy="935665"/>
          </a:xfrm>
          <a:prstGeom prst="rect">
            <a:avLst/>
          </a:prstGeom>
          <a:noFill/>
          <a:ln>
            <a:noFill/>
          </a:ln>
        </p:spPr>
        <p:txBody>
          <a:bodyPr wrap="square" rtlCol="0">
            <a:noAutofit/>
          </a:bodyPr>
          <a:lstStyle/>
          <a:p>
            <a:pPr algn="l">
              <a:spcAft>
                <a:spcPts val="300"/>
              </a:spcAft>
            </a:pPr>
            <a:r>
              <a:rPr lang="da-DK" sz="1600" kern="0" dirty="0" err="1">
                <a:solidFill>
                  <a:schemeClr val="bg1"/>
                </a:solidFill>
                <a:latin typeface="Neue Haas Grotesk Text Pro" panose="020B0504020202020204" pitchFamily="34" charset="77"/>
                <a:cs typeface="Arial"/>
              </a:rPr>
              <a:t>Copy</a:t>
            </a:r>
            <a:r>
              <a:rPr lang="da-DK" sz="1600" kern="0" dirty="0">
                <a:solidFill>
                  <a:schemeClr val="bg1"/>
                </a:solidFill>
                <a:latin typeface="Neue Haas Grotesk Text Pro" panose="020B0504020202020204" pitchFamily="34" charset="77"/>
                <a:cs typeface="Arial"/>
              </a:rPr>
              <a:t> </a:t>
            </a:r>
            <a:r>
              <a:rPr lang="da-DK" sz="1600" kern="0" dirty="0" err="1">
                <a:solidFill>
                  <a:schemeClr val="bg1"/>
                </a:solidFill>
                <a:latin typeface="Neue Haas Grotesk Text Pro" panose="020B0504020202020204" pitchFamily="34" charset="77"/>
                <a:cs typeface="Arial"/>
              </a:rPr>
              <a:t>paste</a:t>
            </a:r>
            <a:r>
              <a:rPr lang="da-DK" sz="1600" kern="0" dirty="0">
                <a:solidFill>
                  <a:schemeClr val="bg1"/>
                </a:solidFill>
                <a:latin typeface="Neue Haas Grotesk Text Pro" panose="020B0504020202020204" pitchFamily="34" charset="77"/>
                <a:cs typeface="Arial"/>
              </a:rPr>
              <a:t> fra sidste års dialogmødepræsentation</a:t>
            </a:r>
          </a:p>
        </p:txBody>
      </p:sp>
      <p:grpSp>
        <p:nvGrpSpPr>
          <p:cNvPr id="11" name="Gruppe 10">
            <a:extLst>
              <a:ext uri="{FF2B5EF4-FFF2-40B4-BE49-F238E27FC236}">
                <a16:creationId xmlns:a16="http://schemas.microsoft.com/office/drawing/2014/main" id="{A0AE9FAE-D40C-F07F-C629-FD131D42EFDF}"/>
              </a:ext>
            </a:extLst>
          </p:cNvPr>
          <p:cNvGrpSpPr/>
          <p:nvPr/>
        </p:nvGrpSpPr>
        <p:grpSpPr>
          <a:xfrm>
            <a:off x="2754900" y="2414949"/>
            <a:ext cx="3001479" cy="2454876"/>
            <a:chOff x="2754900" y="2414949"/>
            <a:chExt cx="3001479" cy="2454876"/>
          </a:xfrm>
        </p:grpSpPr>
        <p:sp>
          <p:nvSpPr>
            <p:cNvPr id="8" name="Stjerne: 5 takker 7">
              <a:extLst>
                <a:ext uri="{FF2B5EF4-FFF2-40B4-BE49-F238E27FC236}">
                  <a16:creationId xmlns:a16="http://schemas.microsoft.com/office/drawing/2014/main" id="{59FEA943-CBE8-F2C3-C5A8-E6B834E2F857}"/>
                </a:ext>
              </a:extLst>
            </p:cNvPr>
            <p:cNvSpPr/>
            <p:nvPr/>
          </p:nvSpPr>
          <p:spPr>
            <a:xfrm rot="458599">
              <a:off x="2754900" y="2414949"/>
              <a:ext cx="3001479" cy="2454876"/>
            </a:xfrm>
            <a:prstGeom prst="star5">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Aft>
                  <a:spcPts val="300"/>
                </a:spcAft>
              </a:pPr>
              <a:r>
                <a:rPr lang="da-DK" sz="1400" b="1">
                  <a:solidFill>
                    <a:schemeClr val="tx1"/>
                  </a:solidFill>
                  <a:latin typeface="Neue Haas Grotesk Text Pro" panose="020B0504020202020204" pitchFamily="34" charset="77"/>
                  <a:cs typeface="Arial"/>
                </a:rPr>
                <a:t>Mere værdi ind i Mit Overblik</a:t>
              </a:r>
            </a:p>
          </p:txBody>
        </p:sp>
        <p:pic>
          <p:nvPicPr>
            <p:cNvPr id="10" name="Grafik 9" descr="Bullseye med massiv udfyldning">
              <a:extLst>
                <a:ext uri="{FF2B5EF4-FFF2-40B4-BE49-F238E27FC236}">
                  <a16:creationId xmlns:a16="http://schemas.microsoft.com/office/drawing/2014/main" id="{CB8B68EF-DDFD-B45B-0679-C50673BA03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22724" y="4048298"/>
              <a:ext cx="745816" cy="745816"/>
            </a:xfrm>
            <a:prstGeom prst="rect">
              <a:avLst/>
            </a:prstGeom>
          </p:spPr>
        </p:pic>
      </p:grpSp>
    </p:spTree>
    <p:extLst>
      <p:ext uri="{BB962C8B-B14F-4D97-AF65-F5344CB8AC3E}">
        <p14:creationId xmlns:p14="http://schemas.microsoft.com/office/powerpoint/2010/main" val="3954928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97ED4B-9884-9347-E425-FD835F080D6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F046B2E-0E73-7B26-DEF5-37E814B5EA3E}"/>
              </a:ext>
            </a:extLst>
          </p:cNvPr>
          <p:cNvSpPr>
            <a:spLocks noGrp="1"/>
          </p:cNvSpPr>
          <p:nvPr>
            <p:ph type="title"/>
          </p:nvPr>
        </p:nvSpPr>
        <p:spPr>
          <a:xfrm>
            <a:off x="468313" y="555625"/>
            <a:ext cx="4103687" cy="647973"/>
          </a:xfrm>
        </p:spPr>
        <p:txBody>
          <a:bodyPr/>
          <a:lstStyle/>
          <a:p>
            <a:r>
              <a:rPr lang="da-DK" sz="1600" dirty="0"/>
              <a:t>Bilag 2 – Kommunale opgaver</a:t>
            </a:r>
            <a:br>
              <a:rPr lang="da-DK" sz="1600" dirty="0"/>
            </a:br>
            <a:r>
              <a:rPr lang="da-DK" sz="1600" b="0" dirty="0"/>
              <a:t>jf. Tilslutningsaftalen for 2025</a:t>
            </a:r>
          </a:p>
        </p:txBody>
      </p:sp>
      <p:sp>
        <p:nvSpPr>
          <p:cNvPr id="4" name="Pladsholder til tekst 3">
            <a:extLst>
              <a:ext uri="{FF2B5EF4-FFF2-40B4-BE49-F238E27FC236}">
                <a16:creationId xmlns:a16="http://schemas.microsoft.com/office/drawing/2014/main" id="{064704E5-2BD2-2896-4FAC-30D5D21E22E6}"/>
              </a:ext>
            </a:extLst>
          </p:cNvPr>
          <p:cNvSpPr>
            <a:spLocks noGrp="1"/>
          </p:cNvSpPr>
          <p:nvPr>
            <p:ph type="body" sz="quarter" idx="11"/>
          </p:nvPr>
        </p:nvSpPr>
        <p:spPr/>
        <p:txBody>
          <a:bodyPr/>
          <a:lstStyle/>
          <a:p>
            <a:endParaRPr lang="da-DK"/>
          </a:p>
        </p:txBody>
      </p:sp>
      <p:pic>
        <p:nvPicPr>
          <p:cNvPr id="10" name="Billede 9">
            <a:extLst>
              <a:ext uri="{FF2B5EF4-FFF2-40B4-BE49-F238E27FC236}">
                <a16:creationId xmlns:a16="http://schemas.microsoft.com/office/drawing/2014/main" id="{64D71BF3-9ADB-A58A-B392-7A64B6BA9E51}"/>
              </a:ext>
            </a:extLst>
          </p:cNvPr>
          <p:cNvPicPr>
            <a:picLocks noChangeAspect="1"/>
          </p:cNvPicPr>
          <p:nvPr/>
        </p:nvPicPr>
        <p:blipFill>
          <a:blip r:embed="rId2"/>
          <a:stretch>
            <a:fillRect/>
          </a:stretch>
        </p:blipFill>
        <p:spPr>
          <a:xfrm>
            <a:off x="6693328" y="1840988"/>
            <a:ext cx="1982359" cy="2746887"/>
          </a:xfrm>
          <a:prstGeom prst="rect">
            <a:avLst/>
          </a:prstGeom>
          <a:ln w="3175">
            <a:solidFill>
              <a:schemeClr val="tx1"/>
            </a:solidFill>
          </a:ln>
        </p:spPr>
      </p:pic>
      <p:pic>
        <p:nvPicPr>
          <p:cNvPr id="8" name="Billede 7">
            <a:extLst>
              <a:ext uri="{FF2B5EF4-FFF2-40B4-BE49-F238E27FC236}">
                <a16:creationId xmlns:a16="http://schemas.microsoft.com/office/drawing/2014/main" id="{98424C3B-D11E-47C8-FE95-1B257A5E4814}"/>
              </a:ext>
            </a:extLst>
          </p:cNvPr>
          <p:cNvPicPr>
            <a:picLocks noChangeAspect="1"/>
          </p:cNvPicPr>
          <p:nvPr/>
        </p:nvPicPr>
        <p:blipFill>
          <a:blip r:embed="rId3"/>
          <a:stretch>
            <a:fillRect/>
          </a:stretch>
        </p:blipFill>
        <p:spPr>
          <a:xfrm>
            <a:off x="5679668" y="1203598"/>
            <a:ext cx="2191556" cy="2953365"/>
          </a:xfrm>
          <a:prstGeom prst="rect">
            <a:avLst/>
          </a:prstGeom>
          <a:ln w="3175">
            <a:solidFill>
              <a:schemeClr val="tx1"/>
            </a:solidFill>
          </a:ln>
        </p:spPr>
      </p:pic>
      <p:pic>
        <p:nvPicPr>
          <p:cNvPr id="6" name="Billede 5">
            <a:extLst>
              <a:ext uri="{FF2B5EF4-FFF2-40B4-BE49-F238E27FC236}">
                <a16:creationId xmlns:a16="http://schemas.microsoft.com/office/drawing/2014/main" id="{86C433F5-5051-2AF7-8F2B-DAFA1A0CFE27}"/>
              </a:ext>
            </a:extLst>
          </p:cNvPr>
          <p:cNvPicPr>
            <a:picLocks noChangeAspect="1"/>
          </p:cNvPicPr>
          <p:nvPr/>
        </p:nvPicPr>
        <p:blipFill>
          <a:blip r:embed="rId4"/>
          <a:stretch>
            <a:fillRect/>
          </a:stretch>
        </p:blipFill>
        <p:spPr>
          <a:xfrm>
            <a:off x="4857525" y="339998"/>
            <a:ext cx="2392096" cy="3168650"/>
          </a:xfrm>
          <a:prstGeom prst="rect">
            <a:avLst/>
          </a:prstGeom>
          <a:ln w="3175">
            <a:solidFill>
              <a:schemeClr val="tx1"/>
            </a:solidFill>
          </a:ln>
        </p:spPr>
      </p:pic>
      <p:pic>
        <p:nvPicPr>
          <p:cNvPr id="5" name="Billede 4">
            <a:extLst>
              <a:ext uri="{FF2B5EF4-FFF2-40B4-BE49-F238E27FC236}">
                <a16:creationId xmlns:a16="http://schemas.microsoft.com/office/drawing/2014/main" id="{EC1F3FAF-0F4B-550E-2D2B-8E1835FFAD40}"/>
              </a:ext>
            </a:extLst>
          </p:cNvPr>
          <p:cNvPicPr>
            <a:picLocks noChangeAspect="1"/>
          </p:cNvPicPr>
          <p:nvPr/>
        </p:nvPicPr>
        <p:blipFill>
          <a:blip r:embed="rId4"/>
          <a:srcRect t="56413" b="23138"/>
          <a:stretch>
            <a:fillRect/>
          </a:stretch>
        </p:blipFill>
        <p:spPr>
          <a:xfrm>
            <a:off x="345698" y="1274523"/>
            <a:ext cx="8189711" cy="2218436"/>
          </a:xfrm>
          <a:prstGeom prst="rect">
            <a:avLst/>
          </a:prstGeom>
          <a:ln w="3175">
            <a:solidFill>
              <a:schemeClr val="tx1"/>
            </a:solidFill>
          </a:ln>
        </p:spPr>
      </p:pic>
      <mc:AlternateContent xmlns:mc="http://schemas.openxmlformats.org/markup-compatibility/2006" xmlns:p14="http://schemas.microsoft.com/office/powerpoint/2010/main">
        <mc:Choice Requires="p14">
          <p:contentPart p14:bwMode="auto" r:id="rId5">
            <p14:nvContentPartPr>
              <p14:cNvPr id="7" name="Håndskrift 6">
                <a:extLst>
                  <a:ext uri="{FF2B5EF4-FFF2-40B4-BE49-F238E27FC236}">
                    <a16:creationId xmlns:a16="http://schemas.microsoft.com/office/drawing/2014/main" id="{89702A16-94B5-BB02-671F-A7B1CA9D0A1B}"/>
                  </a:ext>
                </a:extLst>
              </p14:cNvPr>
              <p14:cNvContentPartPr/>
              <p14:nvPr/>
            </p14:nvContentPartPr>
            <p14:xfrm>
              <a:off x="1600290" y="2767640"/>
              <a:ext cx="6302880" cy="103320"/>
            </p14:xfrm>
          </p:contentPart>
        </mc:Choice>
        <mc:Fallback xmlns="">
          <p:pic>
            <p:nvPicPr>
              <p:cNvPr id="7" name="Håndskrift 6">
                <a:extLst>
                  <a:ext uri="{FF2B5EF4-FFF2-40B4-BE49-F238E27FC236}">
                    <a16:creationId xmlns:a16="http://schemas.microsoft.com/office/drawing/2014/main" id="{89702A16-94B5-BB02-671F-A7B1CA9D0A1B}"/>
                  </a:ext>
                </a:extLst>
              </p:cNvPr>
              <p:cNvPicPr/>
              <p:nvPr/>
            </p:nvPicPr>
            <p:blipFill>
              <a:blip r:embed="rId6"/>
              <a:stretch>
                <a:fillRect/>
              </a:stretch>
            </p:blipFill>
            <p:spPr>
              <a:xfrm>
                <a:off x="1546290" y="2659640"/>
                <a:ext cx="6410520" cy="31896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9" name="Håndskrift 8">
                <a:extLst>
                  <a:ext uri="{FF2B5EF4-FFF2-40B4-BE49-F238E27FC236}">
                    <a16:creationId xmlns:a16="http://schemas.microsoft.com/office/drawing/2014/main" id="{4C0BE7D9-16DF-242F-1A69-910099E54DC7}"/>
                  </a:ext>
                </a:extLst>
              </p14:cNvPr>
              <p14:cNvContentPartPr/>
              <p14:nvPr/>
            </p14:nvContentPartPr>
            <p14:xfrm>
              <a:off x="1581210" y="2874920"/>
              <a:ext cx="923400" cy="135360"/>
            </p14:xfrm>
          </p:contentPart>
        </mc:Choice>
        <mc:Fallback xmlns="">
          <p:pic>
            <p:nvPicPr>
              <p:cNvPr id="9" name="Håndskrift 8">
                <a:extLst>
                  <a:ext uri="{FF2B5EF4-FFF2-40B4-BE49-F238E27FC236}">
                    <a16:creationId xmlns:a16="http://schemas.microsoft.com/office/drawing/2014/main" id="{4C0BE7D9-16DF-242F-1A69-910099E54DC7}"/>
                  </a:ext>
                </a:extLst>
              </p:cNvPr>
              <p:cNvPicPr/>
              <p:nvPr/>
            </p:nvPicPr>
            <p:blipFill>
              <a:blip r:embed="rId8"/>
              <a:stretch>
                <a:fillRect/>
              </a:stretch>
            </p:blipFill>
            <p:spPr>
              <a:xfrm>
                <a:off x="1527210" y="2766632"/>
                <a:ext cx="1031040" cy="351575"/>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2" name="Håndskrift 11">
                <a:extLst>
                  <a:ext uri="{FF2B5EF4-FFF2-40B4-BE49-F238E27FC236}">
                    <a16:creationId xmlns:a16="http://schemas.microsoft.com/office/drawing/2014/main" id="{2CAC36B7-4F4B-FDF7-819C-96AB1CA5BD0D}"/>
                  </a:ext>
                </a:extLst>
              </p14:cNvPr>
              <p14:cNvContentPartPr/>
              <p14:nvPr/>
            </p14:nvContentPartPr>
            <p14:xfrm>
              <a:off x="1593450" y="3003080"/>
              <a:ext cx="3473640" cy="25920"/>
            </p14:xfrm>
          </p:contentPart>
        </mc:Choice>
        <mc:Fallback xmlns="">
          <p:pic>
            <p:nvPicPr>
              <p:cNvPr id="12" name="Håndskrift 11">
                <a:extLst>
                  <a:ext uri="{FF2B5EF4-FFF2-40B4-BE49-F238E27FC236}">
                    <a16:creationId xmlns:a16="http://schemas.microsoft.com/office/drawing/2014/main" id="{2CAC36B7-4F4B-FDF7-819C-96AB1CA5BD0D}"/>
                  </a:ext>
                </a:extLst>
              </p:cNvPr>
              <p:cNvPicPr/>
              <p:nvPr/>
            </p:nvPicPr>
            <p:blipFill>
              <a:blip r:embed="rId10"/>
              <a:stretch>
                <a:fillRect/>
              </a:stretch>
            </p:blipFill>
            <p:spPr>
              <a:xfrm>
                <a:off x="1539450" y="2895080"/>
                <a:ext cx="3581280" cy="24156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3" name="Håndskrift 12">
                <a:extLst>
                  <a:ext uri="{FF2B5EF4-FFF2-40B4-BE49-F238E27FC236}">
                    <a16:creationId xmlns:a16="http://schemas.microsoft.com/office/drawing/2014/main" id="{AF1C7F71-8A53-DA26-78CF-6E77C620D7BF}"/>
                  </a:ext>
                </a:extLst>
              </p14:cNvPr>
              <p14:cNvContentPartPr/>
              <p14:nvPr/>
            </p14:nvContentPartPr>
            <p14:xfrm>
              <a:off x="2489130" y="2833880"/>
              <a:ext cx="647640" cy="42480"/>
            </p14:xfrm>
          </p:contentPart>
        </mc:Choice>
        <mc:Fallback xmlns="">
          <p:pic>
            <p:nvPicPr>
              <p:cNvPr id="13" name="Håndskrift 12">
                <a:extLst>
                  <a:ext uri="{FF2B5EF4-FFF2-40B4-BE49-F238E27FC236}">
                    <a16:creationId xmlns:a16="http://schemas.microsoft.com/office/drawing/2014/main" id="{AF1C7F71-8A53-DA26-78CF-6E77C620D7BF}"/>
                  </a:ext>
                </a:extLst>
              </p:cNvPr>
              <p:cNvPicPr/>
              <p:nvPr/>
            </p:nvPicPr>
            <p:blipFill>
              <a:blip r:embed="rId12"/>
              <a:stretch>
                <a:fillRect/>
              </a:stretch>
            </p:blipFill>
            <p:spPr>
              <a:xfrm>
                <a:off x="2435160" y="2725880"/>
                <a:ext cx="755220" cy="25812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4" name="Håndskrift 13">
                <a:extLst>
                  <a:ext uri="{FF2B5EF4-FFF2-40B4-BE49-F238E27FC236}">
                    <a16:creationId xmlns:a16="http://schemas.microsoft.com/office/drawing/2014/main" id="{B2CB4BD4-A3DA-206D-E4AC-2CCB0BD2CB7C}"/>
                  </a:ext>
                </a:extLst>
              </p14:cNvPr>
              <p14:cNvContentPartPr/>
              <p14:nvPr/>
            </p14:nvContentPartPr>
            <p14:xfrm>
              <a:off x="2939850" y="2686280"/>
              <a:ext cx="1895760" cy="261720"/>
            </p14:xfrm>
          </p:contentPart>
        </mc:Choice>
        <mc:Fallback xmlns="">
          <p:pic>
            <p:nvPicPr>
              <p:cNvPr id="14" name="Håndskrift 13">
                <a:extLst>
                  <a:ext uri="{FF2B5EF4-FFF2-40B4-BE49-F238E27FC236}">
                    <a16:creationId xmlns:a16="http://schemas.microsoft.com/office/drawing/2014/main" id="{B2CB4BD4-A3DA-206D-E4AC-2CCB0BD2CB7C}"/>
                  </a:ext>
                </a:extLst>
              </p:cNvPr>
              <p:cNvPicPr/>
              <p:nvPr/>
            </p:nvPicPr>
            <p:blipFill>
              <a:blip r:embed="rId14"/>
              <a:stretch>
                <a:fillRect/>
              </a:stretch>
            </p:blipFill>
            <p:spPr>
              <a:xfrm>
                <a:off x="2885850" y="2578280"/>
                <a:ext cx="2003400" cy="47736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5" name="Håndskrift 14">
                <a:extLst>
                  <a:ext uri="{FF2B5EF4-FFF2-40B4-BE49-F238E27FC236}">
                    <a16:creationId xmlns:a16="http://schemas.microsoft.com/office/drawing/2014/main" id="{4448B428-7C41-3676-A5F4-576BC514DDC7}"/>
                  </a:ext>
                </a:extLst>
              </p14:cNvPr>
              <p14:cNvContentPartPr/>
              <p14:nvPr/>
            </p14:nvContentPartPr>
            <p14:xfrm>
              <a:off x="4426650" y="2820200"/>
              <a:ext cx="920160" cy="44280"/>
            </p14:xfrm>
          </p:contentPart>
        </mc:Choice>
        <mc:Fallback xmlns="">
          <p:pic>
            <p:nvPicPr>
              <p:cNvPr id="15" name="Håndskrift 14">
                <a:extLst>
                  <a:ext uri="{FF2B5EF4-FFF2-40B4-BE49-F238E27FC236}">
                    <a16:creationId xmlns:a16="http://schemas.microsoft.com/office/drawing/2014/main" id="{4448B428-7C41-3676-A5F4-576BC514DDC7}"/>
                  </a:ext>
                </a:extLst>
              </p:cNvPr>
              <p:cNvPicPr/>
              <p:nvPr/>
            </p:nvPicPr>
            <p:blipFill>
              <a:blip r:embed="rId16"/>
              <a:stretch>
                <a:fillRect/>
              </a:stretch>
            </p:blipFill>
            <p:spPr>
              <a:xfrm>
                <a:off x="4372650" y="2712200"/>
                <a:ext cx="1027800" cy="259920"/>
              </a:xfrm>
              <a:prstGeom prst="rect">
                <a:avLst/>
              </a:prstGeom>
            </p:spPr>
          </p:pic>
        </mc:Fallback>
      </mc:AlternateContent>
    </p:spTree>
    <p:extLst>
      <p:ext uri="{BB962C8B-B14F-4D97-AF65-F5344CB8AC3E}">
        <p14:creationId xmlns:p14="http://schemas.microsoft.com/office/powerpoint/2010/main" val="2676071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6DFA7B-1F3C-36CB-A6F2-310AD28D748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288CF6D-EFB3-3838-655E-44A366600AE8}"/>
              </a:ext>
            </a:extLst>
          </p:cNvPr>
          <p:cNvSpPr>
            <a:spLocks noGrp="1"/>
          </p:cNvSpPr>
          <p:nvPr>
            <p:ph type="title"/>
          </p:nvPr>
        </p:nvSpPr>
        <p:spPr/>
        <p:txBody>
          <a:bodyPr/>
          <a:lstStyle/>
          <a:p>
            <a:r>
              <a:rPr lang="da-DK" dirty="0"/>
              <a:t>Åbn op for de obligatoriske KLE-emner</a:t>
            </a:r>
          </a:p>
        </p:txBody>
      </p:sp>
      <p:sp>
        <p:nvSpPr>
          <p:cNvPr id="3" name="Pladsholder til tekst 2">
            <a:extLst>
              <a:ext uri="{FF2B5EF4-FFF2-40B4-BE49-F238E27FC236}">
                <a16:creationId xmlns:a16="http://schemas.microsoft.com/office/drawing/2014/main" id="{B520A129-FDBC-3FE1-06B7-195E87A19F02}"/>
              </a:ext>
            </a:extLst>
          </p:cNvPr>
          <p:cNvSpPr>
            <a:spLocks noGrp="1"/>
          </p:cNvSpPr>
          <p:nvPr>
            <p:ph type="body" sz="quarter" idx="11"/>
          </p:nvPr>
        </p:nvSpPr>
        <p:spPr/>
        <p:txBody>
          <a:bodyPr/>
          <a:lstStyle/>
          <a:p>
            <a:endParaRPr lang="da-DK"/>
          </a:p>
        </p:txBody>
      </p:sp>
      <p:sp>
        <p:nvSpPr>
          <p:cNvPr id="4" name="Tekstfelt 3">
            <a:extLst>
              <a:ext uri="{FF2B5EF4-FFF2-40B4-BE49-F238E27FC236}">
                <a16:creationId xmlns:a16="http://schemas.microsoft.com/office/drawing/2014/main" id="{EDD48FE4-5FB7-2279-B3AD-5037D6ECDF45}"/>
              </a:ext>
            </a:extLst>
          </p:cNvPr>
          <p:cNvSpPr txBox="1"/>
          <p:nvPr/>
        </p:nvSpPr>
        <p:spPr>
          <a:xfrm>
            <a:off x="530678" y="1191987"/>
            <a:ext cx="8145010" cy="3030764"/>
          </a:xfrm>
          <a:prstGeom prst="rect">
            <a:avLst/>
          </a:prstGeom>
          <a:noFill/>
          <a:ln>
            <a:noFill/>
          </a:ln>
        </p:spPr>
        <p:txBody>
          <a:bodyPr wrap="square"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111111"/>
                </a:solidFill>
                <a:effectLst/>
                <a:uLnTx/>
                <a:uFillTx/>
                <a:latin typeface="Calibri"/>
                <a:ea typeface="+mn-ea"/>
                <a:cs typeface="+mn-cs"/>
              </a:rPr>
              <a:t>Vi opretter en ny KLIK-opgave for at sikre at sager og ydelser på alle de obligatoriske KLE-nr.  bliver udstillet på Mit Overblik. </a:t>
            </a:r>
          </a:p>
          <a:p>
            <a:pPr marL="0" marR="0" lvl="0" indent="0" algn="l" defTabSz="457200" rtl="0" eaLnBrk="1" fontAlgn="auto" latinLnBrk="0" hangingPunct="1">
              <a:lnSpc>
                <a:spcPct val="100000"/>
              </a:lnSpc>
              <a:spcBef>
                <a:spcPts val="0"/>
              </a:spcBef>
              <a:spcAft>
                <a:spcPts val="0"/>
              </a:spcAft>
              <a:buClrTx/>
              <a:buSzTx/>
              <a:buFontTx/>
              <a:buNone/>
              <a:tabLst/>
              <a:defRPr/>
            </a:pPr>
            <a:endParaRPr lang="da-DK" dirty="0">
              <a:solidFill>
                <a:srgbClr val="111111"/>
              </a:solidFill>
              <a:latin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800" b="0" i="0" u="sng" strike="noStrike" kern="1200" cap="none" spc="0" normalizeH="0" baseline="0" noProof="0" dirty="0">
                <a:ln>
                  <a:noFill/>
                </a:ln>
                <a:solidFill>
                  <a:srgbClr val="111111"/>
                </a:solidFill>
                <a:effectLst/>
                <a:uLnTx/>
                <a:uFillTx/>
                <a:latin typeface="Calibri"/>
                <a:ea typeface="+mn-ea"/>
                <a:cs typeface="+mn-cs"/>
                <a:hlinkClick r:id="rId2"/>
              </a:rPr>
              <a:t>Borgerblikket i tal</a:t>
            </a:r>
            <a:r>
              <a:rPr kumimoji="0" lang="da-DK" sz="1800" b="0" i="0" u="none" strike="noStrike" kern="1200" cap="none" spc="0" normalizeH="0" baseline="0" noProof="0" dirty="0">
                <a:ln>
                  <a:noFill/>
                </a:ln>
                <a:solidFill>
                  <a:srgbClr val="111111"/>
                </a:solidFill>
                <a:effectLst/>
                <a:uLnTx/>
                <a:uFillTx/>
                <a:latin typeface="Calibri"/>
                <a:ea typeface="+mn-ea"/>
                <a:cs typeface="+mn-cs"/>
              </a:rPr>
              <a:t> har gjort det muligt, at hver enkelt kommune kan gå ind og se vha. en grøn og gul flagmarkering af, om der er åbnet op for de obligatoriske KLE-emner eller ikke. </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800" b="0" i="0" u="none" strike="noStrike" kern="1200" cap="none" spc="0" normalizeH="0" baseline="0" noProof="0" dirty="0">
                <a:ln>
                  <a:noFill/>
                </a:ln>
                <a:solidFill>
                  <a:srgbClr val="111111"/>
                </a:solidFill>
                <a:effectLst/>
                <a:uLnTx/>
                <a:uFillTx/>
                <a:latin typeface="Calibri"/>
                <a:ea typeface="+mn-ea"/>
                <a:cs typeface="+mn-cs"/>
              </a:rPr>
              <a:t>Hvis der er gult flag, så er opfordringen, at der skal åbnes for KLE-nr. inkl. dokumenter og journalnotater. </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800" b="0" i="0" u="none" strike="noStrike" kern="1200" cap="none" spc="0" normalizeH="0" baseline="0" noProof="0" dirty="0">
                <a:ln>
                  <a:noFill/>
                </a:ln>
                <a:solidFill>
                  <a:srgbClr val="111111"/>
                </a:solidFill>
                <a:effectLst/>
                <a:uLnTx/>
                <a:uFillTx/>
                <a:latin typeface="Calibri"/>
                <a:ea typeface="+mn-ea"/>
                <a:cs typeface="+mn-cs"/>
              </a:rPr>
              <a:t>Hvis der er grønt flag, så er opfordringen, at der skal foretages en vurdering af om der på KLE-nr. kan åbnes for dokumenter og journalnotaterne. </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800" b="0" i="0" u="none" strike="noStrike" kern="1200" cap="none" spc="0" normalizeH="0" baseline="0" noProof="0" dirty="0">
                <a:ln>
                  <a:noFill/>
                </a:ln>
                <a:solidFill>
                  <a:srgbClr val="111111"/>
                </a:solidFill>
                <a:effectLst/>
                <a:uLnTx/>
                <a:uFillTx/>
                <a:latin typeface="Calibri"/>
                <a:ea typeface="+mn-ea"/>
                <a:cs typeface="+mn-cs"/>
              </a:rPr>
              <a:t>(Åbn Teams </a:t>
            </a:r>
            <a:r>
              <a:rPr kumimoji="0" lang="da-DK" sz="1800" b="0" i="0" u="none" strike="noStrike" kern="1200" cap="none" spc="0" normalizeH="0" baseline="0" noProof="0" dirty="0">
                <a:ln>
                  <a:noFill/>
                </a:ln>
                <a:solidFill>
                  <a:srgbClr val="111111"/>
                </a:solidFill>
                <a:effectLst/>
                <a:uLnTx/>
                <a:uFillTx/>
                <a:latin typeface="Calibri"/>
                <a:ea typeface="+mn-ea"/>
                <a:cs typeface="+mn-cs"/>
                <a:sym typeface="Wingdings" panose="05000000000000000000" pitchFamily="2" charset="2"/>
              </a:rPr>
              <a:t> Borgerblikket i tal  Det detaljerede overblik)</a:t>
            </a:r>
            <a:endParaRPr kumimoji="0" lang="da-DK" sz="1800" b="0" i="0" u="none" strike="noStrike" kern="1200" cap="none" spc="0" normalizeH="0" baseline="0" noProof="0" dirty="0">
              <a:ln>
                <a:noFill/>
              </a:ln>
              <a:solidFill>
                <a:srgbClr val="111111"/>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2000" b="0" i="0" u="none" strike="noStrike" kern="1200" cap="none" spc="0" normalizeH="0" baseline="0" noProof="0" dirty="0">
              <a:ln>
                <a:noFill/>
              </a:ln>
              <a:solidFill>
                <a:srgbClr val="111111"/>
              </a:solidFill>
              <a:effectLst/>
              <a:uLnTx/>
              <a:uFillTx/>
              <a:latin typeface="Helvetica" pitchFamily="2" charset="0"/>
              <a:ea typeface="+mn-ea"/>
              <a:cs typeface="Arial"/>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a-DK" sz="2000" b="0" i="0" u="none" strike="noStrike" kern="1200" cap="none" spc="0" normalizeH="0" baseline="0" noProof="0" dirty="0" err="1">
              <a:ln>
                <a:noFill/>
              </a:ln>
              <a:solidFill>
                <a:srgbClr val="111111"/>
              </a:solidFill>
              <a:effectLst/>
              <a:uLnTx/>
              <a:uFillTx/>
              <a:latin typeface="Helvetica" pitchFamily="2" charset="0"/>
              <a:ea typeface="+mn-ea"/>
              <a:cs typeface="Arial"/>
            </a:endParaRPr>
          </a:p>
        </p:txBody>
      </p:sp>
    </p:spTree>
    <p:extLst>
      <p:ext uri="{BB962C8B-B14F-4D97-AF65-F5344CB8AC3E}">
        <p14:creationId xmlns:p14="http://schemas.microsoft.com/office/powerpoint/2010/main" val="58924580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20CEAD-34ED-F6EA-8576-61DFF787756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5EBA030-BC67-6E6F-F677-309691B7C6D7}"/>
              </a:ext>
            </a:extLst>
          </p:cNvPr>
          <p:cNvSpPr>
            <a:spLocks noGrp="1"/>
          </p:cNvSpPr>
          <p:nvPr>
            <p:ph type="title"/>
          </p:nvPr>
        </p:nvSpPr>
        <p:spPr/>
        <p:txBody>
          <a:bodyPr/>
          <a:lstStyle/>
          <a:p>
            <a:r>
              <a:rPr lang="da-DK" dirty="0"/>
              <a:t>Åbn op for de obligatoriske KLE-emner</a:t>
            </a:r>
          </a:p>
        </p:txBody>
      </p:sp>
      <p:sp>
        <p:nvSpPr>
          <p:cNvPr id="3" name="Pladsholder til tekst 2">
            <a:extLst>
              <a:ext uri="{FF2B5EF4-FFF2-40B4-BE49-F238E27FC236}">
                <a16:creationId xmlns:a16="http://schemas.microsoft.com/office/drawing/2014/main" id="{06981BC8-095C-9978-0E42-19326A832418}"/>
              </a:ext>
            </a:extLst>
          </p:cNvPr>
          <p:cNvSpPr>
            <a:spLocks noGrp="1"/>
          </p:cNvSpPr>
          <p:nvPr>
            <p:ph type="body" sz="quarter" idx="11"/>
          </p:nvPr>
        </p:nvSpPr>
        <p:spPr/>
        <p:txBody>
          <a:bodyPr/>
          <a:lstStyle/>
          <a:p>
            <a:endParaRPr lang="da-DK"/>
          </a:p>
        </p:txBody>
      </p:sp>
      <p:pic>
        <p:nvPicPr>
          <p:cNvPr id="6" name="Billede 5">
            <a:extLst>
              <a:ext uri="{FF2B5EF4-FFF2-40B4-BE49-F238E27FC236}">
                <a16:creationId xmlns:a16="http://schemas.microsoft.com/office/drawing/2014/main" id="{F7D373EF-7DC0-364C-AAA6-16C2963E7550}"/>
              </a:ext>
            </a:extLst>
          </p:cNvPr>
          <p:cNvPicPr>
            <a:picLocks noChangeAspect="1"/>
          </p:cNvPicPr>
          <p:nvPr/>
        </p:nvPicPr>
        <p:blipFill>
          <a:blip r:embed="rId2"/>
          <a:stretch>
            <a:fillRect/>
          </a:stretch>
        </p:blipFill>
        <p:spPr>
          <a:xfrm>
            <a:off x="305950" y="797657"/>
            <a:ext cx="7793021" cy="3729993"/>
          </a:xfrm>
          <a:prstGeom prst="rect">
            <a:avLst/>
          </a:prstGeom>
        </p:spPr>
      </p:pic>
    </p:spTree>
    <p:extLst>
      <p:ext uri="{BB962C8B-B14F-4D97-AF65-F5344CB8AC3E}">
        <p14:creationId xmlns:p14="http://schemas.microsoft.com/office/powerpoint/2010/main" val="33668150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B29C78-CD56-1E83-3ED6-8DC42566D14A}"/>
            </a:ext>
          </a:extLst>
        </p:cNvPr>
        <p:cNvGrpSpPr/>
        <p:nvPr/>
      </p:nvGrpSpPr>
      <p:grpSpPr>
        <a:xfrm>
          <a:off x="0" y="0"/>
          <a:ext cx="0" cy="0"/>
          <a:chOff x="0" y="0"/>
          <a:chExt cx="0" cy="0"/>
        </a:xfrm>
      </p:grpSpPr>
      <p:sp>
        <p:nvSpPr>
          <p:cNvPr id="7" name="Rektangel 6">
            <a:extLst>
              <a:ext uri="{FF2B5EF4-FFF2-40B4-BE49-F238E27FC236}">
                <a16:creationId xmlns:a16="http://schemas.microsoft.com/office/drawing/2014/main" id="{41290D4A-858F-9296-01BD-6B5CADAB3632}"/>
              </a:ext>
            </a:extLst>
          </p:cNvPr>
          <p:cNvSpPr/>
          <p:nvPr/>
        </p:nvSpPr>
        <p:spPr>
          <a:xfrm>
            <a:off x="468313" y="3233650"/>
            <a:ext cx="8326891" cy="108896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300"/>
              </a:spcAft>
            </a:pPr>
            <a:endParaRPr lang="da-DK" sz="1000" dirty="0">
              <a:solidFill>
                <a:schemeClr val="tx1"/>
              </a:solidFill>
              <a:latin typeface="Neue Haas Grotesk Text Pro" panose="020B0504020202020204" pitchFamily="34" charset="77"/>
              <a:cs typeface="Arial"/>
            </a:endParaRPr>
          </a:p>
        </p:txBody>
      </p:sp>
      <p:sp>
        <p:nvSpPr>
          <p:cNvPr id="2" name="Titel 1">
            <a:extLst>
              <a:ext uri="{FF2B5EF4-FFF2-40B4-BE49-F238E27FC236}">
                <a16:creationId xmlns:a16="http://schemas.microsoft.com/office/drawing/2014/main" id="{A25132F7-BFFB-422A-B812-D37B9DF1B09F}"/>
              </a:ext>
            </a:extLst>
          </p:cNvPr>
          <p:cNvSpPr>
            <a:spLocks noGrp="1"/>
          </p:cNvSpPr>
          <p:nvPr>
            <p:ph type="title"/>
          </p:nvPr>
        </p:nvSpPr>
        <p:spPr/>
        <p:txBody>
          <a:bodyPr/>
          <a:lstStyle/>
          <a:p>
            <a:r>
              <a:rPr lang="da-DK" dirty="0"/>
              <a:t>Identificering af alle borgervendte KLE-emner med det formål at få udstillet data til borgeren</a:t>
            </a:r>
          </a:p>
        </p:txBody>
      </p:sp>
      <p:sp>
        <p:nvSpPr>
          <p:cNvPr id="3" name="Pladsholder til tekst 2">
            <a:extLst>
              <a:ext uri="{FF2B5EF4-FFF2-40B4-BE49-F238E27FC236}">
                <a16:creationId xmlns:a16="http://schemas.microsoft.com/office/drawing/2014/main" id="{1B650C6E-1631-2341-1857-2CA181CD02D4}"/>
              </a:ext>
            </a:extLst>
          </p:cNvPr>
          <p:cNvSpPr>
            <a:spLocks noGrp="1"/>
          </p:cNvSpPr>
          <p:nvPr>
            <p:ph type="body" sz="quarter" idx="11"/>
          </p:nvPr>
        </p:nvSpPr>
        <p:spPr/>
        <p:txBody>
          <a:bodyPr/>
          <a:lstStyle/>
          <a:p>
            <a:endParaRPr lang="da-DK"/>
          </a:p>
        </p:txBody>
      </p:sp>
      <p:sp>
        <p:nvSpPr>
          <p:cNvPr id="5" name="Tekstfelt 4">
            <a:extLst>
              <a:ext uri="{FF2B5EF4-FFF2-40B4-BE49-F238E27FC236}">
                <a16:creationId xmlns:a16="http://schemas.microsoft.com/office/drawing/2014/main" id="{125E703D-D5DE-4B33-85F9-5F517766DFC9}"/>
              </a:ext>
            </a:extLst>
          </p:cNvPr>
          <p:cNvSpPr txBox="1"/>
          <p:nvPr/>
        </p:nvSpPr>
        <p:spPr>
          <a:xfrm>
            <a:off x="587829" y="1275035"/>
            <a:ext cx="8207375" cy="1815882"/>
          </a:xfrm>
          <a:prstGeom prst="rect">
            <a:avLst/>
          </a:prstGeom>
          <a:noFill/>
          <a:ln>
            <a:noFill/>
          </a:ln>
        </p:spPr>
        <p:txBody>
          <a:bodyPr wrap="square">
            <a:spAutoFit/>
          </a:bodyPr>
          <a:lstStyle/>
          <a:p>
            <a:pPr marL="285750" marR="0" lvl="0" indent="-285750" algn="l" defTabSz="4572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r>
              <a:rPr kumimoji="0" lang="da-DK" sz="1600" b="0" i="0" u="none" strike="noStrike" kern="1200" cap="none" spc="0" normalizeH="0" baseline="0" noProof="0" dirty="0">
                <a:ln>
                  <a:noFill/>
                </a:ln>
                <a:solidFill>
                  <a:srgbClr val="111111"/>
                </a:solidFill>
                <a:effectLst/>
                <a:uLnTx/>
                <a:uFillTx/>
                <a:latin typeface="Calibri"/>
                <a:ea typeface="+mn-ea"/>
                <a:cs typeface="+mn-cs"/>
              </a:rPr>
              <a:t>Vi begynder arbejdet med at identificere alle de KLE-numre, som er borgervendte. </a:t>
            </a:r>
          </a:p>
          <a:p>
            <a:pPr marL="285750" marR="0" lvl="0" indent="-285750" algn="l" defTabSz="4572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r>
              <a:rPr kumimoji="0" lang="da-DK" sz="1600" b="0" i="0" u="none" strike="noStrike" kern="1200" cap="none" spc="0" normalizeH="0" baseline="0" noProof="0" dirty="0">
                <a:ln>
                  <a:noFill/>
                </a:ln>
                <a:solidFill>
                  <a:srgbClr val="111111"/>
                </a:solidFill>
                <a:effectLst/>
                <a:uLnTx/>
                <a:uFillTx/>
                <a:latin typeface="Calibri"/>
                <a:ea typeface="+mn-ea"/>
                <a:cs typeface="+mn-cs"/>
              </a:rPr>
              <a:t>Vi tager et KLE-område ad gangen, fx ”15 Arbejdsmarked og beskæftigelsesindsats” og får en mindre gruppe på 4-5 personer, som er faglige eksperter på det emneområde til at gennemgå den liste af KLE-numre, der knytter sig til emnet. Det vil være deres vurdering, som vil blive til oplægget af, hvad der er borgervendt på det KLE-emne. </a:t>
            </a:r>
          </a:p>
          <a:p>
            <a:pPr marL="285750" marR="0" lvl="0" indent="-285750" algn="l" defTabSz="4572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r>
              <a:rPr kumimoji="0" lang="da-DK" sz="1600" b="0" i="0" u="none" strike="noStrike" kern="1200" cap="none" spc="0" normalizeH="0" baseline="0" noProof="0" dirty="0">
                <a:ln>
                  <a:noFill/>
                </a:ln>
                <a:solidFill>
                  <a:srgbClr val="111111"/>
                </a:solidFill>
                <a:effectLst/>
                <a:uLnTx/>
                <a:uFillTx/>
                <a:latin typeface="Calibri"/>
                <a:ea typeface="+mn-ea"/>
                <a:cs typeface="+mn-cs"/>
              </a:rPr>
              <a:t>Hver kommune kan så bruge den vurdering som rettesnor til at gennemgå deres egne sager og ydelser på disse KLE-numre og dernæst åbne for dem på Mit Overblik. </a:t>
            </a:r>
          </a:p>
        </p:txBody>
      </p:sp>
      <p:sp>
        <p:nvSpPr>
          <p:cNvPr id="6" name="Tekstfelt 5">
            <a:extLst>
              <a:ext uri="{FF2B5EF4-FFF2-40B4-BE49-F238E27FC236}">
                <a16:creationId xmlns:a16="http://schemas.microsoft.com/office/drawing/2014/main" id="{932AC472-095F-9308-C42F-9FB7E3A950E0}"/>
              </a:ext>
            </a:extLst>
          </p:cNvPr>
          <p:cNvSpPr txBox="1"/>
          <p:nvPr/>
        </p:nvSpPr>
        <p:spPr>
          <a:xfrm>
            <a:off x="468312" y="3436593"/>
            <a:ext cx="8326892" cy="738664"/>
          </a:xfrm>
          <a:prstGeom prst="rect">
            <a:avLst/>
          </a:prstGeom>
          <a:noFill/>
          <a:ln>
            <a:noFill/>
          </a:ln>
        </p:spPr>
        <p:txBody>
          <a:bodyPr wrap="square">
            <a:spAutoFit/>
          </a:bodyPr>
          <a:lstStyle/>
          <a:p>
            <a:pPr marR="0" lvl="1" algn="l" defTabSz="457200" rtl="0" eaLnBrk="1" fontAlgn="auto" latinLnBrk="0" hangingPunct="1">
              <a:lnSpc>
                <a:spcPct val="100000"/>
              </a:lnSpc>
              <a:spcBef>
                <a:spcPts val="0"/>
              </a:spcBef>
              <a:spcAft>
                <a:spcPts val="0"/>
              </a:spcAft>
              <a:buClrTx/>
              <a:buSzTx/>
              <a:tabLst/>
              <a:defRPr/>
            </a:pPr>
            <a:r>
              <a:rPr kumimoji="0" lang="da-DK" sz="1400" b="0" i="0" u="none" strike="noStrike" kern="1200" cap="none" spc="0" normalizeH="0" baseline="0" noProof="0" dirty="0">
                <a:ln>
                  <a:noFill/>
                </a:ln>
                <a:solidFill>
                  <a:srgbClr val="111111"/>
                </a:solidFill>
                <a:effectLst/>
                <a:uLnTx/>
                <a:uFillTx/>
                <a:latin typeface="Neue Haas Grotesk Text Pro" panose="020B0504020202020204" pitchFamily="34" charset="0"/>
              </a:rPr>
              <a:t>Når de faglige eksperter har foretaget deres vurdering af, hvilke KLE-numre der er borgervendte inden for et emneområde, er det planen at få det implementeret i </a:t>
            </a:r>
            <a:r>
              <a:rPr kumimoji="0" lang="da-DK" sz="1400" b="0" i="0" u="sng" strike="noStrike" kern="1200" cap="none" spc="0" normalizeH="0" baseline="0" noProof="0" dirty="0">
                <a:ln>
                  <a:noFill/>
                </a:ln>
                <a:solidFill>
                  <a:srgbClr val="111111"/>
                </a:solidFill>
                <a:effectLst/>
                <a:uLnTx/>
                <a:uFillTx/>
                <a:latin typeface="Neue Haas Grotesk Text Pro" panose="020B0504020202020204" pitchFamily="34" charset="0"/>
                <a:hlinkClick r:id="rId2"/>
              </a:rPr>
              <a:t>KLE Online</a:t>
            </a:r>
            <a:r>
              <a:rPr kumimoji="0" lang="da-DK" sz="1400" b="0" i="0" u="none" strike="noStrike" kern="1200" cap="none" spc="0" normalizeH="0" baseline="0" noProof="0" dirty="0">
                <a:ln>
                  <a:noFill/>
                </a:ln>
                <a:solidFill>
                  <a:srgbClr val="111111"/>
                </a:solidFill>
                <a:effectLst/>
                <a:uLnTx/>
                <a:uFillTx/>
                <a:latin typeface="Neue Haas Grotesk Text Pro" panose="020B0504020202020204" pitchFamily="34" charset="0"/>
              </a:rPr>
              <a:t>, så det bliver autoritativt, da det jo ikke er lovreguleret. </a:t>
            </a:r>
          </a:p>
        </p:txBody>
      </p:sp>
    </p:spTree>
    <p:extLst>
      <p:ext uri="{BB962C8B-B14F-4D97-AF65-F5344CB8AC3E}">
        <p14:creationId xmlns:p14="http://schemas.microsoft.com/office/powerpoint/2010/main" val="202205352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6ADA39-12AE-C903-E022-5536EE43B54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4B2D614-D3D4-3A91-C963-473649A6F0C2}"/>
              </a:ext>
            </a:extLst>
          </p:cNvPr>
          <p:cNvSpPr>
            <a:spLocks noGrp="1"/>
          </p:cNvSpPr>
          <p:nvPr>
            <p:ph type="title"/>
          </p:nvPr>
        </p:nvSpPr>
        <p:spPr/>
        <p:txBody>
          <a:bodyPr/>
          <a:lstStyle/>
          <a:p>
            <a:r>
              <a:rPr lang="da-DK" dirty="0"/>
              <a:t>Identificering af alle borgervendte KLE-emner med det formål at få udstillet data til borgeren</a:t>
            </a:r>
          </a:p>
        </p:txBody>
      </p:sp>
      <p:sp>
        <p:nvSpPr>
          <p:cNvPr id="3" name="Pladsholder til tekst 2">
            <a:extLst>
              <a:ext uri="{FF2B5EF4-FFF2-40B4-BE49-F238E27FC236}">
                <a16:creationId xmlns:a16="http://schemas.microsoft.com/office/drawing/2014/main" id="{AC8166F0-E967-CA24-6D48-29C88E569547}"/>
              </a:ext>
            </a:extLst>
          </p:cNvPr>
          <p:cNvSpPr>
            <a:spLocks noGrp="1"/>
          </p:cNvSpPr>
          <p:nvPr>
            <p:ph type="body" sz="quarter" idx="11"/>
          </p:nvPr>
        </p:nvSpPr>
        <p:spPr/>
        <p:txBody>
          <a:bodyPr/>
          <a:lstStyle/>
          <a:p>
            <a:endParaRPr lang="da-DK"/>
          </a:p>
        </p:txBody>
      </p:sp>
      <p:sp>
        <p:nvSpPr>
          <p:cNvPr id="5" name="Tekstfelt 4">
            <a:extLst>
              <a:ext uri="{FF2B5EF4-FFF2-40B4-BE49-F238E27FC236}">
                <a16:creationId xmlns:a16="http://schemas.microsoft.com/office/drawing/2014/main" id="{73574CE9-4C88-1F73-6F07-B8CA0138BEB9}"/>
              </a:ext>
            </a:extLst>
          </p:cNvPr>
          <p:cNvSpPr txBox="1"/>
          <p:nvPr/>
        </p:nvSpPr>
        <p:spPr>
          <a:xfrm>
            <a:off x="587829" y="1275035"/>
            <a:ext cx="8207375" cy="1754326"/>
          </a:xfrm>
          <a:prstGeom prst="rect">
            <a:avLst/>
          </a:prstGeom>
          <a:noFill/>
          <a:ln>
            <a:noFill/>
          </a:ln>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800" b="0" i="0" u="none" strike="noStrike" kern="1200" cap="none" spc="0" normalizeH="0" baseline="0" noProof="0" dirty="0">
                <a:ln>
                  <a:noFill/>
                </a:ln>
                <a:solidFill>
                  <a:srgbClr val="111111"/>
                </a:solidFill>
                <a:effectLst/>
                <a:uLnTx/>
                <a:uFillTx/>
                <a:latin typeface="Calibri"/>
                <a:ea typeface="+mn-ea"/>
                <a:cs typeface="+mn-cs"/>
              </a:rPr>
              <a:t>Vi har brug for frivillige til at deltage i </a:t>
            </a:r>
            <a:r>
              <a:rPr kumimoji="0" lang="da-DK" sz="1800" b="0" i="0" u="none" strike="noStrike" kern="1200" cap="none" spc="0" normalizeH="0" baseline="0" noProof="0" dirty="0" err="1">
                <a:ln>
                  <a:noFill/>
                </a:ln>
                <a:solidFill>
                  <a:srgbClr val="111111"/>
                </a:solidFill>
                <a:effectLst/>
                <a:uLnTx/>
                <a:uFillTx/>
                <a:latin typeface="Calibri"/>
                <a:ea typeface="+mn-ea"/>
                <a:cs typeface="+mn-cs"/>
              </a:rPr>
              <a:t>diss</a:t>
            </a:r>
            <a:r>
              <a:rPr lang="da-DK" dirty="0">
                <a:solidFill>
                  <a:srgbClr val="111111"/>
                </a:solidFill>
                <a:latin typeface="Calibri"/>
              </a:rPr>
              <a:t>e </a:t>
            </a:r>
            <a:r>
              <a:rPr kumimoji="0" lang="da-DK" sz="1800" b="0" i="0" u="none" strike="noStrike" kern="1200" cap="none" spc="0" normalizeH="0" baseline="0" noProof="0" dirty="0">
                <a:ln>
                  <a:noFill/>
                </a:ln>
                <a:solidFill>
                  <a:srgbClr val="111111"/>
                </a:solidFill>
                <a:effectLst/>
                <a:uLnTx/>
                <a:uFillTx/>
                <a:latin typeface="Calibri"/>
                <a:ea typeface="+mn-ea"/>
                <a:cs typeface="+mn-cs"/>
              </a:rPr>
              <a:t>grupper.</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solidFill>
                  <a:srgbClr val="111111"/>
                </a:solidFill>
                <a:latin typeface="Calibri"/>
              </a:rPr>
              <a:t>I første omgang ønsker vi at finde 4-5 sagsbehandlere fra arbejdsmarkeds- og beskæftigelsesområde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solidFill>
                  <a:srgbClr val="111111"/>
                </a:solidFill>
                <a:latin typeface="Calibri"/>
              </a:rPr>
              <a:t>Vi ønsker en blanding af store og små kommuner, og gerne fordelt ud over hele lande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solidFill>
                  <a:srgbClr val="111111"/>
                </a:solidFill>
                <a:latin typeface="Calibri"/>
              </a:rPr>
              <a:t>Hvem af jer vil hjælpe os med det? </a:t>
            </a:r>
            <a:endParaRPr kumimoji="0" lang="da-DK" sz="1800" b="0" i="0" u="none" strike="noStrike" kern="1200" cap="none" spc="0" normalizeH="0" baseline="0" noProof="0" dirty="0">
              <a:ln>
                <a:noFill/>
              </a:ln>
              <a:solidFill>
                <a:srgbClr val="111111"/>
              </a:solidFill>
              <a:effectLst/>
              <a:uLnTx/>
              <a:uFillTx/>
              <a:latin typeface="Calibri"/>
              <a:ea typeface="+mn-ea"/>
              <a:cs typeface="+mn-cs"/>
            </a:endParaRPr>
          </a:p>
        </p:txBody>
      </p:sp>
    </p:spTree>
    <p:extLst>
      <p:ext uri="{BB962C8B-B14F-4D97-AF65-F5344CB8AC3E}">
        <p14:creationId xmlns:p14="http://schemas.microsoft.com/office/powerpoint/2010/main" val="413927124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824C5F-0B23-4574-290C-21F22C81768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714ED34-6947-DEAE-C638-A153F3CF03EF}"/>
              </a:ext>
            </a:extLst>
          </p:cNvPr>
          <p:cNvSpPr>
            <a:spLocks noGrp="1"/>
          </p:cNvSpPr>
          <p:nvPr>
            <p:ph type="title"/>
          </p:nvPr>
        </p:nvSpPr>
        <p:spPr>
          <a:xfrm>
            <a:off x="1397556" y="1998350"/>
            <a:ext cx="7092404" cy="792088"/>
          </a:xfrm>
        </p:spPr>
        <p:txBody>
          <a:bodyPr/>
          <a:lstStyle/>
          <a:p>
            <a:pPr>
              <a:spcBef>
                <a:spcPts val="150"/>
              </a:spcBef>
            </a:pPr>
            <a:r>
              <a:rPr lang="da-DK" dirty="0">
                <a:latin typeface="Arial" panose="020B0604020202020204" pitchFamily="34" charset="0"/>
                <a:ea typeface="Aptos" panose="020B0004020202020204" pitchFamily="34" charset="0"/>
                <a:cs typeface="Aptos" panose="020B0004020202020204" pitchFamily="34" charset="0"/>
              </a:rPr>
              <a:t>Året der gik, og året der kommer</a:t>
            </a:r>
          </a:p>
        </p:txBody>
      </p:sp>
      <p:sp>
        <p:nvSpPr>
          <p:cNvPr id="3" name="Pladsholder til tekst 2">
            <a:extLst>
              <a:ext uri="{FF2B5EF4-FFF2-40B4-BE49-F238E27FC236}">
                <a16:creationId xmlns:a16="http://schemas.microsoft.com/office/drawing/2014/main" id="{D7D0A9D6-0545-1EE3-4872-6995BF8CFF7B}"/>
              </a:ext>
            </a:extLst>
          </p:cNvPr>
          <p:cNvSpPr>
            <a:spLocks noGrp="1"/>
          </p:cNvSpPr>
          <p:nvPr>
            <p:ph type="body" sz="quarter" idx="18"/>
          </p:nvPr>
        </p:nvSpPr>
        <p:spPr/>
        <p:txBody>
          <a:bodyPr/>
          <a:lstStyle/>
          <a:p>
            <a:endParaRPr lang="da-DK"/>
          </a:p>
        </p:txBody>
      </p:sp>
    </p:spTree>
    <p:extLst>
      <p:ext uri="{BB962C8B-B14F-4D97-AF65-F5344CB8AC3E}">
        <p14:creationId xmlns:p14="http://schemas.microsoft.com/office/powerpoint/2010/main" val="394845451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96487CE9-F5B3-9050-59AB-59FC253B48B4}"/>
              </a:ext>
            </a:extLst>
          </p:cNvPr>
          <p:cNvSpPr>
            <a:spLocks noGrp="1"/>
          </p:cNvSpPr>
          <p:nvPr>
            <p:ph type="title"/>
          </p:nvPr>
        </p:nvSpPr>
        <p:spPr>
          <a:xfrm>
            <a:off x="404099" y="249376"/>
            <a:ext cx="8334900" cy="621000"/>
          </a:xfrm>
        </p:spPr>
        <p:txBody>
          <a:bodyPr/>
          <a:lstStyle/>
          <a:p>
            <a:r>
              <a:rPr lang="da-DK" dirty="0"/>
              <a:t>Udviklingsprojekter 2025</a:t>
            </a:r>
          </a:p>
        </p:txBody>
      </p:sp>
      <p:sp>
        <p:nvSpPr>
          <p:cNvPr id="5" name="Pladsholder til dato 4">
            <a:extLst>
              <a:ext uri="{FF2B5EF4-FFF2-40B4-BE49-F238E27FC236}">
                <a16:creationId xmlns:a16="http://schemas.microsoft.com/office/drawing/2014/main" id="{0698BE6E-206A-7D51-8DC9-CE3252C202EF}"/>
              </a:ext>
            </a:extLst>
          </p:cNvPr>
          <p:cNvSpPr>
            <a:spLocks noGrp="1"/>
          </p:cNvSpPr>
          <p:nvPr>
            <p:ph type="dt" sz="half"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41969349-67F1-41F8-83EC-133BBA9F9E3B}" type="datetime2">
              <a:rPr kumimoji="0" lang="da-DK" sz="600" b="0" i="0" u="none" strike="noStrike" kern="1200" cap="none" spc="0" normalizeH="0" baseline="0" noProof="0">
                <a:ln>
                  <a:noFill/>
                </a:ln>
                <a:solidFill>
                  <a:srgbClr val="3F1A2B"/>
                </a:solidFill>
                <a:effectLst/>
                <a:uLnTx/>
                <a:uFillTx/>
                <a:latin typeface="Franklin Gothic Book"/>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1. december 2025</a:t>
            </a:fld>
            <a:endParaRPr kumimoji="0" lang="da-DK" sz="600" b="0" i="0" u="none" strike="noStrike" kern="1200" cap="none" spc="0" normalizeH="0" baseline="0" noProof="0" dirty="0">
              <a:ln>
                <a:noFill/>
              </a:ln>
              <a:solidFill>
                <a:srgbClr val="3F1A2B"/>
              </a:solidFill>
              <a:effectLst/>
              <a:uLnTx/>
              <a:uFillTx/>
              <a:latin typeface="Franklin Gothic Book"/>
              <a:ea typeface="+mn-ea"/>
              <a:cs typeface="+mn-cs"/>
            </a:endParaRPr>
          </a:p>
        </p:txBody>
      </p:sp>
      <p:sp>
        <p:nvSpPr>
          <p:cNvPr id="6" name="Pladsholder til sidefod 5">
            <a:extLst>
              <a:ext uri="{FF2B5EF4-FFF2-40B4-BE49-F238E27FC236}">
                <a16:creationId xmlns:a16="http://schemas.microsoft.com/office/drawing/2014/main" id="{723D5974-3CE8-D59C-57A5-A41E260379C3}"/>
              </a:ext>
            </a:extLst>
          </p:cNvPr>
          <p:cNvSpPr>
            <a:spLocks noGrp="1"/>
          </p:cNvSpPr>
          <p:nvPr>
            <p:ph type="ftr" sz="quarter" idx="11"/>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dirty="0">
                <a:ln>
                  <a:noFill/>
                </a:ln>
                <a:solidFill>
                  <a:srgbClr val="3F1A2B"/>
                </a:solidFill>
                <a:effectLst/>
                <a:uLnTx/>
                <a:uFillTx/>
                <a:latin typeface="Franklin Gothic Book"/>
                <a:ea typeface="+mn-ea"/>
                <a:cs typeface="+mn-cs"/>
              </a:rPr>
              <a:t>Digitaliseringsstyrelsen</a:t>
            </a:r>
          </a:p>
        </p:txBody>
      </p:sp>
      <p:sp>
        <p:nvSpPr>
          <p:cNvPr id="7" name="Pladsholder til slidenummer 6">
            <a:extLst>
              <a:ext uri="{FF2B5EF4-FFF2-40B4-BE49-F238E27FC236}">
                <a16:creationId xmlns:a16="http://schemas.microsoft.com/office/drawing/2014/main" id="{0FAEAE5E-6EA9-C734-E33C-6A691484235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600" b="0" i="0" u="none" strike="noStrike" kern="1200" cap="none" spc="0" normalizeH="0" baseline="0" noProof="0">
                <a:ln>
                  <a:noFill/>
                </a:ln>
                <a:solidFill>
                  <a:srgbClr val="3F1A2B"/>
                </a:solidFill>
                <a:effectLst/>
                <a:uLnTx/>
                <a:uFillTx/>
                <a:latin typeface="Franklin Gothic Book"/>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78</a:t>
            </a:fld>
            <a:endParaRPr kumimoji="0" lang="da-DK" sz="600" b="0" i="0" u="none" strike="noStrike" kern="1200" cap="none" spc="0" normalizeH="0" baseline="0" noProof="0" dirty="0">
              <a:ln>
                <a:noFill/>
              </a:ln>
              <a:solidFill>
                <a:srgbClr val="3F1A2B"/>
              </a:solidFill>
              <a:effectLst/>
              <a:uLnTx/>
              <a:uFillTx/>
              <a:latin typeface="Franklin Gothic Book"/>
              <a:ea typeface="+mn-ea"/>
              <a:cs typeface="+mn-cs"/>
            </a:endParaRPr>
          </a:p>
        </p:txBody>
      </p:sp>
      <p:sp>
        <p:nvSpPr>
          <p:cNvPr id="26" name="Afrundet rektangel 78">
            <a:extLst>
              <a:ext uri="{FF2B5EF4-FFF2-40B4-BE49-F238E27FC236}">
                <a16:creationId xmlns:a16="http://schemas.microsoft.com/office/drawing/2014/main" id="{45C7C9E8-074F-05B1-3BBD-622FC6EF1BDB}"/>
              </a:ext>
            </a:extLst>
          </p:cNvPr>
          <p:cNvSpPr/>
          <p:nvPr/>
        </p:nvSpPr>
        <p:spPr>
          <a:xfrm>
            <a:off x="2030612" y="785306"/>
            <a:ext cx="1185300" cy="760761"/>
          </a:xfrm>
          <a:prstGeom prst="roundRect">
            <a:avLst/>
          </a:prstGeom>
          <a:solidFill>
            <a:srgbClr val="EBF1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19" name="Tekstfelt 18">
            <a:extLst>
              <a:ext uri="{FF2B5EF4-FFF2-40B4-BE49-F238E27FC236}">
                <a16:creationId xmlns:a16="http://schemas.microsoft.com/office/drawing/2014/main" id="{54D89D8C-10C3-494B-80CF-78B46B779DBB}"/>
              </a:ext>
            </a:extLst>
          </p:cNvPr>
          <p:cNvSpPr txBox="1"/>
          <p:nvPr/>
        </p:nvSpPr>
        <p:spPr>
          <a:xfrm>
            <a:off x="2159826" y="1004104"/>
            <a:ext cx="1092860" cy="323165"/>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Track and Trace</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2025-2027</a:t>
            </a:r>
          </a:p>
        </p:txBody>
      </p:sp>
      <p:sp>
        <p:nvSpPr>
          <p:cNvPr id="27" name="Afrundet rektangel 78">
            <a:extLst>
              <a:ext uri="{FF2B5EF4-FFF2-40B4-BE49-F238E27FC236}">
                <a16:creationId xmlns:a16="http://schemas.microsoft.com/office/drawing/2014/main" id="{2C02B505-FC26-2E69-D283-0E1328390EA1}"/>
              </a:ext>
            </a:extLst>
          </p:cNvPr>
          <p:cNvSpPr/>
          <p:nvPr/>
        </p:nvSpPr>
        <p:spPr>
          <a:xfrm>
            <a:off x="3350248" y="785306"/>
            <a:ext cx="1255004" cy="760761"/>
          </a:xfrm>
          <a:prstGeom prst="roundRect">
            <a:avLst/>
          </a:prstGeom>
          <a:solidFill>
            <a:srgbClr val="EBF1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25" name="Tekstfelt 24">
            <a:extLst>
              <a:ext uri="{FF2B5EF4-FFF2-40B4-BE49-F238E27FC236}">
                <a16:creationId xmlns:a16="http://schemas.microsoft.com/office/drawing/2014/main" id="{3FA83D54-3833-C86A-9211-E84F21BA96EE}"/>
              </a:ext>
            </a:extLst>
          </p:cNvPr>
          <p:cNvSpPr txBox="1"/>
          <p:nvPr/>
        </p:nvSpPr>
        <p:spPr>
          <a:xfrm>
            <a:off x="3459605" y="862357"/>
            <a:ext cx="1171601" cy="646331"/>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Dybt link til Digital Pos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 Nye fagsystemer kobles på</a:t>
            </a:r>
          </a:p>
        </p:txBody>
      </p:sp>
      <p:sp>
        <p:nvSpPr>
          <p:cNvPr id="29" name="Afrundet rektangel 78">
            <a:extLst>
              <a:ext uri="{FF2B5EF4-FFF2-40B4-BE49-F238E27FC236}">
                <a16:creationId xmlns:a16="http://schemas.microsoft.com/office/drawing/2014/main" id="{6956A712-A31C-EA25-C821-B4BE251C242C}"/>
              </a:ext>
            </a:extLst>
          </p:cNvPr>
          <p:cNvSpPr/>
          <p:nvPr/>
        </p:nvSpPr>
        <p:spPr>
          <a:xfrm>
            <a:off x="3341936" y="2474314"/>
            <a:ext cx="1255500" cy="760761"/>
          </a:xfrm>
          <a:prstGeom prst="roundRect">
            <a:avLst/>
          </a:prstGeom>
          <a:solidFill>
            <a:schemeClr val="bg2">
              <a:lumMod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24" name="Tekstfelt 23">
            <a:extLst>
              <a:ext uri="{FF2B5EF4-FFF2-40B4-BE49-F238E27FC236}">
                <a16:creationId xmlns:a16="http://schemas.microsoft.com/office/drawing/2014/main" id="{E8FA62B2-697D-D13F-3A35-1540268B88C5}"/>
              </a:ext>
            </a:extLst>
          </p:cNvPr>
          <p:cNvSpPr txBox="1"/>
          <p:nvPr/>
        </p:nvSpPr>
        <p:spPr>
          <a:xfrm>
            <a:off x="3401150" y="2693112"/>
            <a:ext cx="1092860" cy="323165"/>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Færdselsstyrelsen</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Synsfrister</a:t>
            </a:r>
          </a:p>
        </p:txBody>
      </p:sp>
      <p:sp>
        <p:nvSpPr>
          <p:cNvPr id="30" name="Afrundet rektangel 78">
            <a:extLst>
              <a:ext uri="{FF2B5EF4-FFF2-40B4-BE49-F238E27FC236}">
                <a16:creationId xmlns:a16="http://schemas.microsoft.com/office/drawing/2014/main" id="{D069EC3A-9B80-9F3E-1B45-1050F3FBB375}"/>
              </a:ext>
            </a:extLst>
          </p:cNvPr>
          <p:cNvSpPr/>
          <p:nvPr/>
        </p:nvSpPr>
        <p:spPr>
          <a:xfrm>
            <a:off x="2030612" y="3705846"/>
            <a:ext cx="1185300" cy="760761"/>
          </a:xfrm>
          <a:prstGeom prst="roundRect">
            <a:avLst/>
          </a:prstGeom>
          <a:solidFill>
            <a:schemeClr val="accent3">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20" name="Tekstfelt 19">
            <a:extLst>
              <a:ext uri="{FF2B5EF4-FFF2-40B4-BE49-F238E27FC236}">
                <a16:creationId xmlns:a16="http://schemas.microsoft.com/office/drawing/2014/main" id="{8AC4C9EB-3AD2-921F-C74F-8ECB1B7D147B}"/>
              </a:ext>
            </a:extLst>
          </p:cNvPr>
          <p:cNvSpPr txBox="1"/>
          <p:nvPr/>
        </p:nvSpPr>
        <p:spPr>
          <a:xfrm>
            <a:off x="2117649" y="3843852"/>
            <a:ext cx="1092860" cy="48474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Udbud</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Borger.dk systemet</a:t>
            </a:r>
            <a:b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b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2025-2026</a:t>
            </a:r>
          </a:p>
        </p:txBody>
      </p:sp>
      <p:sp>
        <p:nvSpPr>
          <p:cNvPr id="31" name="Afrundet rektangel 78">
            <a:extLst>
              <a:ext uri="{FF2B5EF4-FFF2-40B4-BE49-F238E27FC236}">
                <a16:creationId xmlns:a16="http://schemas.microsoft.com/office/drawing/2014/main" id="{CD753A6C-A035-A8B0-2442-45DCBE678F9A}"/>
              </a:ext>
            </a:extLst>
          </p:cNvPr>
          <p:cNvSpPr/>
          <p:nvPr/>
        </p:nvSpPr>
        <p:spPr>
          <a:xfrm>
            <a:off x="3316997" y="3699472"/>
            <a:ext cx="1255500" cy="760761"/>
          </a:xfrm>
          <a:prstGeom prst="roundRect">
            <a:avLst/>
          </a:prstGeom>
          <a:solidFill>
            <a:srgbClr val="DDECD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21" name="Tekstfelt 20">
            <a:extLst>
              <a:ext uri="{FF2B5EF4-FFF2-40B4-BE49-F238E27FC236}">
                <a16:creationId xmlns:a16="http://schemas.microsoft.com/office/drawing/2014/main" id="{B05258FE-CD81-9D16-61D5-18EDBE78FAB7}"/>
              </a:ext>
            </a:extLst>
          </p:cNvPr>
          <p:cNvSpPr txBox="1"/>
          <p:nvPr/>
        </p:nvSpPr>
        <p:spPr>
          <a:xfrm>
            <a:off x="3564069" y="3844884"/>
            <a:ext cx="752539" cy="48474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Analyse  af børns data</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2025-2026</a:t>
            </a:r>
          </a:p>
        </p:txBody>
      </p:sp>
      <p:sp>
        <p:nvSpPr>
          <p:cNvPr id="32" name="Afrundet rektangel 78">
            <a:extLst>
              <a:ext uri="{FF2B5EF4-FFF2-40B4-BE49-F238E27FC236}">
                <a16:creationId xmlns:a16="http://schemas.microsoft.com/office/drawing/2014/main" id="{517DF54B-9249-40FF-FD14-3D1A947EA05C}"/>
              </a:ext>
            </a:extLst>
          </p:cNvPr>
          <p:cNvSpPr/>
          <p:nvPr/>
        </p:nvSpPr>
        <p:spPr>
          <a:xfrm>
            <a:off x="4730634" y="3699472"/>
            <a:ext cx="1185300" cy="760761"/>
          </a:xfrm>
          <a:prstGeom prst="roundRect">
            <a:avLst/>
          </a:prstGeom>
          <a:solidFill>
            <a:srgbClr val="DDECD4"/>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23" name="Tekstfelt 22">
            <a:extLst>
              <a:ext uri="{FF2B5EF4-FFF2-40B4-BE49-F238E27FC236}">
                <a16:creationId xmlns:a16="http://schemas.microsoft.com/office/drawing/2014/main" id="{3DFE7A33-D14C-250C-FB16-487914AFA226}"/>
              </a:ext>
            </a:extLst>
          </p:cNvPr>
          <p:cNvSpPr txBox="1"/>
          <p:nvPr/>
        </p:nvSpPr>
        <p:spPr>
          <a:xfrm>
            <a:off x="4789003" y="3888660"/>
            <a:ext cx="1074071" cy="323165"/>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Digital Assistent (FODS26-29)</a:t>
            </a:r>
          </a:p>
        </p:txBody>
      </p:sp>
      <p:sp>
        <p:nvSpPr>
          <p:cNvPr id="33" name="Afrundet rektangel 78">
            <a:extLst>
              <a:ext uri="{FF2B5EF4-FFF2-40B4-BE49-F238E27FC236}">
                <a16:creationId xmlns:a16="http://schemas.microsoft.com/office/drawing/2014/main" id="{42BAF7CA-CF03-3AEC-6151-78D2A3473CE3}"/>
              </a:ext>
            </a:extLst>
          </p:cNvPr>
          <p:cNvSpPr/>
          <p:nvPr/>
        </p:nvSpPr>
        <p:spPr>
          <a:xfrm>
            <a:off x="6017024" y="3687369"/>
            <a:ext cx="1503900" cy="760761"/>
          </a:xfrm>
          <a:prstGeom prst="roundRect">
            <a:avLst/>
          </a:prstGeom>
          <a:solidFill>
            <a:srgbClr val="DDECD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18" name="Tekstfelt 17">
            <a:extLst>
              <a:ext uri="{FF2B5EF4-FFF2-40B4-BE49-F238E27FC236}">
                <a16:creationId xmlns:a16="http://schemas.microsoft.com/office/drawing/2014/main" id="{22A66844-DA8A-97F0-CDFA-1E70C86A2CF7}"/>
              </a:ext>
            </a:extLst>
          </p:cNvPr>
          <p:cNvSpPr txBox="1"/>
          <p:nvPr/>
        </p:nvSpPr>
        <p:spPr>
          <a:xfrm>
            <a:off x="6075391" y="3778684"/>
            <a:ext cx="1092860" cy="646331"/>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DIGST + KL</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Udbredelse af MO + fuldmag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2025-2028</a:t>
            </a:r>
          </a:p>
        </p:txBody>
      </p:sp>
      <p:sp>
        <p:nvSpPr>
          <p:cNvPr id="35" name="Afrundet rektangel 78">
            <a:extLst>
              <a:ext uri="{FF2B5EF4-FFF2-40B4-BE49-F238E27FC236}">
                <a16:creationId xmlns:a16="http://schemas.microsoft.com/office/drawing/2014/main" id="{7CBC541C-8FAF-1A72-13BB-47D48CFA31AE}"/>
              </a:ext>
            </a:extLst>
          </p:cNvPr>
          <p:cNvSpPr/>
          <p:nvPr/>
        </p:nvSpPr>
        <p:spPr>
          <a:xfrm>
            <a:off x="7652460" y="3681338"/>
            <a:ext cx="1286900" cy="760761"/>
          </a:xfrm>
          <a:prstGeom prst="roundRect">
            <a:avLst/>
          </a:prstGeom>
          <a:solidFill>
            <a:srgbClr val="DDECD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34" name="Tekstfelt 33">
            <a:extLst>
              <a:ext uri="{FF2B5EF4-FFF2-40B4-BE49-F238E27FC236}">
                <a16:creationId xmlns:a16="http://schemas.microsoft.com/office/drawing/2014/main" id="{E13C4C92-3314-D5B2-4BC7-FC7564B7F5C9}"/>
              </a:ext>
            </a:extLst>
          </p:cNvPr>
          <p:cNvSpPr txBox="1"/>
          <p:nvPr/>
        </p:nvSpPr>
        <p:spPr>
          <a:xfrm>
            <a:off x="7703532" y="3738554"/>
            <a:ext cx="1286901" cy="646331"/>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Fuldmagt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Tilslutning af myndighed 1, 2, 3, 4</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2025 - 2028</a:t>
            </a:r>
          </a:p>
        </p:txBody>
      </p:sp>
      <p:sp>
        <p:nvSpPr>
          <p:cNvPr id="2" name="Afrundet rektangel 78">
            <a:extLst>
              <a:ext uri="{FF2B5EF4-FFF2-40B4-BE49-F238E27FC236}">
                <a16:creationId xmlns:a16="http://schemas.microsoft.com/office/drawing/2014/main" id="{D8AD55E0-FEB5-D31B-5731-F680F054A491}"/>
              </a:ext>
            </a:extLst>
          </p:cNvPr>
          <p:cNvSpPr/>
          <p:nvPr/>
        </p:nvSpPr>
        <p:spPr>
          <a:xfrm>
            <a:off x="4730634" y="770093"/>
            <a:ext cx="1185300" cy="760761"/>
          </a:xfrm>
          <a:prstGeom prst="roundRect">
            <a:avLst/>
          </a:prstGeom>
          <a:solidFill>
            <a:srgbClr val="EBF1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4" name="Tekstfelt 3">
            <a:extLst>
              <a:ext uri="{FF2B5EF4-FFF2-40B4-BE49-F238E27FC236}">
                <a16:creationId xmlns:a16="http://schemas.microsoft.com/office/drawing/2014/main" id="{68DD3730-B8FA-84FA-AE59-F9AA9C854AF9}"/>
              </a:ext>
            </a:extLst>
          </p:cNvPr>
          <p:cNvSpPr txBox="1"/>
          <p:nvPr/>
        </p:nvSpPr>
        <p:spPr>
          <a:xfrm>
            <a:off x="4781706" y="952290"/>
            <a:ext cx="1348880" cy="323165"/>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Digital assisten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 - MUNI</a:t>
            </a:r>
          </a:p>
        </p:txBody>
      </p:sp>
      <p:sp>
        <p:nvSpPr>
          <p:cNvPr id="9" name="Afrundet rektangel 78">
            <a:extLst>
              <a:ext uri="{FF2B5EF4-FFF2-40B4-BE49-F238E27FC236}">
                <a16:creationId xmlns:a16="http://schemas.microsoft.com/office/drawing/2014/main" id="{B79765C1-4AC5-FC91-FB89-474E58970CF0}"/>
              </a:ext>
            </a:extLst>
          </p:cNvPr>
          <p:cNvSpPr/>
          <p:nvPr/>
        </p:nvSpPr>
        <p:spPr>
          <a:xfrm>
            <a:off x="6017023" y="785306"/>
            <a:ext cx="1502758" cy="760761"/>
          </a:xfrm>
          <a:prstGeom prst="roundRect">
            <a:avLst/>
          </a:prstGeom>
          <a:solidFill>
            <a:srgbClr val="EBF1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12" name="Tekstfelt 11">
            <a:extLst>
              <a:ext uri="{FF2B5EF4-FFF2-40B4-BE49-F238E27FC236}">
                <a16:creationId xmlns:a16="http://schemas.microsoft.com/office/drawing/2014/main" id="{96A4347A-B33F-518A-D551-2558EA432AA3}"/>
              </a:ext>
            </a:extLst>
          </p:cNvPr>
          <p:cNvSpPr txBox="1"/>
          <p:nvPr/>
        </p:nvSpPr>
        <p:spPr>
          <a:xfrm>
            <a:off x="6089984" y="851747"/>
            <a:ext cx="1502758" cy="646331"/>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Samtlige kommunale betalinger udstille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 Fagsystemer opgraderes i 2025-2026</a:t>
            </a:r>
          </a:p>
        </p:txBody>
      </p:sp>
      <p:sp>
        <p:nvSpPr>
          <p:cNvPr id="16" name="Afrundet rektangel 78">
            <a:extLst>
              <a:ext uri="{FF2B5EF4-FFF2-40B4-BE49-F238E27FC236}">
                <a16:creationId xmlns:a16="http://schemas.microsoft.com/office/drawing/2014/main" id="{70B933AE-6241-F408-475A-5AB07FB0ED00}"/>
              </a:ext>
            </a:extLst>
          </p:cNvPr>
          <p:cNvSpPr/>
          <p:nvPr/>
        </p:nvSpPr>
        <p:spPr>
          <a:xfrm>
            <a:off x="7652460" y="798852"/>
            <a:ext cx="1185300" cy="760761"/>
          </a:xfrm>
          <a:prstGeom prst="roundRect">
            <a:avLst/>
          </a:prstGeom>
          <a:solidFill>
            <a:srgbClr val="EBF1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17" name="Tekstfelt 16">
            <a:extLst>
              <a:ext uri="{FF2B5EF4-FFF2-40B4-BE49-F238E27FC236}">
                <a16:creationId xmlns:a16="http://schemas.microsoft.com/office/drawing/2014/main" id="{07F936D0-CE19-EB16-1B1B-20EDA2945E50}"/>
              </a:ext>
            </a:extLst>
          </p:cNvPr>
          <p:cNvSpPr txBox="1"/>
          <p:nvPr/>
        </p:nvSpPr>
        <p:spPr>
          <a:xfrm>
            <a:off x="7725420" y="881989"/>
            <a:ext cx="1003695" cy="646331"/>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Unges data (15-17 årige) på udvalgte KLE-emner</a:t>
            </a:r>
          </a:p>
        </p:txBody>
      </p:sp>
      <p:sp>
        <p:nvSpPr>
          <p:cNvPr id="42" name="Afrundet rektangel 78">
            <a:extLst>
              <a:ext uri="{FF2B5EF4-FFF2-40B4-BE49-F238E27FC236}">
                <a16:creationId xmlns:a16="http://schemas.microsoft.com/office/drawing/2014/main" id="{75B6B928-21D6-82F4-E8D4-FCFD32911D45}"/>
              </a:ext>
            </a:extLst>
          </p:cNvPr>
          <p:cNvSpPr/>
          <p:nvPr/>
        </p:nvSpPr>
        <p:spPr>
          <a:xfrm>
            <a:off x="6017024" y="1618505"/>
            <a:ext cx="1502757" cy="760761"/>
          </a:xfrm>
          <a:prstGeom prst="roundRect">
            <a:avLst/>
          </a:prstGeom>
          <a:solidFill>
            <a:srgbClr val="EBF1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44" name="Afrundet rektangel 78">
            <a:extLst>
              <a:ext uri="{FF2B5EF4-FFF2-40B4-BE49-F238E27FC236}">
                <a16:creationId xmlns:a16="http://schemas.microsoft.com/office/drawing/2014/main" id="{EAEF1510-0B58-61BB-8FF6-5B0A7DA3E00F}"/>
              </a:ext>
            </a:extLst>
          </p:cNvPr>
          <p:cNvSpPr/>
          <p:nvPr/>
        </p:nvSpPr>
        <p:spPr>
          <a:xfrm>
            <a:off x="4730634" y="1619069"/>
            <a:ext cx="1185300" cy="760761"/>
          </a:xfrm>
          <a:prstGeom prst="roundRect">
            <a:avLst/>
          </a:prstGeom>
          <a:solidFill>
            <a:srgbClr val="EBF1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45" name="Tekstfelt 44">
            <a:extLst>
              <a:ext uri="{FF2B5EF4-FFF2-40B4-BE49-F238E27FC236}">
                <a16:creationId xmlns:a16="http://schemas.microsoft.com/office/drawing/2014/main" id="{8A301938-4ACD-0FBE-7B4A-1DFB5F94083D}"/>
              </a:ext>
            </a:extLst>
          </p:cNvPr>
          <p:cNvSpPr txBox="1"/>
          <p:nvPr/>
        </p:nvSpPr>
        <p:spPr>
          <a:xfrm>
            <a:off x="6053504" y="1716365"/>
            <a:ext cx="1345458" cy="48474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Udstilling af flere borgervendte sager – 2025-2026</a:t>
            </a:r>
          </a:p>
        </p:txBody>
      </p:sp>
      <p:sp>
        <p:nvSpPr>
          <p:cNvPr id="46" name="Tekstfelt 45">
            <a:extLst>
              <a:ext uri="{FF2B5EF4-FFF2-40B4-BE49-F238E27FC236}">
                <a16:creationId xmlns:a16="http://schemas.microsoft.com/office/drawing/2014/main" id="{59CD3283-8646-37BC-4E63-3C4E343C9939}"/>
              </a:ext>
            </a:extLst>
          </p:cNvPr>
          <p:cNvSpPr txBox="1"/>
          <p:nvPr/>
        </p:nvSpPr>
        <p:spPr>
          <a:xfrm>
            <a:off x="4803592" y="1832227"/>
            <a:ext cx="1003695" cy="323165"/>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Integration til fuldmagt</a:t>
            </a:r>
          </a:p>
        </p:txBody>
      </p:sp>
      <p:sp>
        <p:nvSpPr>
          <p:cNvPr id="13" name="Afrundet rektangel 78">
            <a:extLst>
              <a:ext uri="{FF2B5EF4-FFF2-40B4-BE49-F238E27FC236}">
                <a16:creationId xmlns:a16="http://schemas.microsoft.com/office/drawing/2014/main" id="{A4EC58F1-806B-AF1A-13FB-5D3651C2D8FA}"/>
              </a:ext>
            </a:extLst>
          </p:cNvPr>
          <p:cNvSpPr/>
          <p:nvPr/>
        </p:nvSpPr>
        <p:spPr>
          <a:xfrm>
            <a:off x="3350249" y="1626689"/>
            <a:ext cx="1255500" cy="760761"/>
          </a:xfrm>
          <a:prstGeom prst="roundRect">
            <a:avLst/>
          </a:prstGeom>
          <a:solidFill>
            <a:srgbClr val="EBF1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00000"/>
                </a:solidFill>
                <a:effectLst/>
                <a:uLnTx/>
                <a:uFillTx/>
                <a:latin typeface="Franklin Gothic Book"/>
                <a:ea typeface="+mn-ea"/>
                <a:cs typeface="+mn-cs"/>
              </a:rPr>
              <a:t>Børns data vises i verifikations-klient</a:t>
            </a:r>
          </a:p>
        </p:txBody>
      </p:sp>
      <p:sp>
        <p:nvSpPr>
          <p:cNvPr id="22" name="Afrundet rektangel 78">
            <a:extLst>
              <a:ext uri="{FF2B5EF4-FFF2-40B4-BE49-F238E27FC236}">
                <a16:creationId xmlns:a16="http://schemas.microsoft.com/office/drawing/2014/main" id="{444E3537-6D53-5729-216D-22A5D4D09641}"/>
              </a:ext>
            </a:extLst>
          </p:cNvPr>
          <p:cNvSpPr/>
          <p:nvPr/>
        </p:nvSpPr>
        <p:spPr>
          <a:xfrm>
            <a:off x="2030612" y="2471697"/>
            <a:ext cx="1185300" cy="761400"/>
          </a:xfrm>
          <a:prstGeom prst="roundRect">
            <a:avLst/>
          </a:prstGeom>
          <a:solidFill>
            <a:schemeClr val="bg2">
              <a:lumMod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28" name="Tekstfelt 27">
            <a:extLst>
              <a:ext uri="{FF2B5EF4-FFF2-40B4-BE49-F238E27FC236}">
                <a16:creationId xmlns:a16="http://schemas.microsoft.com/office/drawing/2014/main" id="{424F724B-4F93-C6A2-9A16-6608956C173E}"/>
              </a:ext>
            </a:extLst>
          </p:cNvPr>
          <p:cNvSpPr txBox="1"/>
          <p:nvPr/>
        </p:nvSpPr>
        <p:spPr>
          <a:xfrm>
            <a:off x="2114408" y="2610024"/>
            <a:ext cx="1037354" cy="48474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Familieretshuse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Sager → navneområdet</a:t>
            </a:r>
          </a:p>
        </p:txBody>
      </p:sp>
      <p:sp>
        <p:nvSpPr>
          <p:cNvPr id="43" name="Afrundet rektangel 78">
            <a:extLst>
              <a:ext uri="{FF2B5EF4-FFF2-40B4-BE49-F238E27FC236}">
                <a16:creationId xmlns:a16="http://schemas.microsoft.com/office/drawing/2014/main" id="{9C86FF1C-77AC-F4DC-C85D-D22E9D45E394}"/>
              </a:ext>
            </a:extLst>
          </p:cNvPr>
          <p:cNvSpPr/>
          <p:nvPr/>
        </p:nvSpPr>
        <p:spPr>
          <a:xfrm>
            <a:off x="708018" y="3781581"/>
            <a:ext cx="1171607" cy="684074"/>
          </a:xfrm>
          <a:prstGeom prst="round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47" name="Tekstfelt 46">
            <a:extLst>
              <a:ext uri="{FF2B5EF4-FFF2-40B4-BE49-F238E27FC236}">
                <a16:creationId xmlns:a16="http://schemas.microsoft.com/office/drawing/2014/main" id="{AD018AE6-C616-52E4-708F-4EA588AB111E}"/>
              </a:ext>
            </a:extLst>
          </p:cNvPr>
          <p:cNvSpPr txBox="1"/>
          <p:nvPr/>
        </p:nvSpPr>
        <p:spPr>
          <a:xfrm>
            <a:off x="770240" y="3834860"/>
            <a:ext cx="1057308" cy="553998"/>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3F1A2B"/>
                </a:solidFill>
                <a:effectLst/>
                <a:uLnTx/>
                <a:uFillTx/>
                <a:latin typeface="Franklin Gothic Book"/>
                <a:ea typeface="+mn-ea"/>
                <a:cs typeface="+mn-cs"/>
              </a:rPr>
              <a:t>Analyser og andre større projekter (BDK)</a:t>
            </a:r>
          </a:p>
        </p:txBody>
      </p:sp>
      <p:pic>
        <p:nvPicPr>
          <p:cNvPr id="48" name="Bruger" descr="Ikon Bruger&#10;">
            <a:extLst>
              <a:ext uri="{FF2B5EF4-FFF2-40B4-BE49-F238E27FC236}">
                <a16:creationId xmlns:a16="http://schemas.microsoft.com/office/drawing/2014/main" id="{9CEC26B6-D732-2032-8319-68435CE9DA6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93593" y="3892250"/>
            <a:ext cx="351000" cy="351000"/>
          </a:xfrm>
          <a:prstGeom prst="rect">
            <a:avLst/>
          </a:prstGeom>
        </p:spPr>
      </p:pic>
      <p:sp>
        <p:nvSpPr>
          <p:cNvPr id="49" name="Afrundet rektangel 78">
            <a:extLst>
              <a:ext uri="{FF2B5EF4-FFF2-40B4-BE49-F238E27FC236}">
                <a16:creationId xmlns:a16="http://schemas.microsoft.com/office/drawing/2014/main" id="{D2EFC57C-AB11-9C43-02AB-AFC03F05934E}"/>
              </a:ext>
            </a:extLst>
          </p:cNvPr>
          <p:cNvSpPr/>
          <p:nvPr/>
        </p:nvSpPr>
        <p:spPr>
          <a:xfrm>
            <a:off x="730233" y="2417326"/>
            <a:ext cx="1171607" cy="510795"/>
          </a:xfrm>
          <a:prstGeom prst="round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50" name="Tekstfelt 49">
            <a:extLst>
              <a:ext uri="{FF2B5EF4-FFF2-40B4-BE49-F238E27FC236}">
                <a16:creationId xmlns:a16="http://schemas.microsoft.com/office/drawing/2014/main" id="{0CEE1E4C-C1E1-AE7D-5CD9-505AC394CCC4}"/>
              </a:ext>
            </a:extLst>
          </p:cNvPr>
          <p:cNvSpPr txBox="1"/>
          <p:nvPr/>
        </p:nvSpPr>
        <p:spPr>
          <a:xfrm>
            <a:off x="1173290" y="2569758"/>
            <a:ext cx="285493" cy="18466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3F1A2B"/>
                </a:solidFill>
                <a:effectLst/>
                <a:uLnTx/>
                <a:uFillTx/>
                <a:latin typeface="Franklin Gothic Book"/>
                <a:ea typeface="+mn-ea"/>
                <a:cs typeface="+mn-cs"/>
              </a:rPr>
              <a:t>Stat</a:t>
            </a:r>
          </a:p>
        </p:txBody>
      </p:sp>
      <p:pic>
        <p:nvPicPr>
          <p:cNvPr id="51" name="Højhus" descr="Ikon Højhus&#10;">
            <a:extLst>
              <a:ext uri="{FF2B5EF4-FFF2-40B4-BE49-F238E27FC236}">
                <a16:creationId xmlns:a16="http://schemas.microsoft.com/office/drawing/2014/main" id="{A15EA4E2-E36F-A063-2C81-4CF86CD9A03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82881" y="2434384"/>
            <a:ext cx="351000" cy="351000"/>
          </a:xfrm>
          <a:prstGeom prst="rect">
            <a:avLst/>
          </a:prstGeom>
        </p:spPr>
      </p:pic>
      <p:sp>
        <p:nvSpPr>
          <p:cNvPr id="52" name="Afrundet rektangel 78">
            <a:extLst>
              <a:ext uri="{FF2B5EF4-FFF2-40B4-BE49-F238E27FC236}">
                <a16:creationId xmlns:a16="http://schemas.microsoft.com/office/drawing/2014/main" id="{9D655F7F-1E5E-8DFA-7317-10F5B91A5E44}"/>
              </a:ext>
            </a:extLst>
          </p:cNvPr>
          <p:cNvSpPr/>
          <p:nvPr/>
        </p:nvSpPr>
        <p:spPr>
          <a:xfrm>
            <a:off x="713091" y="876745"/>
            <a:ext cx="1171607" cy="510795"/>
          </a:xfrm>
          <a:prstGeom prst="round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53" name="Tekstfelt 52">
            <a:extLst>
              <a:ext uri="{FF2B5EF4-FFF2-40B4-BE49-F238E27FC236}">
                <a16:creationId xmlns:a16="http://schemas.microsoft.com/office/drawing/2014/main" id="{C2647938-2826-36CF-9A8E-0B4178BD6CC0}"/>
              </a:ext>
            </a:extLst>
          </p:cNvPr>
          <p:cNvSpPr txBox="1"/>
          <p:nvPr/>
        </p:nvSpPr>
        <p:spPr>
          <a:xfrm>
            <a:off x="847154" y="1021775"/>
            <a:ext cx="906236" cy="18466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3F1A2B"/>
                </a:solidFill>
                <a:effectLst/>
                <a:uLnTx/>
                <a:uFillTx/>
                <a:latin typeface="Franklin Gothic Book"/>
                <a:ea typeface="+mn-ea"/>
                <a:cs typeface="+mn-cs"/>
              </a:rPr>
              <a:t>Kommunerne</a:t>
            </a:r>
          </a:p>
        </p:txBody>
      </p:sp>
      <p:pic>
        <p:nvPicPr>
          <p:cNvPr id="54" name="Gruppe" descr="Ikon Gruppe">
            <a:extLst>
              <a:ext uri="{FF2B5EF4-FFF2-40B4-BE49-F238E27FC236}">
                <a16:creationId xmlns:a16="http://schemas.microsoft.com/office/drawing/2014/main" id="{1BE305C1-09EB-685F-9531-DFF93337EEA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93593" y="956642"/>
            <a:ext cx="351000" cy="351000"/>
          </a:xfrm>
          <a:prstGeom prst="rect">
            <a:avLst/>
          </a:prstGeom>
        </p:spPr>
      </p:pic>
      <p:cxnSp>
        <p:nvCxnSpPr>
          <p:cNvPr id="55" name="Lige pilforbindelse 54">
            <a:extLst>
              <a:ext uri="{FF2B5EF4-FFF2-40B4-BE49-F238E27FC236}">
                <a16:creationId xmlns:a16="http://schemas.microsoft.com/office/drawing/2014/main" id="{0F9EE3CD-9626-4B1A-DE80-8C493BC5C6E6}"/>
              </a:ext>
            </a:extLst>
          </p:cNvPr>
          <p:cNvCxnSpPr/>
          <p:nvPr/>
        </p:nvCxnSpPr>
        <p:spPr>
          <a:xfrm flipV="1">
            <a:off x="404099" y="3422982"/>
            <a:ext cx="8541678" cy="193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8" name="Rektangel 7">
            <a:extLst>
              <a:ext uri="{FF2B5EF4-FFF2-40B4-BE49-F238E27FC236}">
                <a16:creationId xmlns:a16="http://schemas.microsoft.com/office/drawing/2014/main" id="{3E50D303-742F-E658-4B54-71F7CC196F72}"/>
              </a:ext>
            </a:extLst>
          </p:cNvPr>
          <p:cNvSpPr/>
          <p:nvPr/>
        </p:nvSpPr>
        <p:spPr>
          <a:xfrm rot="19356995">
            <a:off x="2586451" y="3204720"/>
            <a:ext cx="4301242" cy="923330"/>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5400" b="0" i="0" u="none" strike="noStrike" kern="1200" cap="none" spc="0" normalizeH="0" baseline="0" noProof="0" dirty="0">
                <a:ln w="13462">
                  <a:solidFill>
                    <a:srgbClr val="FFFFFF"/>
                  </a:solidFill>
                  <a:prstDash val="solid"/>
                </a:ln>
                <a:solidFill>
                  <a:srgbClr val="000000">
                    <a:lumMod val="85000"/>
                    <a:lumOff val="15000"/>
                  </a:srgbClr>
                </a:solidFill>
                <a:effectLst>
                  <a:outerShdw dist="38100" dir="2700000" algn="bl" rotWithShape="0">
                    <a:srgbClr val="9F2D6B"/>
                  </a:outerShdw>
                </a:effectLst>
                <a:uLnTx/>
                <a:uFillTx/>
                <a:latin typeface="Franklin Gothic Book"/>
                <a:ea typeface="+mn-ea"/>
                <a:cs typeface="+mn-cs"/>
              </a:rPr>
              <a:t>Ikke godkendt</a:t>
            </a:r>
          </a:p>
        </p:txBody>
      </p:sp>
      <p:sp>
        <p:nvSpPr>
          <p:cNvPr id="10" name="Afrundet rektangel 78">
            <a:extLst>
              <a:ext uri="{FF2B5EF4-FFF2-40B4-BE49-F238E27FC236}">
                <a16:creationId xmlns:a16="http://schemas.microsoft.com/office/drawing/2014/main" id="{B4018366-EAE1-EFA2-045E-5937234150D5}"/>
              </a:ext>
            </a:extLst>
          </p:cNvPr>
          <p:cNvSpPr/>
          <p:nvPr/>
        </p:nvSpPr>
        <p:spPr>
          <a:xfrm>
            <a:off x="2010878" y="1626689"/>
            <a:ext cx="1185300" cy="760761"/>
          </a:xfrm>
          <a:prstGeom prst="roundRect">
            <a:avLst/>
          </a:prstGeom>
          <a:solidFill>
            <a:srgbClr val="EBF1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a-DK" sz="1200" dirty="0">
                <a:solidFill>
                  <a:schemeClr val="tx1"/>
                </a:solidFill>
                <a:latin typeface="Franklin Gothic Book"/>
              </a:rPr>
              <a:t>Kalender-aftaler fra STAR (Jobcenter)</a:t>
            </a:r>
            <a:endParaRPr kumimoji="0" lang="da-DK" sz="1200" b="0" i="0" u="none" strike="noStrike" kern="1200" cap="none" spc="0" normalizeH="0" baseline="0" noProof="0" dirty="0" err="1">
              <a:ln>
                <a:noFill/>
              </a:ln>
              <a:solidFill>
                <a:schemeClr val="tx1"/>
              </a:solidFill>
              <a:effectLst/>
              <a:uLnTx/>
              <a:uFillTx/>
              <a:latin typeface="Franklin Gothic Book"/>
              <a:ea typeface="+mn-ea"/>
              <a:cs typeface="+mn-cs"/>
            </a:endParaRPr>
          </a:p>
        </p:txBody>
      </p:sp>
      <p:sp>
        <p:nvSpPr>
          <p:cNvPr id="11" name="Afrundet rektangel 78">
            <a:extLst>
              <a:ext uri="{FF2B5EF4-FFF2-40B4-BE49-F238E27FC236}">
                <a16:creationId xmlns:a16="http://schemas.microsoft.com/office/drawing/2014/main" id="{884EECF6-12FE-0D78-B4A6-4D69A2456886}"/>
              </a:ext>
            </a:extLst>
          </p:cNvPr>
          <p:cNvSpPr/>
          <p:nvPr/>
        </p:nvSpPr>
        <p:spPr>
          <a:xfrm>
            <a:off x="7652460" y="1625048"/>
            <a:ext cx="1185300" cy="760761"/>
          </a:xfrm>
          <a:prstGeom prst="roundRect">
            <a:avLst/>
          </a:prstGeom>
          <a:solidFill>
            <a:srgbClr val="EBF1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schemeClr val="tx1"/>
                </a:solidFill>
                <a:effectLst/>
                <a:uLnTx/>
                <a:uFillTx/>
                <a:latin typeface="Franklin Gothic Book"/>
                <a:ea typeface="+mn-ea"/>
                <a:cs typeface="+mn-cs"/>
              </a:rPr>
              <a:t>Diverse tilpasninger i </a:t>
            </a:r>
            <a:r>
              <a:rPr kumimoji="0" lang="da-DK" sz="1200" b="0" i="0" u="none" strike="noStrike" kern="1200" cap="none" spc="0" normalizeH="0" baseline="0" noProof="0" dirty="0" err="1">
                <a:ln>
                  <a:noFill/>
                </a:ln>
                <a:solidFill>
                  <a:schemeClr val="tx1"/>
                </a:solidFill>
                <a:effectLst/>
                <a:uLnTx/>
                <a:uFillTx/>
                <a:latin typeface="Franklin Gothic Book"/>
                <a:ea typeface="+mn-ea"/>
                <a:cs typeface="+mn-cs"/>
              </a:rPr>
              <a:t>konfiguration-erne</a:t>
            </a:r>
            <a:endParaRPr kumimoji="0" lang="da-DK" sz="1200" b="0" i="0" u="none" strike="noStrike" kern="1200" cap="none" spc="0" normalizeH="0" baseline="0" noProof="0" dirty="0">
              <a:ln>
                <a:noFill/>
              </a:ln>
              <a:solidFill>
                <a:schemeClr val="tx1"/>
              </a:solidFill>
              <a:effectLst/>
              <a:uLnTx/>
              <a:uFillTx/>
              <a:latin typeface="Franklin Gothic Book"/>
              <a:ea typeface="+mn-ea"/>
              <a:cs typeface="+mn-cs"/>
            </a:endParaRPr>
          </a:p>
        </p:txBody>
      </p:sp>
    </p:spTree>
    <p:extLst>
      <p:ext uri="{BB962C8B-B14F-4D97-AF65-F5344CB8AC3E}">
        <p14:creationId xmlns:p14="http://schemas.microsoft.com/office/powerpoint/2010/main" val="95113476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61057D-9D3F-4F0F-2F3E-49FAE1F6900B}"/>
            </a:ext>
          </a:extLst>
        </p:cNvPr>
        <p:cNvGrpSpPr/>
        <p:nvPr/>
      </p:nvGrpSpPr>
      <p:grpSpPr>
        <a:xfrm>
          <a:off x="0" y="0"/>
          <a:ext cx="0" cy="0"/>
          <a:chOff x="0" y="0"/>
          <a:chExt cx="0" cy="0"/>
        </a:xfrm>
      </p:grpSpPr>
      <p:sp>
        <p:nvSpPr>
          <p:cNvPr id="44" name="Afrundet rektangel 78">
            <a:extLst>
              <a:ext uri="{FF2B5EF4-FFF2-40B4-BE49-F238E27FC236}">
                <a16:creationId xmlns:a16="http://schemas.microsoft.com/office/drawing/2014/main" id="{15889A73-E3F4-F0BC-271E-AFBFFB18E08C}"/>
              </a:ext>
            </a:extLst>
          </p:cNvPr>
          <p:cNvSpPr/>
          <p:nvPr/>
        </p:nvSpPr>
        <p:spPr>
          <a:xfrm>
            <a:off x="5116377" y="2581131"/>
            <a:ext cx="1590990" cy="769710"/>
          </a:xfrm>
          <a:prstGeom prst="roundRect">
            <a:avLst/>
          </a:prstGeom>
          <a:solidFill>
            <a:schemeClr val="bg2">
              <a:lumMod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43" name="Afrundet rektangel 78">
            <a:extLst>
              <a:ext uri="{FF2B5EF4-FFF2-40B4-BE49-F238E27FC236}">
                <a16:creationId xmlns:a16="http://schemas.microsoft.com/office/drawing/2014/main" id="{A3C482F6-376F-1DAD-8191-8EC3C633C59F}"/>
              </a:ext>
            </a:extLst>
          </p:cNvPr>
          <p:cNvSpPr/>
          <p:nvPr/>
        </p:nvSpPr>
        <p:spPr>
          <a:xfrm>
            <a:off x="5116377" y="1806113"/>
            <a:ext cx="1590990" cy="674081"/>
          </a:xfrm>
          <a:prstGeom prst="roundRect">
            <a:avLst/>
          </a:prstGeom>
          <a:solidFill>
            <a:schemeClr val="bg2">
              <a:lumMod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42" name="Afrundet rektangel 78">
            <a:extLst>
              <a:ext uri="{FF2B5EF4-FFF2-40B4-BE49-F238E27FC236}">
                <a16:creationId xmlns:a16="http://schemas.microsoft.com/office/drawing/2014/main" id="{2F3A4D83-FC38-888D-A3E6-7DD8C1AD659D}"/>
              </a:ext>
            </a:extLst>
          </p:cNvPr>
          <p:cNvSpPr/>
          <p:nvPr/>
        </p:nvSpPr>
        <p:spPr>
          <a:xfrm>
            <a:off x="3431638" y="2581132"/>
            <a:ext cx="1481666" cy="674081"/>
          </a:xfrm>
          <a:prstGeom prst="roundRect">
            <a:avLst/>
          </a:prstGeom>
          <a:solidFill>
            <a:schemeClr val="bg2">
              <a:lumMod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41" name="Afrundet rektangel 78">
            <a:extLst>
              <a:ext uri="{FF2B5EF4-FFF2-40B4-BE49-F238E27FC236}">
                <a16:creationId xmlns:a16="http://schemas.microsoft.com/office/drawing/2014/main" id="{57C55E41-BB1A-9595-A3E2-67C6A4900D5A}"/>
              </a:ext>
            </a:extLst>
          </p:cNvPr>
          <p:cNvSpPr/>
          <p:nvPr/>
        </p:nvSpPr>
        <p:spPr>
          <a:xfrm>
            <a:off x="3431638" y="1803169"/>
            <a:ext cx="1481666" cy="674081"/>
          </a:xfrm>
          <a:prstGeom prst="roundRect">
            <a:avLst/>
          </a:prstGeom>
          <a:solidFill>
            <a:schemeClr val="bg2">
              <a:lumMod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3" name="Titel 2">
            <a:extLst>
              <a:ext uri="{FF2B5EF4-FFF2-40B4-BE49-F238E27FC236}">
                <a16:creationId xmlns:a16="http://schemas.microsoft.com/office/drawing/2014/main" id="{360C6680-2520-7477-149F-DB50C7F4ECD8}"/>
              </a:ext>
            </a:extLst>
          </p:cNvPr>
          <p:cNvSpPr>
            <a:spLocks noGrp="1"/>
          </p:cNvSpPr>
          <p:nvPr>
            <p:ph type="title"/>
          </p:nvPr>
        </p:nvSpPr>
        <p:spPr>
          <a:xfrm>
            <a:off x="404099" y="256672"/>
            <a:ext cx="3607034" cy="621000"/>
          </a:xfrm>
        </p:spPr>
        <p:txBody>
          <a:bodyPr/>
          <a:lstStyle/>
          <a:p>
            <a:r>
              <a:rPr lang="da-DK" dirty="0"/>
              <a:t>Udviklingsprojekter 2026</a:t>
            </a:r>
          </a:p>
        </p:txBody>
      </p:sp>
      <p:sp>
        <p:nvSpPr>
          <p:cNvPr id="5" name="Pladsholder til dato 4">
            <a:extLst>
              <a:ext uri="{FF2B5EF4-FFF2-40B4-BE49-F238E27FC236}">
                <a16:creationId xmlns:a16="http://schemas.microsoft.com/office/drawing/2014/main" id="{17EF2B39-5B16-519F-ABE4-C0EFCF1F0E51}"/>
              </a:ext>
            </a:extLst>
          </p:cNvPr>
          <p:cNvSpPr>
            <a:spLocks noGrp="1"/>
          </p:cNvSpPr>
          <p:nvPr>
            <p:ph type="dt" sz="half"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41969349-67F1-41F8-83EC-133BBA9F9E3B}" type="datetime2">
              <a:rPr kumimoji="0" lang="da-DK" sz="600" b="0" i="0" u="none" strike="noStrike" kern="1200" cap="none" spc="0" normalizeH="0" baseline="0" noProof="0">
                <a:ln>
                  <a:noFill/>
                </a:ln>
                <a:solidFill>
                  <a:srgbClr val="3F1A2B"/>
                </a:solidFill>
                <a:effectLst/>
                <a:uLnTx/>
                <a:uFillTx/>
                <a:latin typeface="Franklin Gothic Book"/>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1. december 2025</a:t>
            </a:fld>
            <a:endParaRPr kumimoji="0" lang="da-DK" sz="600" b="0" i="0" u="none" strike="noStrike" kern="1200" cap="none" spc="0" normalizeH="0" baseline="0" noProof="0" dirty="0">
              <a:ln>
                <a:noFill/>
              </a:ln>
              <a:solidFill>
                <a:srgbClr val="3F1A2B"/>
              </a:solidFill>
              <a:effectLst/>
              <a:uLnTx/>
              <a:uFillTx/>
              <a:latin typeface="Franklin Gothic Book"/>
              <a:ea typeface="+mn-ea"/>
              <a:cs typeface="+mn-cs"/>
            </a:endParaRPr>
          </a:p>
        </p:txBody>
      </p:sp>
      <p:sp>
        <p:nvSpPr>
          <p:cNvPr id="6" name="Pladsholder til sidefod 5">
            <a:extLst>
              <a:ext uri="{FF2B5EF4-FFF2-40B4-BE49-F238E27FC236}">
                <a16:creationId xmlns:a16="http://schemas.microsoft.com/office/drawing/2014/main" id="{744BE983-8870-D557-2976-1D29D57DAFF6}"/>
              </a:ext>
            </a:extLst>
          </p:cNvPr>
          <p:cNvSpPr>
            <a:spLocks noGrp="1"/>
          </p:cNvSpPr>
          <p:nvPr>
            <p:ph type="ftr" sz="quarter" idx="11"/>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dirty="0">
                <a:ln>
                  <a:noFill/>
                </a:ln>
                <a:solidFill>
                  <a:srgbClr val="3F1A2B"/>
                </a:solidFill>
                <a:effectLst/>
                <a:uLnTx/>
                <a:uFillTx/>
                <a:latin typeface="Franklin Gothic Book"/>
                <a:ea typeface="+mn-ea"/>
                <a:cs typeface="+mn-cs"/>
              </a:rPr>
              <a:t>Digitaliseringsstyrelsen</a:t>
            </a:r>
          </a:p>
        </p:txBody>
      </p:sp>
      <p:sp>
        <p:nvSpPr>
          <p:cNvPr id="7" name="Pladsholder til slidenummer 6">
            <a:extLst>
              <a:ext uri="{FF2B5EF4-FFF2-40B4-BE49-F238E27FC236}">
                <a16:creationId xmlns:a16="http://schemas.microsoft.com/office/drawing/2014/main" id="{A9303617-4C4D-ACA1-17E9-1AC7373C0C9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600" b="0" i="0" u="none" strike="noStrike" kern="1200" cap="none" spc="0" normalizeH="0" baseline="0" noProof="0">
                <a:ln>
                  <a:noFill/>
                </a:ln>
                <a:solidFill>
                  <a:srgbClr val="3F1A2B"/>
                </a:solidFill>
                <a:effectLst/>
                <a:uLnTx/>
                <a:uFillTx/>
                <a:latin typeface="Franklin Gothic Book"/>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79</a:t>
            </a:fld>
            <a:endParaRPr kumimoji="0" lang="da-DK" sz="600" b="0" i="0" u="none" strike="noStrike" kern="1200" cap="none" spc="0" normalizeH="0" baseline="0" noProof="0" dirty="0">
              <a:ln>
                <a:noFill/>
              </a:ln>
              <a:solidFill>
                <a:srgbClr val="3F1A2B"/>
              </a:solidFill>
              <a:effectLst/>
              <a:uLnTx/>
              <a:uFillTx/>
              <a:latin typeface="Franklin Gothic Book"/>
              <a:ea typeface="+mn-ea"/>
              <a:cs typeface="+mn-cs"/>
            </a:endParaRPr>
          </a:p>
        </p:txBody>
      </p:sp>
      <p:sp>
        <p:nvSpPr>
          <p:cNvPr id="11" name="Afrundet rektangel 78">
            <a:extLst>
              <a:ext uri="{FF2B5EF4-FFF2-40B4-BE49-F238E27FC236}">
                <a16:creationId xmlns:a16="http://schemas.microsoft.com/office/drawing/2014/main" id="{52D3BC8B-AF76-3C44-ECF0-BCCAD9E47AFE}"/>
              </a:ext>
            </a:extLst>
          </p:cNvPr>
          <p:cNvSpPr/>
          <p:nvPr/>
        </p:nvSpPr>
        <p:spPr>
          <a:xfrm>
            <a:off x="708018" y="3781581"/>
            <a:ext cx="1171607" cy="684074"/>
          </a:xfrm>
          <a:prstGeom prst="round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14" name="Tekstfelt 13">
            <a:extLst>
              <a:ext uri="{FF2B5EF4-FFF2-40B4-BE49-F238E27FC236}">
                <a16:creationId xmlns:a16="http://schemas.microsoft.com/office/drawing/2014/main" id="{24AB1515-865C-096F-F18E-03ED8D08CFED}"/>
              </a:ext>
            </a:extLst>
          </p:cNvPr>
          <p:cNvSpPr txBox="1"/>
          <p:nvPr/>
        </p:nvSpPr>
        <p:spPr>
          <a:xfrm>
            <a:off x="770240" y="3834860"/>
            <a:ext cx="1057308" cy="553998"/>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3F1A2B"/>
                </a:solidFill>
                <a:effectLst/>
                <a:uLnTx/>
                <a:uFillTx/>
                <a:latin typeface="Franklin Gothic Book"/>
                <a:ea typeface="+mn-ea"/>
                <a:cs typeface="+mn-cs"/>
              </a:rPr>
              <a:t>Analyser og andre større projekter (BDK)</a:t>
            </a:r>
          </a:p>
        </p:txBody>
      </p:sp>
      <p:sp>
        <p:nvSpPr>
          <p:cNvPr id="26" name="Afrundet rektangel 78">
            <a:extLst>
              <a:ext uri="{FF2B5EF4-FFF2-40B4-BE49-F238E27FC236}">
                <a16:creationId xmlns:a16="http://schemas.microsoft.com/office/drawing/2014/main" id="{6BD3573E-E884-1350-D5FB-4A59B89998B9}"/>
              </a:ext>
            </a:extLst>
          </p:cNvPr>
          <p:cNvSpPr/>
          <p:nvPr/>
        </p:nvSpPr>
        <p:spPr>
          <a:xfrm>
            <a:off x="2025715" y="782264"/>
            <a:ext cx="1283549" cy="760761"/>
          </a:xfrm>
          <a:prstGeom prst="roundRect">
            <a:avLst/>
          </a:prstGeom>
          <a:solidFill>
            <a:srgbClr val="EBF1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19" name="Tekstfelt 18">
            <a:extLst>
              <a:ext uri="{FF2B5EF4-FFF2-40B4-BE49-F238E27FC236}">
                <a16:creationId xmlns:a16="http://schemas.microsoft.com/office/drawing/2014/main" id="{83FAA569-08BE-0575-562D-B23BBA6C7AB2}"/>
              </a:ext>
            </a:extLst>
          </p:cNvPr>
          <p:cNvSpPr txBox="1"/>
          <p:nvPr/>
        </p:nvSpPr>
        <p:spPr>
          <a:xfrm>
            <a:off x="2104102" y="920208"/>
            <a:ext cx="1204611" cy="48474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Aktivitetsindeks for kommunale aftaler og frister 2026-2027</a:t>
            </a:r>
          </a:p>
        </p:txBody>
      </p:sp>
      <p:sp>
        <p:nvSpPr>
          <p:cNvPr id="27" name="Afrundet rektangel 78">
            <a:extLst>
              <a:ext uri="{FF2B5EF4-FFF2-40B4-BE49-F238E27FC236}">
                <a16:creationId xmlns:a16="http://schemas.microsoft.com/office/drawing/2014/main" id="{FFE7B3CE-202C-9412-29DC-11F312489276}"/>
              </a:ext>
            </a:extLst>
          </p:cNvPr>
          <p:cNvSpPr/>
          <p:nvPr/>
        </p:nvSpPr>
        <p:spPr>
          <a:xfrm>
            <a:off x="2025714" y="1645420"/>
            <a:ext cx="1327944" cy="873005"/>
          </a:xfrm>
          <a:prstGeom prst="roundRect">
            <a:avLst/>
          </a:prstGeom>
          <a:solidFill>
            <a:schemeClr val="bg2">
              <a:lumMod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2" name="Tekstfelt 1">
            <a:extLst>
              <a:ext uri="{FF2B5EF4-FFF2-40B4-BE49-F238E27FC236}">
                <a16:creationId xmlns:a16="http://schemas.microsoft.com/office/drawing/2014/main" id="{7C163F71-9D00-A4A2-D022-4378E5F5781B}"/>
              </a:ext>
            </a:extLst>
          </p:cNvPr>
          <p:cNvSpPr txBox="1"/>
          <p:nvPr/>
        </p:nvSpPr>
        <p:spPr>
          <a:xfrm>
            <a:off x="2171798" y="1696221"/>
            <a:ext cx="1184958" cy="969496"/>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Familieretshuse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Sager → adoptioner, ægteskaber + internationale ægteskaber</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 </a:t>
            </a:r>
          </a:p>
        </p:txBody>
      </p:sp>
      <p:sp>
        <p:nvSpPr>
          <p:cNvPr id="4" name="Tekstfelt 3">
            <a:extLst>
              <a:ext uri="{FF2B5EF4-FFF2-40B4-BE49-F238E27FC236}">
                <a16:creationId xmlns:a16="http://schemas.microsoft.com/office/drawing/2014/main" id="{91AC9FBC-F576-BAA1-BD3B-0DB04F28B630}"/>
              </a:ext>
            </a:extLst>
          </p:cNvPr>
          <p:cNvSpPr txBox="1"/>
          <p:nvPr/>
        </p:nvSpPr>
        <p:spPr>
          <a:xfrm>
            <a:off x="3518681" y="1890426"/>
            <a:ext cx="1372149" cy="48474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Sundhedsdatastyrelsen</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Aftaler og frister + børn + fuldmagt </a:t>
            </a:r>
          </a:p>
        </p:txBody>
      </p:sp>
      <p:grpSp>
        <p:nvGrpSpPr>
          <p:cNvPr id="63" name="Gruppe 62">
            <a:extLst>
              <a:ext uri="{FF2B5EF4-FFF2-40B4-BE49-F238E27FC236}">
                <a16:creationId xmlns:a16="http://schemas.microsoft.com/office/drawing/2014/main" id="{A7523B01-6C98-4E49-DAAF-D60D5CCC6370}"/>
              </a:ext>
            </a:extLst>
          </p:cNvPr>
          <p:cNvGrpSpPr/>
          <p:nvPr/>
        </p:nvGrpSpPr>
        <p:grpSpPr>
          <a:xfrm>
            <a:off x="2025714" y="3520018"/>
            <a:ext cx="1218431" cy="761400"/>
            <a:chOff x="2779592" y="4722675"/>
            <a:chExt cx="1624574" cy="1015200"/>
          </a:xfrm>
        </p:grpSpPr>
        <p:sp>
          <p:nvSpPr>
            <p:cNvPr id="30" name="Afrundet rektangel 78">
              <a:extLst>
                <a:ext uri="{FF2B5EF4-FFF2-40B4-BE49-F238E27FC236}">
                  <a16:creationId xmlns:a16="http://schemas.microsoft.com/office/drawing/2014/main" id="{F96DF283-D081-694F-CE51-CDB5FD113980}"/>
                </a:ext>
              </a:extLst>
            </p:cNvPr>
            <p:cNvSpPr/>
            <p:nvPr/>
          </p:nvSpPr>
          <p:spPr>
            <a:xfrm>
              <a:off x="2779592" y="4722675"/>
              <a:ext cx="1624574" cy="1015200"/>
            </a:xfrm>
            <a:prstGeom prst="roundRect">
              <a:avLst/>
            </a:prstGeom>
            <a:solidFill>
              <a:srgbClr val="DDECD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15" name="Tekstfelt 14">
              <a:extLst>
                <a:ext uri="{FF2B5EF4-FFF2-40B4-BE49-F238E27FC236}">
                  <a16:creationId xmlns:a16="http://schemas.microsoft.com/office/drawing/2014/main" id="{AB540748-DFC5-4AD7-4EE6-BB2E41FD1FC4}"/>
                </a:ext>
              </a:extLst>
            </p:cNvPr>
            <p:cNvSpPr txBox="1"/>
            <p:nvPr/>
          </p:nvSpPr>
          <p:spPr>
            <a:xfrm>
              <a:off x="3076812" y="4909923"/>
              <a:ext cx="1136629" cy="646331"/>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Åben startside til Mit Overblik uden login</a:t>
              </a:r>
            </a:p>
          </p:txBody>
        </p:sp>
      </p:grpSp>
      <p:sp>
        <p:nvSpPr>
          <p:cNvPr id="9" name="Tekstfelt 8">
            <a:extLst>
              <a:ext uri="{FF2B5EF4-FFF2-40B4-BE49-F238E27FC236}">
                <a16:creationId xmlns:a16="http://schemas.microsoft.com/office/drawing/2014/main" id="{08D0CE62-E45B-18CA-D9AC-696E4B7D36BE}"/>
              </a:ext>
            </a:extLst>
          </p:cNvPr>
          <p:cNvSpPr txBox="1"/>
          <p:nvPr/>
        </p:nvSpPr>
        <p:spPr>
          <a:xfrm>
            <a:off x="3523175" y="2731024"/>
            <a:ext cx="1372149" cy="323165"/>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Sundhedsdatastyrelsen</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Organdonation</a:t>
            </a:r>
          </a:p>
        </p:txBody>
      </p:sp>
      <p:sp>
        <p:nvSpPr>
          <p:cNvPr id="34" name="Tekstfelt 33">
            <a:extLst>
              <a:ext uri="{FF2B5EF4-FFF2-40B4-BE49-F238E27FC236}">
                <a16:creationId xmlns:a16="http://schemas.microsoft.com/office/drawing/2014/main" id="{238654F6-7D78-7EAD-A2FC-DD1FBD8AAF64}"/>
              </a:ext>
            </a:extLst>
          </p:cNvPr>
          <p:cNvSpPr txBox="1"/>
          <p:nvPr/>
        </p:nvSpPr>
        <p:spPr>
          <a:xfrm>
            <a:off x="5189553" y="2624746"/>
            <a:ext cx="1526529" cy="646331"/>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Færdselsstyrelsen</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Synsfrister + Kørekor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Sager + (booking) aftaler + evt. beviser,  2026-2027</a:t>
            </a:r>
          </a:p>
        </p:txBody>
      </p:sp>
      <p:sp>
        <p:nvSpPr>
          <p:cNvPr id="35" name="Tekstfelt 34">
            <a:extLst>
              <a:ext uri="{FF2B5EF4-FFF2-40B4-BE49-F238E27FC236}">
                <a16:creationId xmlns:a16="http://schemas.microsoft.com/office/drawing/2014/main" id="{DE8DDD5E-D266-E890-909D-185D843C5D72}"/>
              </a:ext>
            </a:extLst>
          </p:cNvPr>
          <p:cNvSpPr txBox="1"/>
          <p:nvPr/>
        </p:nvSpPr>
        <p:spPr>
          <a:xfrm>
            <a:off x="5266706" y="1874799"/>
            <a:ext cx="1372149" cy="48474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Personelkommandoen</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Aftaler og frister kobles på igen</a:t>
            </a:r>
          </a:p>
        </p:txBody>
      </p:sp>
      <p:grpSp>
        <p:nvGrpSpPr>
          <p:cNvPr id="65" name="Gruppe 64">
            <a:extLst>
              <a:ext uri="{FF2B5EF4-FFF2-40B4-BE49-F238E27FC236}">
                <a16:creationId xmlns:a16="http://schemas.microsoft.com/office/drawing/2014/main" id="{78C3E1B7-A224-66B4-2599-04334A5B2426}"/>
              </a:ext>
            </a:extLst>
          </p:cNvPr>
          <p:cNvGrpSpPr/>
          <p:nvPr/>
        </p:nvGrpSpPr>
        <p:grpSpPr>
          <a:xfrm>
            <a:off x="4841666" y="3520018"/>
            <a:ext cx="1321103" cy="760761"/>
            <a:chOff x="6455555" y="4693357"/>
            <a:chExt cx="1761470" cy="1014348"/>
          </a:xfrm>
        </p:grpSpPr>
        <p:sp>
          <p:nvSpPr>
            <p:cNvPr id="32" name="Afrundet rektangel 78">
              <a:extLst>
                <a:ext uri="{FF2B5EF4-FFF2-40B4-BE49-F238E27FC236}">
                  <a16:creationId xmlns:a16="http://schemas.microsoft.com/office/drawing/2014/main" id="{D87221F4-B4D2-A4B9-D407-714D6A55911F}"/>
                </a:ext>
              </a:extLst>
            </p:cNvPr>
            <p:cNvSpPr/>
            <p:nvPr/>
          </p:nvSpPr>
          <p:spPr>
            <a:xfrm>
              <a:off x="6455555" y="4693357"/>
              <a:ext cx="1761470" cy="1014348"/>
            </a:xfrm>
            <a:prstGeom prst="roundRect">
              <a:avLst/>
            </a:prstGeom>
            <a:pattFill prst="wdDnDiag">
              <a:fgClr>
                <a:srgbClr val="DDECD4"/>
              </a:fgClr>
              <a:bgClr>
                <a:srgbClr val="F5F1E6"/>
              </a:bgClr>
            </a:patt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37" name="Tekstfelt 36">
              <a:extLst>
                <a:ext uri="{FF2B5EF4-FFF2-40B4-BE49-F238E27FC236}">
                  <a16:creationId xmlns:a16="http://schemas.microsoft.com/office/drawing/2014/main" id="{AC054574-51CB-39C6-ACBC-8EBA0621520A}"/>
                </a:ext>
              </a:extLst>
            </p:cNvPr>
            <p:cNvSpPr txBox="1"/>
            <p:nvPr/>
          </p:nvSpPr>
          <p:spPr>
            <a:xfrm>
              <a:off x="6610443" y="4769644"/>
              <a:ext cx="1557394" cy="861775"/>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Samtykke</a:t>
              </a: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Visning af borgerens samtykker fra samtykkeløsning</a:t>
              </a:r>
            </a:p>
          </p:txBody>
        </p:sp>
      </p:grpSp>
      <p:grpSp>
        <p:nvGrpSpPr>
          <p:cNvPr id="66" name="Gruppe 65">
            <a:extLst>
              <a:ext uri="{FF2B5EF4-FFF2-40B4-BE49-F238E27FC236}">
                <a16:creationId xmlns:a16="http://schemas.microsoft.com/office/drawing/2014/main" id="{A4B41165-3E0E-9C85-21FC-A942B460ACEB}"/>
              </a:ext>
            </a:extLst>
          </p:cNvPr>
          <p:cNvGrpSpPr/>
          <p:nvPr/>
        </p:nvGrpSpPr>
        <p:grpSpPr>
          <a:xfrm>
            <a:off x="6245428" y="3520018"/>
            <a:ext cx="1423490" cy="760761"/>
            <a:chOff x="8327238" y="4700965"/>
            <a:chExt cx="1897986" cy="1014348"/>
          </a:xfrm>
        </p:grpSpPr>
        <p:sp>
          <p:nvSpPr>
            <p:cNvPr id="33" name="Afrundet rektangel 78">
              <a:extLst>
                <a:ext uri="{FF2B5EF4-FFF2-40B4-BE49-F238E27FC236}">
                  <a16:creationId xmlns:a16="http://schemas.microsoft.com/office/drawing/2014/main" id="{13C9A830-FDCF-B86C-1857-9B7C0971DCA1}"/>
                </a:ext>
              </a:extLst>
            </p:cNvPr>
            <p:cNvSpPr/>
            <p:nvPr/>
          </p:nvSpPr>
          <p:spPr>
            <a:xfrm>
              <a:off x="8327238" y="4700965"/>
              <a:ext cx="1897986" cy="1014348"/>
            </a:xfrm>
            <a:prstGeom prst="roundRect">
              <a:avLst/>
            </a:prstGeom>
            <a:pattFill prst="wdDnDiag">
              <a:fgClr>
                <a:srgbClr val="DDECD4"/>
              </a:fgClr>
              <a:bgClr>
                <a:srgbClr val="F5F1E6"/>
              </a:bgClr>
            </a:patt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38" name="Tekstfelt 37">
              <a:extLst>
                <a:ext uri="{FF2B5EF4-FFF2-40B4-BE49-F238E27FC236}">
                  <a16:creationId xmlns:a16="http://schemas.microsoft.com/office/drawing/2014/main" id="{3C4E0330-A608-188D-47CC-06C40BA3B1C2}"/>
                </a:ext>
              </a:extLst>
            </p:cNvPr>
            <p:cNvSpPr txBox="1"/>
            <p:nvPr/>
          </p:nvSpPr>
          <p:spPr>
            <a:xfrm>
              <a:off x="8563767" y="4783186"/>
              <a:ext cx="1256888" cy="861775"/>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Overblik over fuldmagter</a:t>
              </a:r>
            </a:p>
            <a:p>
              <a:pPr marL="214313" marR="0" lvl="0" indent="-214313" algn="l" defTabSz="685800" rtl="0" eaLnBrk="1" fontAlgn="auto" latinLnBrk="0" hangingPunct="1">
                <a:lnSpc>
                  <a:spcPct val="100000"/>
                </a:lnSpc>
                <a:spcBef>
                  <a:spcPts val="0"/>
                </a:spcBef>
                <a:spcAft>
                  <a:spcPts val="0"/>
                </a:spcAft>
                <a:buClrTx/>
                <a:buSzTx/>
                <a:buFontTx/>
                <a:buChar char="-"/>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Afgive</a:t>
              </a:r>
            </a:p>
            <a:p>
              <a:pPr marL="214313" marR="0" lvl="0" indent="-214313" algn="l" defTabSz="685800" rtl="0" eaLnBrk="1" fontAlgn="auto" latinLnBrk="0" hangingPunct="1">
                <a:lnSpc>
                  <a:spcPct val="100000"/>
                </a:lnSpc>
                <a:spcBef>
                  <a:spcPts val="0"/>
                </a:spcBef>
                <a:spcAft>
                  <a:spcPts val="0"/>
                </a:spcAft>
                <a:buClrTx/>
                <a:buSzTx/>
                <a:buFontTx/>
                <a:buChar char="-"/>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Modtaget</a:t>
              </a:r>
            </a:p>
          </p:txBody>
        </p:sp>
      </p:grpSp>
      <p:sp>
        <p:nvSpPr>
          <p:cNvPr id="45" name="Afrundet rektangel 78">
            <a:extLst>
              <a:ext uri="{FF2B5EF4-FFF2-40B4-BE49-F238E27FC236}">
                <a16:creationId xmlns:a16="http://schemas.microsoft.com/office/drawing/2014/main" id="{FB1AFF5B-937A-BE7C-04AB-1C23733DF5C4}"/>
              </a:ext>
            </a:extLst>
          </p:cNvPr>
          <p:cNvSpPr/>
          <p:nvPr/>
        </p:nvSpPr>
        <p:spPr>
          <a:xfrm>
            <a:off x="6829882" y="1800923"/>
            <a:ext cx="1481666" cy="674081"/>
          </a:xfrm>
          <a:prstGeom prst="roundRect">
            <a:avLst/>
          </a:prstGeom>
          <a:solidFill>
            <a:schemeClr val="bg2">
              <a:lumMod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40" name="Tekstfelt 39">
            <a:extLst>
              <a:ext uri="{FF2B5EF4-FFF2-40B4-BE49-F238E27FC236}">
                <a16:creationId xmlns:a16="http://schemas.microsoft.com/office/drawing/2014/main" id="{2357FA3F-20F8-59FD-E8CC-ED3B51A42E7C}"/>
              </a:ext>
            </a:extLst>
          </p:cNvPr>
          <p:cNvSpPr txBox="1"/>
          <p:nvPr/>
        </p:nvSpPr>
        <p:spPr>
          <a:xfrm>
            <a:off x="6980153" y="1887710"/>
            <a:ext cx="1372149" cy="48474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Familieretshuse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Aftaler og frister</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2026-2027</a:t>
            </a:r>
          </a:p>
        </p:txBody>
      </p:sp>
      <p:sp>
        <p:nvSpPr>
          <p:cNvPr id="46" name="Afrundet rektangel 78">
            <a:extLst>
              <a:ext uri="{FF2B5EF4-FFF2-40B4-BE49-F238E27FC236}">
                <a16:creationId xmlns:a16="http://schemas.microsoft.com/office/drawing/2014/main" id="{A392C812-CD8E-3F0A-599A-6DF19CB74297}"/>
              </a:ext>
            </a:extLst>
          </p:cNvPr>
          <p:cNvSpPr/>
          <p:nvPr/>
        </p:nvSpPr>
        <p:spPr>
          <a:xfrm>
            <a:off x="6829882" y="2578509"/>
            <a:ext cx="1481666" cy="760761"/>
          </a:xfrm>
          <a:prstGeom prst="roundRect">
            <a:avLst/>
          </a:prstGeom>
          <a:solidFill>
            <a:schemeClr val="bg2">
              <a:lumMod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39" name="Tekstfelt 38">
            <a:extLst>
              <a:ext uri="{FF2B5EF4-FFF2-40B4-BE49-F238E27FC236}">
                <a16:creationId xmlns:a16="http://schemas.microsoft.com/office/drawing/2014/main" id="{E680746B-91C4-E65A-B9DA-F69B346CE753}"/>
              </a:ext>
            </a:extLst>
          </p:cNvPr>
          <p:cNvSpPr txBox="1"/>
          <p:nvPr/>
        </p:nvSpPr>
        <p:spPr>
          <a:xfrm>
            <a:off x="6980153" y="2638287"/>
            <a:ext cx="1331394" cy="646331"/>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Familieretshuse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Sager → Resterende sagstyper</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2026-2027</a:t>
            </a:r>
          </a:p>
        </p:txBody>
      </p:sp>
      <p:cxnSp>
        <p:nvCxnSpPr>
          <p:cNvPr id="47" name="Lige pilforbindelse 46">
            <a:extLst>
              <a:ext uri="{FF2B5EF4-FFF2-40B4-BE49-F238E27FC236}">
                <a16:creationId xmlns:a16="http://schemas.microsoft.com/office/drawing/2014/main" id="{F0CA8F8A-35C6-E248-8100-6A08C41DCF5E}"/>
              </a:ext>
            </a:extLst>
          </p:cNvPr>
          <p:cNvCxnSpPr/>
          <p:nvPr/>
        </p:nvCxnSpPr>
        <p:spPr>
          <a:xfrm flipV="1">
            <a:off x="404099" y="3422982"/>
            <a:ext cx="8541678" cy="193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48" name="Bruger" descr="Ikon Bruger&#10;">
            <a:extLst>
              <a:ext uri="{FF2B5EF4-FFF2-40B4-BE49-F238E27FC236}">
                <a16:creationId xmlns:a16="http://schemas.microsoft.com/office/drawing/2014/main" id="{DF230698-06C8-9091-1529-40732B3DA0E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93593" y="3892250"/>
            <a:ext cx="351000" cy="351000"/>
          </a:xfrm>
          <a:prstGeom prst="rect">
            <a:avLst/>
          </a:prstGeom>
        </p:spPr>
      </p:pic>
      <p:sp>
        <p:nvSpPr>
          <p:cNvPr id="18" name="Afrundet rektangel 78">
            <a:extLst>
              <a:ext uri="{FF2B5EF4-FFF2-40B4-BE49-F238E27FC236}">
                <a16:creationId xmlns:a16="http://schemas.microsoft.com/office/drawing/2014/main" id="{07C75A2F-DD6C-5821-A376-E93564F51115}"/>
              </a:ext>
            </a:extLst>
          </p:cNvPr>
          <p:cNvSpPr/>
          <p:nvPr/>
        </p:nvSpPr>
        <p:spPr>
          <a:xfrm>
            <a:off x="3431638" y="790818"/>
            <a:ext cx="1092860" cy="760761"/>
          </a:xfrm>
          <a:prstGeom prst="roundRect">
            <a:avLst/>
          </a:prstGeom>
          <a:solidFill>
            <a:srgbClr val="EBF1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20" name="Tekstfelt 19">
            <a:extLst>
              <a:ext uri="{FF2B5EF4-FFF2-40B4-BE49-F238E27FC236}">
                <a16:creationId xmlns:a16="http://schemas.microsoft.com/office/drawing/2014/main" id="{D604CDB5-1396-5779-7DBA-0FF4EFFDB684}"/>
              </a:ext>
            </a:extLst>
          </p:cNvPr>
          <p:cNvSpPr txBox="1"/>
          <p:nvPr/>
        </p:nvSpPr>
        <p:spPr>
          <a:xfrm>
            <a:off x="3623392" y="935191"/>
            <a:ext cx="819068" cy="48474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Udstilling af data om børn til forældre</a:t>
            </a:r>
          </a:p>
        </p:txBody>
      </p:sp>
      <p:sp>
        <p:nvSpPr>
          <p:cNvPr id="21" name="Afrundet rektangel 78">
            <a:extLst>
              <a:ext uri="{FF2B5EF4-FFF2-40B4-BE49-F238E27FC236}">
                <a16:creationId xmlns:a16="http://schemas.microsoft.com/office/drawing/2014/main" id="{4B20D35C-06D3-9A94-7E18-66B8268416FB}"/>
              </a:ext>
            </a:extLst>
          </p:cNvPr>
          <p:cNvSpPr/>
          <p:nvPr/>
        </p:nvSpPr>
        <p:spPr>
          <a:xfrm>
            <a:off x="4609761" y="790818"/>
            <a:ext cx="1505456" cy="760761"/>
          </a:xfrm>
          <a:prstGeom prst="roundRect">
            <a:avLst/>
          </a:prstGeom>
          <a:solidFill>
            <a:srgbClr val="EBF1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22" name="Tekstfelt 21">
            <a:extLst>
              <a:ext uri="{FF2B5EF4-FFF2-40B4-BE49-F238E27FC236}">
                <a16:creationId xmlns:a16="http://schemas.microsoft.com/office/drawing/2014/main" id="{DE1E9EAC-D65F-5F50-F1FE-8D8881E1C422}"/>
              </a:ext>
            </a:extLst>
          </p:cNvPr>
          <p:cNvSpPr txBox="1"/>
          <p:nvPr/>
        </p:nvSpPr>
        <p:spPr>
          <a:xfrm>
            <a:off x="4792147" y="888678"/>
            <a:ext cx="1345458" cy="48474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Udstilling af flere borgervendte sager – 2025-2026</a:t>
            </a:r>
          </a:p>
        </p:txBody>
      </p:sp>
      <p:sp>
        <p:nvSpPr>
          <p:cNvPr id="23" name="Afrundet rektangel 78">
            <a:extLst>
              <a:ext uri="{FF2B5EF4-FFF2-40B4-BE49-F238E27FC236}">
                <a16:creationId xmlns:a16="http://schemas.microsoft.com/office/drawing/2014/main" id="{6D0C1D94-CE9C-229D-83DE-7E4CFF68AC2C}"/>
              </a:ext>
            </a:extLst>
          </p:cNvPr>
          <p:cNvSpPr/>
          <p:nvPr/>
        </p:nvSpPr>
        <p:spPr>
          <a:xfrm>
            <a:off x="6212044" y="971884"/>
            <a:ext cx="1082062" cy="760761"/>
          </a:xfrm>
          <a:prstGeom prst="roundRect">
            <a:avLst/>
          </a:prstGeom>
          <a:solidFill>
            <a:srgbClr val="EBF1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24" name="Tekstfelt 23">
            <a:extLst>
              <a:ext uri="{FF2B5EF4-FFF2-40B4-BE49-F238E27FC236}">
                <a16:creationId xmlns:a16="http://schemas.microsoft.com/office/drawing/2014/main" id="{6B4930AB-5F16-5EA0-A567-DE1852F7A939}"/>
              </a:ext>
            </a:extLst>
          </p:cNvPr>
          <p:cNvSpPr txBox="1"/>
          <p:nvPr/>
        </p:nvSpPr>
        <p:spPr>
          <a:xfrm>
            <a:off x="6290410" y="1154081"/>
            <a:ext cx="1348880" cy="323165"/>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Digital assisten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 - MUNI</a:t>
            </a:r>
          </a:p>
        </p:txBody>
      </p:sp>
      <p:sp>
        <p:nvSpPr>
          <p:cNvPr id="25" name="Afrundet rektangel 78">
            <a:extLst>
              <a:ext uri="{FF2B5EF4-FFF2-40B4-BE49-F238E27FC236}">
                <a16:creationId xmlns:a16="http://schemas.microsoft.com/office/drawing/2014/main" id="{79F8ACB5-E723-900E-9472-5304F32130C3}"/>
              </a:ext>
            </a:extLst>
          </p:cNvPr>
          <p:cNvSpPr/>
          <p:nvPr/>
        </p:nvSpPr>
        <p:spPr>
          <a:xfrm>
            <a:off x="7379785" y="972764"/>
            <a:ext cx="1171607" cy="760761"/>
          </a:xfrm>
          <a:prstGeom prst="roundRect">
            <a:avLst/>
          </a:prstGeom>
          <a:solidFill>
            <a:srgbClr val="EBF1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28" name="Tekstfelt 27">
            <a:extLst>
              <a:ext uri="{FF2B5EF4-FFF2-40B4-BE49-F238E27FC236}">
                <a16:creationId xmlns:a16="http://schemas.microsoft.com/office/drawing/2014/main" id="{74E28C69-70B0-8928-E0E8-254EC1F51C45}"/>
              </a:ext>
            </a:extLst>
          </p:cNvPr>
          <p:cNvSpPr txBox="1"/>
          <p:nvPr/>
        </p:nvSpPr>
        <p:spPr>
          <a:xfrm>
            <a:off x="7508999" y="1172987"/>
            <a:ext cx="1092860" cy="323165"/>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Track and Trace</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2025-2027</a:t>
            </a:r>
          </a:p>
        </p:txBody>
      </p:sp>
      <p:sp>
        <p:nvSpPr>
          <p:cNvPr id="52" name="Afrundet rektangel 78">
            <a:extLst>
              <a:ext uri="{FF2B5EF4-FFF2-40B4-BE49-F238E27FC236}">
                <a16:creationId xmlns:a16="http://schemas.microsoft.com/office/drawing/2014/main" id="{1D828120-6524-1F40-380D-0E133BFFFF06}"/>
              </a:ext>
            </a:extLst>
          </p:cNvPr>
          <p:cNvSpPr/>
          <p:nvPr/>
        </p:nvSpPr>
        <p:spPr>
          <a:xfrm>
            <a:off x="7402575" y="119677"/>
            <a:ext cx="1171607" cy="760761"/>
          </a:xfrm>
          <a:prstGeom prst="roundRect">
            <a:avLst/>
          </a:prstGeom>
          <a:solidFill>
            <a:srgbClr val="EBF1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53" name="Tekstfelt 52">
            <a:extLst>
              <a:ext uri="{FF2B5EF4-FFF2-40B4-BE49-F238E27FC236}">
                <a16:creationId xmlns:a16="http://schemas.microsoft.com/office/drawing/2014/main" id="{CD623522-11AC-BAD9-29B7-8790797E2ABC}"/>
              </a:ext>
            </a:extLst>
          </p:cNvPr>
          <p:cNvSpPr txBox="1"/>
          <p:nvPr/>
        </p:nvSpPr>
        <p:spPr>
          <a:xfrm>
            <a:off x="7531789" y="190360"/>
            <a:ext cx="1092860" cy="646331"/>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Journalnotater – funktionalitet til undtagelse af visning</a:t>
            </a:r>
          </a:p>
        </p:txBody>
      </p:sp>
      <p:grpSp>
        <p:nvGrpSpPr>
          <p:cNvPr id="68" name="Gruppe 67">
            <a:extLst>
              <a:ext uri="{FF2B5EF4-FFF2-40B4-BE49-F238E27FC236}">
                <a16:creationId xmlns:a16="http://schemas.microsoft.com/office/drawing/2014/main" id="{194475C9-6FF9-8272-9C24-A09530E92FCD}"/>
              </a:ext>
            </a:extLst>
          </p:cNvPr>
          <p:cNvGrpSpPr/>
          <p:nvPr/>
        </p:nvGrpSpPr>
        <p:grpSpPr>
          <a:xfrm>
            <a:off x="2025715" y="4342424"/>
            <a:ext cx="1185854" cy="761400"/>
            <a:chOff x="2823027" y="5872104"/>
            <a:chExt cx="1581139" cy="1015200"/>
          </a:xfrm>
        </p:grpSpPr>
        <p:sp>
          <p:nvSpPr>
            <p:cNvPr id="54" name="Afrundet rektangel 78">
              <a:extLst>
                <a:ext uri="{FF2B5EF4-FFF2-40B4-BE49-F238E27FC236}">
                  <a16:creationId xmlns:a16="http://schemas.microsoft.com/office/drawing/2014/main" id="{A5A8A6B0-A132-AE78-16CA-BF9E280AB11A}"/>
                </a:ext>
              </a:extLst>
            </p:cNvPr>
            <p:cNvSpPr/>
            <p:nvPr/>
          </p:nvSpPr>
          <p:spPr>
            <a:xfrm>
              <a:off x="2823027" y="5872104"/>
              <a:ext cx="1581139" cy="1015200"/>
            </a:xfrm>
            <a:prstGeom prst="roundRect">
              <a:avLst/>
            </a:prstGeom>
            <a:solidFill>
              <a:srgbClr val="DDECD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55" name="Tekstfelt 54">
              <a:extLst>
                <a:ext uri="{FF2B5EF4-FFF2-40B4-BE49-F238E27FC236}">
                  <a16:creationId xmlns:a16="http://schemas.microsoft.com/office/drawing/2014/main" id="{FDF9D88B-8AF7-FB2A-4581-9B02169365BB}"/>
                </a:ext>
              </a:extLst>
            </p:cNvPr>
            <p:cNvSpPr txBox="1"/>
            <p:nvPr/>
          </p:nvSpPr>
          <p:spPr>
            <a:xfrm>
              <a:off x="3118980" y="6007487"/>
              <a:ext cx="1003386" cy="646331"/>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Analyse  af børns data</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2025-2026</a:t>
              </a:r>
            </a:p>
          </p:txBody>
        </p:sp>
      </p:grpSp>
      <p:grpSp>
        <p:nvGrpSpPr>
          <p:cNvPr id="69" name="Gruppe 68">
            <a:extLst>
              <a:ext uri="{FF2B5EF4-FFF2-40B4-BE49-F238E27FC236}">
                <a16:creationId xmlns:a16="http://schemas.microsoft.com/office/drawing/2014/main" id="{BA782AF2-C1A6-278B-F06C-EEA946B9CA3E}"/>
              </a:ext>
            </a:extLst>
          </p:cNvPr>
          <p:cNvGrpSpPr/>
          <p:nvPr/>
        </p:nvGrpSpPr>
        <p:grpSpPr>
          <a:xfrm>
            <a:off x="3431639" y="4342424"/>
            <a:ext cx="1185854" cy="761400"/>
            <a:chOff x="4721093" y="5872107"/>
            <a:chExt cx="1581139" cy="1015200"/>
          </a:xfrm>
        </p:grpSpPr>
        <p:sp>
          <p:nvSpPr>
            <p:cNvPr id="56" name="Afrundet rektangel 78">
              <a:extLst>
                <a:ext uri="{FF2B5EF4-FFF2-40B4-BE49-F238E27FC236}">
                  <a16:creationId xmlns:a16="http://schemas.microsoft.com/office/drawing/2014/main" id="{29F070BB-5337-1700-51C7-2FF29C8AB495}"/>
                </a:ext>
              </a:extLst>
            </p:cNvPr>
            <p:cNvSpPr/>
            <p:nvPr/>
          </p:nvSpPr>
          <p:spPr>
            <a:xfrm>
              <a:off x="4721093" y="5872107"/>
              <a:ext cx="1581139" cy="1015200"/>
            </a:xfrm>
            <a:prstGeom prst="roundRect">
              <a:avLst/>
            </a:prstGeom>
            <a:solidFill>
              <a:srgbClr val="DDECD4"/>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57" name="Tekstfelt 56">
              <a:extLst>
                <a:ext uri="{FF2B5EF4-FFF2-40B4-BE49-F238E27FC236}">
                  <a16:creationId xmlns:a16="http://schemas.microsoft.com/office/drawing/2014/main" id="{A86162F1-231C-5A93-AB92-6F4075A73F65}"/>
                </a:ext>
              </a:extLst>
            </p:cNvPr>
            <p:cNvSpPr txBox="1"/>
            <p:nvPr/>
          </p:nvSpPr>
          <p:spPr>
            <a:xfrm>
              <a:off x="4870137" y="6007486"/>
              <a:ext cx="1266667" cy="430887"/>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Digital Assistent (FODS26-29)</a:t>
              </a:r>
            </a:p>
          </p:txBody>
        </p:sp>
      </p:grpSp>
      <p:grpSp>
        <p:nvGrpSpPr>
          <p:cNvPr id="70" name="Gruppe 69">
            <a:extLst>
              <a:ext uri="{FF2B5EF4-FFF2-40B4-BE49-F238E27FC236}">
                <a16:creationId xmlns:a16="http://schemas.microsoft.com/office/drawing/2014/main" id="{A85682E0-701C-37CC-7B41-A87D46C2D27E}"/>
              </a:ext>
            </a:extLst>
          </p:cNvPr>
          <p:cNvGrpSpPr/>
          <p:nvPr/>
        </p:nvGrpSpPr>
        <p:grpSpPr>
          <a:xfrm>
            <a:off x="4841666" y="4342424"/>
            <a:ext cx="1297460" cy="760761"/>
            <a:chOff x="6487079" y="5789898"/>
            <a:chExt cx="1729946" cy="1014348"/>
          </a:xfrm>
        </p:grpSpPr>
        <p:sp>
          <p:nvSpPr>
            <p:cNvPr id="58" name="Afrundet rektangel 78">
              <a:extLst>
                <a:ext uri="{FF2B5EF4-FFF2-40B4-BE49-F238E27FC236}">
                  <a16:creationId xmlns:a16="http://schemas.microsoft.com/office/drawing/2014/main" id="{F3122422-821C-99C5-338D-2F1A6F4140D6}"/>
                </a:ext>
              </a:extLst>
            </p:cNvPr>
            <p:cNvSpPr/>
            <p:nvPr/>
          </p:nvSpPr>
          <p:spPr>
            <a:xfrm>
              <a:off x="6487079" y="5789898"/>
              <a:ext cx="1729946" cy="1014348"/>
            </a:xfrm>
            <a:prstGeom prst="roundRect">
              <a:avLst/>
            </a:prstGeom>
            <a:solidFill>
              <a:srgbClr val="DDECD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59" name="Tekstfelt 58">
              <a:extLst>
                <a:ext uri="{FF2B5EF4-FFF2-40B4-BE49-F238E27FC236}">
                  <a16:creationId xmlns:a16="http://schemas.microsoft.com/office/drawing/2014/main" id="{386EECA2-703C-41FB-D91B-7EF5F3D55616}"/>
                </a:ext>
              </a:extLst>
            </p:cNvPr>
            <p:cNvSpPr txBox="1"/>
            <p:nvPr/>
          </p:nvSpPr>
          <p:spPr>
            <a:xfrm>
              <a:off x="6707672" y="5879442"/>
              <a:ext cx="1457146" cy="861775"/>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DIGST + KL</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Udbredelse af MO + fuldmag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2025-2028</a:t>
              </a:r>
            </a:p>
          </p:txBody>
        </p:sp>
      </p:grpSp>
      <p:grpSp>
        <p:nvGrpSpPr>
          <p:cNvPr id="71" name="Gruppe 70">
            <a:extLst>
              <a:ext uri="{FF2B5EF4-FFF2-40B4-BE49-F238E27FC236}">
                <a16:creationId xmlns:a16="http://schemas.microsoft.com/office/drawing/2014/main" id="{1AE02051-201C-8134-CD6F-0CDB4C014F48}"/>
              </a:ext>
            </a:extLst>
          </p:cNvPr>
          <p:cNvGrpSpPr/>
          <p:nvPr/>
        </p:nvGrpSpPr>
        <p:grpSpPr>
          <a:xfrm>
            <a:off x="6245429" y="4342424"/>
            <a:ext cx="1397995" cy="760761"/>
            <a:chOff x="8361231" y="5812337"/>
            <a:chExt cx="1863993" cy="1014348"/>
          </a:xfrm>
        </p:grpSpPr>
        <p:sp>
          <p:nvSpPr>
            <p:cNvPr id="60" name="Afrundet rektangel 78">
              <a:extLst>
                <a:ext uri="{FF2B5EF4-FFF2-40B4-BE49-F238E27FC236}">
                  <a16:creationId xmlns:a16="http://schemas.microsoft.com/office/drawing/2014/main" id="{3E7DB724-6234-0F16-7B03-1EDBA83A7EB3}"/>
                </a:ext>
              </a:extLst>
            </p:cNvPr>
            <p:cNvSpPr/>
            <p:nvPr/>
          </p:nvSpPr>
          <p:spPr>
            <a:xfrm>
              <a:off x="8361231" y="5812337"/>
              <a:ext cx="1863993" cy="1014348"/>
            </a:xfrm>
            <a:prstGeom prst="roundRect">
              <a:avLst/>
            </a:prstGeom>
            <a:solidFill>
              <a:srgbClr val="DDECD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61" name="Tekstfelt 60">
              <a:extLst>
                <a:ext uri="{FF2B5EF4-FFF2-40B4-BE49-F238E27FC236}">
                  <a16:creationId xmlns:a16="http://schemas.microsoft.com/office/drawing/2014/main" id="{E9EE9054-2F0E-D884-CCF7-766F4669C136}"/>
                </a:ext>
              </a:extLst>
            </p:cNvPr>
            <p:cNvSpPr txBox="1"/>
            <p:nvPr/>
          </p:nvSpPr>
          <p:spPr>
            <a:xfrm>
              <a:off x="8509356" y="5888624"/>
              <a:ext cx="1658502" cy="861775"/>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Fuldmagt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Tilslutning af myndighed 1, 2, 3, 4</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2025 - 2028</a:t>
              </a:r>
            </a:p>
          </p:txBody>
        </p:sp>
      </p:grpSp>
      <p:sp>
        <p:nvSpPr>
          <p:cNvPr id="16" name="Afrundet rektangel 78">
            <a:extLst>
              <a:ext uri="{FF2B5EF4-FFF2-40B4-BE49-F238E27FC236}">
                <a16:creationId xmlns:a16="http://schemas.microsoft.com/office/drawing/2014/main" id="{49D2076C-027B-319C-1648-4214005E7B20}"/>
              </a:ext>
            </a:extLst>
          </p:cNvPr>
          <p:cNvSpPr/>
          <p:nvPr/>
        </p:nvSpPr>
        <p:spPr>
          <a:xfrm>
            <a:off x="2025715" y="2635516"/>
            <a:ext cx="1333016" cy="646331"/>
          </a:xfrm>
          <a:prstGeom prst="roundRect">
            <a:avLst/>
          </a:prstGeom>
          <a:solidFill>
            <a:schemeClr val="bg2">
              <a:lumMod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17" name="Tekstfelt 16">
            <a:extLst>
              <a:ext uri="{FF2B5EF4-FFF2-40B4-BE49-F238E27FC236}">
                <a16:creationId xmlns:a16="http://schemas.microsoft.com/office/drawing/2014/main" id="{5E628B6C-2C1B-12C1-5BB5-17EFC5631787}"/>
              </a:ext>
            </a:extLst>
          </p:cNvPr>
          <p:cNvSpPr txBox="1"/>
          <p:nvPr/>
        </p:nvSpPr>
        <p:spPr>
          <a:xfrm>
            <a:off x="2159826" y="2716885"/>
            <a:ext cx="1071055" cy="646331"/>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A-kasser</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Aftaler og frister, samt medlemskab</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a-DK" sz="1050" b="0" i="0" u="none" strike="noStrike" kern="1200" cap="none" spc="0" normalizeH="0" baseline="0" noProof="0" dirty="0">
              <a:ln>
                <a:noFill/>
              </a:ln>
              <a:solidFill>
                <a:srgbClr val="3F1A2B"/>
              </a:solidFill>
              <a:effectLst/>
              <a:uLnTx/>
              <a:uFillTx/>
              <a:latin typeface="Franklin Gothic Book"/>
              <a:ea typeface="+mn-ea"/>
              <a:cs typeface="+mn-cs"/>
            </a:endParaRPr>
          </a:p>
        </p:txBody>
      </p:sp>
      <p:grpSp>
        <p:nvGrpSpPr>
          <p:cNvPr id="67" name="Gruppe 66">
            <a:extLst>
              <a:ext uri="{FF2B5EF4-FFF2-40B4-BE49-F238E27FC236}">
                <a16:creationId xmlns:a16="http://schemas.microsoft.com/office/drawing/2014/main" id="{38594D94-31BF-E3F6-D5B2-1AFE4562EC9D}"/>
              </a:ext>
            </a:extLst>
          </p:cNvPr>
          <p:cNvGrpSpPr/>
          <p:nvPr/>
        </p:nvGrpSpPr>
        <p:grpSpPr>
          <a:xfrm>
            <a:off x="3431639" y="3528861"/>
            <a:ext cx="1313097" cy="761287"/>
            <a:chOff x="10326824" y="4698287"/>
            <a:chExt cx="1750796" cy="1015049"/>
          </a:xfrm>
          <a:solidFill>
            <a:schemeClr val="accent3">
              <a:lumMod val="40000"/>
              <a:lumOff val="60000"/>
            </a:schemeClr>
          </a:solidFill>
        </p:grpSpPr>
        <p:sp>
          <p:nvSpPr>
            <p:cNvPr id="29" name="Afrundet rektangel 78">
              <a:extLst>
                <a:ext uri="{FF2B5EF4-FFF2-40B4-BE49-F238E27FC236}">
                  <a16:creationId xmlns:a16="http://schemas.microsoft.com/office/drawing/2014/main" id="{92C72023-8AED-E826-B912-A80DB7D979D5}"/>
                </a:ext>
              </a:extLst>
            </p:cNvPr>
            <p:cNvSpPr/>
            <p:nvPr/>
          </p:nvSpPr>
          <p:spPr>
            <a:xfrm>
              <a:off x="10326824" y="4698287"/>
              <a:ext cx="1750796" cy="1015049"/>
            </a:xfrm>
            <a:prstGeom prst="round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51" name="Tekstfelt 50">
              <a:extLst>
                <a:ext uri="{FF2B5EF4-FFF2-40B4-BE49-F238E27FC236}">
                  <a16:creationId xmlns:a16="http://schemas.microsoft.com/office/drawing/2014/main" id="{8D7F9B8A-162D-0B21-694A-A1283291A2E4}"/>
                </a:ext>
              </a:extLst>
            </p:cNvPr>
            <p:cNvSpPr txBox="1"/>
            <p:nvPr/>
          </p:nvSpPr>
          <p:spPr>
            <a:xfrm>
              <a:off x="10503571" y="4946826"/>
              <a:ext cx="1457147" cy="646330"/>
            </a:xfrm>
            <a:prstGeom prst="rect">
              <a:avLst/>
            </a:prstGeom>
            <a:grp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3F1A2B"/>
                  </a:solidFill>
                  <a:effectLst/>
                  <a:uLnTx/>
                  <a:uFillTx/>
                  <a:latin typeface="Franklin Gothic Book"/>
                  <a:ea typeface="+mn-ea"/>
                  <a:cs typeface="+mn-cs"/>
                </a:rPr>
                <a:t>Udbud</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Borger.dk systemet</a:t>
              </a:r>
              <a:b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b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2025-2026</a:t>
              </a:r>
            </a:p>
          </p:txBody>
        </p:sp>
      </p:grpSp>
      <p:sp>
        <p:nvSpPr>
          <p:cNvPr id="31" name="Afrundet rektangel 78">
            <a:extLst>
              <a:ext uri="{FF2B5EF4-FFF2-40B4-BE49-F238E27FC236}">
                <a16:creationId xmlns:a16="http://schemas.microsoft.com/office/drawing/2014/main" id="{0896A48D-21C0-1BD2-828D-B228B9CCC9BC}"/>
              </a:ext>
            </a:extLst>
          </p:cNvPr>
          <p:cNvSpPr/>
          <p:nvPr/>
        </p:nvSpPr>
        <p:spPr>
          <a:xfrm>
            <a:off x="6212044" y="116908"/>
            <a:ext cx="1092860" cy="760761"/>
          </a:xfrm>
          <a:prstGeom prst="roundRect">
            <a:avLst/>
          </a:prstGeom>
          <a:solidFill>
            <a:srgbClr val="EBF1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36" name="Tekstfelt 35">
            <a:extLst>
              <a:ext uri="{FF2B5EF4-FFF2-40B4-BE49-F238E27FC236}">
                <a16:creationId xmlns:a16="http://schemas.microsoft.com/office/drawing/2014/main" id="{B0EBC2FE-094E-90F7-7701-C756632B463F}"/>
              </a:ext>
            </a:extLst>
          </p:cNvPr>
          <p:cNvSpPr txBox="1"/>
          <p:nvPr/>
        </p:nvSpPr>
        <p:spPr>
          <a:xfrm>
            <a:off x="6403798" y="261281"/>
            <a:ext cx="819068" cy="323165"/>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3F1A2B"/>
                </a:solidFill>
                <a:effectLst/>
                <a:uLnTx/>
                <a:uFillTx/>
                <a:latin typeface="Franklin Gothic Book"/>
                <a:ea typeface="+mn-ea"/>
                <a:cs typeface="+mn-cs"/>
              </a:rPr>
              <a:t>Data om unge i KUI-forløb</a:t>
            </a:r>
          </a:p>
        </p:txBody>
      </p:sp>
      <p:sp>
        <p:nvSpPr>
          <p:cNvPr id="62" name="Afrundet rektangel 78">
            <a:extLst>
              <a:ext uri="{FF2B5EF4-FFF2-40B4-BE49-F238E27FC236}">
                <a16:creationId xmlns:a16="http://schemas.microsoft.com/office/drawing/2014/main" id="{495713EA-E823-3BBA-7895-3A604CD1122A}"/>
              </a:ext>
            </a:extLst>
          </p:cNvPr>
          <p:cNvSpPr/>
          <p:nvPr/>
        </p:nvSpPr>
        <p:spPr>
          <a:xfrm>
            <a:off x="730233" y="2417326"/>
            <a:ext cx="1171607" cy="510795"/>
          </a:xfrm>
          <a:prstGeom prst="round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64" name="Tekstfelt 63">
            <a:extLst>
              <a:ext uri="{FF2B5EF4-FFF2-40B4-BE49-F238E27FC236}">
                <a16:creationId xmlns:a16="http://schemas.microsoft.com/office/drawing/2014/main" id="{A9AB11CE-5EC5-3F0F-A3B3-C9ABD5841A61}"/>
              </a:ext>
            </a:extLst>
          </p:cNvPr>
          <p:cNvSpPr txBox="1"/>
          <p:nvPr/>
        </p:nvSpPr>
        <p:spPr>
          <a:xfrm>
            <a:off x="1173290" y="2569758"/>
            <a:ext cx="285493" cy="18466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3F1A2B"/>
                </a:solidFill>
                <a:effectLst/>
                <a:uLnTx/>
                <a:uFillTx/>
                <a:latin typeface="Franklin Gothic Book"/>
                <a:ea typeface="+mn-ea"/>
                <a:cs typeface="+mn-cs"/>
              </a:rPr>
              <a:t>Stat</a:t>
            </a:r>
          </a:p>
        </p:txBody>
      </p:sp>
      <p:pic>
        <p:nvPicPr>
          <p:cNvPr id="72" name="Højhus" descr="Ikon Højhus&#10;">
            <a:extLst>
              <a:ext uri="{FF2B5EF4-FFF2-40B4-BE49-F238E27FC236}">
                <a16:creationId xmlns:a16="http://schemas.microsoft.com/office/drawing/2014/main" id="{62B58517-0212-D2A1-61D4-BA6903D2112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82881" y="2434384"/>
            <a:ext cx="351000" cy="351000"/>
          </a:xfrm>
          <a:prstGeom prst="rect">
            <a:avLst/>
          </a:prstGeom>
        </p:spPr>
      </p:pic>
      <p:sp>
        <p:nvSpPr>
          <p:cNvPr id="73" name="Afrundet rektangel 78">
            <a:extLst>
              <a:ext uri="{FF2B5EF4-FFF2-40B4-BE49-F238E27FC236}">
                <a16:creationId xmlns:a16="http://schemas.microsoft.com/office/drawing/2014/main" id="{D258E5A2-EC9C-6E55-A10A-12BE8ADA2C97}"/>
              </a:ext>
            </a:extLst>
          </p:cNvPr>
          <p:cNvSpPr/>
          <p:nvPr/>
        </p:nvSpPr>
        <p:spPr>
          <a:xfrm>
            <a:off x="713091" y="876745"/>
            <a:ext cx="1171607" cy="510795"/>
          </a:xfrm>
          <a:prstGeom prst="round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Franklin Gothic Book"/>
              <a:ea typeface="+mn-ea"/>
              <a:cs typeface="+mn-cs"/>
            </a:endParaRPr>
          </a:p>
        </p:txBody>
      </p:sp>
      <p:sp>
        <p:nvSpPr>
          <p:cNvPr id="74" name="Tekstfelt 73">
            <a:extLst>
              <a:ext uri="{FF2B5EF4-FFF2-40B4-BE49-F238E27FC236}">
                <a16:creationId xmlns:a16="http://schemas.microsoft.com/office/drawing/2014/main" id="{D0989076-5417-B3CB-73EE-567431DE654C}"/>
              </a:ext>
            </a:extLst>
          </p:cNvPr>
          <p:cNvSpPr txBox="1"/>
          <p:nvPr/>
        </p:nvSpPr>
        <p:spPr>
          <a:xfrm>
            <a:off x="847154" y="1021775"/>
            <a:ext cx="906236" cy="18466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3F1A2B"/>
                </a:solidFill>
                <a:effectLst/>
                <a:uLnTx/>
                <a:uFillTx/>
                <a:latin typeface="Franklin Gothic Book"/>
                <a:ea typeface="+mn-ea"/>
                <a:cs typeface="+mn-cs"/>
              </a:rPr>
              <a:t>Kommunerne</a:t>
            </a:r>
          </a:p>
        </p:txBody>
      </p:sp>
      <p:pic>
        <p:nvPicPr>
          <p:cNvPr id="75" name="Gruppe" descr="Ikon Gruppe">
            <a:extLst>
              <a:ext uri="{FF2B5EF4-FFF2-40B4-BE49-F238E27FC236}">
                <a16:creationId xmlns:a16="http://schemas.microsoft.com/office/drawing/2014/main" id="{B5D3F41B-79D4-DBD6-77F2-BB2B02EB568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93593" y="956642"/>
            <a:ext cx="351000" cy="351000"/>
          </a:xfrm>
          <a:prstGeom prst="rect">
            <a:avLst/>
          </a:prstGeom>
        </p:spPr>
      </p:pic>
      <p:sp>
        <p:nvSpPr>
          <p:cNvPr id="8" name="Rektangel 7">
            <a:extLst>
              <a:ext uri="{FF2B5EF4-FFF2-40B4-BE49-F238E27FC236}">
                <a16:creationId xmlns:a16="http://schemas.microsoft.com/office/drawing/2014/main" id="{4FA956AA-CE26-CD59-A73F-9AB28783A251}"/>
              </a:ext>
            </a:extLst>
          </p:cNvPr>
          <p:cNvSpPr/>
          <p:nvPr/>
        </p:nvSpPr>
        <p:spPr>
          <a:xfrm rot="19356995">
            <a:off x="1330429" y="3135769"/>
            <a:ext cx="4301242" cy="923330"/>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5400" b="0" i="0" u="none" strike="noStrike" kern="1200" cap="none" spc="0" normalizeH="0" baseline="0" noProof="0" dirty="0">
                <a:ln w="13462">
                  <a:solidFill>
                    <a:srgbClr val="FFFFFF"/>
                  </a:solidFill>
                  <a:prstDash val="solid"/>
                </a:ln>
                <a:solidFill>
                  <a:srgbClr val="000000">
                    <a:lumMod val="85000"/>
                    <a:lumOff val="15000"/>
                  </a:srgbClr>
                </a:solidFill>
                <a:effectLst>
                  <a:outerShdw dist="38100" dir="2700000" algn="bl" rotWithShape="0">
                    <a:srgbClr val="9F2D6B"/>
                  </a:outerShdw>
                </a:effectLst>
                <a:uLnTx/>
                <a:uFillTx/>
                <a:latin typeface="Franklin Gothic Book"/>
                <a:ea typeface="+mn-ea"/>
                <a:cs typeface="+mn-cs"/>
              </a:rPr>
              <a:t>Ikke godkendt</a:t>
            </a:r>
          </a:p>
        </p:txBody>
      </p:sp>
    </p:spTree>
    <p:extLst>
      <p:ext uri="{BB962C8B-B14F-4D97-AF65-F5344CB8AC3E}">
        <p14:creationId xmlns:p14="http://schemas.microsoft.com/office/powerpoint/2010/main" val="9541521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EBE846-8314-CFD6-429A-4D876D0C748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41230AB-96A9-055F-42B7-6C82203027AF}"/>
              </a:ext>
            </a:extLst>
          </p:cNvPr>
          <p:cNvSpPr>
            <a:spLocks noGrp="1"/>
          </p:cNvSpPr>
          <p:nvPr>
            <p:ph type="title"/>
          </p:nvPr>
        </p:nvSpPr>
        <p:spPr>
          <a:xfrm>
            <a:off x="1397556" y="1998350"/>
            <a:ext cx="7092404" cy="792088"/>
          </a:xfrm>
        </p:spPr>
        <p:txBody>
          <a:bodyPr/>
          <a:lstStyle/>
          <a:p>
            <a:r>
              <a:rPr lang="da-DK" dirty="0"/>
              <a:t>Fuldmagtsløsningen</a:t>
            </a:r>
            <a:endParaRPr lang="da-DK" b="0" dirty="0"/>
          </a:p>
        </p:txBody>
      </p:sp>
      <p:sp>
        <p:nvSpPr>
          <p:cNvPr id="3" name="Pladsholder til tekst 2">
            <a:extLst>
              <a:ext uri="{FF2B5EF4-FFF2-40B4-BE49-F238E27FC236}">
                <a16:creationId xmlns:a16="http://schemas.microsoft.com/office/drawing/2014/main" id="{4756E874-6D9A-8C61-50B8-3C354FF75FB5}"/>
              </a:ext>
            </a:extLst>
          </p:cNvPr>
          <p:cNvSpPr>
            <a:spLocks noGrp="1"/>
          </p:cNvSpPr>
          <p:nvPr>
            <p:ph type="body" sz="quarter" idx="18"/>
          </p:nvPr>
        </p:nvSpPr>
        <p:spPr/>
        <p:txBody>
          <a:bodyPr/>
          <a:lstStyle/>
          <a:p>
            <a:endParaRPr lang="da-DK"/>
          </a:p>
        </p:txBody>
      </p:sp>
    </p:spTree>
    <p:extLst>
      <p:ext uri="{BB962C8B-B14F-4D97-AF65-F5344CB8AC3E}">
        <p14:creationId xmlns:p14="http://schemas.microsoft.com/office/powerpoint/2010/main" val="35935578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B93A3F-0C12-A9B8-D11F-731C6E02FFF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EA38056-D4AD-BDB3-C10E-118308CC9942}"/>
              </a:ext>
            </a:extLst>
          </p:cNvPr>
          <p:cNvSpPr>
            <a:spLocks noGrp="1"/>
          </p:cNvSpPr>
          <p:nvPr>
            <p:ph type="title"/>
          </p:nvPr>
        </p:nvSpPr>
        <p:spPr>
          <a:xfrm>
            <a:off x="485772" y="2220813"/>
            <a:ext cx="8172455" cy="631229"/>
          </a:xfrm>
        </p:spPr>
        <p:txBody>
          <a:bodyPr anchor="t">
            <a:normAutofit/>
          </a:bodyPr>
          <a:lstStyle/>
          <a:p>
            <a:pPr algn="ctr"/>
            <a:r>
              <a:rPr lang="da-DK" dirty="0"/>
              <a:t>Spørgsmål eller kommentarer?</a:t>
            </a:r>
          </a:p>
        </p:txBody>
      </p:sp>
      <p:pic>
        <p:nvPicPr>
          <p:cNvPr id="7" name="Pladsholder til billede 6">
            <a:extLst>
              <a:ext uri="{FF2B5EF4-FFF2-40B4-BE49-F238E27FC236}">
                <a16:creationId xmlns:a16="http://schemas.microsoft.com/office/drawing/2014/main" id="{25D30013-51A5-9399-80B2-5503932C860D}"/>
              </a:ext>
            </a:extLst>
          </p:cNvPr>
          <p:cNvPicPr>
            <a:picLocks noGrp="1" noChangeAspect="1"/>
          </p:cNvPicPr>
          <p:nvPr>
            <p:ph type="pic" sz="quarter" idx="13"/>
          </p:nvPr>
        </p:nvPicPr>
        <p:blipFill>
          <a:blip r:embed="rId3"/>
          <a:srcRect t="28212" b="28212"/>
          <a:stretch/>
        </p:blipFill>
        <p:spPr>
          <a:xfrm>
            <a:off x="15" y="2922687"/>
            <a:ext cx="9143985" cy="2241352"/>
          </a:xfrm>
          <a:noFill/>
        </p:spPr>
      </p:pic>
      <p:sp>
        <p:nvSpPr>
          <p:cNvPr id="17" name="Text Placeholder 4">
            <a:extLst>
              <a:ext uri="{FF2B5EF4-FFF2-40B4-BE49-F238E27FC236}">
                <a16:creationId xmlns:a16="http://schemas.microsoft.com/office/drawing/2014/main" id="{4E63EF7F-9F65-8682-81F9-BEFF57AD0D4E}"/>
              </a:ext>
            </a:extLst>
          </p:cNvPr>
          <p:cNvSpPr>
            <a:spLocks noGrp="1"/>
          </p:cNvSpPr>
          <p:nvPr>
            <p:ph type="body" sz="quarter" idx="15"/>
          </p:nvPr>
        </p:nvSpPr>
        <p:spPr>
          <a:xfrm>
            <a:off x="7630200" y="4549500"/>
            <a:ext cx="1134000" cy="353700"/>
          </a:xfrm>
        </p:spPr>
        <p:txBody>
          <a:bodyPr/>
          <a:lstStyle/>
          <a:p>
            <a:endParaRPr lang="en-US"/>
          </a:p>
        </p:txBody>
      </p:sp>
    </p:spTree>
    <p:extLst>
      <p:ext uri="{BB962C8B-B14F-4D97-AF65-F5344CB8AC3E}">
        <p14:creationId xmlns:p14="http://schemas.microsoft.com/office/powerpoint/2010/main" val="376003290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ladsholder til billede 7" descr="Et billede, der indeholder sky, udendørs, jord, vand&#10;&#10;Automatisk genereret beskrivelse">
            <a:extLst>
              <a:ext uri="{FF2B5EF4-FFF2-40B4-BE49-F238E27FC236}">
                <a16:creationId xmlns:a16="http://schemas.microsoft.com/office/drawing/2014/main" id="{A6F456CC-A3AE-1854-BB70-A912881C9FFA}"/>
              </a:ext>
            </a:extLst>
          </p:cNvPr>
          <p:cNvPicPr>
            <a:picLocks noGrp="1" noChangeAspect="1"/>
          </p:cNvPicPr>
          <p:nvPr>
            <p:ph type="pic" sz="quarter" idx="12"/>
          </p:nvPr>
        </p:nvPicPr>
        <p:blipFill>
          <a:blip r:embed="rId3">
            <a:extLst>
              <a:ext uri="{837473B0-CC2E-450A-ABE3-18F120FF3D39}">
                <a1611:picAttrSrcUrl xmlns:a1611="http://schemas.microsoft.com/office/drawing/2016/11/main" r:id="rId4"/>
              </a:ext>
            </a:extLst>
          </a:blip>
          <a:srcRect t="29005" b="29005"/>
          <a:stretch>
            <a:fillRect/>
          </a:stretch>
        </p:blipFill>
        <p:spPr/>
      </p:pic>
      <p:sp>
        <p:nvSpPr>
          <p:cNvPr id="3" name="Titel 2">
            <a:extLst>
              <a:ext uri="{FF2B5EF4-FFF2-40B4-BE49-F238E27FC236}">
                <a16:creationId xmlns:a16="http://schemas.microsoft.com/office/drawing/2014/main" id="{A3003A51-BCFF-1FDC-AC1C-8E9A666FE465}"/>
              </a:ext>
            </a:extLst>
          </p:cNvPr>
          <p:cNvSpPr>
            <a:spLocks noGrp="1"/>
          </p:cNvSpPr>
          <p:nvPr>
            <p:ph type="title"/>
          </p:nvPr>
        </p:nvSpPr>
        <p:spPr>
          <a:xfrm>
            <a:off x="921580" y="1181474"/>
            <a:ext cx="2808312" cy="641520"/>
          </a:xfrm>
        </p:spPr>
        <p:txBody>
          <a:bodyPr/>
          <a:lstStyle/>
          <a:p>
            <a:pPr algn="ctr"/>
            <a:r>
              <a:rPr lang="da-DK" dirty="0">
                <a:latin typeface="Neue Haas Grotesk Text Pro"/>
              </a:rPr>
              <a:t>Tak for i dag</a:t>
            </a:r>
          </a:p>
        </p:txBody>
      </p:sp>
      <p:sp>
        <p:nvSpPr>
          <p:cNvPr id="4" name="Pladsholder til tekst 3">
            <a:extLst>
              <a:ext uri="{FF2B5EF4-FFF2-40B4-BE49-F238E27FC236}">
                <a16:creationId xmlns:a16="http://schemas.microsoft.com/office/drawing/2014/main" id="{1299A21F-334E-6F96-BAB0-2D2B49E3030C}"/>
              </a:ext>
            </a:extLst>
          </p:cNvPr>
          <p:cNvSpPr>
            <a:spLocks noGrp="1"/>
          </p:cNvSpPr>
          <p:nvPr>
            <p:ph type="body" sz="quarter" idx="10"/>
          </p:nvPr>
        </p:nvSpPr>
        <p:spPr>
          <a:xfrm>
            <a:off x="4622006" y="477733"/>
            <a:ext cx="3564819" cy="1620528"/>
          </a:xfrm>
        </p:spPr>
        <p:txBody>
          <a:bodyPr vert="horz" lIns="0" tIns="0" rIns="91440" bIns="0" rtlCol="0" anchor="t">
            <a:noAutofit/>
          </a:bodyPr>
          <a:lstStyle/>
          <a:p>
            <a:r>
              <a:rPr lang="da-DK" b="1" dirty="0">
                <a:latin typeface="Neue Haas Grotesk Text Pro"/>
              </a:rPr>
              <a:t>Skriv til os </a:t>
            </a:r>
            <a:endParaRPr lang="da-DK" b="1" dirty="0"/>
          </a:p>
          <a:p>
            <a:r>
              <a:rPr lang="da-DK" dirty="0">
                <a:latin typeface="Neue Haas Grotesk Text Pro"/>
                <a:hlinkClick r:id="rId5"/>
              </a:rPr>
              <a:t>borgerblikket@kombit.dk</a:t>
            </a:r>
            <a:r>
              <a:rPr lang="da-DK" dirty="0">
                <a:latin typeface="Neue Haas Grotesk Text Pro"/>
              </a:rPr>
              <a:t>, hvis du har spørgsmål, ris, ros eller øvrige kommentarer til fx dialogmødets indhold og form</a:t>
            </a:r>
          </a:p>
          <a:p>
            <a:endParaRPr lang="da-DK" dirty="0"/>
          </a:p>
          <a:p>
            <a:r>
              <a:rPr lang="da-DK" b="1" dirty="0">
                <a:latin typeface="Neue Haas Grotesk Text Pro"/>
              </a:rPr>
              <a:t>Næste dialogmøde:  Indkaldes først i det nye år</a:t>
            </a:r>
          </a:p>
          <a:p>
            <a:r>
              <a:rPr lang="da-DK" dirty="0">
                <a:latin typeface="Neue Haas Grotesk Text Pro"/>
              </a:rPr>
              <a:t>(mødeindkaldelse sendes ud til alle systemansvarlige og projektledere, angivet i KLIK-rollegalleriet)</a:t>
            </a:r>
          </a:p>
        </p:txBody>
      </p:sp>
      <p:sp>
        <p:nvSpPr>
          <p:cNvPr id="6" name="Pladsholder til tekst 5">
            <a:extLst>
              <a:ext uri="{FF2B5EF4-FFF2-40B4-BE49-F238E27FC236}">
                <a16:creationId xmlns:a16="http://schemas.microsoft.com/office/drawing/2014/main" id="{2D56BE7B-B0CB-470E-7459-E1F784CD489E}"/>
              </a:ext>
            </a:extLst>
          </p:cNvPr>
          <p:cNvSpPr>
            <a:spLocks noGrp="1"/>
          </p:cNvSpPr>
          <p:nvPr>
            <p:ph type="body" sz="quarter" idx="18"/>
          </p:nvPr>
        </p:nvSpPr>
        <p:spPr/>
        <p:txBody>
          <a:bodyPr/>
          <a:lstStyle/>
          <a:p>
            <a:endParaRPr lang="da-DK"/>
          </a:p>
        </p:txBody>
      </p:sp>
      <p:sp>
        <p:nvSpPr>
          <p:cNvPr id="2" name="Pladsholder til tekst 3">
            <a:extLst>
              <a:ext uri="{FF2B5EF4-FFF2-40B4-BE49-F238E27FC236}">
                <a16:creationId xmlns:a16="http://schemas.microsoft.com/office/drawing/2014/main" id="{B7E57655-58DC-6630-358C-FC05CBCF0F99}"/>
              </a:ext>
            </a:extLst>
          </p:cNvPr>
          <p:cNvSpPr txBox="1">
            <a:spLocks/>
          </p:cNvSpPr>
          <p:nvPr/>
        </p:nvSpPr>
        <p:spPr>
          <a:xfrm>
            <a:off x="468313" y="339998"/>
            <a:ext cx="4103687" cy="144190"/>
          </a:xfrm>
          <a:prstGeom prst="rect">
            <a:avLst/>
          </a:prstGeom>
        </p:spPr>
        <p:txBody>
          <a:bodyPr vert="horz" lIns="14400" tIns="0" rIns="0" bIns="0" rtlCol="0">
            <a:noAutofit/>
          </a:bodyPr>
          <a:lstStyle>
            <a:lvl1pPr marL="0" indent="0" algn="l" defTabSz="457200" rtl="0" eaLnBrk="1" latinLnBrk="0" hangingPunct="1">
              <a:spcBef>
                <a:spcPts val="300"/>
              </a:spcBef>
              <a:spcAft>
                <a:spcPts val="600"/>
              </a:spcAft>
              <a:buClr>
                <a:srgbClr val="EB052F"/>
              </a:buClr>
              <a:buFont typeface="Wingdings" pitchFamily="2" charset="2"/>
              <a:buNone/>
              <a:defRPr lang="en-GB" sz="1000" b="0" i="0" kern="0" cap="all" baseline="0" dirty="0">
                <a:solidFill>
                  <a:srgbClr val="878787"/>
                </a:solidFill>
                <a:latin typeface="Neue Haas Grotesk Text Pro" panose="020B0504020202020204" pitchFamily="34" charset="77"/>
                <a:ea typeface="+mn-ea"/>
                <a:cs typeface="Arial"/>
              </a:defRPr>
            </a:lvl1pPr>
            <a:lvl2pPr marL="252000" indent="-180000" algn="l" defTabSz="457200" rtl="0" eaLnBrk="1" latinLnBrk="0" hangingPunct="1">
              <a:spcBef>
                <a:spcPts val="300"/>
              </a:spcBef>
              <a:spcAft>
                <a:spcPts val="300"/>
              </a:spcAft>
              <a:buClr>
                <a:srgbClr val="EB052F"/>
              </a:buClr>
              <a:buFont typeface="Wingdings" pitchFamily="2" charset="2"/>
              <a:buChar char="§"/>
              <a:defRPr lang="da-DK" sz="1100" b="0" i="0" kern="0" dirty="0" smtClean="0">
                <a:solidFill>
                  <a:schemeClr val="tx1"/>
                </a:solidFill>
                <a:latin typeface="Neue Haas Grotesk Text Pro" panose="020B0504020202020204" pitchFamily="34" charset="77"/>
                <a:ea typeface="+mn-ea"/>
                <a:cs typeface="Arial"/>
              </a:defRPr>
            </a:lvl2pPr>
            <a:lvl3pPr marL="432000" marR="0" indent="-180000" algn="l" defTabSz="457200" rtl="0" eaLnBrk="1" fontAlgn="auto" latinLnBrk="0" hangingPunct="1">
              <a:lnSpc>
                <a:spcPct val="100000"/>
              </a:lnSpc>
              <a:spcBef>
                <a:spcPts val="0"/>
              </a:spcBef>
              <a:spcAft>
                <a:spcPts val="300"/>
              </a:spcAft>
              <a:buClr>
                <a:srgbClr val="EB052F"/>
              </a:buClr>
              <a:buSzTx/>
              <a:buFont typeface="Wingdings" pitchFamily="2" charset="2"/>
              <a:buChar char="§"/>
              <a:tabLst/>
              <a:defRPr lang="da-DK" sz="1000" b="0" i="0" kern="0" dirty="0">
                <a:solidFill>
                  <a:schemeClr val="tx1"/>
                </a:solidFill>
                <a:latin typeface="Neue Haas Grotesk Text Pro" panose="020B0504020202020204" pitchFamily="34" charset="77"/>
                <a:ea typeface="+mn-ea"/>
                <a:cs typeface="+mn-cs"/>
              </a:defRPr>
            </a:lvl3pPr>
            <a:lvl4pPr marL="252000" indent="0" algn="l" defTabSz="457200" rtl="0" eaLnBrk="1" latinLnBrk="0" hangingPunct="1">
              <a:spcBef>
                <a:spcPts val="0"/>
              </a:spcBef>
              <a:buFont typeface="CambriaMath"/>
              <a:buNone/>
              <a:defRPr sz="1000" b="0" i="0" kern="0">
                <a:solidFill>
                  <a:schemeClr val="tx1"/>
                </a:solidFill>
                <a:latin typeface="Neue Haas Grotesk Text Pro" panose="020B0504020202020204" pitchFamily="34" charset="77"/>
                <a:ea typeface="+mn-ea"/>
                <a:cs typeface="+mn-cs"/>
              </a:defRPr>
            </a:lvl4pPr>
            <a:lvl5pPr marL="378000" indent="-126000" algn="l" defTabSz="457200" rtl="0" eaLnBrk="1" latinLnBrk="0" hangingPunct="1">
              <a:spcBef>
                <a:spcPts val="0"/>
              </a:spcBef>
              <a:buFont typeface="CambriaMath"/>
              <a:buChar char="⎯"/>
              <a:defRPr sz="900" b="0" i="0" kern="1200">
                <a:solidFill>
                  <a:schemeClr val="tx1"/>
                </a:solidFill>
                <a:latin typeface="Source Sans Pro Light" panose="020B0403030403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a-DK" dirty="0">
                <a:latin typeface="Neue Haas Grotesk Text Pro"/>
              </a:rPr>
              <a:t>Borgerblikkets dialogmøde 9/12 2025</a:t>
            </a:r>
            <a:endParaRPr lang="da-DK" dirty="0"/>
          </a:p>
          <a:p>
            <a:endParaRPr lang="da-DK" dirty="0"/>
          </a:p>
        </p:txBody>
      </p:sp>
    </p:spTree>
    <p:extLst>
      <p:ext uri="{BB962C8B-B14F-4D97-AF65-F5344CB8AC3E}">
        <p14:creationId xmlns:p14="http://schemas.microsoft.com/office/powerpoint/2010/main" val="7347332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52259-6C17-522F-7730-F514B8AC7AC7}"/>
            </a:ext>
          </a:extLst>
        </p:cNvPr>
        <p:cNvGrpSpPr/>
        <p:nvPr/>
      </p:nvGrpSpPr>
      <p:grpSpPr>
        <a:xfrm>
          <a:off x="0" y="0"/>
          <a:ext cx="0" cy="0"/>
          <a:chOff x="0" y="0"/>
          <a:chExt cx="0" cy="0"/>
        </a:xfrm>
      </p:grpSpPr>
      <p:pic>
        <p:nvPicPr>
          <p:cNvPr id="7" name="Billede 6">
            <a:extLst>
              <a:ext uri="{FF2B5EF4-FFF2-40B4-BE49-F238E27FC236}">
                <a16:creationId xmlns:a16="http://schemas.microsoft.com/office/drawing/2014/main" id="{70E80245-93FD-5C21-3B83-D01CD3C4C004}"/>
              </a:ext>
            </a:extLst>
          </p:cNvPr>
          <p:cNvPicPr>
            <a:picLocks noChangeAspect="1"/>
          </p:cNvPicPr>
          <p:nvPr/>
        </p:nvPicPr>
        <p:blipFill>
          <a:blip r:embed="rId3"/>
          <a:srcRect b="7258"/>
          <a:stretch/>
        </p:blipFill>
        <p:spPr>
          <a:xfrm>
            <a:off x="3136187" y="539711"/>
            <a:ext cx="4682564" cy="3213289"/>
          </a:xfrm>
          <a:prstGeom prst="rect">
            <a:avLst/>
          </a:prstGeom>
        </p:spPr>
      </p:pic>
      <p:sp>
        <p:nvSpPr>
          <p:cNvPr id="2" name="Pladsholder til sidefod 1">
            <a:extLst>
              <a:ext uri="{FF2B5EF4-FFF2-40B4-BE49-F238E27FC236}">
                <a16:creationId xmlns:a16="http://schemas.microsoft.com/office/drawing/2014/main" id="{33324765-D41B-3F92-485F-09F5DB38CE41}"/>
              </a:ext>
            </a:extLst>
          </p:cNvPr>
          <p:cNvSpPr>
            <a:spLocks noGrp="1"/>
          </p:cNvSpPr>
          <p:nvPr>
            <p:ph type="ftr" sz="quarter" idx="16"/>
          </p:nvPr>
        </p:nvSpPr>
        <p:spPr/>
        <p:txBody>
          <a:bodyPr/>
          <a:lstStyle/>
          <a:p>
            <a:pPr defTabSz="685800">
              <a:defRPr/>
            </a:pPr>
            <a:r>
              <a:rPr lang="da-DK">
                <a:latin typeface="Franklin Gothic Book"/>
              </a:rPr>
              <a:t>Digitaliseringsstyrelsen</a:t>
            </a:r>
          </a:p>
        </p:txBody>
      </p:sp>
      <p:sp>
        <p:nvSpPr>
          <p:cNvPr id="3" name="Pladsholder til slidenummer 2">
            <a:extLst>
              <a:ext uri="{FF2B5EF4-FFF2-40B4-BE49-F238E27FC236}">
                <a16:creationId xmlns:a16="http://schemas.microsoft.com/office/drawing/2014/main" id="{ADF0BB80-26A0-E699-3300-4318A625A451}"/>
              </a:ext>
            </a:extLst>
          </p:cNvPr>
          <p:cNvSpPr>
            <a:spLocks noGrp="1"/>
          </p:cNvSpPr>
          <p:nvPr>
            <p:ph type="sldNum" sz="quarter" idx="17"/>
          </p:nvPr>
        </p:nvSpPr>
        <p:spPr/>
        <p:txBody>
          <a:bodyPr/>
          <a:lstStyle/>
          <a:p>
            <a:pPr defTabSz="685800">
              <a:defRPr/>
            </a:pPr>
            <a:fld id="{24C8C45C-947F-4981-8B3F-4F32E973C901}" type="slidenum">
              <a:rPr lang="da-DK">
                <a:latin typeface="Franklin Gothic Book"/>
              </a:rPr>
              <a:pPr defTabSz="685800">
                <a:defRPr/>
              </a:pPr>
              <a:t>9</a:t>
            </a:fld>
            <a:endParaRPr lang="da-DK">
              <a:latin typeface="Franklin Gothic Book"/>
            </a:endParaRPr>
          </a:p>
        </p:txBody>
      </p:sp>
      <p:sp>
        <p:nvSpPr>
          <p:cNvPr id="5" name="Titel 4">
            <a:extLst>
              <a:ext uri="{FF2B5EF4-FFF2-40B4-BE49-F238E27FC236}">
                <a16:creationId xmlns:a16="http://schemas.microsoft.com/office/drawing/2014/main" id="{579B9DD8-56B3-3F6C-4C35-E9A0B366CD38}"/>
              </a:ext>
            </a:extLst>
          </p:cNvPr>
          <p:cNvSpPr>
            <a:spLocks noGrp="1"/>
          </p:cNvSpPr>
          <p:nvPr>
            <p:ph type="ctrTitle"/>
          </p:nvPr>
        </p:nvSpPr>
        <p:spPr/>
        <p:txBody>
          <a:bodyPr/>
          <a:lstStyle/>
          <a:p>
            <a:r>
              <a:rPr lang="da-DK"/>
              <a:t>Indsigtsfuldmagt </a:t>
            </a:r>
            <a:br>
              <a:rPr lang="da-DK"/>
            </a:br>
            <a:r>
              <a:rPr lang="da-DK"/>
              <a:t>til Mit Overblik på borger.dk</a:t>
            </a:r>
          </a:p>
          <a:p>
            <a:endParaRPr lang="da-DK"/>
          </a:p>
        </p:txBody>
      </p:sp>
      <p:sp>
        <p:nvSpPr>
          <p:cNvPr id="6" name="Pladsholder til dato 5">
            <a:extLst>
              <a:ext uri="{FF2B5EF4-FFF2-40B4-BE49-F238E27FC236}">
                <a16:creationId xmlns:a16="http://schemas.microsoft.com/office/drawing/2014/main" id="{FF4E865C-D128-840C-4CDD-6A37A28FDD55}"/>
              </a:ext>
            </a:extLst>
          </p:cNvPr>
          <p:cNvSpPr>
            <a:spLocks noGrp="1"/>
          </p:cNvSpPr>
          <p:nvPr>
            <p:ph type="dt" sz="half" idx="18"/>
          </p:nvPr>
        </p:nvSpPr>
        <p:spPr/>
        <p:txBody>
          <a:bodyPr/>
          <a:lstStyle/>
          <a:p>
            <a:pPr defTabSz="685800">
              <a:defRPr/>
            </a:pPr>
            <a:r>
              <a:rPr lang="da-DK">
                <a:solidFill>
                  <a:srgbClr val="F5F1E6"/>
                </a:solidFill>
                <a:latin typeface="Franklin Gothic Book"/>
              </a:rPr>
              <a:t>9. december 2025</a:t>
            </a:r>
          </a:p>
        </p:txBody>
      </p:sp>
      <p:pic>
        <p:nvPicPr>
          <p:cNvPr id="4" name="Billede 3">
            <a:extLst>
              <a:ext uri="{FF2B5EF4-FFF2-40B4-BE49-F238E27FC236}">
                <a16:creationId xmlns:a16="http://schemas.microsoft.com/office/drawing/2014/main" id="{0FF227A1-DFE6-E50F-F142-4782B94E8689}"/>
              </a:ext>
            </a:extLst>
          </p:cNvPr>
          <p:cNvPicPr>
            <a:picLocks noChangeAspect="1"/>
          </p:cNvPicPr>
          <p:nvPr/>
        </p:nvPicPr>
        <p:blipFill>
          <a:blip r:embed="rId4"/>
          <a:stretch>
            <a:fillRect/>
          </a:stretch>
        </p:blipFill>
        <p:spPr>
          <a:xfrm>
            <a:off x="6160930" y="2836501"/>
            <a:ext cx="2745428" cy="1647257"/>
          </a:xfrm>
          <a:prstGeom prst="rect">
            <a:avLst/>
          </a:prstGeom>
        </p:spPr>
      </p:pic>
    </p:spTree>
    <p:extLst>
      <p:ext uri="{BB962C8B-B14F-4D97-AF65-F5344CB8AC3E}">
        <p14:creationId xmlns:p14="http://schemas.microsoft.com/office/powerpoint/2010/main" val="1558776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GuXjHQUTNqveQz15mKylw"/>
</p:tagLst>
</file>

<file path=ppt/theme/theme1.xml><?xml version="1.0" encoding="utf-8"?>
<a:theme xmlns:a="http://schemas.openxmlformats.org/drawingml/2006/main" name="Kontortema">
  <a:themeElements>
    <a:clrScheme name="KOMBIT">
      <a:dk1>
        <a:srgbClr val="111111"/>
      </a:dk1>
      <a:lt1>
        <a:srgbClr val="FFFFFF"/>
      </a:lt1>
      <a:dk2>
        <a:srgbClr val="CCC09E"/>
      </a:dk2>
      <a:lt2>
        <a:srgbClr val="F3EFE0"/>
      </a:lt2>
      <a:accent1>
        <a:srgbClr val="EB052F"/>
      </a:accent1>
      <a:accent2>
        <a:srgbClr val="3373D2"/>
      </a:accent2>
      <a:accent3>
        <a:srgbClr val="1C3F32"/>
      </a:accent3>
      <a:accent4>
        <a:srgbClr val="580D28"/>
      </a:accent4>
      <a:accent5>
        <a:srgbClr val="9656D7"/>
      </a:accent5>
      <a:accent6>
        <a:srgbClr val="B30E60"/>
      </a:accent6>
      <a:hlink>
        <a:srgbClr val="696969"/>
      </a:hlink>
      <a:folHlink>
        <a:srgbClr val="D6D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spcAft>
            <a:spcPts val="300"/>
          </a:spcAft>
          <a:defRPr sz="1000" dirty="0" smtClean="0">
            <a:solidFill>
              <a:schemeClr val="tx1"/>
            </a:solidFill>
            <a:latin typeface="Neue Haas Grotesk Text Pro" panose="020B0504020202020204" pitchFamily="34" charset="77"/>
            <a:cs typeface="Arial"/>
          </a:defRPr>
        </a:defPPr>
      </a:lstStyle>
      <a:style>
        <a:lnRef idx="1">
          <a:schemeClr val="accent1"/>
        </a:lnRef>
        <a:fillRef idx="3">
          <a:schemeClr val="accent1"/>
        </a:fillRef>
        <a:effectRef idx="2">
          <a:schemeClr val="accent1"/>
        </a:effectRef>
        <a:fontRef idx="minor">
          <a:schemeClr val="lt1"/>
        </a:fontRef>
      </a:style>
    </a:spDef>
    <a:lnDef>
      <a:spPr bwMode="auto">
        <a:noFill/>
        <a:ln w="9525" algn="ctr">
          <a:solidFill>
            <a:schemeClr val="tx1"/>
          </a:solidFill>
          <a:prstDash val="solid"/>
          <a:round/>
          <a:headEnd type="none" w="med" len="med"/>
          <a:tailEnd type="none" w="med" len="med"/>
        </a:ln>
        <a:extLst>
          <a:ext uri="{909E8E84-426E-40dd-AFC4-6F175D3DCCD1}">
            <a14:hiddenFill xmlns:p="http://schemas.openxmlformats.org/presentationml/2006/main" xmlns="" xmlns:a14="http://schemas.microsoft.com/office/drawing/2010/main">
              <a:noFill/>
            </a14:hiddenFill>
          </a:ext>
        </a:extLst>
      </a:spPr>
      <a:bodyPr/>
      <a:lstStyle/>
    </a:lnDef>
    <a:txDef>
      <a:spPr>
        <a:noFill/>
        <a:ln>
          <a:noFill/>
        </a:ln>
      </a:spPr>
      <a:bodyPr wrap="square">
        <a:noAutofit/>
      </a:bodyPr>
      <a:lstStyle>
        <a:defPPr algn="l">
          <a:spcAft>
            <a:spcPts val="300"/>
          </a:spcAft>
          <a:defRPr sz="1000" kern="0" dirty="0" err="1">
            <a:latin typeface="Neue Haas Grotesk Text Pro" panose="020B0504020202020204" pitchFamily="34" charset="77"/>
            <a:cs typeface="Arial"/>
          </a:defRPr>
        </a:defPPr>
      </a:lstStyle>
    </a:txDef>
  </a:objectDefaults>
  <a:extraClrSchemeLst/>
  <a:extLst>
    <a:ext uri="{05A4C25C-085E-4340-85A3-A5531E510DB2}">
      <thm15:themeFamily xmlns:thm15="http://schemas.microsoft.com/office/thememl/2012/main" name="Præsentation2" id="{6DAF6777-821D-41A7-B157-96317E2597F8}" vid="{845E196B-3C5F-475E-9BF8-F468EC165B80}"/>
    </a:ext>
  </a:extLst>
</a:theme>
</file>

<file path=ppt/theme/theme2.xml><?xml version="1.0" encoding="utf-8"?>
<a:theme xmlns:a="http://schemas.openxmlformats.org/drawingml/2006/main" name="Digitaliseringsstyrelsen DK">
  <a:themeElements>
    <a:clrScheme name="Digitaliseringsstyrelsen Kold">
      <a:dk1>
        <a:srgbClr val="000000"/>
      </a:dk1>
      <a:lt1>
        <a:srgbClr val="FFFFFF"/>
      </a:lt1>
      <a:dk2>
        <a:srgbClr val="3F1A2B"/>
      </a:dk2>
      <a:lt2>
        <a:srgbClr val="F5F1E6"/>
      </a:lt2>
      <a:accent1>
        <a:srgbClr val="3F1A2B"/>
      </a:accent1>
      <a:accent2>
        <a:srgbClr val="5C71E1"/>
      </a:accent2>
      <a:accent3>
        <a:srgbClr val="C9DEE8"/>
      </a:accent3>
      <a:accent4>
        <a:srgbClr val="2D4569"/>
      </a:accent4>
      <a:accent5>
        <a:srgbClr val="D3C1BD"/>
      </a:accent5>
      <a:accent6>
        <a:srgbClr val="514860"/>
      </a:accent6>
      <a:hlink>
        <a:srgbClr val="4C61D1"/>
      </a:hlink>
      <a:folHlink>
        <a:srgbClr val="3F1A2B"/>
      </a:folHlink>
    </a:clrScheme>
    <a:fontScheme name="Digitaliseringsstyrelsen">
      <a:majorFont>
        <a:latin typeface="Franklin Gothic Book"/>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1600" noProof="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solidFill>
              <a:schemeClr val="accent1"/>
            </a:solidFill>
          </a:defRPr>
        </a:defPPr>
      </a:lstStyle>
    </a:txDef>
  </a:objectDefaults>
  <a:extraClrSchemeLst/>
  <a:custClrLst>
    <a:custClr name="Aubergine">
      <a:srgbClr val="3F1A2B"/>
    </a:custClr>
    <a:custClr name="Fløde">
      <a:srgbClr val="F5F1E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Koral">
      <a:srgbClr val="FB7A5C"/>
    </a:custClr>
    <a:custClr name="Paprika">
      <a:srgbClr val="AB2A0C"/>
    </a:custClr>
    <a:custClr name="Himmelsblå">
      <a:srgbClr val="A3BFFF"/>
    </a:custClr>
    <a:custClr name="Blåviolet">
      <a:srgbClr val="4C61D1"/>
    </a:custClr>
    <a:custClr name="Ærtegrøn">
      <a:srgbClr val="88C66D"/>
    </a:custClr>
    <a:custClr name="Basilikum">
      <a:srgbClr val="4D7836"/>
    </a:custClr>
    <a:custClr name="Blush">
      <a:srgbClr val="F1758B"/>
    </a:custClr>
    <a:custClr name="Hindbær">
      <a:srgbClr val="B44280"/>
    </a:custClr>
    <a:custClr name="Color has no name">
      <a:srgbClr val="FFFFFF"/>
    </a:custClr>
    <a:custClr name="Color has no name">
      <a:srgbClr val="FFFFFF"/>
    </a:custClr>
    <a:custClr name="Sort">
      <a:srgbClr val="212121"/>
    </a:custClr>
    <a:custClr name="Hvid">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igitaliseringsstyrelsen Sekundær Grøn DK.potx" id="{A8F9F1FD-FE0F-4148-A9D2-D792B8B27D33}" vid="{925B7DDB-A8C6-46B8-B10C-84827389AC33}"/>
    </a:ext>
  </a:extLst>
</a:theme>
</file>

<file path=ppt/theme/theme3.xml><?xml version="1.0" encoding="utf-8"?>
<a:theme xmlns:a="http://schemas.openxmlformats.org/drawingml/2006/main" name="1_Digitaliseringsstyrelsen DK">
  <a:themeElements>
    <a:clrScheme name="Digitaliseringsstyrelsen Primær">
      <a:dk1>
        <a:srgbClr val="000000"/>
      </a:dk1>
      <a:lt1>
        <a:srgbClr val="FFFFFF"/>
      </a:lt1>
      <a:dk2>
        <a:srgbClr val="3F1A2B"/>
      </a:dk2>
      <a:lt2>
        <a:srgbClr val="F5F1E6"/>
      </a:lt2>
      <a:accent1>
        <a:srgbClr val="3F1A2B"/>
      </a:accent1>
      <a:accent2>
        <a:srgbClr val="FFA284"/>
      </a:accent2>
      <a:accent3>
        <a:srgbClr val="AB2A0C"/>
      </a:accent3>
      <a:accent4>
        <a:srgbClr val="FF9DB3"/>
      </a:accent4>
      <a:accent5>
        <a:srgbClr val="9F2D6B"/>
      </a:accent5>
      <a:accent6>
        <a:srgbClr val="A3BFFF"/>
      </a:accent6>
      <a:hlink>
        <a:srgbClr val="AB2A0C"/>
      </a:hlink>
      <a:folHlink>
        <a:srgbClr val="3F1A2B"/>
      </a:folHlink>
    </a:clrScheme>
    <a:fontScheme name="Digitaliseringsstyrelsen">
      <a:majorFont>
        <a:latin typeface="Franklin Gothic Book"/>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1600" noProof="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solidFill>
              <a:schemeClr val="accent1"/>
            </a:solidFill>
          </a:defRPr>
        </a:defPPr>
      </a:lstStyle>
    </a:txDef>
  </a:objectDefaults>
  <a:extraClrSchemeLst/>
  <a:custClrLst>
    <a:custClr name="Aubergine">
      <a:srgbClr val="3F1A2B"/>
    </a:custClr>
    <a:custClr name="Fløde">
      <a:srgbClr val="F5F1E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Koral">
      <a:srgbClr val="FB7A5C"/>
    </a:custClr>
    <a:custClr name="Paprika">
      <a:srgbClr val="AB2A0C"/>
    </a:custClr>
    <a:custClr name="Himmelsblå">
      <a:srgbClr val="A3BFFF"/>
    </a:custClr>
    <a:custClr name="Blåviolet">
      <a:srgbClr val="4C61D1"/>
    </a:custClr>
    <a:custClr name="Ærtegrøn">
      <a:srgbClr val="88C66D"/>
    </a:custClr>
    <a:custClr name="Basilikum">
      <a:srgbClr val="4D7836"/>
    </a:custClr>
    <a:custClr name="Blush">
      <a:srgbClr val="F1758B"/>
    </a:custClr>
    <a:custClr name="Hindbær">
      <a:srgbClr val="B44280"/>
    </a:custClr>
    <a:custClr name="Color has no name">
      <a:srgbClr val="FFFFFF"/>
    </a:custClr>
    <a:custClr name="Color has no name">
      <a:srgbClr val="FFFFFF"/>
    </a:custClr>
    <a:custClr name="Sort">
      <a:srgbClr val="212121"/>
    </a:custClr>
    <a:custClr name="Hvid">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Blank.potx" id="{06ED091F-2E21-4F18-A5B2-46C7D7AA498B}" vid="{F0D4BA09-9892-4E00-AE33-44C42DE8DAA8}"/>
    </a:ext>
  </a:extLst>
</a:theme>
</file>

<file path=ppt/theme/theme4.xml><?xml version="1.0" encoding="utf-8"?>
<a:theme xmlns:a="http://schemas.openxmlformats.org/drawingml/2006/main" name="2_Digitaliseringsstyrelsen DK">
  <a:themeElements>
    <a:clrScheme name="Digitaliseringsstyrelsen Kold">
      <a:dk1>
        <a:srgbClr val="000000"/>
      </a:dk1>
      <a:lt1>
        <a:srgbClr val="FFFFFF"/>
      </a:lt1>
      <a:dk2>
        <a:srgbClr val="3F1A2B"/>
      </a:dk2>
      <a:lt2>
        <a:srgbClr val="F5F1E6"/>
      </a:lt2>
      <a:accent1>
        <a:srgbClr val="3F1A2B"/>
      </a:accent1>
      <a:accent2>
        <a:srgbClr val="5C71E1"/>
      </a:accent2>
      <a:accent3>
        <a:srgbClr val="C9DEE8"/>
      </a:accent3>
      <a:accent4>
        <a:srgbClr val="2D4569"/>
      </a:accent4>
      <a:accent5>
        <a:srgbClr val="D3C1BD"/>
      </a:accent5>
      <a:accent6>
        <a:srgbClr val="514860"/>
      </a:accent6>
      <a:hlink>
        <a:srgbClr val="4C61D1"/>
      </a:hlink>
      <a:folHlink>
        <a:srgbClr val="3F1A2B"/>
      </a:folHlink>
    </a:clrScheme>
    <a:fontScheme name="Digitaliseringsstyrelsen">
      <a:majorFont>
        <a:latin typeface="Franklin Gothic Book"/>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1600" noProof="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solidFill>
              <a:schemeClr val="accent1"/>
            </a:solidFill>
          </a:defRPr>
        </a:defPPr>
      </a:lstStyle>
    </a:txDef>
  </a:objectDefaults>
  <a:extraClrSchemeLst/>
  <a:custClrLst>
    <a:custClr name="Aubergine">
      <a:srgbClr val="3F1A2B"/>
    </a:custClr>
    <a:custClr name="Fløde">
      <a:srgbClr val="F5F1E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Koral">
      <a:srgbClr val="FB7A5C"/>
    </a:custClr>
    <a:custClr name="Paprika">
      <a:srgbClr val="AB2A0C"/>
    </a:custClr>
    <a:custClr name="Himmelsblå">
      <a:srgbClr val="A3BFFF"/>
    </a:custClr>
    <a:custClr name="Blåviolet">
      <a:srgbClr val="4C61D1"/>
    </a:custClr>
    <a:custClr name="Ærtegrøn">
      <a:srgbClr val="88C66D"/>
    </a:custClr>
    <a:custClr name="Basilikum">
      <a:srgbClr val="4D7836"/>
    </a:custClr>
    <a:custClr name="Blush">
      <a:srgbClr val="F1758B"/>
    </a:custClr>
    <a:custClr name="Hindbær">
      <a:srgbClr val="B44280"/>
    </a:custClr>
    <a:custClr name="Color has no name">
      <a:srgbClr val="FFFFFF"/>
    </a:custClr>
    <a:custClr name="Color has no name">
      <a:srgbClr val="FFFFFF"/>
    </a:custClr>
    <a:custClr name="Sort">
      <a:srgbClr val="212121"/>
    </a:custClr>
    <a:custClr name="Hvid">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æsentation DK - Grøn - borger.dk.pptx [Skrivebeskyttet]" id="{36AFA3F2-6154-45A0-A3AE-84AAE0847B50}" vid="{8B97CE0B-25AD-4F3E-BE9A-C2954CACB652}"/>
    </a:ext>
  </a:extLst>
</a:theme>
</file>

<file path=ppt/theme/theme5.xml><?xml version="1.0" encoding="utf-8"?>
<a:theme xmlns:a="http://schemas.openxmlformats.org/drawingml/2006/main" name="3_Digitaliseringsstyrelsen DK">
  <a:themeElements>
    <a:clrScheme name="Digitaliseringsstyrelsen Kold">
      <a:dk1>
        <a:srgbClr val="000000"/>
      </a:dk1>
      <a:lt1>
        <a:srgbClr val="FFFFFF"/>
      </a:lt1>
      <a:dk2>
        <a:srgbClr val="3F1A2B"/>
      </a:dk2>
      <a:lt2>
        <a:srgbClr val="F5F1E6"/>
      </a:lt2>
      <a:accent1>
        <a:srgbClr val="3F1A2B"/>
      </a:accent1>
      <a:accent2>
        <a:srgbClr val="5C71E1"/>
      </a:accent2>
      <a:accent3>
        <a:srgbClr val="C9DEE8"/>
      </a:accent3>
      <a:accent4>
        <a:srgbClr val="2D4569"/>
      </a:accent4>
      <a:accent5>
        <a:srgbClr val="D3C1BD"/>
      </a:accent5>
      <a:accent6>
        <a:srgbClr val="514860"/>
      </a:accent6>
      <a:hlink>
        <a:srgbClr val="4C61D1"/>
      </a:hlink>
      <a:folHlink>
        <a:srgbClr val="3F1A2B"/>
      </a:folHlink>
    </a:clrScheme>
    <a:fontScheme name="Digitaliseringsstyrelsen">
      <a:majorFont>
        <a:latin typeface="Franklin Gothic Book"/>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1600" noProof="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solidFill>
              <a:schemeClr val="accent1"/>
            </a:solidFill>
          </a:defRPr>
        </a:defPPr>
      </a:lstStyle>
    </a:txDef>
  </a:objectDefaults>
  <a:extraClrSchemeLst/>
  <a:custClrLst>
    <a:custClr name="Aubergine">
      <a:srgbClr val="3F1A2B"/>
    </a:custClr>
    <a:custClr name="Fløde">
      <a:srgbClr val="F5F1E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Koral">
      <a:srgbClr val="FB7A5C"/>
    </a:custClr>
    <a:custClr name="Paprika">
      <a:srgbClr val="AB2A0C"/>
    </a:custClr>
    <a:custClr name="Himmelsblå">
      <a:srgbClr val="A3BFFF"/>
    </a:custClr>
    <a:custClr name="Blåviolet">
      <a:srgbClr val="4C61D1"/>
    </a:custClr>
    <a:custClr name="Ærtegrøn">
      <a:srgbClr val="88C66D"/>
    </a:custClr>
    <a:custClr name="Basilikum">
      <a:srgbClr val="4D7836"/>
    </a:custClr>
    <a:custClr name="Blush">
      <a:srgbClr val="F1758B"/>
    </a:custClr>
    <a:custClr name="Hindbær">
      <a:srgbClr val="B44280"/>
    </a:custClr>
    <a:custClr name="Color has no name">
      <a:srgbClr val="FFFFFF"/>
    </a:custClr>
    <a:custClr name="Color has no name">
      <a:srgbClr val="FFFFFF"/>
    </a:custClr>
    <a:custClr name="Sort">
      <a:srgbClr val="212121"/>
    </a:custClr>
    <a:custClr name="Hvid">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æsentation DK - Grøn - borger.dk.pptx [Skrivebeskyttet]" id="{36AFA3F2-6154-45A0-A3AE-84AAE0847B50}" vid="{8B97CE0B-25AD-4F3E-BE9A-C2954CACB652}"/>
    </a:ext>
  </a:extLst>
</a:theme>
</file>

<file path=ppt/theme/theme6.xml><?xml version="1.0" encoding="utf-8"?>
<a:theme xmlns:a="http://schemas.openxmlformats.org/drawingml/2006/main" name="Kontor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1ad18e57-1846-4ffb-a171-01e80b4d2f32">
      <Value>1609</Value>
      <Value>1683</Value>
    </TaxCatchAll>
    <Mødeemne xmlns="1ad18e57-1846-4ffb-a171-01e80b4d2f32">Dialogmøder</Mødeemne>
    <Mødedato xmlns="1ad18e57-1846-4ffb-a171-01e80b4d2f32">2025-12-08T23:00:00+00:00</Mødedato>
    <Arbejdspakke xmlns="4fd6b0bb-429f-4217-81ef-af5a579c9f8c" xsi:nil="true"/>
    <kbcd47fd730b4dd780d46e75aa37816b xmlns="1ad18e57-1846-4ffb-a171-01e80b4d2f32">
      <Terms xmlns="http://schemas.microsoft.com/office/infopath/2007/PartnerControls">
        <TermInfo xmlns="http://schemas.microsoft.com/office/infopath/2007/PartnerControls">
          <TermName xmlns="http://schemas.microsoft.com/office/infopath/2007/PartnerControls">Præsentation</TermName>
          <TermId xmlns="http://schemas.microsoft.com/office/infopath/2007/PartnerControls">93fbbba1-d5f3-4784-9979-765919310bab</TermId>
        </TermInfo>
      </Terms>
    </kbcd47fd730b4dd780d46e75aa37816b>
    <m58fa08f697546ad9c9c3d2382b429ae xmlns="1ad18e57-1846-4ffb-a171-01e80b4d2f32">
      <Terms xmlns="http://schemas.microsoft.com/office/infopath/2007/PartnerControls">
        <TermInfo xmlns="http://schemas.microsoft.com/office/infopath/2007/PartnerControls">
          <TermName xmlns="http://schemas.microsoft.com/office/infopath/2007/PartnerControls">Ekstern</TermName>
          <TermId xmlns="http://schemas.microsoft.com/office/infopath/2007/PartnerControls">95ef43ab-9e36-4dab-816d-0787e44693bc</TermId>
        </TermInfo>
      </Terms>
    </m58fa08f697546ad9c9c3d2382b429ae>
    <Produkt xmlns="4fd6b0bb-429f-4217-81ef-af5a579c9f8c" xsi:nil="true"/>
    <_dlc_DocId xmlns="1ad18e57-1846-4ffb-a171-01e80b4d2f32">KUSWZMNXHWK5-2098644430-779</_dlc_DocId>
    <_dlc_DocIdUrl xmlns="1ad18e57-1846-4ffb-a171-01e80b4d2f32">
      <Url>https://share-it.kombit.dk/P0146/_layouts/15/DocIdRedir.aspx?ID=KUSWZMNXHWK5-2098644430-779</Url>
      <Description>KUSWZMNXHWK5-2098644430-779</Description>
    </_dlc_DocIdUrl>
    <Flyt_x0020_til_x0020_arkiv xmlns="1ad18e57-1846-4ffb-a171-01e80b4d2f32">false</Flyt_x0020_til_x0020_arkiv>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Mødedokument (PowerPoint)" ma:contentTypeID="0x0101002FA340818EC50C419AD1693B1F6258970300E51D75383E337E469CC668963E4843D1" ma:contentTypeVersion="21" ma:contentTypeDescription="" ma:contentTypeScope="" ma:versionID="1dda5dfefab52f3c08a64cc71acbf781">
  <xsd:schema xmlns:xsd="http://www.w3.org/2001/XMLSchema" xmlns:xs="http://www.w3.org/2001/XMLSchema" xmlns:p="http://schemas.microsoft.com/office/2006/metadata/properties" xmlns:ns3="1ad18e57-1846-4ffb-a171-01e80b4d2f32" xmlns:ns4="4fd6b0bb-429f-4217-81ef-af5a579c9f8c" targetNamespace="http://schemas.microsoft.com/office/2006/metadata/properties" ma:root="true" ma:fieldsID="63a879fc440dca8af27ec02cceae07a5" ns3:_="" ns4:_="">
    <xsd:import namespace="1ad18e57-1846-4ffb-a171-01e80b4d2f32"/>
    <xsd:import namespace="4fd6b0bb-429f-4217-81ef-af5a579c9f8c"/>
    <xsd:element name="properties">
      <xsd:complexType>
        <xsd:sequence>
          <xsd:element name="documentManagement">
            <xsd:complexType>
              <xsd:all>
                <xsd:element ref="ns3:kbcd47fd730b4dd780d46e75aa37816b" minOccurs="0"/>
                <xsd:element ref="ns3:TaxCatchAll" minOccurs="0"/>
                <xsd:element ref="ns3:TaxCatchAllLabel" minOccurs="0"/>
                <xsd:element ref="ns3:Mødeemne"/>
                <xsd:element ref="ns3:Mødedato"/>
                <xsd:element ref="ns3:m58fa08f697546ad9c9c3d2382b429ae" minOccurs="0"/>
                <xsd:element ref="ns3:Flyt_x0020_til_x0020_arkiv" minOccurs="0"/>
                <xsd:element ref="ns3:_dlc_DocId" minOccurs="0"/>
                <xsd:element ref="ns3:_dlc_DocIdUrl" minOccurs="0"/>
                <xsd:element ref="ns3:_dlc_DocIdPersistId" minOccurs="0"/>
                <xsd:element ref="ns4:Arbejdspakke" minOccurs="0"/>
                <xsd:element ref="ns4:Produk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d18e57-1846-4ffb-a171-01e80b4d2f32" elementFormDefault="qualified">
    <xsd:import namespace="http://schemas.microsoft.com/office/2006/documentManagement/types"/>
    <xsd:import namespace="http://schemas.microsoft.com/office/infopath/2007/PartnerControls"/>
    <xsd:element name="kbcd47fd730b4dd780d46e75aa37816b" ma:index="9" ma:taxonomy="true" ma:internalName="kbcd47fd730b4dd780d46e75aa37816b" ma:taxonomyFieldName="M_x00f8_detype" ma:displayName="Mødetype" ma:readOnly="false" ma:default="" ma:fieldId="{4bcd47fd-730b-4dd7-80d4-6e75aa37816b}" ma:sspId="efb1083d-7045-4fd7-9409-417f0f74db49" ma:termSetId="12a85307-9531-4659-b1dc-de09cb154fa1" ma:anchorId="00000000-0000-0000-0000-000000000000" ma:open="false" ma:isKeyword="false">
      <xsd:complexType>
        <xsd:sequence>
          <xsd:element ref="pc:Terms" minOccurs="0" maxOccurs="1"/>
        </xsd:sequence>
      </xsd:complexType>
    </xsd:element>
    <xsd:element name="TaxCatchAll" ma:index="10" nillable="true" ma:displayName="Taxonomy Catch All Column" ma:hidden="true" ma:list="{259305a2-eae7-4539-8fbb-789e91726657}" ma:internalName="TaxCatchAll" ma:showField="CatchAllData" ma:web="1ad18e57-1846-4ffb-a171-01e80b4d2f32">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259305a2-eae7-4539-8fbb-789e91726657}" ma:internalName="TaxCatchAllLabel" ma:readOnly="true" ma:showField="CatchAllDataLabel" ma:web="1ad18e57-1846-4ffb-a171-01e80b4d2f32">
      <xsd:complexType>
        <xsd:complexContent>
          <xsd:extension base="dms:MultiChoiceLookup">
            <xsd:sequence>
              <xsd:element name="Value" type="dms:Lookup" maxOccurs="unbounded" minOccurs="0" nillable="true"/>
            </xsd:sequence>
          </xsd:extension>
        </xsd:complexContent>
      </xsd:complexType>
    </xsd:element>
    <xsd:element name="Mødeemne" ma:index="13" ma:displayName="Mødeemne" ma:internalName="M_x00f8_deemne">
      <xsd:simpleType>
        <xsd:restriction base="dms:Text">
          <xsd:maxLength value="255"/>
        </xsd:restriction>
      </xsd:simpleType>
    </xsd:element>
    <xsd:element name="Mødedato" ma:index="14" ma:displayName="Mødedato" ma:description="Indsæt dato for mødet hvori dette dokument er præsenteret" ma:format="DateOnly" ma:internalName="M_x00f8_dedato">
      <xsd:simpleType>
        <xsd:restriction base="dms:DateTime"/>
      </xsd:simpleType>
    </xsd:element>
    <xsd:element name="m58fa08f697546ad9c9c3d2382b429ae" ma:index="15" ma:taxonomy="true" ma:internalName="m58fa08f697546ad9c9c3d2382b429ae" ma:taxonomyFieldName="Interessenter" ma:displayName="Interessenter" ma:readOnly="false" ma:default="" ma:fieldId="{658fa08f-6975-46ad-9c9c-3d2382b429ae}" ma:sspId="efb1083d-7045-4fd7-9409-417f0f74db49" ma:termSetId="9a82c93d-e0ab-4d8a-98c1-b2918757e48d" ma:anchorId="00000000-0000-0000-0000-000000000000" ma:open="false" ma:isKeyword="false">
      <xsd:complexType>
        <xsd:sequence>
          <xsd:element ref="pc:Terms" minOccurs="0" maxOccurs="1"/>
        </xsd:sequence>
      </xsd:complexType>
    </xsd:element>
    <xsd:element name="Flyt_x0020_til_x0020_arkiv" ma:index="17" nillable="true" ma:displayName="Flyt til arkiv" ma:default="0" ma:internalName="Flyt_x0020_til_x0020_arkiv">
      <xsd:simpleType>
        <xsd:restriction base="dms:Boolean"/>
      </xsd:simpleType>
    </xsd:element>
    <xsd:element name="_dlc_DocId" ma:index="18" nillable="true" ma:displayName="Værdi for dokument-id" ma:description="Værdien af det dokument-id, der er tildelt dette element." ma:internalName="_dlc_DocId" ma:readOnly="true">
      <xsd:simpleType>
        <xsd:restriction base="dms:Text"/>
      </xsd:simpleType>
    </xsd:element>
    <xsd:element name="_dlc_DocIdUrl" ma:index="19" nillable="true" ma:displayName="Dokument-id" ma:description="Permanent link til dette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fd6b0bb-429f-4217-81ef-af5a579c9f8c" elementFormDefault="qualified">
    <xsd:import namespace="http://schemas.microsoft.com/office/2006/documentManagement/types"/>
    <xsd:import namespace="http://schemas.microsoft.com/office/infopath/2007/PartnerControls"/>
    <xsd:element name="Arbejdspakke" ma:index="21" nillable="true" ma:displayName="Arbejdspakke" ma:list="{fe784e80-5c33-487e-95b7-ae92e6e2bd86}" ma:internalName="Arbejdspakke" ma:showField="Arbejdspakke_x0020_titel">
      <xsd:simpleType>
        <xsd:restriction base="dms:Lookup"/>
      </xsd:simpleType>
    </xsd:element>
    <xsd:element name="Produkt" ma:index="22" nillable="true" ma:displayName="Produkt" ma:list="{fe784e80-5c33-487e-95b7-ae92e6e2bd86}" ma:internalName="Produkt" ma:showField="Produkttitel">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displayName="Titel"/>
        <xsd:element ref="dc:subject" minOccurs="0" maxOccurs="1"/>
        <xsd:element ref="dc:description" minOccurs="0" maxOccurs="1"/>
        <xsd:element name="keywords" minOccurs="0" maxOccurs="1" type="xsd:string" ma:displayName="Nøgleord"/>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FC41873-F246-4917-9A8E-3310E59E6A75}">
  <ds:schemaRefs>
    <ds:schemaRef ds:uri="http://schemas.microsoft.com/sharepoint/v3/contenttype/forms"/>
  </ds:schemaRefs>
</ds:datastoreItem>
</file>

<file path=customXml/itemProps2.xml><?xml version="1.0" encoding="utf-8"?>
<ds:datastoreItem xmlns:ds="http://schemas.openxmlformats.org/officeDocument/2006/customXml" ds:itemID="{B8D5CB2A-8F20-4900-8D3F-C0710CCA8906}">
  <ds:schemaRefs>
    <ds:schemaRef ds:uri="http://schemas.microsoft.com/office/2006/documentManagement/types"/>
    <ds:schemaRef ds:uri="http://purl.org/dc/dcmitype/"/>
    <ds:schemaRef ds:uri="1ad18e57-1846-4ffb-a171-01e80b4d2f32"/>
    <ds:schemaRef ds:uri="4fd6b0bb-429f-4217-81ef-af5a579c9f8c"/>
    <ds:schemaRef ds:uri="http://purl.org/dc/term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094FFB1-C4A8-4933-B618-31E4B3644441}">
  <ds:schemaRefs>
    <ds:schemaRef ds:uri="http://schemas.microsoft.com/sharepoint/events"/>
  </ds:schemaRefs>
</ds:datastoreItem>
</file>

<file path=customXml/itemProps4.xml><?xml version="1.0" encoding="utf-8"?>
<ds:datastoreItem xmlns:ds="http://schemas.openxmlformats.org/officeDocument/2006/customXml" ds:itemID="{41B9C4C6-6D87-4D95-AF32-5BA2373C94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d18e57-1846-4ffb-a171-01e80b4d2f32"/>
    <ds:schemaRef ds:uri="4fd6b0bb-429f-4217-81ef-af5a579c9f8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cc038af5-0e68-43e5-bb17-957ad6f45f8e}" enabled="0" method="" siteId="{cc038af5-0e68-43e5-bb17-957ad6f45f8e}" removed="1"/>
</clbl:labelList>
</file>

<file path=docProps/app.xml><?xml version="1.0" encoding="utf-8"?>
<Properties xmlns="http://schemas.openxmlformats.org/officeDocument/2006/extended-properties" xmlns:vt="http://schemas.openxmlformats.org/officeDocument/2006/docPropsVTypes">
  <Template>KOMBIT-præsentation v.1.1</Template>
  <TotalTime>8195</TotalTime>
  <Words>3336</Words>
  <Application>Microsoft Office PowerPoint</Application>
  <PresentationFormat>Skærmshow (16:9)</PresentationFormat>
  <Paragraphs>581</Paragraphs>
  <Slides>81</Slides>
  <Notes>59</Notes>
  <HiddenSlides>0</HiddenSlides>
  <MMClips>0</MMClips>
  <ScaleCrop>false</ScaleCrop>
  <HeadingPairs>
    <vt:vector size="8" baseType="variant">
      <vt:variant>
        <vt:lpstr>Benyttede skrifttyper</vt:lpstr>
      </vt:variant>
      <vt:variant>
        <vt:i4>12</vt:i4>
      </vt:variant>
      <vt:variant>
        <vt:lpstr>Tema</vt:lpstr>
      </vt:variant>
      <vt:variant>
        <vt:i4>5</vt:i4>
      </vt:variant>
      <vt:variant>
        <vt:lpstr>Integrerede OLE-servere</vt:lpstr>
      </vt:variant>
      <vt:variant>
        <vt:i4>1</vt:i4>
      </vt:variant>
      <vt:variant>
        <vt:lpstr>Slidetitler</vt:lpstr>
      </vt:variant>
      <vt:variant>
        <vt:i4>81</vt:i4>
      </vt:variant>
    </vt:vector>
  </HeadingPairs>
  <TitlesOfParts>
    <vt:vector size="99" baseType="lpstr">
      <vt:lpstr>Arial</vt:lpstr>
      <vt:lpstr>Calibri</vt:lpstr>
      <vt:lpstr>CambriaMath</vt:lpstr>
      <vt:lpstr>Franklin Gothic Book</vt:lpstr>
      <vt:lpstr>Franklin Gothic Medium</vt:lpstr>
      <vt:lpstr>Helvetica</vt:lpstr>
      <vt:lpstr>Neue Haas Grotesk Text Pro</vt:lpstr>
      <vt:lpstr>Normal systemskrift</vt:lpstr>
      <vt:lpstr>Open Sans</vt:lpstr>
      <vt:lpstr>Source Sans Pro Light</vt:lpstr>
      <vt:lpstr>Trebuchet MS</vt:lpstr>
      <vt:lpstr>Wingdings</vt:lpstr>
      <vt:lpstr>Kontortema</vt:lpstr>
      <vt:lpstr>Digitaliseringsstyrelsen DK</vt:lpstr>
      <vt:lpstr>1_Digitaliseringsstyrelsen DK</vt:lpstr>
      <vt:lpstr>2_Digitaliseringsstyrelsen DK</vt:lpstr>
      <vt:lpstr>3_Digitaliseringsstyrelsen DK</vt:lpstr>
      <vt:lpstr>think-cell Slide</vt:lpstr>
      <vt:lpstr>Borgerblikkets Dialogmøde</vt:lpstr>
      <vt:lpstr>Dialogmøde  </vt:lpstr>
      <vt:lpstr>PowerPoint-præsentation</vt:lpstr>
      <vt:lpstr>Velkommen til Borgerblikket dialogmøde </vt:lpstr>
      <vt:lpstr>Se eller gense slides  </vt:lpstr>
      <vt:lpstr>HUSK, at du kan finde diverse dokumenter, videoguides, slides mv. på Borgerblikkets dokument-bibliotek </vt:lpstr>
      <vt:lpstr>Dagsorden</vt:lpstr>
      <vt:lpstr>Fuldmagtsløsningen</vt:lpstr>
      <vt:lpstr>Indsigtsfuldmagt  til Mit Overblik på borger.dk </vt:lpstr>
      <vt:lpstr>Agenda </vt:lpstr>
      <vt:lpstr>Introduktion til Mit Overblik</vt:lpstr>
      <vt:lpstr>Hvad er Mit Overblik? </vt:lpstr>
      <vt:lpstr>PowerPoint-præsentation</vt:lpstr>
      <vt:lpstr>Præsentation af fuldmagtsfunktionen</vt:lpstr>
      <vt:lpstr>Indsigtsfuldmagt til Mit Overblik </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Sager – med fuldmagt</vt:lpstr>
      <vt:lpstr>Detaljesider – med fuldmagt  </vt:lpstr>
      <vt:lpstr>PowerPoint-præsentation</vt:lpstr>
      <vt:lpstr>Spørgsmål?</vt:lpstr>
      <vt:lpstr>Kommunikation og implementering</vt:lpstr>
      <vt:lpstr>Vi udnytter den aktuelle nyhed</vt:lpstr>
      <vt:lpstr>Overordnet kommunikationsplan</vt:lpstr>
      <vt:lpstr>Baggrundsmaterialer på digst.dk/mit-overblik-information</vt:lpstr>
      <vt:lpstr>Kommunikation om lanceringen</vt:lpstr>
      <vt:lpstr>Onepager til borgere, eksempel</vt:lpstr>
      <vt:lpstr>Onepager til borgere, eksempel</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SPØRGSMÅL?     Hent materiale her:  digst.dk/mit-overblik-information Skriv til os på:   admin@borger.dk</vt:lpstr>
      <vt:lpstr>Regionsmøder</vt:lpstr>
      <vt:lpstr>Regionsmøder</vt:lpstr>
      <vt:lpstr>Gæld &amp; betalinger Status på den nye løsning</vt:lpstr>
      <vt:lpstr>De første debitorsystemer i den nye Gæld &amp; betalinger går live til januar!</vt:lpstr>
      <vt:lpstr>Tentativ plan for idriftsættelse af EG på version 1.4</vt:lpstr>
      <vt:lpstr>Konfigurationsmodulen</vt:lpstr>
      <vt:lpstr>PowerPoint-præsentation</vt:lpstr>
      <vt:lpstr>Kalenderaftaler &amp; frister Forretningsmæssig behovsanalyse hos udvalgte kommuner</vt:lpstr>
      <vt:lpstr>PowerPoint-præsentation</vt:lpstr>
      <vt:lpstr>Forretningsmæssig behovsanalyse</vt:lpstr>
      <vt:lpstr>Processuel tilgang - proces</vt:lpstr>
      <vt:lpstr>Processuel tilgang – trinvis analyse</vt:lpstr>
      <vt:lpstr>Status</vt:lpstr>
      <vt:lpstr>Nyt fra Borgerblikket i Tal</vt:lpstr>
      <vt:lpstr>PowerPoint-præsentation</vt:lpstr>
      <vt:lpstr>Unges data</vt:lpstr>
      <vt:lpstr>Antal kommuner der udstiller KLE-emne</vt:lpstr>
      <vt:lpstr>Nyt filter - obligatoriske KLE-emner</vt:lpstr>
      <vt:lpstr>Brugsstatistikker nu på Teams</vt:lpstr>
      <vt:lpstr>Brugsstatistikker nu kun på Teams</vt:lpstr>
      <vt:lpstr>Borgerblikkets Teamsgruppe</vt:lpstr>
      <vt:lpstr>Borgerblikkets Teamsgruppe</vt:lpstr>
      <vt:lpstr>Implementer i bund</vt:lpstr>
      <vt:lpstr>Hvad mener vi? </vt:lpstr>
      <vt:lpstr>Bilag 2 – Kommunale opgaver jf. Tilslutningsaftalen for 2025</vt:lpstr>
      <vt:lpstr>Åbn op for de obligatoriske KLE-emner</vt:lpstr>
      <vt:lpstr>Åbn op for de obligatoriske KLE-emner</vt:lpstr>
      <vt:lpstr>Identificering af alle borgervendte KLE-emner med det formål at få udstillet data til borgeren</vt:lpstr>
      <vt:lpstr>Identificering af alle borgervendte KLE-emner med det formål at få udstillet data til borgeren</vt:lpstr>
      <vt:lpstr>Året der gik, og året der kommer</vt:lpstr>
      <vt:lpstr>Udviklingsprojekter 2025</vt:lpstr>
      <vt:lpstr>Udviklingsprojekter 2026</vt:lpstr>
      <vt:lpstr>Spørgsmål eller kommentarer?</vt:lpstr>
      <vt:lpstr>Tak for i dag</vt:lpstr>
    </vt:vector>
  </TitlesOfParts>
  <Company>Komb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Anne-Sophie Tulinius</dc:creator>
  <cp:lastModifiedBy>Susanne Rasmussen</cp:lastModifiedBy>
  <cp:revision>35</cp:revision>
  <cp:lastPrinted>2025-12-09T06:58:53Z</cp:lastPrinted>
  <dcterms:created xsi:type="dcterms:W3CDTF">2024-02-15T09:19:43Z</dcterms:created>
  <dcterms:modified xsi:type="dcterms:W3CDTF">2025-12-11T14:4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FA340818EC50C419AD1693B1F6258970300E51D75383E337E469CC668963E4843D1</vt:lpwstr>
  </property>
  <property fmtid="{D5CDD505-2E9C-101B-9397-08002B2CF9AE}" pid="3" name="MediaServiceImageTags">
    <vt:lpwstr/>
  </property>
  <property fmtid="{D5CDD505-2E9C-101B-9397-08002B2CF9AE}" pid="4" name="_dlc_DocIdItemGuid">
    <vt:lpwstr>9df515f3-c101-48d1-8f75-76f86f0823d4</vt:lpwstr>
  </property>
  <property fmtid="{D5CDD505-2E9C-101B-9397-08002B2CF9AE}" pid="5" name="Mødetype">
    <vt:lpwstr>1609;#Præsentation|93fbbba1-d5f3-4784-9979-765919310bab</vt:lpwstr>
  </property>
  <property fmtid="{D5CDD505-2E9C-101B-9397-08002B2CF9AE}" pid="6" name="Interessenter">
    <vt:lpwstr>1683;#Ekstern|95ef43ab-9e36-4dab-816d-0787e44693bc</vt:lpwstr>
  </property>
  <property fmtid="{D5CDD505-2E9C-101B-9397-08002B2CF9AE}" pid="7" name="Has Attachments">
    <vt:bool>false</vt:bool>
  </property>
</Properties>
</file>